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customXml/itemProps7.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theme/theme2.xml" ContentType="application/vnd.openxmlformats-officedocument.theme+xml"/>
  <Override PartName="/ppt/slideLayouts/slideLayout46.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tags/tag1.xml" ContentType="application/vnd.openxmlformats-officedocument.presentationml.tags+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45" r:id="rId8"/>
    <p:sldMasterId id="2147483821" r:id="rId9"/>
    <p:sldMasterId id="2147483648" r:id="rId10"/>
  </p:sldMasterIdLst>
  <p:notesMasterIdLst>
    <p:notesMasterId r:id="rId59"/>
  </p:notesMasterIdLst>
  <p:handoutMasterIdLst>
    <p:handoutMasterId r:id="rId60"/>
  </p:handoutMasterIdLst>
  <p:sldIdLst>
    <p:sldId id="2147327735" r:id="rId11"/>
    <p:sldId id="2145705362" r:id="rId12"/>
    <p:sldId id="2147326913" r:id="rId13"/>
    <p:sldId id="263" r:id="rId14"/>
    <p:sldId id="356" r:id="rId15"/>
    <p:sldId id="2147327733" r:id="rId16"/>
    <p:sldId id="375" r:id="rId17"/>
    <p:sldId id="2147474969" r:id="rId18"/>
    <p:sldId id="2147474970" r:id="rId19"/>
    <p:sldId id="2147469832" r:id="rId20"/>
    <p:sldId id="326" r:id="rId21"/>
    <p:sldId id="2147376489" r:id="rId22"/>
    <p:sldId id="358" r:id="rId23"/>
    <p:sldId id="2147326915" r:id="rId24"/>
    <p:sldId id="2147327236" r:id="rId25"/>
    <p:sldId id="2147474974" r:id="rId26"/>
    <p:sldId id="2147327231" r:id="rId27"/>
    <p:sldId id="2147327724" r:id="rId28"/>
    <p:sldId id="2145705425" r:id="rId29"/>
    <p:sldId id="2147474975" r:id="rId30"/>
    <p:sldId id="2145705365" r:id="rId31"/>
    <p:sldId id="2147474971" r:id="rId32"/>
    <p:sldId id="2147474973" r:id="rId33"/>
    <p:sldId id="2147474964" r:id="rId34"/>
    <p:sldId id="2145705406" r:id="rId35"/>
    <p:sldId id="2145705394" r:id="rId36"/>
    <p:sldId id="2147474968" r:id="rId37"/>
    <p:sldId id="2147326943" r:id="rId38"/>
    <p:sldId id="2145705505" r:id="rId39"/>
    <p:sldId id="2145705513" r:id="rId40"/>
    <p:sldId id="3952" r:id="rId41"/>
    <p:sldId id="2145705504" r:id="rId42"/>
    <p:sldId id="2145705514" r:id="rId43"/>
    <p:sldId id="2145705503" r:id="rId44"/>
    <p:sldId id="2147474976" r:id="rId45"/>
    <p:sldId id="2145705460" r:id="rId46"/>
    <p:sldId id="2147327794" r:id="rId47"/>
    <p:sldId id="2075" r:id="rId48"/>
    <p:sldId id="2147326981" r:id="rId49"/>
    <p:sldId id="2145704291" r:id="rId50"/>
    <p:sldId id="2147474965" r:id="rId51"/>
    <p:sldId id="2147474966" r:id="rId52"/>
    <p:sldId id="2147474967" r:id="rId53"/>
    <p:sldId id="348" r:id="rId54"/>
    <p:sldId id="2147327004" r:id="rId55"/>
    <p:sldId id="2147327718" r:id="rId56"/>
    <p:sldId id="2147326907" r:id="rId57"/>
    <p:sldId id="368" r:id="rId58"/>
  </p:sldIdLst>
  <p:sldSz cx="12192000" cy="6858000"/>
  <p:notesSz cx="6858000" cy="9144000"/>
  <p:defaultTextStyle>
    <a:defPPr>
      <a:defRPr lang="en-US"/>
    </a:defPPr>
    <a:lvl1pPr marL="0" indent="-288000" algn="l" defTabSz="914400" rtl="0" eaLnBrk="1" latinLnBrk="0" hangingPunct="1">
      <a:lnSpc>
        <a:spcPct val="150000"/>
      </a:lnSpc>
      <a:spcBef>
        <a:spcPts val="0"/>
      </a:spcBef>
      <a:buFontTx/>
      <a:buNone/>
      <a:defRPr sz="1600" kern="1200">
        <a:solidFill>
          <a:schemeClr val="tx1"/>
        </a:solidFill>
        <a:latin typeface="+mn-lt"/>
        <a:ea typeface="+mn-ea"/>
        <a:cs typeface="+mn-cs"/>
      </a:defRPr>
    </a:lvl1pPr>
    <a:lvl2pPr marL="288000" indent="-288000" algn="l" defTabSz="914400" rtl="0" eaLnBrk="1" latinLnBrk="0" hangingPunct="1">
      <a:lnSpc>
        <a:spcPct val="110000"/>
      </a:lnSpc>
      <a:spcBef>
        <a:spcPts val="0"/>
      </a:spcBef>
      <a:spcAft>
        <a:spcPts val="500"/>
      </a:spcAft>
      <a:buClr>
        <a:schemeClr val="tx1"/>
      </a:buClr>
      <a:buFont typeface="Courier New" panose="02070309020205020404" pitchFamily="49" charset="0"/>
      <a:buChar char="o"/>
      <a:defRPr sz="1400" kern="1200">
        <a:solidFill>
          <a:schemeClr val="tx1"/>
        </a:solidFill>
        <a:latin typeface="+mn-lt"/>
        <a:ea typeface="+mn-ea"/>
        <a:cs typeface="+mn-cs"/>
      </a:defRPr>
    </a:lvl2pPr>
    <a:lvl3pPr marL="576000" indent="-288000" algn="l" defTabSz="914400" rtl="0" eaLnBrk="1" latinLnBrk="0" hangingPunct="1">
      <a:lnSpc>
        <a:spcPct val="110000"/>
      </a:lnSpc>
      <a:spcBef>
        <a:spcPts val="0"/>
      </a:spcBef>
      <a:spcAft>
        <a:spcPts val="500"/>
      </a:spcAft>
      <a:buClr>
        <a:schemeClr val="tx1"/>
      </a:buClr>
      <a:buFont typeface="Wingdings" panose="05000000000000000000" pitchFamily="2" charset="2"/>
      <a:buChar char="§"/>
      <a:defRPr sz="1200" kern="1200">
        <a:solidFill>
          <a:schemeClr val="tx1"/>
        </a:solidFill>
        <a:latin typeface="+mn-lt"/>
        <a:ea typeface="+mn-ea"/>
        <a:cs typeface="+mn-cs"/>
      </a:defRPr>
    </a:lvl3pPr>
    <a:lvl4pPr marL="864000" indent="-288000" algn="l" defTabSz="914400" rtl="0" eaLnBrk="1" latinLnBrk="0" hangingPunct="1">
      <a:lnSpc>
        <a:spcPct val="110000"/>
      </a:lnSpc>
      <a:spcBef>
        <a:spcPts val="0"/>
      </a:spcBef>
      <a:spcAft>
        <a:spcPts val="500"/>
      </a:spcAft>
      <a:buClr>
        <a:schemeClr val="tx1"/>
      </a:buClr>
      <a:buSzPct val="100000"/>
      <a:buFont typeface="Wingdings" panose="05000000000000000000" pitchFamily="2" charset="2"/>
      <a:buChar char="§"/>
      <a:defRPr sz="1200" kern="1200">
        <a:solidFill>
          <a:schemeClr val="tx1"/>
        </a:solidFill>
        <a:latin typeface="+mn-lt"/>
        <a:ea typeface="+mn-ea"/>
        <a:cs typeface="+mn-cs"/>
      </a:defRPr>
    </a:lvl4pPr>
    <a:lvl5pPr marL="1152000" indent="-288000" algn="l" defTabSz="914400" rtl="0" eaLnBrk="1" latinLnBrk="0" hangingPunct="1">
      <a:lnSpc>
        <a:spcPct val="110000"/>
      </a:lnSpc>
      <a:spcBef>
        <a:spcPts val="0"/>
      </a:spcBef>
      <a:spcAft>
        <a:spcPts val="500"/>
      </a:spcAft>
      <a:buClr>
        <a:schemeClr val="tx1"/>
      </a:buClr>
      <a:buFont typeface="Wingdings" panose="05000000000000000000" pitchFamily="2" charset="2"/>
      <a:buChar char="§"/>
      <a:defRPr sz="1200" kern="1200">
        <a:solidFill>
          <a:schemeClr val="tx1"/>
        </a:solidFill>
        <a:latin typeface="+mn-lt"/>
        <a:ea typeface="+mn-ea"/>
        <a:cs typeface="+mn-cs"/>
      </a:defRPr>
    </a:lvl5pPr>
    <a:lvl6pPr marL="1440000" indent="-288000" algn="l" defTabSz="914400" rtl="0" eaLnBrk="1" latinLnBrk="0" hangingPunct="1">
      <a:lnSpc>
        <a:spcPct val="110000"/>
      </a:lnSpc>
      <a:spcBef>
        <a:spcPts val="0"/>
      </a:spcBef>
      <a:spcAft>
        <a:spcPts val="500"/>
      </a:spcAft>
      <a:buClr>
        <a:schemeClr val="tx1"/>
      </a:buClr>
      <a:buFont typeface="Wingdings" panose="05000000000000000000" pitchFamily="2" charset="2"/>
      <a:buChar char="§"/>
      <a:defRPr sz="1200" kern="1200">
        <a:solidFill>
          <a:schemeClr val="tx1"/>
        </a:solidFill>
        <a:latin typeface="+mn-lt"/>
        <a:ea typeface="+mn-ea"/>
        <a:cs typeface="+mn-cs"/>
      </a:defRPr>
    </a:lvl6pPr>
    <a:lvl7pPr marL="1728000" indent="-288000" algn="l" defTabSz="914400" rtl="0" eaLnBrk="1" latinLnBrk="0" hangingPunct="1">
      <a:lnSpc>
        <a:spcPct val="110000"/>
      </a:lnSpc>
      <a:spcBef>
        <a:spcPts val="0"/>
      </a:spcBef>
      <a:spcAft>
        <a:spcPts val="500"/>
      </a:spcAft>
      <a:buClr>
        <a:schemeClr val="tx1"/>
      </a:buClr>
      <a:buFont typeface="Wingdings" panose="05000000000000000000" pitchFamily="2" charset="2"/>
      <a:buChar char="§"/>
      <a:defRPr sz="1200" kern="1200">
        <a:solidFill>
          <a:schemeClr val="tx1"/>
        </a:solidFill>
        <a:latin typeface="+mn-lt"/>
        <a:ea typeface="+mn-ea"/>
        <a:cs typeface="+mn-cs"/>
      </a:defRPr>
    </a:lvl7pPr>
    <a:lvl8pPr marL="2016000" indent="-288000" algn="l" defTabSz="914400" rtl="0" eaLnBrk="1" latinLnBrk="0" hangingPunct="1">
      <a:lnSpc>
        <a:spcPct val="110000"/>
      </a:lnSpc>
      <a:spcBef>
        <a:spcPts val="0"/>
      </a:spcBef>
      <a:spcAft>
        <a:spcPts val="500"/>
      </a:spcAft>
      <a:buClr>
        <a:schemeClr val="tx1"/>
      </a:buClr>
      <a:buFont typeface="Wingdings" panose="05000000000000000000" pitchFamily="2" charset="2"/>
      <a:buChar char="§"/>
      <a:defRPr sz="1200" kern="1200">
        <a:solidFill>
          <a:schemeClr val="tx1"/>
        </a:solidFill>
        <a:latin typeface="+mn-lt"/>
        <a:ea typeface="+mn-ea"/>
        <a:cs typeface="+mn-cs"/>
      </a:defRPr>
    </a:lvl8pPr>
    <a:lvl9pPr marL="2304000" indent="-288000" algn="l" defTabSz="914400" rtl="0" eaLnBrk="1" latinLnBrk="0" hangingPunct="1">
      <a:lnSpc>
        <a:spcPct val="110000"/>
      </a:lnSpc>
      <a:spcBef>
        <a:spcPts val="0"/>
      </a:spcBef>
      <a:spcAft>
        <a:spcPts val="500"/>
      </a:spcAft>
      <a:buClr>
        <a:schemeClr val="tx1"/>
      </a:buClr>
      <a:buFont typeface="Wingdings" panose="05000000000000000000" pitchFamily="2" charset="2"/>
      <a:buChar char="§"/>
      <a:defRPr sz="12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4111162C-1CF6-F86F-EE06-37163848E304}" name="Charlotte Newman" initials="CN" userId="S::c.newman@skimgroup.com::61ffff81-fa4c-4770-9321-36a21548fa28" providerId="AD"/>
  <p188:author id="{ED3F2236-6CCA-AB66-E16D-BCE036AB5479}" name="David Voxlin" initials="DV" userId="S::d.voxlin@skimgroup.com::258dd403-3e1c-41ae-945f-6fc9589c3ca2" providerId="AD"/>
  <p188:author id="{0175475F-52F3-08FA-924D-D723D91B1ADB}" name="Mini Kalivianakis" initials="MK" userId="S::m.kalivianakis@skimgroup.com::ae3ae5d6-8948-4417-84b5-f46b92f2b6d5" providerId="AD"/>
  <p188:author id="{E56F32A8-AB79-3A4D-9383-46D4FBEF8003}" name="Harini Ravi" initials="HR" userId="S::h.ravi@skimgroup.com::5166ff31-dcdf-4530-a1e7-d9bde0d64ba9"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Nicole Gardere" initials="NG" lastIdx="7" clrIdx="0">
    <p:extLst>
      <p:ext uri="{19B8F6BF-5375-455C-9EA6-DF929625EA0E}">
        <p15:presenceInfo xmlns:p15="http://schemas.microsoft.com/office/powerpoint/2012/main" userId="S::n.gardere@skimgroup.com::09630396-a06e-4c94-b3d9-e7a52248cb18" providerId="AD"/>
      </p:ext>
    </p:extLst>
  </p:cmAuthor>
  <p:cmAuthor id="2" name="Paul Janssen" initials="PJ" lastIdx="3" clrIdx="1">
    <p:extLst>
      <p:ext uri="{19B8F6BF-5375-455C-9EA6-DF929625EA0E}">
        <p15:presenceInfo xmlns:p15="http://schemas.microsoft.com/office/powerpoint/2012/main" userId="S::p.janssen@skimgroup.com::d153c4ad-a35d-45ce-acab-adb43048d267"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B494"/>
    <a:srgbClr val="FE9C28"/>
    <a:srgbClr val="BF6AC1"/>
    <a:srgbClr val="20BAF2"/>
    <a:srgbClr val="E6EFF1"/>
    <a:srgbClr val="E7ECED"/>
    <a:srgbClr val="2A780F"/>
    <a:srgbClr val="FFFFFF"/>
    <a:srgbClr val="F2F2F2"/>
    <a:srgbClr val="00FF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A6E0E982-E285-4178-BDAB-3F26002EA596}">
  <a:tblStyle styleId="{17E1E25A-9F6F-44B1-96FE-2E50C594DB7B}" styleName="SKIM Grey">
    <a:wholeTbl>
      <a:tcTxStyle>
        <a:fontRef idx="minor">
          <a:prstClr val="black"/>
        </a:fontRef>
        <a:schemeClr val="dk1"/>
      </a:tcTxStyle>
      <a:tcStyle>
        <a:tcBdr>
          <a:left>
            <a:ln>
              <a:noFill/>
            </a:ln>
          </a:left>
          <a:right>
            <a:ln>
              <a:noFill/>
            </a:ln>
          </a:right>
          <a:top>
            <a:ln>
              <a:noFill/>
            </a:ln>
          </a:top>
          <a:bottom>
            <a:ln>
              <a:noFill/>
            </a:ln>
          </a:bottom>
          <a:insideH>
            <a:ln w="12700" cmpd="sng">
              <a:solidFill>
                <a:schemeClr val="lt1"/>
              </a:solidFill>
            </a:ln>
          </a:insideH>
          <a:insideV>
            <a:ln w="12700" cmpd="sng">
              <a:solidFill>
                <a:schemeClr val="lt1"/>
              </a:solidFill>
            </a:ln>
          </a:insideV>
        </a:tcBdr>
        <a:fill>
          <a:solidFill>
            <a:schemeClr val="accent3">
              <a:alpha val="10196"/>
            </a:schemeClr>
          </a:solidFill>
        </a:fill>
      </a:tcStyle>
    </a:wholeTbl>
    <a:firstRow>
      <a:tcTxStyle b="on">
        <a:fontRef idx="minor">
          <a:prstClr val="black"/>
        </a:fontRef>
        <a:schemeClr val="lt1"/>
      </a:tcTxStyle>
      <a:tcStyle>
        <a:tcBdr/>
        <a:fill>
          <a:solidFill>
            <a:schemeClr val="accent3"/>
          </a:solidFill>
        </a:fill>
      </a:tcStyle>
    </a:firstRow>
  </a:tblStyle>
  <a:tblStyle styleId="{F72107D4-CBD1-49CA-89C5-9E6E2A5A8821}" styleName="SKIM Orange">
    <a:wholeTbl>
      <a:tcTxStyle>
        <a:fontRef idx="minor">
          <a:prstClr val="black"/>
        </a:fontRef>
        <a:schemeClr val="dk1"/>
      </a:tcTxStyle>
      <a:tcStyle>
        <a:tcBdr>
          <a:left>
            <a:ln>
              <a:noFill/>
            </a:ln>
          </a:left>
          <a:right>
            <a:ln>
              <a:noFill/>
            </a:ln>
          </a:right>
          <a:top>
            <a:ln>
              <a:noFill/>
            </a:ln>
          </a:top>
          <a:bottom>
            <a:ln>
              <a:noFill/>
            </a:ln>
          </a:bottom>
          <a:insideH>
            <a:ln w="12700" cmpd="sng">
              <a:solidFill>
                <a:schemeClr val="lt1"/>
              </a:solidFill>
            </a:ln>
          </a:insideH>
          <a:insideV>
            <a:ln w="12700" cmpd="sng">
              <a:solidFill>
                <a:schemeClr val="lt1"/>
              </a:solidFill>
            </a:ln>
          </a:insideV>
        </a:tcBdr>
        <a:fill>
          <a:solidFill>
            <a:schemeClr val="accent5">
              <a:alpha val="10196"/>
            </a:schemeClr>
          </a:solidFill>
        </a:fill>
      </a:tcStyle>
    </a:wholeTbl>
    <a:firstRow>
      <a:tcTxStyle b="on">
        <a:fontRef idx="minor">
          <a:prstClr val="black"/>
        </a:fontRef>
        <a:schemeClr val="lt1"/>
      </a:tcTxStyle>
      <a:tcStyle>
        <a:tcBdr/>
        <a:fill>
          <a:solidFill>
            <a:schemeClr val="accent5"/>
          </a:solidFill>
        </a:fill>
      </a:tcStyle>
    </a:firstRow>
  </a:tblStyle>
  <a:tblStyle styleId="{75519089-B2B2-49EE-9FB9-F5471CB5545F}" styleName="SKIM Yellow">
    <a:wholeTbl>
      <a:tcTxStyle>
        <a:fontRef idx="minor">
          <a:prstClr val="black"/>
        </a:fontRef>
        <a:schemeClr val="dk1"/>
      </a:tcTxStyle>
      <a:tcStyle>
        <a:tcBdr>
          <a:left>
            <a:ln>
              <a:noFill/>
            </a:ln>
          </a:left>
          <a:right>
            <a:ln>
              <a:noFill/>
            </a:ln>
          </a:right>
          <a:top>
            <a:ln>
              <a:noFill/>
            </a:ln>
          </a:top>
          <a:bottom>
            <a:ln>
              <a:noFill/>
            </a:ln>
          </a:bottom>
          <a:insideH>
            <a:ln w="12700" cmpd="sng">
              <a:solidFill>
                <a:schemeClr val="lt1"/>
              </a:solidFill>
            </a:ln>
          </a:insideH>
          <a:insideV>
            <a:ln w="12700" cmpd="sng">
              <a:solidFill>
                <a:schemeClr val="lt1"/>
              </a:solidFill>
            </a:ln>
          </a:insideV>
        </a:tcBdr>
        <a:fill>
          <a:solidFill>
            <a:schemeClr val="accent2">
              <a:alpha val="10196"/>
            </a:schemeClr>
          </a:solidFill>
        </a:fill>
      </a:tcStyle>
    </a:wholeTbl>
    <a:firstRow>
      <a:tcTxStyle b="on">
        <a:fontRef idx="minor">
          <a:prstClr val="black"/>
        </a:fontRef>
        <a:schemeClr val="lt1"/>
      </a:tcTxStyle>
      <a:tcStyle>
        <a:tcBdr/>
        <a:fill>
          <a:solidFill>
            <a:schemeClr val="accent2"/>
          </a:solidFill>
        </a:fill>
      </a:tcStyle>
    </a:firstRow>
  </a:tblStyle>
  <a:tblStyle styleId="{A6E0E982-E285-4178-BDAB-3F26002EA596}" styleName="SKIM table">
    <a:wholeTbl>
      <a:tcTxStyle>
        <a:fontRef idx="minor">
          <a:scrgbClr r="0" g="0" b="0"/>
        </a:fontRef>
        <a:schemeClr val="dk1"/>
      </a:tcTxStyle>
      <a:tcStyle>
        <a:tcBdr>
          <a:left>
            <a:ln>
              <a:noFill/>
            </a:ln>
          </a:left>
          <a:right>
            <a:ln>
              <a:noFill/>
            </a:ln>
          </a:right>
          <a:top>
            <a:ln>
              <a:noFill/>
            </a:ln>
          </a:top>
          <a:bottom>
            <a:ln>
              <a:noFill/>
            </a:ln>
          </a:bottom>
          <a:insideH>
            <a:ln w="9525" cmpd="sng">
              <a:solidFill>
                <a:schemeClr val="accent1"/>
              </a:solidFill>
            </a:ln>
          </a:insideH>
          <a:insideV>
            <a:ln>
              <a:noFill/>
            </a:ln>
          </a:insideV>
        </a:tcBdr>
        <a:fill>
          <a:noFill/>
        </a:fill>
      </a:tcStyle>
    </a:wholeTbl>
    <a:firstCol>
      <a:tcTxStyle>
        <a:fontRef idx="minor">
          <a:prstClr val="black"/>
        </a:fontRef>
        <a:schemeClr val="tx1"/>
      </a:tcTxStyle>
      <a:tcStyle>
        <a:tcBdr/>
      </a:tcStyle>
    </a:firstCol>
    <a:firstRow>
      <a:tcTxStyle b="on">
        <a:fontRef idx="minor">
          <a:prstClr val="black"/>
        </a:fontRef>
        <a:schemeClr val="accent1"/>
      </a:tcTxStyle>
      <a:tcStyle>
        <a:tcBdr/>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101" d="100"/>
          <a:sy n="101" d="100"/>
        </p:scale>
        <p:origin x="144" y="258"/>
      </p:cViewPr>
      <p:guideLst/>
    </p:cSldViewPr>
  </p:slideViewPr>
  <p:notesTextViewPr>
    <p:cViewPr>
      <p:scale>
        <a:sx n="1" d="1"/>
        <a:sy n="1" d="1"/>
      </p:scale>
      <p:origin x="0" y="0"/>
    </p:cViewPr>
  </p:notesTextViewPr>
  <p:notesViewPr>
    <p:cSldViewPr snapToGrid="0">
      <p:cViewPr varScale="1">
        <p:scale>
          <a:sx n="66" d="100"/>
          <a:sy n="66" d="100"/>
        </p:scale>
        <p:origin x="0" y="0"/>
      </p:cViewPr>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6.xml"/><Relationship Id="rId21" Type="http://schemas.openxmlformats.org/officeDocument/2006/relationships/slide" Target="slides/slide11.xml"/><Relationship Id="rId34" Type="http://schemas.openxmlformats.org/officeDocument/2006/relationships/slide" Target="slides/slide24.xml"/><Relationship Id="rId42" Type="http://schemas.openxmlformats.org/officeDocument/2006/relationships/slide" Target="slides/slide32.xml"/><Relationship Id="rId47" Type="http://schemas.openxmlformats.org/officeDocument/2006/relationships/slide" Target="slides/slide37.xml"/><Relationship Id="rId50" Type="http://schemas.openxmlformats.org/officeDocument/2006/relationships/slide" Target="slides/slide40.xml"/><Relationship Id="rId55" Type="http://schemas.openxmlformats.org/officeDocument/2006/relationships/slide" Target="slides/slide45.xml"/><Relationship Id="rId63" Type="http://schemas.openxmlformats.org/officeDocument/2006/relationships/viewProps" Target="viewProps.xml"/><Relationship Id="rId7" Type="http://schemas.openxmlformats.org/officeDocument/2006/relationships/customXml" Target="../customXml/item7.xml"/><Relationship Id="rId2" Type="http://schemas.openxmlformats.org/officeDocument/2006/relationships/customXml" Target="../customXml/item2.xml"/><Relationship Id="rId16" Type="http://schemas.openxmlformats.org/officeDocument/2006/relationships/slide" Target="slides/slide6.xml"/><Relationship Id="rId29" Type="http://schemas.openxmlformats.org/officeDocument/2006/relationships/slide" Target="slides/slide19.xml"/><Relationship Id="rId11" Type="http://schemas.openxmlformats.org/officeDocument/2006/relationships/slide" Target="slides/slide1.xml"/><Relationship Id="rId24" Type="http://schemas.openxmlformats.org/officeDocument/2006/relationships/slide" Target="slides/slide14.xml"/><Relationship Id="rId32" Type="http://schemas.openxmlformats.org/officeDocument/2006/relationships/slide" Target="slides/slide22.xml"/><Relationship Id="rId37" Type="http://schemas.openxmlformats.org/officeDocument/2006/relationships/slide" Target="slides/slide27.xml"/><Relationship Id="rId40" Type="http://schemas.openxmlformats.org/officeDocument/2006/relationships/slide" Target="slides/slide30.xml"/><Relationship Id="rId45" Type="http://schemas.openxmlformats.org/officeDocument/2006/relationships/slide" Target="slides/slide35.xml"/><Relationship Id="rId53" Type="http://schemas.openxmlformats.org/officeDocument/2006/relationships/slide" Target="slides/slide43.xml"/><Relationship Id="rId58" Type="http://schemas.openxmlformats.org/officeDocument/2006/relationships/slide" Target="slides/slide48.xml"/><Relationship Id="rId66" Type="http://schemas.microsoft.com/office/2018/10/relationships/authors" Target="authors.xml"/><Relationship Id="rId5" Type="http://schemas.openxmlformats.org/officeDocument/2006/relationships/customXml" Target="../customXml/item5.xml"/><Relationship Id="rId61" Type="http://schemas.openxmlformats.org/officeDocument/2006/relationships/commentAuthors" Target="commentAuthors.xml"/><Relationship Id="rId19" Type="http://schemas.openxmlformats.org/officeDocument/2006/relationships/slide" Target="slides/slide9.xml"/><Relationship Id="rId14" Type="http://schemas.openxmlformats.org/officeDocument/2006/relationships/slide" Target="slides/slide4.xml"/><Relationship Id="rId22" Type="http://schemas.openxmlformats.org/officeDocument/2006/relationships/slide" Target="slides/slide12.xml"/><Relationship Id="rId27" Type="http://schemas.openxmlformats.org/officeDocument/2006/relationships/slide" Target="slides/slide17.xml"/><Relationship Id="rId30" Type="http://schemas.openxmlformats.org/officeDocument/2006/relationships/slide" Target="slides/slide20.xml"/><Relationship Id="rId35" Type="http://schemas.openxmlformats.org/officeDocument/2006/relationships/slide" Target="slides/slide25.xml"/><Relationship Id="rId43" Type="http://schemas.openxmlformats.org/officeDocument/2006/relationships/slide" Target="slides/slide33.xml"/><Relationship Id="rId48" Type="http://schemas.openxmlformats.org/officeDocument/2006/relationships/slide" Target="slides/slide38.xml"/><Relationship Id="rId56" Type="http://schemas.openxmlformats.org/officeDocument/2006/relationships/slide" Target="slides/slide46.xml"/><Relationship Id="rId64" Type="http://schemas.openxmlformats.org/officeDocument/2006/relationships/theme" Target="theme/theme1.xml"/><Relationship Id="rId8" Type="http://schemas.openxmlformats.org/officeDocument/2006/relationships/slideMaster" Target="slideMasters/slideMaster1.xml"/><Relationship Id="rId51" Type="http://schemas.openxmlformats.org/officeDocument/2006/relationships/slide" Target="slides/slide41.xml"/><Relationship Id="rId3" Type="http://schemas.openxmlformats.org/officeDocument/2006/relationships/customXml" Target="../customXml/item3.xml"/><Relationship Id="rId12" Type="http://schemas.openxmlformats.org/officeDocument/2006/relationships/slide" Target="slides/slide2.xml"/><Relationship Id="rId17" Type="http://schemas.openxmlformats.org/officeDocument/2006/relationships/slide" Target="slides/slide7.xml"/><Relationship Id="rId25" Type="http://schemas.openxmlformats.org/officeDocument/2006/relationships/slide" Target="slides/slide15.xml"/><Relationship Id="rId33" Type="http://schemas.openxmlformats.org/officeDocument/2006/relationships/slide" Target="slides/slide23.xml"/><Relationship Id="rId38" Type="http://schemas.openxmlformats.org/officeDocument/2006/relationships/slide" Target="slides/slide28.xml"/><Relationship Id="rId46" Type="http://schemas.openxmlformats.org/officeDocument/2006/relationships/slide" Target="slides/slide36.xml"/><Relationship Id="rId59" Type="http://schemas.openxmlformats.org/officeDocument/2006/relationships/notesMaster" Target="notesMasters/notesMaster1.xml"/><Relationship Id="rId20" Type="http://schemas.openxmlformats.org/officeDocument/2006/relationships/slide" Target="slides/slide10.xml"/><Relationship Id="rId41" Type="http://schemas.openxmlformats.org/officeDocument/2006/relationships/slide" Target="slides/slide31.xml"/><Relationship Id="rId54" Type="http://schemas.openxmlformats.org/officeDocument/2006/relationships/slide" Target="slides/slide44.xml"/><Relationship Id="rId62"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customXml" Target="../customXml/item6.xml"/><Relationship Id="rId15" Type="http://schemas.openxmlformats.org/officeDocument/2006/relationships/slide" Target="slides/slide5.xml"/><Relationship Id="rId23" Type="http://schemas.openxmlformats.org/officeDocument/2006/relationships/slide" Target="slides/slide13.xml"/><Relationship Id="rId28" Type="http://schemas.openxmlformats.org/officeDocument/2006/relationships/slide" Target="slides/slide18.xml"/><Relationship Id="rId36" Type="http://schemas.openxmlformats.org/officeDocument/2006/relationships/slide" Target="slides/slide26.xml"/><Relationship Id="rId49" Type="http://schemas.openxmlformats.org/officeDocument/2006/relationships/slide" Target="slides/slide39.xml"/><Relationship Id="rId57" Type="http://schemas.openxmlformats.org/officeDocument/2006/relationships/slide" Target="slides/slide47.xml"/><Relationship Id="rId10" Type="http://schemas.openxmlformats.org/officeDocument/2006/relationships/slideMaster" Target="slideMasters/slideMaster3.xml"/><Relationship Id="rId31" Type="http://schemas.openxmlformats.org/officeDocument/2006/relationships/slide" Target="slides/slide21.xml"/><Relationship Id="rId44" Type="http://schemas.openxmlformats.org/officeDocument/2006/relationships/slide" Target="slides/slide34.xml"/><Relationship Id="rId52" Type="http://schemas.openxmlformats.org/officeDocument/2006/relationships/slide" Target="slides/slide42.xml"/><Relationship Id="rId60" Type="http://schemas.openxmlformats.org/officeDocument/2006/relationships/handoutMaster" Target="handoutMasters/handoutMaster1.xml"/><Relationship Id="rId65" Type="http://schemas.openxmlformats.org/officeDocument/2006/relationships/tableStyles" Target="tableStyles.xml"/><Relationship Id="rId4" Type="http://schemas.openxmlformats.org/officeDocument/2006/relationships/customXml" Target="../customXml/item4.xml"/><Relationship Id="rId9" Type="http://schemas.openxmlformats.org/officeDocument/2006/relationships/slideMaster" Target="slideMasters/slideMaster2.xml"/><Relationship Id="rId13" Type="http://schemas.openxmlformats.org/officeDocument/2006/relationships/slide" Target="slides/slide3.xml"/><Relationship Id="rId18" Type="http://schemas.openxmlformats.org/officeDocument/2006/relationships/slide" Target="slides/slide8.xml"/><Relationship Id="rId39" Type="http://schemas.openxmlformats.org/officeDocument/2006/relationships/slide" Target="slides/slide29.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600" b="0" i="0" u="none" strike="noStrike" kern="1200" spc="0" baseline="0">
                <a:solidFill>
                  <a:schemeClr val="tx1">
                    <a:lumMod val="65000"/>
                    <a:lumOff val="35000"/>
                  </a:schemeClr>
                </a:solidFill>
                <a:latin typeface="+mn-lt"/>
                <a:ea typeface="+mn-ea"/>
                <a:cs typeface="+mn-cs"/>
              </a:defRPr>
            </a:pPr>
            <a:r>
              <a:rPr lang="en-US" sz="1600"/>
              <a:t>Importance</a:t>
            </a:r>
          </a:p>
        </c:rich>
      </c:tx>
      <c:overlay val="0"/>
      <c:spPr>
        <a:noFill/>
        <a:ln>
          <a:noFill/>
        </a:ln>
        <a:effectLst/>
      </c:spPr>
      <c:txPr>
        <a:bodyPr rot="0" spcFirstLastPara="1" vertOverflow="ellipsis" vert="horz" wrap="square" anchor="ctr" anchorCtr="1"/>
        <a:lstStyle/>
        <a:p>
          <a:pPr>
            <a:defRPr sz="16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bar"/>
        <c:grouping val="clustered"/>
        <c:varyColors val="0"/>
        <c:ser>
          <c:idx val="1"/>
          <c:order val="0"/>
          <c:tx>
            <c:strRef>
              <c:f>Sheet1!$C$1</c:f>
              <c:strCache>
                <c:ptCount val="1"/>
                <c:pt idx="0">
                  <c:v>Shapley values</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s good for my health</c:v>
                </c:pt>
                <c:pt idx="1">
                  <c:v>Is good for the environment</c:v>
                </c:pt>
                <c:pt idx="2">
                  <c:v>Is tasty</c:v>
                </c:pt>
                <c:pt idx="3">
                  <c:v>Is nutritional</c:v>
                </c:pt>
                <c:pt idx="4">
                  <c:v>Is appropriate for my whole family</c:v>
                </c:pt>
              </c:strCache>
            </c:strRef>
          </c:cat>
          <c:val>
            <c:numRef>
              <c:f>Sheet1!$C$2:$C$6</c:f>
              <c:numCache>
                <c:formatCode>0%</c:formatCode>
                <c:ptCount val="5"/>
                <c:pt idx="0">
                  <c:v>0.41558699131969501</c:v>
                </c:pt>
                <c:pt idx="1">
                  <c:v>0.1977083855742425</c:v>
                </c:pt>
                <c:pt idx="2">
                  <c:v>0.16088961636098301</c:v>
                </c:pt>
                <c:pt idx="3">
                  <c:v>0.114323766529472</c:v>
                </c:pt>
                <c:pt idx="4">
                  <c:v>0.111491240215608</c:v>
                </c:pt>
              </c:numCache>
            </c:numRef>
          </c:val>
          <c:extLst>
            <c:ext xmlns:c16="http://schemas.microsoft.com/office/drawing/2014/chart" uri="{C3380CC4-5D6E-409C-BE32-E72D297353CC}">
              <c16:uniqueId val="{00000001-54B3-4B6D-85E2-90C7E2A1E395}"/>
            </c:ext>
          </c:extLst>
        </c:ser>
        <c:dLbls>
          <c:showLegendKey val="0"/>
          <c:showVal val="0"/>
          <c:showCatName val="0"/>
          <c:showSerName val="0"/>
          <c:showPercent val="0"/>
          <c:showBubbleSize val="0"/>
        </c:dLbls>
        <c:gapWidth val="182"/>
        <c:axId val="1550991087"/>
        <c:axId val="1550969871"/>
      </c:barChart>
      <c:catAx>
        <c:axId val="1550991087"/>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550969871"/>
        <c:crosses val="autoZero"/>
        <c:auto val="1"/>
        <c:lblAlgn val="ctr"/>
        <c:lblOffset val="100"/>
        <c:noMultiLvlLbl val="0"/>
      </c:catAx>
      <c:valAx>
        <c:axId val="1550969871"/>
        <c:scaling>
          <c:orientation val="minMax"/>
        </c:scaling>
        <c:delete val="1"/>
        <c:axPos val="t"/>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crossAx val="1550991087"/>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6173902386715273E-2"/>
          <c:y val="0"/>
          <c:w val="0.92382622818202165"/>
          <c:h val="1"/>
        </c:manualLayout>
      </c:layout>
      <c:barChart>
        <c:barDir val="bar"/>
        <c:grouping val="clustered"/>
        <c:varyColors val="0"/>
        <c:ser>
          <c:idx val="0"/>
          <c:order val="0"/>
          <c:tx>
            <c:strRef>
              <c:f>Sheet1!$B$1</c:f>
              <c:strCache>
                <c:ptCount val="1"/>
                <c:pt idx="0">
                  <c:v>Series 1</c:v>
                </c:pt>
              </c:strCache>
            </c:strRef>
          </c:tx>
          <c:spPr>
            <a:solidFill>
              <a:srgbClr val="B3CFD4"/>
            </a:solidFill>
            <a:ln>
              <a:noFill/>
            </a:ln>
            <a:effectLst/>
          </c:spPr>
          <c:invertIfNegative val="0"/>
          <c:dLbls>
            <c:dLbl>
              <c:idx val="0"/>
              <c:layout>
                <c:manualLayout>
                  <c:x val="-9.7072791531876218E-17"/>
                  <c:y val="0"/>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4CC-4AB7-A5D0-6AE861220F13}"/>
                </c:ext>
              </c:extLst>
            </c:dLbl>
            <c:numFmt formatCode="0.0" sourceLinked="0"/>
            <c:spPr>
              <a:noFill/>
              <a:ln>
                <a:noFill/>
              </a:ln>
              <a:effectLst/>
            </c:spPr>
            <c:txPr>
              <a:bodyPr rot="0" spcFirstLastPara="1" vertOverflow="ellipsis" vert="horz" wrap="square" lIns="38100" tIns="19050" rIns="38100" bIns="19050" anchor="ctr" anchorCtr="0">
                <a:spAutoFit/>
              </a:bodyPr>
              <a:lstStyle/>
              <a:p>
                <a:pPr algn="ctr">
                  <a:defRPr lang="en-US" sz="1000" b="1" i="0" u="none" strike="noStrike" kern="1200" baseline="0">
                    <a:solidFill>
                      <a:srgbClr val="1C6D7D"/>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6"/>
                <c:pt idx="0">
                  <c:v>Category 1</c:v>
                </c:pt>
                <c:pt idx="1">
                  <c:v>Category 2</c:v>
                </c:pt>
                <c:pt idx="2">
                  <c:v>Category 3</c:v>
                </c:pt>
                <c:pt idx="3">
                  <c:v>Category 4</c:v>
                </c:pt>
                <c:pt idx="4">
                  <c:v>Category 5</c:v>
                </c:pt>
                <c:pt idx="5">
                  <c:v>Category 6</c:v>
                </c:pt>
              </c:strCache>
            </c:strRef>
          </c:cat>
          <c:val>
            <c:numRef>
              <c:f>Sheet1!$B$2:$B$9</c:f>
              <c:numCache>
                <c:formatCode>0.00</c:formatCode>
                <c:ptCount val="8"/>
                <c:pt idx="0">
                  <c:v>92.3</c:v>
                </c:pt>
                <c:pt idx="1">
                  <c:v>91.1</c:v>
                </c:pt>
                <c:pt idx="2">
                  <c:v>90.8</c:v>
                </c:pt>
                <c:pt idx="3">
                  <c:v>88.5</c:v>
                </c:pt>
                <c:pt idx="4">
                  <c:v>87.8</c:v>
                </c:pt>
                <c:pt idx="5">
                  <c:v>82.3</c:v>
                </c:pt>
                <c:pt idx="6">
                  <c:v>81.099999999999994</c:v>
                </c:pt>
                <c:pt idx="7">
                  <c:v>80.599999999999994</c:v>
                </c:pt>
              </c:numCache>
            </c:numRef>
          </c:val>
          <c:extLst>
            <c:ext xmlns:c16="http://schemas.microsoft.com/office/drawing/2014/chart" uri="{C3380CC4-5D6E-409C-BE32-E72D297353CC}">
              <c16:uniqueId val="{00000001-14CC-4AB7-A5D0-6AE861220F13}"/>
            </c:ext>
          </c:extLst>
        </c:ser>
        <c:dLbls>
          <c:dLblPos val="outEnd"/>
          <c:showLegendKey val="0"/>
          <c:showVal val="1"/>
          <c:showCatName val="0"/>
          <c:showSerName val="0"/>
          <c:showPercent val="0"/>
          <c:showBubbleSize val="0"/>
        </c:dLbls>
        <c:gapWidth val="41"/>
        <c:axId val="488996144"/>
        <c:axId val="489002128"/>
      </c:barChart>
      <c:catAx>
        <c:axId val="488996144"/>
        <c:scaling>
          <c:orientation val="maxMin"/>
        </c:scaling>
        <c:delete val="1"/>
        <c:axPos val="l"/>
        <c:numFmt formatCode="General" sourceLinked="1"/>
        <c:majorTickMark val="out"/>
        <c:minorTickMark val="none"/>
        <c:tickLblPos val="nextTo"/>
        <c:crossAx val="489002128"/>
        <c:crosses val="autoZero"/>
        <c:auto val="1"/>
        <c:lblAlgn val="ctr"/>
        <c:lblOffset val="100"/>
        <c:noMultiLvlLbl val="0"/>
      </c:catAx>
      <c:valAx>
        <c:axId val="489002128"/>
        <c:scaling>
          <c:orientation val="minMax"/>
          <c:max val="100"/>
          <c:min val="50"/>
        </c:scaling>
        <c:delete val="1"/>
        <c:axPos val="t"/>
        <c:majorGridlines>
          <c:spPr>
            <a:ln w="9525" cap="flat" cmpd="sng" algn="ctr">
              <a:noFill/>
              <a:round/>
            </a:ln>
            <a:effectLst/>
          </c:spPr>
        </c:majorGridlines>
        <c:numFmt formatCode="0.00" sourceLinked="1"/>
        <c:majorTickMark val="out"/>
        <c:minorTickMark val="none"/>
        <c:tickLblPos val="nextTo"/>
        <c:crossAx val="488996144"/>
        <c:crosses val="autoZero"/>
        <c:crossBetween val="between"/>
        <c:minorUnit val="0.5"/>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95C9F0DD-51D0-454E-BA48-A61E5CBF3AFF}" type="doc">
      <dgm:prSet loTypeId="urn:microsoft.com/office/officeart/2005/8/layout/pyramid3" loCatId="pyramid" qsTypeId="urn:microsoft.com/office/officeart/2005/8/quickstyle/simple1" qsCatId="simple" csTypeId="urn:microsoft.com/office/officeart/2005/8/colors/accent1_2" csCatId="accent1" phldr="1"/>
      <dgm:spPr/>
    </dgm:pt>
    <dgm:pt modelId="{91C191AF-DC39-4644-B78B-E2BF5F28F83F}">
      <dgm:prSet phldrT="[Text]" custT="1"/>
      <dgm:spPr>
        <a:solidFill>
          <a:schemeClr val="accent2">
            <a:lumMod val="40000"/>
            <a:lumOff val="60000"/>
          </a:schemeClr>
        </a:solidFill>
      </dgm:spPr>
      <dgm:t>
        <a:bodyPr/>
        <a:lstStyle/>
        <a:p>
          <a:r>
            <a:rPr lang="en-US" sz="2000" b="1">
              <a:solidFill>
                <a:schemeClr val="bg2"/>
              </a:solidFill>
            </a:rPr>
            <a:t>Q1 </a:t>
          </a:r>
          <a:endParaRPr lang="en-GB" sz="2000" b="1">
            <a:solidFill>
              <a:schemeClr val="bg2"/>
            </a:solidFill>
          </a:endParaRPr>
        </a:p>
      </dgm:t>
    </dgm:pt>
    <dgm:pt modelId="{043DE7B6-E340-43F1-9401-C25437F4F869}" type="parTrans" cxnId="{899FCAB6-DA6F-4A9F-BA6C-3D5181336A46}">
      <dgm:prSet/>
      <dgm:spPr/>
      <dgm:t>
        <a:bodyPr/>
        <a:lstStyle/>
        <a:p>
          <a:endParaRPr lang="en-GB" sz="2000" b="1">
            <a:solidFill>
              <a:schemeClr val="bg1"/>
            </a:solidFill>
          </a:endParaRPr>
        </a:p>
      </dgm:t>
    </dgm:pt>
    <dgm:pt modelId="{EEDDB259-49F7-4403-AB06-4ABD5B47DD63}" type="sibTrans" cxnId="{899FCAB6-DA6F-4A9F-BA6C-3D5181336A46}">
      <dgm:prSet/>
      <dgm:spPr/>
      <dgm:t>
        <a:bodyPr/>
        <a:lstStyle/>
        <a:p>
          <a:endParaRPr lang="en-GB" sz="2000" b="1">
            <a:solidFill>
              <a:schemeClr val="bg1"/>
            </a:solidFill>
          </a:endParaRPr>
        </a:p>
      </dgm:t>
    </dgm:pt>
    <dgm:pt modelId="{1C1ED98A-58EC-44D8-99B0-EB15DD433975}">
      <dgm:prSet phldrT="[Text]" custT="1"/>
      <dgm:spPr>
        <a:solidFill>
          <a:schemeClr val="accent2">
            <a:lumMod val="60000"/>
            <a:lumOff val="40000"/>
          </a:schemeClr>
        </a:solidFill>
      </dgm:spPr>
      <dgm:t>
        <a:bodyPr/>
        <a:lstStyle/>
        <a:p>
          <a:r>
            <a:rPr lang="en-US" sz="2000" b="1">
              <a:solidFill>
                <a:schemeClr val="bg2"/>
              </a:solidFill>
            </a:rPr>
            <a:t>Q2 </a:t>
          </a:r>
          <a:endParaRPr lang="en-GB" sz="2000" b="1">
            <a:solidFill>
              <a:schemeClr val="bg2"/>
            </a:solidFill>
          </a:endParaRPr>
        </a:p>
      </dgm:t>
    </dgm:pt>
    <dgm:pt modelId="{4D09449A-FC99-48F6-8658-94BDC2249C3F}" type="parTrans" cxnId="{23FCF5D2-E62E-4788-A6E3-D01E9A7E9359}">
      <dgm:prSet/>
      <dgm:spPr/>
      <dgm:t>
        <a:bodyPr/>
        <a:lstStyle/>
        <a:p>
          <a:endParaRPr lang="en-GB" sz="2000" b="1">
            <a:solidFill>
              <a:schemeClr val="bg1"/>
            </a:solidFill>
          </a:endParaRPr>
        </a:p>
      </dgm:t>
    </dgm:pt>
    <dgm:pt modelId="{C59D609B-F275-43BF-B1D1-906067B33C14}" type="sibTrans" cxnId="{23FCF5D2-E62E-4788-A6E3-D01E9A7E9359}">
      <dgm:prSet/>
      <dgm:spPr/>
      <dgm:t>
        <a:bodyPr/>
        <a:lstStyle/>
        <a:p>
          <a:endParaRPr lang="en-GB" sz="2000" b="1">
            <a:solidFill>
              <a:schemeClr val="bg1"/>
            </a:solidFill>
          </a:endParaRPr>
        </a:p>
      </dgm:t>
    </dgm:pt>
    <dgm:pt modelId="{7ECAD3BC-AEC1-4F31-942F-F760EE77CBE8}">
      <dgm:prSet phldrT="[Text]" custT="1"/>
      <dgm:spPr>
        <a:solidFill>
          <a:schemeClr val="accent1"/>
        </a:solidFill>
      </dgm:spPr>
      <dgm:t>
        <a:bodyPr/>
        <a:lstStyle/>
        <a:p>
          <a:r>
            <a:rPr lang="en-US" sz="2000" b="1">
              <a:solidFill>
                <a:schemeClr val="bg1"/>
              </a:solidFill>
            </a:rPr>
            <a:t>Q3</a:t>
          </a:r>
          <a:endParaRPr lang="en-GB" sz="2000" b="1">
            <a:solidFill>
              <a:schemeClr val="bg1"/>
            </a:solidFill>
          </a:endParaRPr>
        </a:p>
      </dgm:t>
    </dgm:pt>
    <dgm:pt modelId="{3CCC35E6-15A8-4AAE-AC0C-04D92F432BAE}" type="parTrans" cxnId="{7FA6F39E-DAC3-4DD9-9C07-07722B700E33}">
      <dgm:prSet/>
      <dgm:spPr/>
      <dgm:t>
        <a:bodyPr/>
        <a:lstStyle/>
        <a:p>
          <a:endParaRPr lang="en-GB" sz="2000" b="1">
            <a:solidFill>
              <a:schemeClr val="bg1"/>
            </a:solidFill>
          </a:endParaRPr>
        </a:p>
      </dgm:t>
    </dgm:pt>
    <dgm:pt modelId="{D7F03CDC-0FDB-48B0-8A98-C9D365698F07}" type="sibTrans" cxnId="{7FA6F39E-DAC3-4DD9-9C07-07722B700E33}">
      <dgm:prSet/>
      <dgm:spPr/>
      <dgm:t>
        <a:bodyPr/>
        <a:lstStyle/>
        <a:p>
          <a:endParaRPr lang="en-GB" sz="2000" b="1">
            <a:solidFill>
              <a:schemeClr val="bg1"/>
            </a:solidFill>
          </a:endParaRPr>
        </a:p>
      </dgm:t>
    </dgm:pt>
    <dgm:pt modelId="{A026570F-0C87-4690-9B91-43D195D984E1}" type="pres">
      <dgm:prSet presAssocID="{95C9F0DD-51D0-454E-BA48-A61E5CBF3AFF}" presName="Name0" presStyleCnt="0">
        <dgm:presLayoutVars>
          <dgm:dir/>
          <dgm:animLvl val="lvl"/>
          <dgm:resizeHandles val="exact"/>
        </dgm:presLayoutVars>
      </dgm:prSet>
      <dgm:spPr/>
    </dgm:pt>
    <dgm:pt modelId="{A5FCD491-A192-40AD-A496-B2B71E9A81AE}" type="pres">
      <dgm:prSet presAssocID="{91C191AF-DC39-4644-B78B-E2BF5F28F83F}" presName="Name8" presStyleCnt="0"/>
      <dgm:spPr/>
    </dgm:pt>
    <dgm:pt modelId="{3B64FDDF-E411-4EAC-AFDF-42B095A35535}" type="pres">
      <dgm:prSet presAssocID="{91C191AF-DC39-4644-B78B-E2BF5F28F83F}" presName="level" presStyleLbl="node1" presStyleIdx="0" presStyleCnt="3">
        <dgm:presLayoutVars>
          <dgm:chMax val="1"/>
          <dgm:bulletEnabled val="1"/>
        </dgm:presLayoutVars>
      </dgm:prSet>
      <dgm:spPr/>
    </dgm:pt>
    <dgm:pt modelId="{C5A5834B-90EE-4904-A194-6BBCE2E9EC3C}" type="pres">
      <dgm:prSet presAssocID="{91C191AF-DC39-4644-B78B-E2BF5F28F83F}" presName="levelTx" presStyleLbl="revTx" presStyleIdx="0" presStyleCnt="0">
        <dgm:presLayoutVars>
          <dgm:chMax val="1"/>
          <dgm:bulletEnabled val="1"/>
        </dgm:presLayoutVars>
      </dgm:prSet>
      <dgm:spPr/>
    </dgm:pt>
    <dgm:pt modelId="{DD82C658-BA6D-487B-8981-72BB250781E1}" type="pres">
      <dgm:prSet presAssocID="{1C1ED98A-58EC-44D8-99B0-EB15DD433975}" presName="Name8" presStyleCnt="0"/>
      <dgm:spPr/>
    </dgm:pt>
    <dgm:pt modelId="{D6E2A49C-5A93-445D-85E5-0722FC61BED1}" type="pres">
      <dgm:prSet presAssocID="{1C1ED98A-58EC-44D8-99B0-EB15DD433975}" presName="level" presStyleLbl="node1" presStyleIdx="1" presStyleCnt="3">
        <dgm:presLayoutVars>
          <dgm:chMax val="1"/>
          <dgm:bulletEnabled val="1"/>
        </dgm:presLayoutVars>
      </dgm:prSet>
      <dgm:spPr/>
    </dgm:pt>
    <dgm:pt modelId="{7BC08D0C-53AC-4CF3-93DF-7D84048FBB98}" type="pres">
      <dgm:prSet presAssocID="{1C1ED98A-58EC-44D8-99B0-EB15DD433975}" presName="levelTx" presStyleLbl="revTx" presStyleIdx="0" presStyleCnt="0">
        <dgm:presLayoutVars>
          <dgm:chMax val="1"/>
          <dgm:bulletEnabled val="1"/>
        </dgm:presLayoutVars>
      </dgm:prSet>
      <dgm:spPr/>
    </dgm:pt>
    <dgm:pt modelId="{C71211DC-1A24-4E67-A084-C91C25C53160}" type="pres">
      <dgm:prSet presAssocID="{7ECAD3BC-AEC1-4F31-942F-F760EE77CBE8}" presName="Name8" presStyleCnt="0"/>
      <dgm:spPr/>
    </dgm:pt>
    <dgm:pt modelId="{B581055B-2C7A-4700-8E6B-333225650A40}" type="pres">
      <dgm:prSet presAssocID="{7ECAD3BC-AEC1-4F31-942F-F760EE77CBE8}" presName="level" presStyleLbl="node1" presStyleIdx="2" presStyleCnt="3">
        <dgm:presLayoutVars>
          <dgm:chMax val="1"/>
          <dgm:bulletEnabled val="1"/>
        </dgm:presLayoutVars>
      </dgm:prSet>
      <dgm:spPr/>
    </dgm:pt>
    <dgm:pt modelId="{8BD498DB-8944-4EF0-BF4E-EADA38EDD7D0}" type="pres">
      <dgm:prSet presAssocID="{7ECAD3BC-AEC1-4F31-942F-F760EE77CBE8}" presName="levelTx" presStyleLbl="revTx" presStyleIdx="0" presStyleCnt="0">
        <dgm:presLayoutVars>
          <dgm:chMax val="1"/>
          <dgm:bulletEnabled val="1"/>
        </dgm:presLayoutVars>
      </dgm:prSet>
      <dgm:spPr/>
    </dgm:pt>
  </dgm:ptLst>
  <dgm:cxnLst>
    <dgm:cxn modelId="{CE644B37-02AD-4E29-8497-128E8E511282}" type="presOf" srcId="{1C1ED98A-58EC-44D8-99B0-EB15DD433975}" destId="{7BC08D0C-53AC-4CF3-93DF-7D84048FBB98}" srcOrd="1" destOrd="0" presId="urn:microsoft.com/office/officeart/2005/8/layout/pyramid3"/>
    <dgm:cxn modelId="{9FE54044-1E51-45EB-A620-FB6AEB88D175}" type="presOf" srcId="{91C191AF-DC39-4644-B78B-E2BF5F28F83F}" destId="{3B64FDDF-E411-4EAC-AFDF-42B095A35535}" srcOrd="0" destOrd="0" presId="urn:microsoft.com/office/officeart/2005/8/layout/pyramid3"/>
    <dgm:cxn modelId="{79009887-F3C0-48FE-9BE5-CD721DDE81FB}" type="presOf" srcId="{95C9F0DD-51D0-454E-BA48-A61E5CBF3AFF}" destId="{A026570F-0C87-4690-9B91-43D195D984E1}" srcOrd="0" destOrd="0" presId="urn:microsoft.com/office/officeart/2005/8/layout/pyramid3"/>
    <dgm:cxn modelId="{7FA6F39E-DAC3-4DD9-9C07-07722B700E33}" srcId="{95C9F0DD-51D0-454E-BA48-A61E5CBF3AFF}" destId="{7ECAD3BC-AEC1-4F31-942F-F760EE77CBE8}" srcOrd="2" destOrd="0" parTransId="{3CCC35E6-15A8-4AAE-AC0C-04D92F432BAE}" sibTransId="{D7F03CDC-0FDB-48B0-8A98-C9D365698F07}"/>
    <dgm:cxn modelId="{899FCAB6-DA6F-4A9F-BA6C-3D5181336A46}" srcId="{95C9F0DD-51D0-454E-BA48-A61E5CBF3AFF}" destId="{91C191AF-DC39-4644-B78B-E2BF5F28F83F}" srcOrd="0" destOrd="0" parTransId="{043DE7B6-E340-43F1-9401-C25437F4F869}" sibTransId="{EEDDB259-49F7-4403-AB06-4ABD5B47DD63}"/>
    <dgm:cxn modelId="{FB03C5CC-C684-4926-82FE-8C6A4AC9B52A}" type="presOf" srcId="{91C191AF-DC39-4644-B78B-E2BF5F28F83F}" destId="{C5A5834B-90EE-4904-A194-6BBCE2E9EC3C}" srcOrd="1" destOrd="0" presId="urn:microsoft.com/office/officeart/2005/8/layout/pyramid3"/>
    <dgm:cxn modelId="{23FCF5D2-E62E-4788-A6E3-D01E9A7E9359}" srcId="{95C9F0DD-51D0-454E-BA48-A61E5CBF3AFF}" destId="{1C1ED98A-58EC-44D8-99B0-EB15DD433975}" srcOrd="1" destOrd="0" parTransId="{4D09449A-FC99-48F6-8658-94BDC2249C3F}" sibTransId="{C59D609B-F275-43BF-B1D1-906067B33C14}"/>
    <dgm:cxn modelId="{51972EE7-A675-4F72-9EBD-B75BD4882717}" type="presOf" srcId="{7ECAD3BC-AEC1-4F31-942F-F760EE77CBE8}" destId="{8BD498DB-8944-4EF0-BF4E-EADA38EDD7D0}" srcOrd="1" destOrd="0" presId="urn:microsoft.com/office/officeart/2005/8/layout/pyramid3"/>
    <dgm:cxn modelId="{9D3241EB-E8D0-4BD3-BBAA-67C45F6AD4A5}" type="presOf" srcId="{1C1ED98A-58EC-44D8-99B0-EB15DD433975}" destId="{D6E2A49C-5A93-445D-85E5-0722FC61BED1}" srcOrd="0" destOrd="0" presId="urn:microsoft.com/office/officeart/2005/8/layout/pyramid3"/>
    <dgm:cxn modelId="{9B07D0FB-12E5-4084-973A-6EEEDD47F45F}" type="presOf" srcId="{7ECAD3BC-AEC1-4F31-942F-F760EE77CBE8}" destId="{B581055B-2C7A-4700-8E6B-333225650A40}" srcOrd="0" destOrd="0" presId="urn:microsoft.com/office/officeart/2005/8/layout/pyramid3"/>
    <dgm:cxn modelId="{7D01EA2F-8C51-4446-A79C-25E3BDB6B069}" type="presParOf" srcId="{A026570F-0C87-4690-9B91-43D195D984E1}" destId="{A5FCD491-A192-40AD-A496-B2B71E9A81AE}" srcOrd="0" destOrd="0" presId="urn:microsoft.com/office/officeart/2005/8/layout/pyramid3"/>
    <dgm:cxn modelId="{411B8511-9E3A-4CFE-9156-FC0428B004C0}" type="presParOf" srcId="{A5FCD491-A192-40AD-A496-B2B71E9A81AE}" destId="{3B64FDDF-E411-4EAC-AFDF-42B095A35535}" srcOrd="0" destOrd="0" presId="urn:microsoft.com/office/officeart/2005/8/layout/pyramid3"/>
    <dgm:cxn modelId="{000E8940-A3BC-44F3-AB86-0437C04D2885}" type="presParOf" srcId="{A5FCD491-A192-40AD-A496-B2B71E9A81AE}" destId="{C5A5834B-90EE-4904-A194-6BBCE2E9EC3C}" srcOrd="1" destOrd="0" presId="urn:microsoft.com/office/officeart/2005/8/layout/pyramid3"/>
    <dgm:cxn modelId="{DDCF76E2-D105-45D4-AF64-A08D29B1B2DE}" type="presParOf" srcId="{A026570F-0C87-4690-9B91-43D195D984E1}" destId="{DD82C658-BA6D-487B-8981-72BB250781E1}" srcOrd="1" destOrd="0" presId="urn:microsoft.com/office/officeart/2005/8/layout/pyramid3"/>
    <dgm:cxn modelId="{3E999C10-86AC-43DD-8B49-36D117E20351}" type="presParOf" srcId="{DD82C658-BA6D-487B-8981-72BB250781E1}" destId="{D6E2A49C-5A93-445D-85E5-0722FC61BED1}" srcOrd="0" destOrd="0" presId="urn:microsoft.com/office/officeart/2005/8/layout/pyramid3"/>
    <dgm:cxn modelId="{C645E166-3F2B-43C2-AE95-598ACA6A0CA5}" type="presParOf" srcId="{DD82C658-BA6D-487B-8981-72BB250781E1}" destId="{7BC08D0C-53AC-4CF3-93DF-7D84048FBB98}" srcOrd="1" destOrd="0" presId="urn:microsoft.com/office/officeart/2005/8/layout/pyramid3"/>
    <dgm:cxn modelId="{5B4EDBF1-57A9-4346-A12E-BEEE89162014}" type="presParOf" srcId="{A026570F-0C87-4690-9B91-43D195D984E1}" destId="{C71211DC-1A24-4E67-A084-C91C25C53160}" srcOrd="2" destOrd="0" presId="urn:microsoft.com/office/officeart/2005/8/layout/pyramid3"/>
    <dgm:cxn modelId="{27B3F5CF-B273-4441-92E0-D067884B9C91}" type="presParOf" srcId="{C71211DC-1A24-4E67-A084-C91C25C53160}" destId="{B581055B-2C7A-4700-8E6B-333225650A40}" srcOrd="0" destOrd="0" presId="urn:microsoft.com/office/officeart/2005/8/layout/pyramid3"/>
    <dgm:cxn modelId="{9A27A5C7-3B18-4C38-9B8D-F00C6843300B}" type="presParOf" srcId="{C71211DC-1A24-4E67-A084-C91C25C53160}" destId="{8BD498DB-8944-4EF0-BF4E-EADA38EDD7D0}" srcOrd="1" destOrd="0" presId="urn:microsoft.com/office/officeart/2005/8/layout/pyramid3"/>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B64FDDF-E411-4EAC-AFDF-42B095A35535}">
      <dsp:nvSpPr>
        <dsp:cNvPr id="0" name=""/>
        <dsp:cNvSpPr/>
      </dsp:nvSpPr>
      <dsp:spPr>
        <a:xfrm rot="10800000">
          <a:off x="0" y="0"/>
          <a:ext cx="4137428" cy="1136143"/>
        </a:xfrm>
        <a:prstGeom prst="trapezoid">
          <a:avLst>
            <a:gd name="adj" fmla="val 60694"/>
          </a:avLst>
        </a:prstGeom>
        <a:solidFill>
          <a:schemeClr val="accent2">
            <a:lumMod val="40000"/>
            <a:lumOff val="6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5400" tIns="25400" rIns="25400" bIns="25400" numCol="1" spcCol="1270" anchor="ctr" anchorCtr="0">
          <a:noAutofit/>
        </a:bodyPr>
        <a:lstStyle/>
        <a:p>
          <a:pPr marL="0" lvl="0" indent="0" algn="ctr" defTabSz="889000">
            <a:lnSpc>
              <a:spcPct val="90000"/>
            </a:lnSpc>
            <a:spcBef>
              <a:spcPct val="0"/>
            </a:spcBef>
            <a:spcAft>
              <a:spcPct val="35000"/>
            </a:spcAft>
            <a:buNone/>
          </a:pPr>
          <a:r>
            <a:rPr lang="en-US" sz="2000" b="1" kern="1200">
              <a:solidFill>
                <a:schemeClr val="bg2"/>
              </a:solidFill>
            </a:rPr>
            <a:t>Q1 </a:t>
          </a:r>
          <a:endParaRPr lang="en-GB" sz="2000" b="1" kern="1200">
            <a:solidFill>
              <a:schemeClr val="bg2"/>
            </a:solidFill>
          </a:endParaRPr>
        </a:p>
      </dsp:txBody>
      <dsp:txXfrm rot="-10800000">
        <a:off x="724049" y="0"/>
        <a:ext cx="2689328" cy="1136143"/>
      </dsp:txXfrm>
    </dsp:sp>
    <dsp:sp modelId="{D6E2A49C-5A93-445D-85E5-0722FC61BED1}">
      <dsp:nvSpPr>
        <dsp:cNvPr id="0" name=""/>
        <dsp:cNvSpPr/>
      </dsp:nvSpPr>
      <dsp:spPr>
        <a:xfrm rot="10800000">
          <a:off x="689571" y="1136143"/>
          <a:ext cx="2758285" cy="1136143"/>
        </a:xfrm>
        <a:prstGeom prst="trapezoid">
          <a:avLst>
            <a:gd name="adj" fmla="val 60694"/>
          </a:avLst>
        </a:prstGeom>
        <a:solidFill>
          <a:schemeClr val="accent2">
            <a:lumMod val="60000"/>
            <a:lumOff val="4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5400" tIns="25400" rIns="25400" bIns="25400" numCol="1" spcCol="1270" anchor="ctr" anchorCtr="0">
          <a:noAutofit/>
        </a:bodyPr>
        <a:lstStyle/>
        <a:p>
          <a:pPr marL="0" lvl="0" indent="0" algn="ctr" defTabSz="889000">
            <a:lnSpc>
              <a:spcPct val="90000"/>
            </a:lnSpc>
            <a:spcBef>
              <a:spcPct val="0"/>
            </a:spcBef>
            <a:spcAft>
              <a:spcPct val="35000"/>
            </a:spcAft>
            <a:buNone/>
          </a:pPr>
          <a:r>
            <a:rPr lang="en-US" sz="2000" b="1" kern="1200">
              <a:solidFill>
                <a:schemeClr val="bg2"/>
              </a:solidFill>
            </a:rPr>
            <a:t>Q2 </a:t>
          </a:r>
          <a:endParaRPr lang="en-GB" sz="2000" b="1" kern="1200">
            <a:solidFill>
              <a:schemeClr val="bg2"/>
            </a:solidFill>
          </a:endParaRPr>
        </a:p>
      </dsp:txBody>
      <dsp:txXfrm rot="-10800000">
        <a:off x="1172271" y="1136143"/>
        <a:ext cx="1792885" cy="1136143"/>
      </dsp:txXfrm>
    </dsp:sp>
    <dsp:sp modelId="{B581055B-2C7A-4700-8E6B-333225650A40}">
      <dsp:nvSpPr>
        <dsp:cNvPr id="0" name=""/>
        <dsp:cNvSpPr/>
      </dsp:nvSpPr>
      <dsp:spPr>
        <a:xfrm rot="10800000">
          <a:off x="1379142" y="2272286"/>
          <a:ext cx="1379142" cy="1136143"/>
        </a:xfrm>
        <a:prstGeom prst="trapezoid">
          <a:avLst>
            <a:gd name="adj" fmla="val 60694"/>
          </a:avLst>
        </a:prstGeom>
        <a:solidFill>
          <a:schemeClr val="accent1"/>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5400" tIns="25400" rIns="25400" bIns="25400" numCol="1" spcCol="1270" anchor="ctr" anchorCtr="0">
          <a:noAutofit/>
        </a:bodyPr>
        <a:lstStyle/>
        <a:p>
          <a:pPr marL="0" lvl="0" indent="0" algn="ctr" defTabSz="889000">
            <a:lnSpc>
              <a:spcPct val="90000"/>
            </a:lnSpc>
            <a:spcBef>
              <a:spcPct val="0"/>
            </a:spcBef>
            <a:spcAft>
              <a:spcPct val="35000"/>
            </a:spcAft>
            <a:buNone/>
          </a:pPr>
          <a:r>
            <a:rPr lang="en-US" sz="2000" b="1" kern="1200">
              <a:solidFill>
                <a:schemeClr val="bg1"/>
              </a:solidFill>
            </a:rPr>
            <a:t>Q3</a:t>
          </a:r>
          <a:endParaRPr lang="en-GB" sz="2000" b="1" kern="1200">
            <a:solidFill>
              <a:schemeClr val="bg1"/>
            </a:solidFill>
          </a:endParaRPr>
        </a:p>
      </dsp:txBody>
      <dsp:txXfrm rot="-10800000">
        <a:off x="1379142" y="2272286"/>
        <a:ext cx="1379142" cy="1136143"/>
      </dsp:txXfrm>
    </dsp:sp>
  </dsp:spTree>
</dsp:drawing>
</file>

<file path=ppt/diagrams/layout1.xml><?xml version="1.0" encoding="utf-8"?>
<dgm:layoutDef xmlns:dgm="http://schemas.openxmlformats.org/drawingml/2006/diagram" xmlns:a="http://schemas.openxmlformats.org/drawingml/2006/main" uniqueId="urn:microsoft.com/office/officeart/2005/8/layout/pyramid3">
  <dgm:title val=""/>
  <dgm:desc val=""/>
  <dgm:catLst>
    <dgm:cat type="pyramid" pri="2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pyra">
          <dgm:param type="linDir" val="fromT"/>
          <dgm:param type="txDir" val="fromT"/>
          <dgm:param type="pyraAcctPos" val="aft"/>
          <dgm:param type="pyraAcctTxMar" val="step"/>
          <dgm:param type="pyraAcctBkgdNode" val="acctBkgd"/>
          <dgm:param type="pyraAcctTxNode" val="acctTx"/>
          <dgm:param type="pyraLvlNode" val="level"/>
        </dgm:alg>
      </dgm:if>
      <dgm:else name="Name3">
        <dgm:alg type="pyra">
          <dgm:param type="linDir" val="fromT"/>
          <dgm:param type="txDir" val="fromT"/>
          <dgm:param type="pyraAcctPos" val="bef"/>
          <dgm:param type="pyraAcctTxMar" val="step"/>
          <dgm:param type="pyraAcctBkgdNode" val="acctBkgd"/>
          <dgm:param type="pyraAcctTxNode" val="acctTx"/>
          <dgm:param type="pyraLvlNode" val="level"/>
        </dgm:alg>
      </dgm:else>
    </dgm:choose>
    <dgm:shape xmlns:r="http://schemas.openxmlformats.org/officeDocument/2006/relationships" r:blip="">
      <dgm:adjLst/>
    </dgm:shape>
    <dgm:presOf/>
    <dgm:choose name="Name4">
      <dgm:if name="Name5" axis="root des" ptType="all node" func="maxDepth" op="gte" val="2">
        <dgm:constrLst>
          <dgm:constr type="primFontSz" for="des" forName="levelTx" op="equ"/>
          <dgm:constr type="secFontSz" for="des" forName="acctTx" op="equ"/>
          <dgm:constr type="pyraAcctRatio" val="0.32"/>
        </dgm:constrLst>
      </dgm:if>
      <dgm:else name="Name6">
        <dgm:constrLst>
          <dgm:constr type="primFontSz" for="des" forName="levelTx" op="equ"/>
          <dgm:constr type="secFontSz" for="des" forName="acctTx" op="equ"/>
          <dgm:constr type="pyraAcctRatio"/>
        </dgm:constrLst>
      </dgm:else>
    </dgm:choose>
    <dgm:ruleLst/>
    <dgm:forEach name="Name7" axis="ch" ptType="node">
      <dgm:layoutNode name="Name8">
        <dgm:alg type="composite">
          <dgm:param type="horzAlign" val="none"/>
        </dgm:alg>
        <dgm:shape xmlns:r="http://schemas.openxmlformats.org/officeDocument/2006/relationships" r:blip="">
          <dgm:adjLst/>
        </dgm:shape>
        <dgm:presOf/>
        <dgm:choose name="Name9">
          <dgm:if name="Name10" axis="self" ptType="node" func="revPos" op="equ" val="1">
            <dgm:constrLst>
              <dgm:constr type="ctrX" for="ch" forName="acctBkgd" val="1"/>
              <dgm:constr type="ctrY" for="ch" forName="acctBkgd" val="1"/>
              <dgm:constr type="w" for="ch" forName="acctBkgd" val="1"/>
              <dgm:constr type="h" for="ch" forName="acctBkgd" val="1"/>
              <dgm:constr type="ctrX" for="ch" forName="acctTx" val="1"/>
              <dgm:constr type="ctrY" for="ch" forName="acctTx" val="1"/>
              <dgm:constr type="w" for="ch" forName="acctTx" val="1"/>
              <dgm:constr type="h" for="ch" forName="acctTx" val="1"/>
              <dgm:constr type="ctrX" for="ch" forName="level" val="1"/>
              <dgm:constr type="ctrY" for="ch" forName="level" val="1"/>
              <dgm:constr type="w" for="ch" forName="level" val="1"/>
              <dgm:constr type="h" for="ch" forName="level" val="1"/>
              <dgm:constr type="ctrX" for="ch" forName="levelTx" refType="ctrX" refFor="ch" refForName="level"/>
              <dgm:constr type="ctrY" for="ch" forName="levelTx" refType="ctrY" refFor="ch" refForName="level"/>
              <dgm:constr type="w" for="ch" forName="levelTx" refType="w" refFor="ch" refForName="level"/>
              <dgm:constr type="h" for="ch" forName="levelTx" refType="h" refFor="ch" refForName="level"/>
            </dgm:constrLst>
          </dgm:if>
          <dgm:else name="Name11">
            <dgm:constrLst>
              <dgm:constr type="ctrX" for="ch" forName="acctBkgd" val="1"/>
              <dgm:constr type="ctrY" for="ch" forName="acctBkgd" val="1"/>
              <dgm:constr type="w" for="ch" forName="acctBkgd" val="1"/>
              <dgm:constr type="h" for="ch" forName="acctBkgd" val="1"/>
              <dgm:constr type="ctrX" for="ch" forName="acctTx" val="1"/>
              <dgm:constr type="ctrY" for="ch" forName="acctTx" val="1"/>
              <dgm:constr type="w" for="ch" forName="acctTx" val="1"/>
              <dgm:constr type="h" for="ch" forName="acctTx" val="1"/>
              <dgm:constr type="ctrX" for="ch" forName="level" val="1"/>
              <dgm:constr type="ctrY" for="ch" forName="level" val="1"/>
              <dgm:constr type="w" for="ch" forName="level" val="1"/>
              <dgm:constr type="h" for="ch" forName="level" val="1"/>
              <dgm:constr type="ctrX" for="ch" forName="levelTx" refType="ctrX" refFor="ch" refForName="level"/>
              <dgm:constr type="ctrY" for="ch" forName="levelTx" refType="ctrY" refFor="ch" refForName="level"/>
              <dgm:constr type="w" for="ch" forName="levelTx" refType="w" refFor="ch" refForName="level" fact="0.65"/>
              <dgm:constr type="h" for="ch" forName="levelTx" refType="h" refFor="ch" refForName="level"/>
            </dgm:constrLst>
          </dgm:else>
        </dgm:choose>
        <dgm:ruleLst/>
        <dgm:choose name="Name12">
          <dgm:if name="Name13" axis="ch" ptType="node" func="cnt" op="gte" val="1">
            <dgm:layoutNode name="acctBkgd" styleLbl="alignAcc1">
              <dgm:alg type="sp"/>
              <dgm:shape xmlns:r="http://schemas.openxmlformats.org/officeDocument/2006/relationships" type="nonIsoscelesTrapezoid" r:blip="">
                <dgm:adjLst/>
              </dgm:shape>
              <dgm:presOf axis="des" ptType="node"/>
              <dgm:constrLst/>
              <dgm:ruleLst/>
            </dgm:layoutNode>
            <dgm:layoutNode name="acctTx" styleLbl="alignAcc1">
              <dgm:varLst>
                <dgm:bulletEnabled val="1"/>
              </dgm:varLst>
              <dgm:alg type="tx">
                <dgm:param type="stBulletLvl" val="1"/>
                <dgm:param type="txAnchorVertCh" val="t"/>
              </dgm:alg>
              <dgm:shape xmlns:r="http://schemas.openxmlformats.org/officeDocument/2006/relationships" type="nonIsoscelesTrapezoid" r:blip="" hideGeom="1">
                <dgm:adjLst/>
              </dgm:shape>
              <dgm:presOf axis="des" ptType="node"/>
              <dgm:constrLst>
                <dgm:constr type="secFontSz" val="65"/>
                <dgm:constr type="primFontSz" refType="secFontSz"/>
                <dgm:constr type="tMarg" refType="secFontSz" fact="0.3"/>
                <dgm:constr type="bMarg" refType="secFontSz" fact="0.3"/>
                <dgm:constr type="lMarg" refType="secFontSz" fact="0.3"/>
                <dgm:constr type="rMarg" refType="secFontSz" fact="0.3"/>
              </dgm:constrLst>
              <dgm:ruleLst>
                <dgm:rule type="secFontSz" val="5" fact="NaN" max="NaN"/>
              </dgm:ruleLst>
            </dgm:layoutNode>
          </dgm:if>
          <dgm:else name="Name14"/>
        </dgm:choose>
        <dgm:layoutNode name="level">
          <dgm:varLst>
            <dgm:chMax val="1"/>
            <dgm:bulletEnabled val="1"/>
          </dgm:varLst>
          <dgm:alg type="sp"/>
          <dgm:shape xmlns:r="http://schemas.openxmlformats.org/officeDocument/2006/relationships" type="trapezoid" r:blip="">
            <dgm:adjLst/>
          </dgm:shape>
          <dgm:presOf axis="self"/>
          <dgm:constrLst>
            <dgm:constr type="h" val="500"/>
            <dgm:constr type="w" val="1"/>
          </dgm:constrLst>
          <dgm:ruleLst/>
        </dgm:layoutNode>
        <dgm:layoutNode name="levelTx" styleLbl="revTx">
          <dgm:varLst>
            <dgm:chMax val="1"/>
            <dgm:bulletEnabled val="1"/>
          </dgm:varLst>
          <dgm:alg type="tx"/>
          <dgm:shape xmlns:r="http://schemas.openxmlformats.org/officeDocument/2006/relationships" type="rect" r:blip="" hideGeom="1">
            <dgm:adjLst/>
          </dgm:shape>
          <dgm:presOf axis="self"/>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0752ABCD-D8AF-48C4-8CB8-582C14D94A51}"/>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1442E00B-AAF1-4164-837E-B3F0B33AD7FA}"/>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D3516A03-DC86-43AF-9E14-F4C96C98D0ED}" type="datetimeFigureOut">
              <a:rPr lang="en-US" smtClean="0"/>
              <a:t>10/3/2023</a:t>
            </a:fld>
            <a:endParaRPr lang="en-US"/>
          </a:p>
        </p:txBody>
      </p:sp>
      <p:sp>
        <p:nvSpPr>
          <p:cNvPr id="4" name="Footer Placeholder 3">
            <a:extLst>
              <a:ext uri="{FF2B5EF4-FFF2-40B4-BE49-F238E27FC236}">
                <a16:creationId xmlns:a16="http://schemas.microsoft.com/office/drawing/2014/main" id="{0CCFB48D-A05E-497E-836A-1C13B9664262}"/>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B6EF4A56-71BC-4539-BE85-FB437193953B}"/>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FA558DBF-978E-4E00-977C-99BA74E9899D}" type="slidenum">
              <a:rPr lang="en-US" smtClean="0"/>
              <a:t>‹#›</a:t>
            </a:fld>
            <a:endParaRPr lang="en-US"/>
          </a:p>
        </p:txBody>
      </p:sp>
    </p:spTree>
    <p:extLst>
      <p:ext uri="{BB962C8B-B14F-4D97-AF65-F5344CB8AC3E}">
        <p14:creationId xmlns:p14="http://schemas.microsoft.com/office/powerpoint/2010/main" val="311936131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SG"/>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AC3FF17-32C0-4014-9CEE-F149846861FB}" type="datetimeFigureOut">
              <a:rPr lang="en-SG" smtClean="0"/>
              <a:t>3/10/2023</a:t>
            </a:fld>
            <a:endParaRPr lang="en-SG"/>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SG"/>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SG"/>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SG"/>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F9CFDFFF-BDBF-4DAE-B2CD-53E5E088599B}" type="slidenum">
              <a:rPr lang="en-SG" smtClean="0"/>
              <a:t>‹#›</a:t>
            </a:fld>
            <a:endParaRPr lang="en-SG"/>
          </a:p>
        </p:txBody>
      </p:sp>
    </p:spTree>
    <p:extLst>
      <p:ext uri="{BB962C8B-B14F-4D97-AF65-F5344CB8AC3E}">
        <p14:creationId xmlns:p14="http://schemas.microsoft.com/office/powerpoint/2010/main" val="422447795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SG"/>
          </a:p>
        </p:txBody>
      </p:sp>
      <p:sp>
        <p:nvSpPr>
          <p:cNvPr id="4" name="Slide Number Placeholder 3"/>
          <p:cNvSpPr>
            <a:spLocks noGrp="1"/>
          </p:cNvSpPr>
          <p:nvPr>
            <p:ph type="sldNum" sz="quarter" idx="5"/>
          </p:nvPr>
        </p:nvSpPr>
        <p:spPr/>
        <p:txBody>
          <a:bodyPr/>
          <a:lstStyle/>
          <a:p>
            <a:fld id="{F9CFDFFF-BDBF-4DAE-B2CD-53E5E088599B}" type="slidenum">
              <a:rPr lang="en-SG" smtClean="0"/>
              <a:t>1</a:t>
            </a:fld>
            <a:endParaRPr lang="en-SG"/>
          </a:p>
        </p:txBody>
      </p:sp>
    </p:spTree>
    <p:extLst>
      <p:ext uri="{BB962C8B-B14F-4D97-AF65-F5344CB8AC3E}">
        <p14:creationId xmlns:p14="http://schemas.microsoft.com/office/powerpoint/2010/main" val="15614901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en-US" b="1">
                <a:highlight>
                  <a:srgbClr val="FFFF00"/>
                </a:highlight>
              </a:rPr>
              <a:t>Pre work – quell matériel</a:t>
            </a:r>
          </a:p>
          <a:p>
            <a:r>
              <a:rPr lang="en-US"/>
              <a:t>- Target / persona / </a:t>
            </a:r>
            <a:r>
              <a:rPr lang="en-US" err="1"/>
              <a:t>competite</a:t>
            </a:r>
            <a:r>
              <a:rPr lang="en-US"/>
              <a:t> review / Experience Brief / digest superiority data</a:t>
            </a:r>
          </a:p>
          <a:p>
            <a:r>
              <a:rPr lang="en-US" b="1"/>
              <a:t>Immerse – </a:t>
            </a:r>
            <a:r>
              <a:rPr lang="en-US" b="1" err="1"/>
              <a:t>quel</a:t>
            </a:r>
            <a:r>
              <a:rPr lang="en-US" b="1"/>
              <a:t> matériel </a:t>
            </a:r>
          </a:p>
          <a:p>
            <a:pPr marL="171450" indent="-171450">
              <a:buFontTx/>
              <a:buChar char="-"/>
            </a:pPr>
            <a:r>
              <a:rPr lang="en-US" err="1"/>
              <a:t>Repartage</a:t>
            </a:r>
            <a:r>
              <a:rPr lang="en-US"/>
              <a:t> des key insights / connect with the intention the brand</a:t>
            </a:r>
          </a:p>
          <a:p>
            <a:pPr marL="171450" indent="-171450">
              <a:buFontTx/>
              <a:buChar char="-"/>
            </a:pPr>
            <a:r>
              <a:rPr lang="en-US"/>
              <a:t>Print des key insights per “chapters” (superiority facts) / sensory profiles ?</a:t>
            </a:r>
          </a:p>
          <a:p>
            <a:pPr marL="171450" indent="-171450">
              <a:buFontTx/>
              <a:buChar char="-"/>
            </a:pPr>
            <a:r>
              <a:rPr lang="en-US"/>
              <a:t>&gt; TASTE </a:t>
            </a:r>
          </a:p>
          <a:p>
            <a:pPr marL="171450" indent="-171450">
              <a:buFontTx/>
              <a:buChar char="-"/>
            </a:pPr>
            <a:r>
              <a:rPr lang="en-US"/>
              <a:t>&gt; PERFORMANCE</a:t>
            </a:r>
          </a:p>
          <a:p>
            <a:pPr marL="171450" indent="-171450">
              <a:buFontTx/>
              <a:buChar char="-"/>
            </a:pPr>
            <a:r>
              <a:rPr lang="en-US"/>
              <a:t>&gt; TRUSTFUL / QUALITY </a:t>
            </a:r>
          </a:p>
          <a:p>
            <a:pPr marL="171450" indent="-171450">
              <a:buFontTx/>
              <a:buChar char="-"/>
            </a:pPr>
            <a:r>
              <a:rPr lang="en-US"/>
              <a:t>&gt; PROCESS</a:t>
            </a:r>
          </a:p>
          <a:p>
            <a:pPr marL="171450" indent="-171450">
              <a:buFontTx/>
              <a:buChar char="-"/>
            </a:pPr>
            <a:endParaRPr lang="en-US"/>
          </a:p>
          <a:p>
            <a:pPr marL="0" indent="0">
              <a:buFontTx/>
              <a:buNone/>
            </a:pPr>
            <a:r>
              <a:rPr lang="en-US"/>
              <a:t>IDEATE </a:t>
            </a:r>
          </a:p>
          <a:p>
            <a:pPr marL="0" indent="0">
              <a:buFontTx/>
              <a:buNone/>
            </a:pPr>
            <a:r>
              <a:rPr lang="en-US"/>
              <a:t>Mode 20’ blitzkrieg – World Café</a:t>
            </a:r>
          </a:p>
          <a:p>
            <a:pPr marL="0" indent="0">
              <a:buFontTx/>
              <a:buNone/>
            </a:pPr>
            <a:r>
              <a:rPr lang="en-US"/>
              <a:t>Diverge</a:t>
            </a:r>
          </a:p>
          <a:p>
            <a:pPr marL="0" indent="0">
              <a:buFontTx/>
              <a:buNone/>
            </a:pPr>
            <a:endParaRPr lang="en-US"/>
          </a:p>
          <a:p>
            <a:pPr marL="0" indent="0">
              <a:buFontTx/>
              <a:buNone/>
            </a:pPr>
            <a:r>
              <a:rPr lang="en-US"/>
              <a:t>SCREEN</a:t>
            </a:r>
          </a:p>
          <a:p>
            <a:pPr marL="0" indent="0">
              <a:buFontTx/>
              <a:buNone/>
            </a:pPr>
            <a:r>
              <a:rPr lang="en-US"/>
              <a:t>Converge</a:t>
            </a:r>
          </a:p>
          <a:p>
            <a:pPr marL="0" indent="0">
              <a:buFontTx/>
              <a:buNone/>
            </a:pPr>
            <a:r>
              <a:rPr lang="en-US"/>
              <a:t>An agile way to connect / inspire / step back with a “Lead User” (athlete ? </a:t>
            </a:r>
            <a:r>
              <a:rPr lang="en-US" err="1"/>
              <a:t>Infleuncer</a:t>
            </a:r>
            <a:r>
              <a:rPr lang="en-US"/>
              <a:t>?)</a:t>
            </a:r>
          </a:p>
          <a:p>
            <a:pPr marL="0" indent="0">
              <a:buFontTx/>
              <a:buNone/>
            </a:pPr>
            <a:r>
              <a:rPr lang="en-US"/>
              <a:t>Un hyper peak performer et un </a:t>
            </a:r>
            <a:r>
              <a:rPr lang="en-US" err="1"/>
              <a:t>exercice</a:t>
            </a:r>
            <a:r>
              <a:rPr lang="en-US"/>
              <a:t> </a:t>
            </a:r>
            <a:r>
              <a:rPr lang="en-US" err="1"/>
              <a:t>enthousiast</a:t>
            </a:r>
            <a:r>
              <a:rPr lang="en-US"/>
              <a:t> + </a:t>
            </a:r>
            <a:r>
              <a:rPr lang="en-US" err="1"/>
              <a:t>Influenceur</a:t>
            </a:r>
            <a:r>
              <a:rPr lang="en-US"/>
              <a:t> </a:t>
            </a:r>
          </a:p>
          <a:p>
            <a:pPr marL="0" indent="0">
              <a:buFontTx/>
              <a:buNone/>
            </a:pPr>
            <a:endParaRPr lang="en-US"/>
          </a:p>
          <a:p>
            <a:pPr marL="0" indent="0">
              <a:buFontTx/>
              <a:buNone/>
            </a:pPr>
            <a:endParaRPr lang="en-US"/>
          </a:p>
          <a:p>
            <a:pPr marL="0" indent="0">
              <a:buFontTx/>
              <a:buNone/>
            </a:pPr>
            <a:endParaRPr lang="en-US"/>
          </a:p>
          <a:p>
            <a:pPr marL="0" indent="0">
              <a:buFontTx/>
              <a:buNone/>
            </a:pPr>
            <a:endParaRPr lang="en-US"/>
          </a:p>
          <a:p>
            <a:pPr marL="171450" indent="-171450">
              <a:buFontTx/>
              <a:buChar char="-"/>
            </a:pPr>
            <a:endParaRPr lang="en-US"/>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9DDCF94-10EF-4684-B7B2-61C5DA23D73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8980193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en-US" b="1">
                <a:highlight>
                  <a:srgbClr val="FFFF00"/>
                </a:highlight>
              </a:rPr>
              <a:t>Pre work – quell matériel</a:t>
            </a:r>
          </a:p>
          <a:p>
            <a:r>
              <a:rPr lang="en-US"/>
              <a:t>- Target / persona / </a:t>
            </a:r>
            <a:r>
              <a:rPr lang="en-US" err="1"/>
              <a:t>competite</a:t>
            </a:r>
            <a:r>
              <a:rPr lang="en-US"/>
              <a:t> review / Experience Brief / digest superiority data</a:t>
            </a:r>
          </a:p>
          <a:p>
            <a:r>
              <a:rPr lang="en-US" b="1"/>
              <a:t>Immerse – </a:t>
            </a:r>
            <a:r>
              <a:rPr lang="en-US" b="1" err="1"/>
              <a:t>quel</a:t>
            </a:r>
            <a:r>
              <a:rPr lang="en-US" b="1"/>
              <a:t> matériel </a:t>
            </a:r>
          </a:p>
          <a:p>
            <a:pPr marL="171450" indent="-171450">
              <a:buFontTx/>
              <a:buChar char="-"/>
            </a:pPr>
            <a:r>
              <a:rPr lang="en-US" err="1"/>
              <a:t>Repartage</a:t>
            </a:r>
            <a:r>
              <a:rPr lang="en-US"/>
              <a:t> des key insights / connect with the intention the brand</a:t>
            </a:r>
          </a:p>
          <a:p>
            <a:pPr marL="171450" indent="-171450">
              <a:buFontTx/>
              <a:buChar char="-"/>
            </a:pPr>
            <a:r>
              <a:rPr lang="en-US"/>
              <a:t>Print des key insights per “chapters” (superiority facts) / sensory profiles ?</a:t>
            </a:r>
          </a:p>
          <a:p>
            <a:pPr marL="171450" indent="-171450">
              <a:buFontTx/>
              <a:buChar char="-"/>
            </a:pPr>
            <a:r>
              <a:rPr lang="en-US"/>
              <a:t>&gt; TASTE </a:t>
            </a:r>
          </a:p>
          <a:p>
            <a:pPr marL="171450" indent="-171450">
              <a:buFontTx/>
              <a:buChar char="-"/>
            </a:pPr>
            <a:r>
              <a:rPr lang="en-US"/>
              <a:t>&gt; PERFORMANCE</a:t>
            </a:r>
          </a:p>
          <a:p>
            <a:pPr marL="171450" indent="-171450">
              <a:buFontTx/>
              <a:buChar char="-"/>
            </a:pPr>
            <a:r>
              <a:rPr lang="en-US"/>
              <a:t>&gt; TRUSTFUL / QUALITY </a:t>
            </a:r>
          </a:p>
          <a:p>
            <a:pPr marL="171450" indent="-171450">
              <a:buFontTx/>
              <a:buChar char="-"/>
            </a:pPr>
            <a:r>
              <a:rPr lang="en-US"/>
              <a:t>&gt; PROCESS</a:t>
            </a:r>
          </a:p>
          <a:p>
            <a:pPr marL="171450" indent="-171450">
              <a:buFontTx/>
              <a:buChar char="-"/>
            </a:pPr>
            <a:endParaRPr lang="en-US"/>
          </a:p>
          <a:p>
            <a:pPr marL="0" indent="0">
              <a:buFontTx/>
              <a:buNone/>
            </a:pPr>
            <a:r>
              <a:rPr lang="en-US"/>
              <a:t>IDEATE </a:t>
            </a:r>
          </a:p>
          <a:p>
            <a:pPr marL="0" indent="0">
              <a:buFontTx/>
              <a:buNone/>
            </a:pPr>
            <a:r>
              <a:rPr lang="en-US"/>
              <a:t>Mode 20’ blitzkrieg – World Café</a:t>
            </a:r>
          </a:p>
          <a:p>
            <a:pPr marL="0" indent="0">
              <a:buFontTx/>
              <a:buNone/>
            </a:pPr>
            <a:r>
              <a:rPr lang="en-US"/>
              <a:t>Diverge</a:t>
            </a:r>
          </a:p>
          <a:p>
            <a:pPr marL="0" indent="0">
              <a:buFontTx/>
              <a:buNone/>
            </a:pPr>
            <a:endParaRPr lang="en-US"/>
          </a:p>
          <a:p>
            <a:pPr marL="0" indent="0">
              <a:buFontTx/>
              <a:buNone/>
            </a:pPr>
            <a:r>
              <a:rPr lang="en-US"/>
              <a:t>SCREEN</a:t>
            </a:r>
          </a:p>
          <a:p>
            <a:pPr marL="0" indent="0">
              <a:buFontTx/>
              <a:buNone/>
            </a:pPr>
            <a:r>
              <a:rPr lang="en-US"/>
              <a:t>Converge</a:t>
            </a:r>
          </a:p>
          <a:p>
            <a:pPr marL="0" indent="0">
              <a:buFontTx/>
              <a:buNone/>
            </a:pPr>
            <a:r>
              <a:rPr lang="en-US"/>
              <a:t>An agile way to connect / inspire / step back with a “Lead User” (athlete ? </a:t>
            </a:r>
            <a:r>
              <a:rPr lang="en-US" err="1"/>
              <a:t>Infleuncer</a:t>
            </a:r>
            <a:r>
              <a:rPr lang="en-US"/>
              <a:t>?)</a:t>
            </a:r>
          </a:p>
          <a:p>
            <a:pPr marL="0" indent="0">
              <a:buFontTx/>
              <a:buNone/>
            </a:pPr>
            <a:r>
              <a:rPr lang="en-US"/>
              <a:t>Un hyper peak performer et un </a:t>
            </a:r>
            <a:r>
              <a:rPr lang="en-US" err="1"/>
              <a:t>exercice</a:t>
            </a:r>
            <a:r>
              <a:rPr lang="en-US"/>
              <a:t> </a:t>
            </a:r>
            <a:r>
              <a:rPr lang="en-US" err="1"/>
              <a:t>enthousiast</a:t>
            </a:r>
            <a:r>
              <a:rPr lang="en-US"/>
              <a:t> + </a:t>
            </a:r>
            <a:r>
              <a:rPr lang="en-US" err="1"/>
              <a:t>Influenceur</a:t>
            </a:r>
            <a:r>
              <a:rPr lang="en-US"/>
              <a:t> </a:t>
            </a:r>
          </a:p>
          <a:p>
            <a:pPr marL="0" indent="0">
              <a:buFontTx/>
              <a:buNone/>
            </a:pPr>
            <a:endParaRPr lang="en-US"/>
          </a:p>
          <a:p>
            <a:pPr marL="0" indent="0">
              <a:buFontTx/>
              <a:buNone/>
            </a:pPr>
            <a:endParaRPr lang="en-US"/>
          </a:p>
          <a:p>
            <a:pPr marL="0" indent="0">
              <a:buFontTx/>
              <a:buNone/>
            </a:pPr>
            <a:endParaRPr lang="en-US"/>
          </a:p>
          <a:p>
            <a:pPr marL="0" indent="0">
              <a:buFontTx/>
              <a:buNone/>
            </a:pPr>
            <a:endParaRPr lang="en-US"/>
          </a:p>
          <a:p>
            <a:pPr marL="171450" indent="-171450">
              <a:buFontTx/>
              <a:buChar char="-"/>
            </a:pPr>
            <a:endParaRPr lang="en-US"/>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9DDCF94-10EF-4684-B7B2-61C5DA23D73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6601119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SG"/>
          </a:p>
        </p:txBody>
      </p:sp>
      <p:sp>
        <p:nvSpPr>
          <p:cNvPr id="4" name="Slide Number Placeholder 3"/>
          <p:cNvSpPr>
            <a:spLocks noGrp="1"/>
          </p:cNvSpPr>
          <p:nvPr>
            <p:ph type="sldNum" sz="quarter" idx="5"/>
          </p:nvPr>
        </p:nvSpPr>
        <p:spPr/>
        <p:txBody>
          <a:bodyPr/>
          <a:lstStyle/>
          <a:p>
            <a:fld id="{9439B5B3-BD0D-4E38-A4C2-097BE68D821C}" type="slidenum">
              <a:rPr lang="en-SG" smtClean="0"/>
              <a:t>29</a:t>
            </a:fld>
            <a:endParaRPr lang="en-SG"/>
          </a:p>
        </p:txBody>
      </p:sp>
    </p:spTree>
    <p:extLst>
      <p:ext uri="{BB962C8B-B14F-4D97-AF65-F5344CB8AC3E}">
        <p14:creationId xmlns:p14="http://schemas.microsoft.com/office/powerpoint/2010/main" val="255894428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F9CFDFFF-BDBF-4DAE-B2CD-53E5E088599B}" type="slidenum">
              <a:rPr lang="en-SG" smtClean="0"/>
              <a:t>30</a:t>
            </a:fld>
            <a:endParaRPr lang="en-SG"/>
          </a:p>
        </p:txBody>
      </p:sp>
    </p:spTree>
    <p:extLst>
      <p:ext uri="{BB962C8B-B14F-4D97-AF65-F5344CB8AC3E}">
        <p14:creationId xmlns:p14="http://schemas.microsoft.com/office/powerpoint/2010/main" val="165104485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for each independent variable, we derive a measure of the strength of the correlation between itself and the dependent after we have “stripped” out its correlations between the other independent variables. </a:t>
            </a:r>
          </a:p>
          <a:p>
            <a:endParaRPr lang="en-GB"/>
          </a:p>
        </p:txBody>
      </p:sp>
      <p:sp>
        <p:nvSpPr>
          <p:cNvPr id="4" name="Slide Number Placeholder 3"/>
          <p:cNvSpPr>
            <a:spLocks noGrp="1"/>
          </p:cNvSpPr>
          <p:nvPr>
            <p:ph type="sldNum" sz="quarter" idx="5"/>
          </p:nvPr>
        </p:nvSpPr>
        <p:spPr/>
        <p:txBody>
          <a:bodyPr/>
          <a:lstStyle/>
          <a:p>
            <a:pPr marL="0" marR="0" lvl="0" indent="0" algn="r" defTabSz="685859" rtl="0" eaLnBrk="1" fontAlgn="auto" latinLnBrk="0" hangingPunct="1">
              <a:lnSpc>
                <a:spcPct val="100000"/>
              </a:lnSpc>
              <a:spcBef>
                <a:spcPts val="0"/>
              </a:spcBef>
              <a:spcAft>
                <a:spcPts val="0"/>
              </a:spcAft>
              <a:buClrTx/>
              <a:buSzTx/>
              <a:buFontTx/>
              <a:buNone/>
              <a:tabLst/>
              <a:defRPr/>
            </a:pPr>
            <a:fld id="{00EC08CC-6B6C-43E4-97B8-2870629A6A6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859"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0074922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288000" algn="r" defTabSz="914400" rtl="0" eaLnBrk="1" fontAlgn="auto" latinLnBrk="0" hangingPunct="1">
              <a:lnSpc>
                <a:spcPct val="150000"/>
              </a:lnSpc>
              <a:spcBef>
                <a:spcPts val="0"/>
              </a:spcBef>
              <a:spcAft>
                <a:spcPts val="0"/>
              </a:spcAft>
              <a:buClrTx/>
              <a:buSzTx/>
              <a:buFontTx/>
              <a:buNone/>
              <a:tabLst/>
              <a:defRPr/>
            </a:pPr>
            <a:fld id="{F9CFDFFF-BDBF-4DAE-B2CD-53E5E088599B}" type="slidenum">
              <a:rPr kumimoji="0" lang="en-SG"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288000" algn="r" defTabSz="914400" rtl="0" eaLnBrk="1" fontAlgn="auto" latinLnBrk="0" hangingPunct="1">
                <a:lnSpc>
                  <a:spcPct val="150000"/>
                </a:lnSpc>
                <a:spcBef>
                  <a:spcPts val="0"/>
                </a:spcBef>
                <a:spcAft>
                  <a:spcPts val="0"/>
                </a:spcAft>
                <a:buClrTx/>
                <a:buSzTx/>
                <a:buFontTx/>
                <a:buNone/>
                <a:tabLst/>
                <a:defRPr/>
              </a:pPr>
              <a:t>39</a:t>
            </a:fld>
            <a:endParaRPr kumimoji="0" lang="en-SG"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6204236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F9CFDFFF-BDBF-4DAE-B2CD-53E5E088599B}" type="slidenum">
              <a:rPr lang="en-SG" smtClean="0"/>
              <a:t>41</a:t>
            </a:fld>
            <a:endParaRPr lang="en-SG"/>
          </a:p>
        </p:txBody>
      </p:sp>
    </p:spTree>
    <p:extLst>
      <p:ext uri="{BB962C8B-B14F-4D97-AF65-F5344CB8AC3E}">
        <p14:creationId xmlns:p14="http://schemas.microsoft.com/office/powerpoint/2010/main" val="421747929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F9CFDFFF-BDBF-4DAE-B2CD-53E5E088599B}" type="slidenum">
              <a:rPr lang="en-SG" smtClean="0"/>
              <a:t>42</a:t>
            </a:fld>
            <a:endParaRPr lang="en-SG"/>
          </a:p>
        </p:txBody>
      </p:sp>
    </p:spTree>
    <p:extLst>
      <p:ext uri="{BB962C8B-B14F-4D97-AF65-F5344CB8AC3E}">
        <p14:creationId xmlns:p14="http://schemas.microsoft.com/office/powerpoint/2010/main" val="163628661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9700" y="168275"/>
            <a:ext cx="9083675" cy="5110163"/>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1A81CB02-40DB-4763-9A55-E98B78808633}" type="slidenum">
              <a:rPr lang="nl-NL" smtClean="0"/>
              <a:pPr/>
              <a:t>43</a:t>
            </a:fld>
            <a:endParaRPr lang="nl-NL"/>
          </a:p>
        </p:txBody>
      </p:sp>
    </p:spTree>
    <p:extLst>
      <p:ext uri="{BB962C8B-B14F-4D97-AF65-F5344CB8AC3E}">
        <p14:creationId xmlns:p14="http://schemas.microsoft.com/office/powerpoint/2010/main" val="107015508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SG"/>
          </a:p>
        </p:txBody>
      </p:sp>
      <p:sp>
        <p:nvSpPr>
          <p:cNvPr id="4" name="Slide Number Placeholder 3"/>
          <p:cNvSpPr>
            <a:spLocks noGrp="1"/>
          </p:cNvSpPr>
          <p:nvPr>
            <p:ph type="sldNum" sz="quarter" idx="5"/>
          </p:nvPr>
        </p:nvSpPr>
        <p:spPr/>
        <p:txBody>
          <a:bodyPr/>
          <a:lstStyle/>
          <a:p>
            <a:fld id="{F9CFDFFF-BDBF-4DAE-B2CD-53E5E088599B}" type="slidenum">
              <a:rPr lang="en-SG" smtClean="0"/>
              <a:t>44</a:t>
            </a:fld>
            <a:endParaRPr lang="en-SG"/>
          </a:p>
        </p:txBody>
      </p:sp>
    </p:spTree>
    <p:extLst>
      <p:ext uri="{BB962C8B-B14F-4D97-AF65-F5344CB8AC3E}">
        <p14:creationId xmlns:p14="http://schemas.microsoft.com/office/powerpoint/2010/main" val="81163712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F9CFDFFF-BDBF-4DAE-B2CD-53E5E088599B}" type="slidenum">
              <a:rPr lang="en-SG" smtClean="0"/>
              <a:t>2</a:t>
            </a:fld>
            <a:endParaRPr lang="en-SG"/>
          </a:p>
        </p:txBody>
      </p:sp>
    </p:spTree>
    <p:extLst>
      <p:ext uri="{BB962C8B-B14F-4D97-AF65-F5344CB8AC3E}">
        <p14:creationId xmlns:p14="http://schemas.microsoft.com/office/powerpoint/2010/main" val="377510470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F9CFDFFF-BDBF-4DAE-B2CD-53E5E088599B}" type="slidenum">
              <a:rPr lang="en-SG" smtClean="0"/>
              <a:t>45</a:t>
            </a:fld>
            <a:endParaRPr lang="en-SG"/>
          </a:p>
        </p:txBody>
      </p:sp>
    </p:spTree>
    <p:extLst>
      <p:ext uri="{BB962C8B-B14F-4D97-AF65-F5344CB8AC3E}">
        <p14:creationId xmlns:p14="http://schemas.microsoft.com/office/powerpoint/2010/main" val="339329044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en-GB"/>
          </a:p>
        </p:txBody>
      </p:sp>
      <p:sp>
        <p:nvSpPr>
          <p:cNvPr id="4" name="Tijdelijke aanduiding voor dianummer 3"/>
          <p:cNvSpPr>
            <a:spLocks noGrp="1"/>
          </p:cNvSpPr>
          <p:nvPr>
            <p:ph type="sldNum" sz="quarter" idx="5"/>
          </p:nvPr>
        </p:nvSpPr>
        <p:spPr/>
        <p:txBody>
          <a:bodyPr/>
          <a:lstStyle/>
          <a:p>
            <a:fld id="{F9CFDFFF-BDBF-4DAE-B2CD-53E5E088599B}" type="slidenum">
              <a:rPr lang="en-SG" smtClean="0"/>
              <a:t>3</a:t>
            </a:fld>
            <a:endParaRPr lang="en-SG"/>
          </a:p>
        </p:txBody>
      </p:sp>
    </p:spTree>
    <p:extLst>
      <p:ext uri="{BB962C8B-B14F-4D97-AF65-F5344CB8AC3E}">
        <p14:creationId xmlns:p14="http://schemas.microsoft.com/office/powerpoint/2010/main" val="42206964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SG"/>
          </a:p>
        </p:txBody>
      </p:sp>
      <p:sp>
        <p:nvSpPr>
          <p:cNvPr id="4" name="Slide Number Placeholder 3"/>
          <p:cNvSpPr>
            <a:spLocks noGrp="1"/>
          </p:cNvSpPr>
          <p:nvPr>
            <p:ph type="sldNum" sz="quarter" idx="5"/>
          </p:nvPr>
        </p:nvSpPr>
        <p:spPr/>
        <p:txBody>
          <a:bodyPr/>
          <a:lstStyle/>
          <a:p>
            <a:fld id="{F9CFDFFF-BDBF-4DAE-B2CD-53E5E088599B}" type="slidenum">
              <a:rPr lang="en-SG" smtClean="0"/>
              <a:t>4</a:t>
            </a:fld>
            <a:endParaRPr lang="en-SG"/>
          </a:p>
        </p:txBody>
      </p:sp>
    </p:spTree>
    <p:extLst>
      <p:ext uri="{BB962C8B-B14F-4D97-AF65-F5344CB8AC3E}">
        <p14:creationId xmlns:p14="http://schemas.microsoft.com/office/powerpoint/2010/main" val="251037158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F9CFDFFF-BDBF-4DAE-B2CD-53E5E088599B}" type="slidenum">
              <a:rPr lang="en-SG" smtClean="0"/>
              <a:t>9</a:t>
            </a:fld>
            <a:endParaRPr lang="en-SG"/>
          </a:p>
        </p:txBody>
      </p:sp>
    </p:spTree>
    <p:extLst>
      <p:ext uri="{BB962C8B-B14F-4D97-AF65-F5344CB8AC3E}">
        <p14:creationId xmlns:p14="http://schemas.microsoft.com/office/powerpoint/2010/main" val="182178001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1450" y="163513"/>
            <a:ext cx="8801100" cy="4951412"/>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1A81CB02-40DB-4763-9A55-E98B78808633}" type="slidenum">
              <a:rPr kumimoji="0" lang="nl-NL" sz="1200" b="0" i="0" u="none" strike="noStrike" kern="1200" cap="none" spc="0" normalizeH="0" baseline="0" noProof="0" smtClean="0">
                <a:ln>
                  <a:noFill/>
                </a:ln>
                <a:solidFill>
                  <a:prstClr val="white"/>
                </a:solidFill>
                <a:effectLst/>
                <a:uLnTx/>
                <a:uFillTx/>
                <a:latin typeface="Arial"/>
                <a:ea typeface="+mn-ea"/>
                <a:cs typeface="Arial"/>
                <a:sym typeface="Arial"/>
              </a:rPr>
              <a:pPr marL="0" marR="0" lvl="0" indent="0" algn="r" defTabSz="685800" rtl="0" eaLnBrk="1" fontAlgn="auto" latinLnBrk="0" hangingPunct="1">
                <a:lnSpc>
                  <a:spcPct val="100000"/>
                </a:lnSpc>
                <a:spcBef>
                  <a:spcPts val="0"/>
                </a:spcBef>
                <a:spcAft>
                  <a:spcPts val="0"/>
                </a:spcAft>
                <a:buClrTx/>
                <a:buSzTx/>
                <a:buFontTx/>
                <a:buNone/>
                <a:tabLst/>
                <a:defRPr/>
              </a:pPr>
              <a:t>11</a:t>
            </a:fld>
            <a:endParaRPr kumimoji="0" lang="nl-NL" sz="1200" b="0" i="0" u="none" strike="noStrike" kern="1200" cap="none" spc="0" normalizeH="0" baseline="0" noProof="0">
              <a:ln>
                <a:noFill/>
              </a:ln>
              <a:solidFill>
                <a:prstClr val="white"/>
              </a:solidFill>
              <a:effectLst/>
              <a:uLnTx/>
              <a:uFillTx/>
              <a:latin typeface="Arial"/>
              <a:ea typeface="+mn-ea"/>
              <a:cs typeface="Arial"/>
              <a:sym typeface="Arial"/>
            </a:endParaRPr>
          </a:p>
        </p:txBody>
      </p:sp>
    </p:spTree>
    <p:extLst>
      <p:ext uri="{BB962C8B-B14F-4D97-AF65-F5344CB8AC3E}">
        <p14:creationId xmlns:p14="http://schemas.microsoft.com/office/powerpoint/2010/main" val="311337637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F9CFDFFF-BDBF-4DAE-B2CD-53E5E088599B}" type="slidenum">
              <a:rPr lang="en-SG" smtClean="0"/>
              <a:t>14</a:t>
            </a:fld>
            <a:endParaRPr lang="en-SG"/>
          </a:p>
        </p:txBody>
      </p:sp>
    </p:spTree>
    <p:extLst>
      <p:ext uri="{BB962C8B-B14F-4D97-AF65-F5344CB8AC3E}">
        <p14:creationId xmlns:p14="http://schemas.microsoft.com/office/powerpoint/2010/main" val="416618918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cs typeface="Calibri"/>
            </a:endParaRPr>
          </a:p>
        </p:txBody>
      </p:sp>
      <p:sp>
        <p:nvSpPr>
          <p:cNvPr id="4" name="Slide Number Placeholder 3"/>
          <p:cNvSpPr>
            <a:spLocks noGrp="1"/>
          </p:cNvSpPr>
          <p:nvPr>
            <p:ph type="sldNum" sz="quarter" idx="10"/>
          </p:nvPr>
        </p:nvSpPr>
        <p:spPr/>
        <p:txBody>
          <a:bodyPr/>
          <a:lstStyle/>
          <a:p>
            <a:fld id="{B68D2766-C49B-4C1A-9FEE-6F146754B02B}" type="slidenum">
              <a:rPr lang="en-US" smtClean="0"/>
              <a:t>15</a:t>
            </a:fld>
            <a:endParaRPr lang="en-US"/>
          </a:p>
        </p:txBody>
      </p:sp>
    </p:spTree>
    <p:extLst>
      <p:ext uri="{BB962C8B-B14F-4D97-AF65-F5344CB8AC3E}">
        <p14:creationId xmlns:p14="http://schemas.microsoft.com/office/powerpoint/2010/main" val="261800556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288000" algn="r" defTabSz="914400" rtl="0" eaLnBrk="1" fontAlgn="auto" latinLnBrk="0" hangingPunct="1">
              <a:lnSpc>
                <a:spcPct val="150000"/>
              </a:lnSpc>
              <a:spcBef>
                <a:spcPts val="0"/>
              </a:spcBef>
              <a:spcAft>
                <a:spcPts val="0"/>
              </a:spcAft>
              <a:buClrTx/>
              <a:buSzTx/>
              <a:buFontTx/>
              <a:buNone/>
              <a:tabLst/>
              <a:defRPr/>
            </a:pPr>
            <a:fld id="{F9CFDFFF-BDBF-4DAE-B2CD-53E5E088599B}" type="slidenum">
              <a:rPr kumimoji="0" lang="en-SG"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288000" algn="r" defTabSz="914400" rtl="0" eaLnBrk="1" fontAlgn="auto" latinLnBrk="0" hangingPunct="1">
                <a:lnSpc>
                  <a:spcPct val="150000"/>
                </a:lnSpc>
                <a:spcBef>
                  <a:spcPts val="0"/>
                </a:spcBef>
                <a:spcAft>
                  <a:spcPts val="0"/>
                </a:spcAft>
                <a:buClrTx/>
                <a:buSzTx/>
                <a:buFontTx/>
                <a:buNone/>
                <a:tabLst/>
                <a:defRPr/>
              </a:pPr>
              <a:t>20</a:t>
            </a:fld>
            <a:endParaRPr kumimoji="0" lang="en-SG"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65010504"/>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8" Type="http://schemas.openxmlformats.org/officeDocument/2006/relationships/image" Target="../media/image15.png"/><Relationship Id="rId13" Type="http://schemas.openxmlformats.org/officeDocument/2006/relationships/hyperlink" Target="mailto:email@skimgroup.com" TargetMode="External"/><Relationship Id="rId3" Type="http://schemas.openxmlformats.org/officeDocument/2006/relationships/hyperlink" Target="https://www.linkedin.com/company/skim?__hstc=167070049.2779d317215ee98225febbbca3f21529.1491763688814.1491763688814.1491763688814.1&amp;__hssc=167070049.1.1491763688814&amp;__hsfp=40310509" TargetMode="External"/><Relationship Id="rId7" Type="http://schemas.openxmlformats.org/officeDocument/2006/relationships/hyperlink" Target="https://twitter.com/skimgroup?__hstc=167070049.2779d317215ee98225febbbca3f21529.1491763688814.1491763688814.1491763688814.1&amp;__hssc=167070049.1.1491763688814&amp;__hsfp=40310509" TargetMode="External"/><Relationship Id="rId12" Type="http://schemas.openxmlformats.org/officeDocument/2006/relationships/image" Target="../media/image17.png"/><Relationship Id="rId2" Type="http://schemas.openxmlformats.org/officeDocument/2006/relationships/image" Target="../media/image12.png"/><Relationship Id="rId1" Type="http://schemas.openxmlformats.org/officeDocument/2006/relationships/slideMaster" Target="../slideMasters/slideMaster1.xml"/><Relationship Id="rId6" Type="http://schemas.openxmlformats.org/officeDocument/2006/relationships/image" Target="../media/image14.png"/><Relationship Id="rId11" Type="http://schemas.openxmlformats.org/officeDocument/2006/relationships/hyperlink" Target="https://www.instagram.com/skimgroup/?__hstc=167070049.2779d317215ee98225febbbca3f21529.1491763688814.1491763688814.1491763688814.1&amp;__hssc=167070049.1.1491763688814&amp;__hsfp=40310509" TargetMode="External"/><Relationship Id="rId5" Type="http://schemas.openxmlformats.org/officeDocument/2006/relationships/hyperlink" Target="https://www.youtube.com/user/SKIMvideos?__hstc=167070049.2779d317215ee98225febbbca3f21529.1491763688814.1491763688814.1491763688814.1&amp;__hsfp=40310509&amp;__hssc=167070049.1.1491763688814" TargetMode="External"/><Relationship Id="rId10" Type="http://schemas.openxmlformats.org/officeDocument/2006/relationships/image" Target="../media/image16.png"/><Relationship Id="rId4" Type="http://schemas.openxmlformats.org/officeDocument/2006/relationships/image" Target="../media/image13.png"/><Relationship Id="rId9" Type="http://schemas.openxmlformats.org/officeDocument/2006/relationships/hyperlink" Target="https://www.facebook.com/SKIMgroup/" TargetMode="Externa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slideMaster" Target="../slideMasters/slideMaster2.xml"/><Relationship Id="rId6" Type="http://schemas.openxmlformats.org/officeDocument/2006/relationships/image" Target="../media/image23.png"/><Relationship Id="rId5" Type="http://schemas.openxmlformats.org/officeDocument/2006/relationships/image" Target="../media/image22.emf"/><Relationship Id="rId4" Type="http://schemas.openxmlformats.org/officeDocument/2006/relationships/image" Target="../media/image21.png"/></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png"/><Relationship Id="rId1" Type="http://schemas.openxmlformats.org/officeDocument/2006/relationships/slideMaster" Target="../slideMasters/slideMaster2.xml"/><Relationship Id="rId4" Type="http://schemas.openxmlformats.org/officeDocument/2006/relationships/image" Target="../media/image1.emf"/></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png"/><Relationship Id="rId1" Type="http://schemas.openxmlformats.org/officeDocument/2006/relationships/slideMaster" Target="../slideMasters/slideMaster2.xml"/><Relationship Id="rId4" Type="http://schemas.openxmlformats.org/officeDocument/2006/relationships/image" Target="../media/image1.emf"/></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4.png"/><Relationship Id="rId1" Type="http://schemas.openxmlformats.org/officeDocument/2006/relationships/slideMaster" Target="../slideMasters/slideMaster2.xml"/><Relationship Id="rId4" Type="http://schemas.openxmlformats.org/officeDocument/2006/relationships/image" Target="../media/image1.emf"/></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4.png"/><Relationship Id="rId1" Type="http://schemas.openxmlformats.org/officeDocument/2006/relationships/slideMaster" Target="../slideMasters/slideMaster2.xml"/><Relationship Id="rId4" Type="http://schemas.openxmlformats.org/officeDocument/2006/relationships/image" Target="../media/image1.emf"/></Relationships>
</file>

<file path=ppt/slideLayouts/_rels/slideLayout38.xml.rels><?xml version="1.0" encoding="UTF-8" standalone="yes"?>
<Relationships xmlns="http://schemas.openxmlformats.org/package/2006/relationships"><Relationship Id="rId8" Type="http://schemas.openxmlformats.org/officeDocument/2006/relationships/image" Target="../media/image13.png"/><Relationship Id="rId13" Type="http://schemas.openxmlformats.org/officeDocument/2006/relationships/hyperlink" Target="https://www.facebook.com/SKIMgroup/" TargetMode="External"/><Relationship Id="rId18" Type="http://schemas.openxmlformats.org/officeDocument/2006/relationships/image" Target="../media/image23.png"/><Relationship Id="rId3" Type="http://schemas.openxmlformats.org/officeDocument/2006/relationships/image" Target="../media/image28.png"/><Relationship Id="rId7" Type="http://schemas.openxmlformats.org/officeDocument/2006/relationships/hyperlink" Target="https://www.linkedin.com/company/skim?__hstc=167070049.2779d317215ee98225febbbca3f21529.1491763688814.1491763688814.1491763688814.1&amp;__hssc=167070049.1.1491763688814&amp;__hsfp=40310509" TargetMode="External"/><Relationship Id="rId12" Type="http://schemas.openxmlformats.org/officeDocument/2006/relationships/image" Target="../media/image15.png"/><Relationship Id="rId17" Type="http://schemas.openxmlformats.org/officeDocument/2006/relationships/image" Target="../media/image22.emf"/><Relationship Id="rId2" Type="http://schemas.openxmlformats.org/officeDocument/2006/relationships/image" Target="../media/image24.png"/><Relationship Id="rId16" Type="http://schemas.openxmlformats.org/officeDocument/2006/relationships/image" Target="../media/image17.png"/><Relationship Id="rId1" Type="http://schemas.openxmlformats.org/officeDocument/2006/relationships/slideMaster" Target="../slideMasters/slideMaster2.xml"/><Relationship Id="rId6" Type="http://schemas.openxmlformats.org/officeDocument/2006/relationships/image" Target="../media/image29.png"/><Relationship Id="rId11" Type="http://schemas.openxmlformats.org/officeDocument/2006/relationships/hyperlink" Target="https://twitter.com/skimgroup?__hstc=167070049.2779d317215ee98225febbbca3f21529.1491763688814.1491763688814.1491763688814.1&amp;__hssc=167070049.1.1491763688814&amp;__hsfp=40310509" TargetMode="External"/><Relationship Id="rId5" Type="http://schemas.openxmlformats.org/officeDocument/2006/relationships/hyperlink" Target="https://www.slideshare.net/skimgroup?__hstc=167070049.2779d317215ee98225febbbca3f21529.1491763688814.1491763688814.1491763688814.1&amp;__hssc=167070049.1.1491763688814&amp;__hsfp=40310509" TargetMode="External"/><Relationship Id="rId15" Type="http://schemas.openxmlformats.org/officeDocument/2006/relationships/hyperlink" Target="https://www.instagram.com/skimgroup/?__hstc=167070049.2779d317215ee98225febbbca3f21529.1491763688814.1491763688814.1491763688814.1&amp;__hssc=167070049.1.1491763688814&amp;__hsfp=40310509" TargetMode="External"/><Relationship Id="rId10" Type="http://schemas.openxmlformats.org/officeDocument/2006/relationships/image" Target="../media/image14.png"/><Relationship Id="rId4" Type="http://schemas.openxmlformats.org/officeDocument/2006/relationships/hyperlink" Target="http://www.skimgroup.com/" TargetMode="External"/><Relationship Id="rId9" Type="http://schemas.openxmlformats.org/officeDocument/2006/relationships/hyperlink" Target="https://www.youtube.com/user/SKIMvideos?__hstc=167070049.2779d317215ee98225febbbca3f21529.1491763688814.1491763688814.1491763688814.1&amp;__hsfp=40310509&amp;__hssc=167070049.1.1491763688814" TargetMode="External"/><Relationship Id="rId14" Type="http://schemas.openxmlformats.org/officeDocument/2006/relationships/image" Target="../media/image16.png"/></Relationships>
</file>

<file path=ppt/slideLayouts/_rels/slideLayout39.xml.rels><?xml version="1.0" encoding="UTF-8" standalone="yes"?>
<Relationships xmlns="http://schemas.openxmlformats.org/package/2006/relationships"><Relationship Id="rId8" Type="http://schemas.openxmlformats.org/officeDocument/2006/relationships/hyperlink" Target="https://www.youtube.com/user/SKIMvideos?__hstc=167070049.2779d317215ee98225febbbca3f21529.1491763688814.1491763688814.1491763688814.1&amp;__hsfp=40310509&amp;__hssc=167070049.1.1491763688814" TargetMode="External"/><Relationship Id="rId13" Type="http://schemas.openxmlformats.org/officeDocument/2006/relationships/image" Target="../media/image16.png"/><Relationship Id="rId3" Type="http://schemas.openxmlformats.org/officeDocument/2006/relationships/hyperlink" Target="http://www.skimgroup.com/" TargetMode="External"/><Relationship Id="rId7" Type="http://schemas.openxmlformats.org/officeDocument/2006/relationships/image" Target="../media/image13.png"/><Relationship Id="rId12" Type="http://schemas.openxmlformats.org/officeDocument/2006/relationships/hyperlink" Target="https://www.facebook.com/SKIMgroup/" TargetMode="External"/><Relationship Id="rId17" Type="http://schemas.openxmlformats.org/officeDocument/2006/relationships/image" Target="../media/image23.png"/><Relationship Id="rId2" Type="http://schemas.openxmlformats.org/officeDocument/2006/relationships/image" Target="../media/image24.png"/><Relationship Id="rId16" Type="http://schemas.openxmlformats.org/officeDocument/2006/relationships/image" Target="../media/image22.emf"/><Relationship Id="rId1" Type="http://schemas.openxmlformats.org/officeDocument/2006/relationships/slideMaster" Target="../slideMasters/slideMaster2.xml"/><Relationship Id="rId6" Type="http://schemas.openxmlformats.org/officeDocument/2006/relationships/hyperlink" Target="https://www.linkedin.com/company/skim?__hstc=167070049.2779d317215ee98225febbbca3f21529.1491763688814.1491763688814.1491763688814.1&amp;__hssc=167070049.1.1491763688814&amp;__hsfp=40310509" TargetMode="External"/><Relationship Id="rId11" Type="http://schemas.openxmlformats.org/officeDocument/2006/relationships/image" Target="../media/image15.png"/><Relationship Id="rId5" Type="http://schemas.openxmlformats.org/officeDocument/2006/relationships/image" Target="../media/image29.png"/><Relationship Id="rId15" Type="http://schemas.openxmlformats.org/officeDocument/2006/relationships/image" Target="../media/image17.png"/><Relationship Id="rId10" Type="http://schemas.openxmlformats.org/officeDocument/2006/relationships/hyperlink" Target="https://twitter.com/skimgroup?__hstc=167070049.2779d317215ee98225febbbca3f21529.1491763688814.1491763688814.1491763688814.1&amp;__hssc=167070049.1.1491763688814&amp;__hsfp=40310509" TargetMode="External"/><Relationship Id="rId4" Type="http://schemas.openxmlformats.org/officeDocument/2006/relationships/hyperlink" Target="https://www.slideshare.net/skimgroup?__hstc=167070049.2779d317215ee98225febbbca3f21529.1491763688814.1491763688814.1491763688814.1&amp;__hssc=167070049.1.1491763688814&amp;__hsfp=40310509" TargetMode="External"/><Relationship Id="rId9" Type="http://schemas.openxmlformats.org/officeDocument/2006/relationships/image" Target="../media/image14.png"/><Relationship Id="rId14" Type="http://schemas.openxmlformats.org/officeDocument/2006/relationships/hyperlink" Target="https://www.instagram.com/skimgroup/?__hstc=167070049.2779d317215ee98225febbbca3f21529.1491763688814.1491763688814.1491763688814.1&amp;__hssc=167070049.1.1491763688814&amp;__hsfp=40310509" TargetMode="Externa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4.png"/><Relationship Id="rId1" Type="http://schemas.openxmlformats.org/officeDocument/2006/relationships/slideMaster" Target="../slideMasters/slideMaster2.xml"/><Relationship Id="rId4" Type="http://schemas.openxmlformats.org/officeDocument/2006/relationships/image" Target="../media/image1.emf"/></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jpeg"/><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7E508154-7AB5-4B06-92EE-D9140AF27C87}"/>
              </a:ext>
            </a:extLst>
          </p:cNvPr>
          <p:cNvSpPr>
            <a:spLocks noGrp="1"/>
          </p:cNvSpPr>
          <p:nvPr>
            <p:ph type="pic" sz="quarter" idx="13" hasCustomPrompt="1"/>
          </p:nvPr>
        </p:nvSpPr>
        <p:spPr>
          <a:xfrm>
            <a:off x="6097588" y="-3600"/>
            <a:ext cx="6094412" cy="6865200"/>
          </a:xfrm>
        </p:spPr>
        <p:txBody>
          <a:bodyPr/>
          <a:lstStyle>
            <a:lvl1pPr marL="0" indent="0">
              <a:buNone/>
              <a:defRPr/>
            </a:lvl1pPr>
          </a:lstStyle>
          <a:p>
            <a:pPr marL="0" marR="0" lvl="0" indent="-288000" algn="l" defTabSz="914400" rtl="0" eaLnBrk="1" fontAlgn="auto" latinLnBrk="0" hangingPunct="1">
              <a:lnSpc>
                <a:spcPct val="150000"/>
              </a:lnSpc>
              <a:spcBef>
                <a:spcPts val="0"/>
              </a:spcBef>
              <a:spcAft>
                <a:spcPts val="0"/>
              </a:spcAft>
              <a:buClrTx/>
              <a:buSzTx/>
              <a:tabLst/>
              <a:defRPr/>
            </a:pPr>
            <a:br>
              <a:rPr lang="en-US" noProof="0"/>
            </a:br>
            <a:br>
              <a:rPr lang="en-US" noProof="0"/>
            </a:br>
            <a:r>
              <a:rPr lang="en-US" noProof="0"/>
              <a:t>To add image:</a:t>
            </a:r>
            <a:br>
              <a:rPr lang="en-US" noProof="0"/>
            </a:br>
            <a:r>
              <a:rPr lang="en-US" noProof="0"/>
              <a:t>1. Click border of this box</a:t>
            </a:r>
            <a:br>
              <a:rPr lang="en-US" noProof="0"/>
            </a:br>
            <a:r>
              <a:rPr lang="en-US" noProof="0"/>
              <a:t>2. Select ‘Add image’ from SKIM buttons</a:t>
            </a:r>
            <a:br>
              <a:rPr lang="en-US" noProof="0"/>
            </a:br>
            <a:r>
              <a:rPr lang="en-US" noProof="0"/>
              <a:t>3. Add overlay and send backward as needed</a:t>
            </a:r>
            <a:br>
              <a:rPr lang="en-US" noProof="0"/>
            </a:br>
            <a:r>
              <a:rPr lang="en-US" noProof="0"/>
              <a:t>4. Add SKIM logo</a:t>
            </a:r>
          </a:p>
        </p:txBody>
      </p:sp>
      <p:pic>
        <p:nvPicPr>
          <p:cNvPr id="8" name="Picture 46" descr="Logo&#10;&#10;Description automatically generated">
            <a:extLst>
              <a:ext uri="{FF2B5EF4-FFF2-40B4-BE49-F238E27FC236}">
                <a16:creationId xmlns:a16="http://schemas.microsoft.com/office/drawing/2014/main" id="{85AF2E5E-2981-40F6-88B7-F5C3F25F4877}"/>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506775" y="5032103"/>
            <a:ext cx="2268245" cy="1420488"/>
          </a:xfrm>
          <a:prstGeom prst="rect">
            <a:avLst/>
          </a:prstGeom>
        </p:spPr>
      </p:pic>
      <p:sp>
        <p:nvSpPr>
          <p:cNvPr id="13" name="Content Placeholder 12">
            <a:extLst>
              <a:ext uri="{FF2B5EF4-FFF2-40B4-BE49-F238E27FC236}">
                <a16:creationId xmlns:a16="http://schemas.microsoft.com/office/drawing/2014/main" id="{E5C393B1-9579-4D7D-BCE0-2476ED4045C3}"/>
              </a:ext>
            </a:extLst>
          </p:cNvPr>
          <p:cNvSpPr>
            <a:spLocks noGrp="1"/>
          </p:cNvSpPr>
          <p:nvPr>
            <p:ph sz="quarter" idx="14" hasCustomPrompt="1"/>
          </p:nvPr>
        </p:nvSpPr>
        <p:spPr>
          <a:xfrm>
            <a:off x="503238" y="504000"/>
            <a:ext cx="2646000" cy="1198800"/>
          </a:xfrm>
        </p:spPr>
        <p:txBody>
          <a:bodyPr anchor="ctr" anchorCtr="0">
            <a:noAutofit/>
          </a:bodyPr>
          <a:lstStyle>
            <a:lvl1pPr marL="0" indent="0">
              <a:buNone/>
              <a:defRPr/>
            </a:lvl1pPr>
          </a:lstStyle>
          <a:p>
            <a:r>
              <a:rPr lang="en-US" noProof="0"/>
              <a:t>Add client logo</a:t>
            </a:r>
          </a:p>
        </p:txBody>
      </p:sp>
      <p:sp>
        <p:nvSpPr>
          <p:cNvPr id="15" name="Text Placeholder 14">
            <a:extLst>
              <a:ext uri="{FF2B5EF4-FFF2-40B4-BE49-F238E27FC236}">
                <a16:creationId xmlns:a16="http://schemas.microsoft.com/office/drawing/2014/main" id="{6EE45B92-C22D-4547-B538-608201D85745}"/>
              </a:ext>
            </a:extLst>
          </p:cNvPr>
          <p:cNvSpPr>
            <a:spLocks noGrp="1"/>
          </p:cNvSpPr>
          <p:nvPr>
            <p:ph type="body" sz="quarter" idx="15" hasCustomPrompt="1"/>
          </p:nvPr>
        </p:nvSpPr>
        <p:spPr>
          <a:xfrm>
            <a:off x="503238" y="5868000"/>
            <a:ext cx="5075237" cy="259200"/>
          </a:xfrm>
        </p:spPr>
        <p:txBody>
          <a:bodyPr tIns="36000" bIns="36000">
            <a:noAutofit/>
          </a:bodyPr>
          <a:lstStyle>
            <a:lvl1pPr marL="0" indent="0">
              <a:lnSpc>
                <a:spcPct val="100000"/>
              </a:lnSpc>
              <a:buFont typeface="Arial" panose="020B0604020202020204" pitchFamily="34" charset="0"/>
              <a:buNone/>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Prepared for [client name] and team, [client company]</a:t>
            </a:r>
          </a:p>
        </p:txBody>
      </p:sp>
      <p:sp>
        <p:nvSpPr>
          <p:cNvPr id="16" name="Text Placeholder 14">
            <a:extLst>
              <a:ext uri="{FF2B5EF4-FFF2-40B4-BE49-F238E27FC236}">
                <a16:creationId xmlns:a16="http://schemas.microsoft.com/office/drawing/2014/main" id="{60534F2F-F5AE-4905-8960-B0A49D9F9445}"/>
              </a:ext>
            </a:extLst>
          </p:cNvPr>
          <p:cNvSpPr>
            <a:spLocks noGrp="1"/>
          </p:cNvSpPr>
          <p:nvPr>
            <p:ph type="body" sz="quarter" idx="16" hasCustomPrompt="1"/>
          </p:nvPr>
        </p:nvSpPr>
        <p:spPr>
          <a:xfrm>
            <a:off x="509664" y="6159600"/>
            <a:ext cx="5075237" cy="259200"/>
          </a:xfrm>
        </p:spPr>
        <p:txBody>
          <a:bodyPr tIns="36000" bIns="36000">
            <a:noAutofit/>
          </a:bodyPr>
          <a:lstStyle>
            <a:lvl1pPr marL="0" indent="0">
              <a:lnSpc>
                <a:spcPct val="100000"/>
              </a:lnSpc>
              <a:buNone/>
              <a:defRPr sz="1200">
                <a:solidFill>
                  <a:schemeClr val="tx1"/>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X Month 2021   |   FXXXX</a:t>
            </a:r>
          </a:p>
        </p:txBody>
      </p:sp>
      <p:sp>
        <p:nvSpPr>
          <p:cNvPr id="3" name="Subtitle 2">
            <a:extLst>
              <a:ext uri="{FF2B5EF4-FFF2-40B4-BE49-F238E27FC236}">
                <a16:creationId xmlns:a16="http://schemas.microsoft.com/office/drawing/2014/main" id="{1B5AC349-CB4F-4675-94EB-FB609CCE2F82}"/>
              </a:ext>
            </a:extLst>
          </p:cNvPr>
          <p:cNvSpPr>
            <a:spLocks noGrp="1"/>
          </p:cNvSpPr>
          <p:nvPr>
            <p:ph type="subTitle" idx="1" hasCustomPrompt="1"/>
          </p:nvPr>
        </p:nvSpPr>
        <p:spPr>
          <a:xfrm>
            <a:off x="504000" y="3229200"/>
            <a:ext cx="5076000" cy="363552"/>
          </a:xfrm>
        </p:spPr>
        <p:txBody>
          <a:bodyPr tIns="36000" bIns="36000">
            <a:spAutoFit/>
          </a:bodyPr>
          <a:lstStyle>
            <a:lvl1pPr marL="0" indent="0" algn="l">
              <a:lnSpc>
                <a:spcPct val="100000"/>
              </a:lnSpc>
              <a:buNone/>
              <a:defRPr sz="1890" b="1">
                <a:solidFill>
                  <a:schemeClr val="accent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a:t>
            </a:r>
            <a:r>
              <a:rPr lang="en-US" err="1"/>
              <a:t>subheadline</a:t>
            </a:r>
            <a:endParaRPr lang="en-US"/>
          </a:p>
        </p:txBody>
      </p:sp>
      <p:sp>
        <p:nvSpPr>
          <p:cNvPr id="2" name="Title 1">
            <a:extLst>
              <a:ext uri="{FF2B5EF4-FFF2-40B4-BE49-F238E27FC236}">
                <a16:creationId xmlns:a16="http://schemas.microsoft.com/office/drawing/2014/main" id="{D8E250B2-F80A-4990-9F94-2AB6B07D6852}"/>
              </a:ext>
            </a:extLst>
          </p:cNvPr>
          <p:cNvSpPr>
            <a:spLocks noGrp="1"/>
          </p:cNvSpPr>
          <p:nvPr>
            <p:ph type="ctrTitle" hasCustomPrompt="1"/>
          </p:nvPr>
        </p:nvSpPr>
        <p:spPr>
          <a:xfrm>
            <a:off x="504000" y="2052000"/>
            <a:ext cx="5076000" cy="1022400"/>
          </a:xfrm>
        </p:spPr>
        <p:txBody>
          <a:bodyPr anchor="t" anchorCtr="0">
            <a:noAutofit/>
          </a:bodyPr>
          <a:lstStyle>
            <a:lvl1pPr algn="l">
              <a:defRPr sz="3200"/>
            </a:lvl1pPr>
          </a:lstStyle>
          <a:p>
            <a:r>
              <a:rPr lang="en-US"/>
              <a:t>SKIM Proposal name</a:t>
            </a:r>
          </a:p>
        </p:txBody>
      </p:sp>
    </p:spTree>
    <p:extLst>
      <p:ext uri="{BB962C8B-B14F-4D97-AF65-F5344CB8AC3E}">
        <p14:creationId xmlns:p14="http://schemas.microsoft.com/office/powerpoint/2010/main" val="12666875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 Column color block">
    <p:spTree>
      <p:nvGrpSpPr>
        <p:cNvPr id="1" name=""/>
        <p:cNvGrpSpPr/>
        <p:nvPr/>
      </p:nvGrpSpPr>
      <p:grpSpPr>
        <a:xfrm>
          <a:off x="0" y="0"/>
          <a:ext cx="0" cy="0"/>
          <a:chOff x="0" y="0"/>
          <a:chExt cx="0" cy="0"/>
        </a:xfrm>
      </p:grpSpPr>
      <p:sp>
        <p:nvSpPr>
          <p:cNvPr id="9" name="Rectangle 3">
            <a:extLst>
              <a:ext uri="{FF2B5EF4-FFF2-40B4-BE49-F238E27FC236}">
                <a16:creationId xmlns:a16="http://schemas.microsoft.com/office/drawing/2014/main" id="{5F399021-0E17-40E0-918D-9C79F35A38F9}"/>
              </a:ext>
            </a:extLst>
          </p:cNvPr>
          <p:cNvSpPr/>
          <p:nvPr userDrawn="1"/>
        </p:nvSpPr>
        <p:spPr>
          <a:xfrm>
            <a:off x="-14370" y="3"/>
            <a:ext cx="6094800" cy="6857997"/>
          </a:xfrm>
          <a:prstGeom prst="rect">
            <a:avLst/>
          </a:prstGeom>
          <a:solidFill>
            <a:srgbClr val="E6EFF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31520" tIns="0" rIns="609600" bIns="0" numCol="1" spcCol="0" rtlCol="0" fromWordArt="0" anchor="ctr" anchorCtr="0" forceAA="0" compatLnSpc="1">
            <a:prstTxWarp prst="textNoShape">
              <a:avLst/>
            </a:prstTxWarp>
            <a:noAutofit/>
          </a:bodyPr>
          <a:lstStyle/>
          <a:p>
            <a:pPr marL="0" marR="0" lvl="0" indent="0" algn="r" defTabSz="914377" rtl="0" eaLnBrk="1" fontAlgn="auto" latinLnBrk="0" hangingPunct="1">
              <a:lnSpc>
                <a:spcPct val="100000"/>
              </a:lnSpc>
              <a:spcBef>
                <a:spcPts val="0"/>
              </a:spcBef>
              <a:spcAft>
                <a:spcPts val="0"/>
              </a:spcAft>
              <a:buClrTx/>
              <a:buSzTx/>
              <a:buFontTx/>
              <a:buNone/>
              <a:tabLst/>
              <a:defRPr/>
            </a:pPr>
            <a:endParaRPr kumimoji="0" lang="en-US" sz="4000" b="0" i="0" u="none" strike="noStrike" kern="1200" cap="none" spc="0" normalizeH="0" baseline="0" noProof="0">
              <a:ln>
                <a:noFill/>
              </a:ln>
              <a:solidFill>
                <a:srgbClr val="1C6D7D"/>
              </a:solidFill>
              <a:effectLst/>
              <a:uLnTx/>
              <a:uFillTx/>
              <a:latin typeface="Arial"/>
              <a:ea typeface="+mn-ea"/>
              <a:cs typeface="MV Boli" panose="02000500030200090000" pitchFamily="2" charset="0"/>
            </a:endParaRPr>
          </a:p>
        </p:txBody>
      </p:sp>
      <p:sp>
        <p:nvSpPr>
          <p:cNvPr id="2" name="Title 1">
            <a:extLst>
              <a:ext uri="{FF2B5EF4-FFF2-40B4-BE49-F238E27FC236}">
                <a16:creationId xmlns:a16="http://schemas.microsoft.com/office/drawing/2014/main" id="{E6E0FA48-03C5-4B7A-972D-4A2221603CD0}"/>
              </a:ext>
            </a:extLst>
          </p:cNvPr>
          <p:cNvSpPr>
            <a:spLocks noGrp="1"/>
          </p:cNvSpPr>
          <p:nvPr>
            <p:ph type="title" hasCustomPrompt="1"/>
          </p:nvPr>
        </p:nvSpPr>
        <p:spPr>
          <a:xfrm>
            <a:off x="503999" y="403200"/>
            <a:ext cx="5079600" cy="984885"/>
          </a:xfrm>
        </p:spPr>
        <p:txBody>
          <a:bodyPr wrap="square">
            <a:noAutofit/>
          </a:bodyPr>
          <a:lstStyle>
            <a:lvl1pPr>
              <a:defRPr>
                <a:solidFill>
                  <a:schemeClr val="accent1"/>
                </a:solidFill>
              </a:defRPr>
            </a:lvl1pPr>
          </a:lstStyle>
          <a:p>
            <a:r>
              <a:rPr lang="en-US"/>
              <a:t>Click to add headline</a:t>
            </a:r>
          </a:p>
        </p:txBody>
      </p:sp>
      <p:sp>
        <p:nvSpPr>
          <p:cNvPr id="5" name="Tijdelijke aanduiding voor dianummer 3">
            <a:extLst>
              <a:ext uri="{FF2B5EF4-FFF2-40B4-BE49-F238E27FC236}">
                <a16:creationId xmlns:a16="http://schemas.microsoft.com/office/drawing/2014/main" id="{3721FA04-1914-4281-9BA0-CE7D84E348B2}"/>
              </a:ext>
            </a:extLst>
          </p:cNvPr>
          <p:cNvSpPr>
            <a:spLocks noGrp="1"/>
          </p:cNvSpPr>
          <p:nvPr>
            <p:ph type="sldNum" sz="quarter" idx="4"/>
          </p:nvPr>
        </p:nvSpPr>
        <p:spPr>
          <a:xfrm>
            <a:off x="504000" y="6378472"/>
            <a:ext cx="2743200" cy="365125"/>
          </a:xfrm>
          <a:prstGeom prst="rect">
            <a:avLst/>
          </a:prstGeom>
        </p:spPr>
        <p:txBody>
          <a:bodyPr vert="horz" lIns="0" tIns="45720" rIns="91440" bIns="45720" rtlCol="0" anchor="ctr"/>
          <a:lstStyle>
            <a:lvl1pPr algn="l">
              <a:defRPr sz="800">
                <a:solidFill>
                  <a:schemeClr val="bg2"/>
                </a:solidFill>
              </a:defRPr>
            </a:lvl1pPr>
          </a:lstStyle>
          <a:p>
            <a:fld id="{B592C3DA-96A1-4E84-9171-AC4C91AB4FEA}" type="slidenum">
              <a:rPr lang="en-US" smtClean="0"/>
              <a:pPr/>
              <a:t>‹#›</a:t>
            </a:fld>
            <a:endParaRPr lang="en-US"/>
          </a:p>
        </p:txBody>
      </p:sp>
      <p:sp>
        <p:nvSpPr>
          <p:cNvPr id="6" name="Content Placeholder 5">
            <a:extLst>
              <a:ext uri="{FF2B5EF4-FFF2-40B4-BE49-F238E27FC236}">
                <a16:creationId xmlns:a16="http://schemas.microsoft.com/office/drawing/2014/main" id="{1C7B527B-6819-4C0D-B2CC-BC3261C935BC}"/>
              </a:ext>
            </a:extLst>
          </p:cNvPr>
          <p:cNvSpPr>
            <a:spLocks noGrp="1"/>
          </p:cNvSpPr>
          <p:nvPr>
            <p:ph sz="quarter" idx="10"/>
          </p:nvPr>
        </p:nvSpPr>
        <p:spPr>
          <a:xfrm>
            <a:off x="503999" y="1697688"/>
            <a:ext cx="5080000" cy="4410075"/>
          </a:xfrm>
        </p:spPr>
        <p:txBody>
          <a:bodyPr/>
          <a:lstStyle>
            <a:lvl1pPr marL="0" indent="0">
              <a:lnSpc>
                <a:spcPct val="150000"/>
              </a:lnSpc>
              <a:buNone/>
              <a:defRPr>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a:t>Click to edit Master text styles</a:t>
            </a:r>
          </a:p>
        </p:txBody>
      </p:sp>
    </p:spTree>
    <p:extLst>
      <p:ext uri="{BB962C8B-B14F-4D97-AF65-F5344CB8AC3E}">
        <p14:creationId xmlns:p14="http://schemas.microsoft.com/office/powerpoint/2010/main" val="43227411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 Column + subheading">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307AC6E6-059C-4C33-9AC7-00ACD93D8788}"/>
              </a:ext>
            </a:extLst>
          </p:cNvPr>
          <p:cNvSpPr>
            <a:spLocks noGrp="1"/>
          </p:cNvSpPr>
          <p:nvPr>
            <p:ph type="body" sz="quarter" idx="3" hasCustomPrompt="1"/>
          </p:nvPr>
        </p:nvSpPr>
        <p:spPr>
          <a:xfrm>
            <a:off x="6552000" y="1679340"/>
            <a:ext cx="5040000" cy="311047"/>
          </a:xfrm>
        </p:spPr>
        <p:txBody>
          <a:bodyPr anchor="t" anchorCtr="0">
            <a:spAutoFit/>
          </a:bodyPr>
          <a:lstStyle>
            <a:lvl1pPr marL="0" indent="0">
              <a:lnSpc>
                <a:spcPct val="120000"/>
              </a:lnSpc>
              <a:buNone/>
              <a:defRPr sz="18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add subheading</a:t>
            </a:r>
          </a:p>
        </p:txBody>
      </p:sp>
      <p:sp>
        <p:nvSpPr>
          <p:cNvPr id="4" name="Content Placeholder 3">
            <a:extLst>
              <a:ext uri="{FF2B5EF4-FFF2-40B4-BE49-F238E27FC236}">
                <a16:creationId xmlns:a16="http://schemas.microsoft.com/office/drawing/2014/main" id="{C85C1D93-6B17-48E5-BA8D-2F8EAED97F60}"/>
              </a:ext>
            </a:extLst>
          </p:cNvPr>
          <p:cNvSpPr>
            <a:spLocks noGrp="1"/>
          </p:cNvSpPr>
          <p:nvPr>
            <p:ph sz="half" idx="2" hasCustomPrompt="1"/>
          </p:nvPr>
        </p:nvSpPr>
        <p:spPr>
          <a:xfrm>
            <a:off x="504000" y="2132940"/>
            <a:ext cx="5040000" cy="4245532"/>
          </a:xfrm>
        </p:spPr>
        <p:txBody>
          <a:bodyPr>
            <a:noAutofit/>
          </a:bodyPr>
          <a:lstStyle>
            <a:lvl1pPr>
              <a:lnSpc>
                <a:spcPct val="120000"/>
              </a:lnSpc>
              <a:buClr>
                <a:schemeClr val="bg2"/>
              </a:buClr>
              <a:buFont typeface="Courier New" panose="02070309020205020404" pitchFamily="49" charset="0"/>
              <a:buChar char="o"/>
              <a:defRPr/>
            </a:lvl1pPr>
            <a:lvl2pPr marL="648000" indent="-288000">
              <a:lnSpc>
                <a:spcPct val="120000"/>
              </a:lnSpc>
              <a:buClr>
                <a:schemeClr val="accent1"/>
              </a:buClr>
              <a:buFont typeface="Wingdings" panose="05000000000000000000" pitchFamily="2" charset="2"/>
              <a:buChar char="§"/>
              <a:defRPr/>
            </a:lvl2pPr>
            <a:lvl3pPr marL="864000" indent="-288000">
              <a:lnSpc>
                <a:spcPct val="120000"/>
              </a:lnSpc>
              <a:buClr>
                <a:schemeClr val="accent1"/>
              </a:buClr>
              <a:buFont typeface="Wingdings" panose="05000000000000000000" pitchFamily="2" charset="2"/>
              <a:buChar char="§"/>
              <a:defRPr/>
            </a:lvl3pPr>
            <a:lvl4pPr marL="1152000" indent="-288000">
              <a:lnSpc>
                <a:spcPct val="120000"/>
              </a:lnSpc>
              <a:buClr>
                <a:schemeClr val="accent1"/>
              </a:buClr>
              <a:buFont typeface="Wingdings" panose="05000000000000000000" pitchFamily="2" charset="2"/>
              <a:buChar char="§"/>
              <a:defRPr/>
            </a:lvl4pPr>
            <a:lvl5pPr marL="1152000" indent="-288000">
              <a:lnSpc>
                <a:spcPct val="120000"/>
              </a:lnSpc>
              <a:buClr>
                <a:schemeClr val="bg2"/>
              </a:buClr>
              <a:buFont typeface="Wingdings" panose="05000000000000000000" pitchFamily="2" charset="2"/>
              <a:buChar char="§"/>
              <a:defRPr/>
            </a:lvl5pPr>
            <a:lvl6pPr marL="1152000">
              <a:buClr>
                <a:schemeClr val="bg2"/>
              </a:buClr>
              <a:defRPr/>
            </a:lvl6pPr>
            <a:lvl7pPr marL="1152000">
              <a:buClr>
                <a:schemeClr val="bg2"/>
              </a:buClr>
              <a:defRPr/>
            </a:lvl7pPr>
            <a:lvl8pPr marL="1152000">
              <a:buClr>
                <a:schemeClr val="bg2"/>
              </a:buClr>
              <a:defRPr/>
            </a:lvl8pPr>
            <a:lvl9pPr marL="1152000">
              <a:buClr>
                <a:schemeClr val="bg2"/>
              </a:buClr>
              <a:defRPr/>
            </a:lvl9pPr>
          </a:lstStyle>
          <a:p>
            <a:pPr lvl="0"/>
            <a:r>
              <a:rPr lang="en-US"/>
              <a:t>Click to add text</a:t>
            </a:r>
          </a:p>
          <a:p>
            <a:pPr lvl="1"/>
            <a:r>
              <a:rPr lang="en-US"/>
              <a:t>Second level</a:t>
            </a:r>
          </a:p>
          <a:p>
            <a:pPr lvl="2"/>
            <a:r>
              <a:rPr lang="en-US"/>
              <a:t>Third level</a:t>
            </a:r>
          </a:p>
          <a:p>
            <a:pPr lvl="3"/>
            <a:r>
              <a:rPr lang="en-US"/>
              <a:t>Fourth level</a:t>
            </a:r>
          </a:p>
          <a:p>
            <a:pPr lvl="4"/>
            <a:r>
              <a:rPr lang="en-US"/>
              <a:t>Fifth level</a:t>
            </a:r>
          </a:p>
        </p:txBody>
      </p:sp>
      <p:sp>
        <p:nvSpPr>
          <p:cNvPr id="3" name="Text Placeholder 2">
            <a:extLst>
              <a:ext uri="{FF2B5EF4-FFF2-40B4-BE49-F238E27FC236}">
                <a16:creationId xmlns:a16="http://schemas.microsoft.com/office/drawing/2014/main" id="{C7309557-2B8E-490F-8547-975C069159A6}"/>
              </a:ext>
            </a:extLst>
          </p:cNvPr>
          <p:cNvSpPr>
            <a:spLocks noGrp="1"/>
          </p:cNvSpPr>
          <p:nvPr>
            <p:ph type="body" idx="1" hasCustomPrompt="1"/>
          </p:nvPr>
        </p:nvSpPr>
        <p:spPr>
          <a:xfrm>
            <a:off x="504000" y="1679340"/>
            <a:ext cx="5040000" cy="299313"/>
          </a:xfrm>
        </p:spPr>
        <p:txBody>
          <a:bodyPr anchor="t" anchorCtr="0">
            <a:spAutoFit/>
          </a:bodyPr>
          <a:lstStyle>
            <a:lvl1pPr marL="0" indent="0">
              <a:lnSpc>
                <a:spcPct val="120000"/>
              </a:lnSpc>
              <a:buNone/>
              <a:defRPr sz="18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add subheading</a:t>
            </a:r>
          </a:p>
        </p:txBody>
      </p:sp>
      <p:sp>
        <p:nvSpPr>
          <p:cNvPr id="2" name="Title 1">
            <a:extLst>
              <a:ext uri="{FF2B5EF4-FFF2-40B4-BE49-F238E27FC236}">
                <a16:creationId xmlns:a16="http://schemas.microsoft.com/office/drawing/2014/main" id="{66EC978F-9F5A-4C6F-BF4A-C3DA5CCEA79C}"/>
              </a:ext>
            </a:extLst>
          </p:cNvPr>
          <p:cNvSpPr>
            <a:spLocks noGrp="1"/>
          </p:cNvSpPr>
          <p:nvPr>
            <p:ph type="title" hasCustomPrompt="1"/>
          </p:nvPr>
        </p:nvSpPr>
        <p:spPr>
          <a:xfrm>
            <a:off x="504000" y="403200"/>
            <a:ext cx="11084400" cy="972000"/>
          </a:xfrm>
        </p:spPr>
        <p:txBody>
          <a:bodyPr>
            <a:noAutofit/>
          </a:bodyPr>
          <a:lstStyle>
            <a:lvl1pPr>
              <a:defRPr/>
            </a:lvl1pPr>
          </a:lstStyle>
          <a:p>
            <a:r>
              <a:rPr lang="en-US"/>
              <a:t>Click to add headline</a:t>
            </a:r>
          </a:p>
        </p:txBody>
      </p:sp>
      <p:sp>
        <p:nvSpPr>
          <p:cNvPr id="7" name="Tijdelijke aanduiding voor dianummer 3">
            <a:extLst>
              <a:ext uri="{FF2B5EF4-FFF2-40B4-BE49-F238E27FC236}">
                <a16:creationId xmlns:a16="http://schemas.microsoft.com/office/drawing/2014/main" id="{10D594BB-4C81-4E39-A74D-CE86E5EF3948}"/>
              </a:ext>
            </a:extLst>
          </p:cNvPr>
          <p:cNvSpPr>
            <a:spLocks noGrp="1"/>
          </p:cNvSpPr>
          <p:nvPr>
            <p:ph type="sldNum" sz="quarter" idx="4"/>
          </p:nvPr>
        </p:nvSpPr>
        <p:spPr>
          <a:xfrm>
            <a:off x="504000" y="6378472"/>
            <a:ext cx="2743200" cy="365125"/>
          </a:xfrm>
          <a:prstGeom prst="rect">
            <a:avLst/>
          </a:prstGeom>
        </p:spPr>
        <p:txBody>
          <a:bodyPr vert="horz" lIns="0" tIns="45720" rIns="91440" bIns="45720" rtlCol="0" anchor="ctr"/>
          <a:lstStyle>
            <a:lvl1pPr algn="l">
              <a:defRPr sz="800">
                <a:solidFill>
                  <a:schemeClr val="bg2"/>
                </a:solidFill>
              </a:defRPr>
            </a:lvl1pPr>
          </a:lstStyle>
          <a:p>
            <a:fld id="{B592C3DA-96A1-4E84-9171-AC4C91AB4FEA}" type="slidenum">
              <a:rPr lang="en-US" smtClean="0"/>
              <a:pPr/>
              <a:t>‹#›</a:t>
            </a:fld>
            <a:endParaRPr lang="en-US"/>
          </a:p>
        </p:txBody>
      </p:sp>
      <p:sp>
        <p:nvSpPr>
          <p:cNvPr id="8" name="Content Placeholder 3">
            <a:extLst>
              <a:ext uri="{FF2B5EF4-FFF2-40B4-BE49-F238E27FC236}">
                <a16:creationId xmlns:a16="http://schemas.microsoft.com/office/drawing/2014/main" id="{5BD9F434-1C68-49DE-94F0-EE632314EC89}"/>
              </a:ext>
            </a:extLst>
          </p:cNvPr>
          <p:cNvSpPr>
            <a:spLocks noGrp="1"/>
          </p:cNvSpPr>
          <p:nvPr>
            <p:ph sz="half" idx="10" hasCustomPrompt="1"/>
          </p:nvPr>
        </p:nvSpPr>
        <p:spPr>
          <a:xfrm>
            <a:off x="6552000" y="2132940"/>
            <a:ext cx="5040000" cy="4245532"/>
          </a:xfrm>
        </p:spPr>
        <p:txBody>
          <a:bodyPr>
            <a:noAutofit/>
          </a:bodyPr>
          <a:lstStyle>
            <a:lvl1pPr>
              <a:lnSpc>
                <a:spcPct val="120000"/>
              </a:lnSpc>
              <a:buClr>
                <a:schemeClr val="bg2"/>
              </a:buClr>
              <a:buFont typeface="Courier New" panose="02070309020205020404" pitchFamily="49" charset="0"/>
              <a:buChar char="o"/>
              <a:defRPr/>
            </a:lvl1pPr>
            <a:lvl2pPr marL="648000" indent="-288000">
              <a:lnSpc>
                <a:spcPct val="120000"/>
              </a:lnSpc>
              <a:buClr>
                <a:schemeClr val="accent1"/>
              </a:buClr>
              <a:buFont typeface="Wingdings" panose="05000000000000000000" pitchFamily="2" charset="2"/>
              <a:buChar char="§"/>
              <a:defRPr/>
            </a:lvl2pPr>
            <a:lvl3pPr marL="864000" indent="-288000">
              <a:lnSpc>
                <a:spcPct val="120000"/>
              </a:lnSpc>
              <a:buClr>
                <a:schemeClr val="accent1"/>
              </a:buClr>
              <a:buFont typeface="Wingdings" panose="05000000000000000000" pitchFamily="2" charset="2"/>
              <a:buChar char="§"/>
              <a:defRPr/>
            </a:lvl3pPr>
            <a:lvl4pPr marL="1152000" indent="-288000">
              <a:lnSpc>
                <a:spcPct val="120000"/>
              </a:lnSpc>
              <a:buClr>
                <a:schemeClr val="accent1"/>
              </a:buClr>
              <a:buFont typeface="Wingdings" panose="05000000000000000000" pitchFamily="2" charset="2"/>
              <a:buChar char="§"/>
              <a:defRPr/>
            </a:lvl4pPr>
            <a:lvl5pPr marL="1152000" indent="-288000">
              <a:lnSpc>
                <a:spcPct val="120000"/>
              </a:lnSpc>
              <a:buClr>
                <a:schemeClr val="bg2"/>
              </a:buClr>
              <a:buFont typeface="Wingdings" panose="05000000000000000000" pitchFamily="2" charset="2"/>
              <a:buChar char="§"/>
              <a:defRPr/>
            </a:lvl5pPr>
            <a:lvl6pPr marL="1152000">
              <a:buClr>
                <a:schemeClr val="bg2"/>
              </a:buClr>
              <a:defRPr/>
            </a:lvl6pPr>
            <a:lvl7pPr marL="1152000">
              <a:buClr>
                <a:schemeClr val="bg2"/>
              </a:buClr>
              <a:defRPr/>
            </a:lvl7pPr>
            <a:lvl8pPr marL="1152000">
              <a:buClr>
                <a:schemeClr val="bg2"/>
              </a:buClr>
              <a:defRPr/>
            </a:lvl8pPr>
            <a:lvl9pPr marL="1152000">
              <a:buClr>
                <a:schemeClr val="bg2"/>
              </a:buClr>
              <a:defRPr/>
            </a:lvl9pPr>
          </a:lstStyle>
          <a:p>
            <a:pPr lvl="0"/>
            <a:r>
              <a:rPr lang="en-US"/>
              <a:t>Click to add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2145511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 Column + color block">
    <p:spTree>
      <p:nvGrpSpPr>
        <p:cNvPr id="1" name=""/>
        <p:cNvGrpSpPr/>
        <p:nvPr/>
      </p:nvGrpSpPr>
      <p:grpSpPr>
        <a:xfrm>
          <a:off x="0" y="0"/>
          <a:ext cx="0" cy="0"/>
          <a:chOff x="0" y="0"/>
          <a:chExt cx="0" cy="0"/>
        </a:xfrm>
      </p:grpSpPr>
      <p:sp>
        <p:nvSpPr>
          <p:cNvPr id="12" name="Vijfhoek 1">
            <a:extLst>
              <a:ext uri="{FF2B5EF4-FFF2-40B4-BE49-F238E27FC236}">
                <a16:creationId xmlns:a16="http://schemas.microsoft.com/office/drawing/2014/main" id="{B2AB64A3-36A7-4793-ACCF-A20C5C15FD8D}"/>
              </a:ext>
            </a:extLst>
          </p:cNvPr>
          <p:cNvSpPr/>
          <p:nvPr userDrawn="1"/>
        </p:nvSpPr>
        <p:spPr>
          <a:xfrm>
            <a:off x="6093600" y="0"/>
            <a:ext cx="6098400" cy="6858000"/>
          </a:xfrm>
          <a:prstGeom prst="homePlate">
            <a:avLst>
              <a:gd name="adj" fmla="val 0"/>
            </a:avLst>
          </a:prstGeom>
          <a:solidFill>
            <a:srgbClr val="E6EFF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chemeClr val="accent2">
                  <a:lumMod val="20000"/>
                  <a:lumOff val="80000"/>
                </a:schemeClr>
              </a:solidFill>
              <a:latin typeface="Segoe Print" panose="02000600000000000000" pitchFamily="2" charset="0"/>
              <a:cs typeface="MV Boli" panose="02000500030200090000" pitchFamily="2" charset="0"/>
            </a:endParaRPr>
          </a:p>
        </p:txBody>
      </p:sp>
      <p:sp>
        <p:nvSpPr>
          <p:cNvPr id="2" name="Title 1">
            <a:extLst>
              <a:ext uri="{FF2B5EF4-FFF2-40B4-BE49-F238E27FC236}">
                <a16:creationId xmlns:a16="http://schemas.microsoft.com/office/drawing/2014/main" id="{66EC978F-9F5A-4C6F-BF4A-C3DA5CCEA79C}"/>
              </a:ext>
            </a:extLst>
          </p:cNvPr>
          <p:cNvSpPr>
            <a:spLocks noGrp="1"/>
          </p:cNvSpPr>
          <p:nvPr>
            <p:ph type="title" hasCustomPrompt="1"/>
          </p:nvPr>
        </p:nvSpPr>
        <p:spPr>
          <a:xfrm>
            <a:off x="504000" y="403200"/>
            <a:ext cx="5040000" cy="972000"/>
          </a:xfrm>
        </p:spPr>
        <p:txBody>
          <a:bodyPr>
            <a:noAutofit/>
          </a:bodyPr>
          <a:lstStyle>
            <a:lvl1pPr>
              <a:defRPr/>
            </a:lvl1pPr>
          </a:lstStyle>
          <a:p>
            <a:r>
              <a:rPr lang="en-US"/>
              <a:t>Click to add headline</a:t>
            </a:r>
          </a:p>
        </p:txBody>
      </p:sp>
      <p:pic>
        <p:nvPicPr>
          <p:cNvPr id="6" name="doLogoGreen">
            <a:extLst>
              <a:ext uri="{FF2B5EF4-FFF2-40B4-BE49-F238E27FC236}">
                <a16:creationId xmlns:a16="http://schemas.microsoft.com/office/drawing/2014/main" id="{E0B7477A-D3BC-4625-B9C1-1FA1BA65D774}"/>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559600" y="6364800"/>
            <a:ext cx="386197" cy="266266"/>
          </a:xfrm>
          <a:prstGeom prst="rect">
            <a:avLst/>
          </a:prstGeom>
        </p:spPr>
      </p:pic>
      <p:sp>
        <p:nvSpPr>
          <p:cNvPr id="7" name="Tijdelijke aanduiding voor dianummer 3">
            <a:extLst>
              <a:ext uri="{FF2B5EF4-FFF2-40B4-BE49-F238E27FC236}">
                <a16:creationId xmlns:a16="http://schemas.microsoft.com/office/drawing/2014/main" id="{0308E738-745F-4ACF-A616-4EE85F4DFAEC}"/>
              </a:ext>
            </a:extLst>
          </p:cNvPr>
          <p:cNvSpPr>
            <a:spLocks noGrp="1"/>
          </p:cNvSpPr>
          <p:nvPr>
            <p:ph type="sldNum" sz="quarter" idx="4"/>
          </p:nvPr>
        </p:nvSpPr>
        <p:spPr>
          <a:xfrm>
            <a:off x="504000" y="6378472"/>
            <a:ext cx="2743200" cy="365125"/>
          </a:xfrm>
          <a:prstGeom prst="rect">
            <a:avLst/>
          </a:prstGeom>
        </p:spPr>
        <p:txBody>
          <a:bodyPr vert="horz" lIns="0" tIns="45720" rIns="91440" bIns="45720" rtlCol="0" anchor="ctr"/>
          <a:lstStyle>
            <a:lvl1pPr algn="l">
              <a:defRPr sz="800">
                <a:solidFill>
                  <a:schemeClr val="bg2"/>
                </a:solidFill>
              </a:defRPr>
            </a:lvl1pPr>
          </a:lstStyle>
          <a:p>
            <a:fld id="{B592C3DA-96A1-4E84-9171-AC4C91AB4FEA}" type="slidenum">
              <a:rPr lang="en-US" smtClean="0"/>
              <a:pPr/>
              <a:t>‹#›</a:t>
            </a:fld>
            <a:endParaRPr lang="en-US"/>
          </a:p>
        </p:txBody>
      </p:sp>
      <p:sp>
        <p:nvSpPr>
          <p:cNvPr id="8" name="Text Placeholder 2">
            <a:extLst>
              <a:ext uri="{FF2B5EF4-FFF2-40B4-BE49-F238E27FC236}">
                <a16:creationId xmlns:a16="http://schemas.microsoft.com/office/drawing/2014/main" id="{FA7A1598-11C6-4FB5-8977-B1E1D62EC6BC}"/>
              </a:ext>
            </a:extLst>
          </p:cNvPr>
          <p:cNvSpPr>
            <a:spLocks noGrp="1"/>
          </p:cNvSpPr>
          <p:nvPr>
            <p:ph type="body" idx="1" hasCustomPrompt="1"/>
          </p:nvPr>
        </p:nvSpPr>
        <p:spPr>
          <a:xfrm>
            <a:off x="504000" y="1686714"/>
            <a:ext cx="5040000" cy="299313"/>
          </a:xfrm>
        </p:spPr>
        <p:txBody>
          <a:bodyPr anchor="t" anchorCtr="0">
            <a:spAutoFit/>
          </a:bodyPr>
          <a:lstStyle>
            <a:lvl1pPr marL="0" indent="0">
              <a:lnSpc>
                <a:spcPct val="120000"/>
              </a:lnSpc>
              <a:buNone/>
              <a:defRPr sz="18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add subheading</a:t>
            </a:r>
          </a:p>
        </p:txBody>
      </p:sp>
      <p:sp>
        <p:nvSpPr>
          <p:cNvPr id="11" name="Text Placeholder 2">
            <a:extLst>
              <a:ext uri="{FF2B5EF4-FFF2-40B4-BE49-F238E27FC236}">
                <a16:creationId xmlns:a16="http://schemas.microsoft.com/office/drawing/2014/main" id="{2E2410EF-7314-4E58-A754-0A036B62400B}"/>
              </a:ext>
            </a:extLst>
          </p:cNvPr>
          <p:cNvSpPr>
            <a:spLocks noGrp="1"/>
          </p:cNvSpPr>
          <p:nvPr>
            <p:ph type="body" idx="16" hasCustomPrompt="1"/>
          </p:nvPr>
        </p:nvSpPr>
        <p:spPr>
          <a:xfrm>
            <a:off x="6540000" y="1685421"/>
            <a:ext cx="5040000" cy="299313"/>
          </a:xfrm>
        </p:spPr>
        <p:txBody>
          <a:bodyPr anchor="t" anchorCtr="0">
            <a:spAutoFit/>
          </a:bodyPr>
          <a:lstStyle>
            <a:lvl1pPr marL="0" indent="0">
              <a:lnSpc>
                <a:spcPct val="120000"/>
              </a:lnSpc>
              <a:buNone/>
              <a:defRPr sz="18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add subheading</a:t>
            </a:r>
          </a:p>
        </p:txBody>
      </p:sp>
      <p:sp>
        <p:nvSpPr>
          <p:cNvPr id="4" name="Tijdelijke aanduiding voor inhoud 3">
            <a:extLst>
              <a:ext uri="{FF2B5EF4-FFF2-40B4-BE49-F238E27FC236}">
                <a16:creationId xmlns:a16="http://schemas.microsoft.com/office/drawing/2014/main" id="{31C6F622-E039-4FB9-9BBB-CF53CCAFE933}"/>
              </a:ext>
            </a:extLst>
          </p:cNvPr>
          <p:cNvSpPr>
            <a:spLocks noGrp="1"/>
          </p:cNvSpPr>
          <p:nvPr>
            <p:ph sz="quarter" idx="17" hasCustomPrompt="1"/>
          </p:nvPr>
        </p:nvSpPr>
        <p:spPr>
          <a:xfrm>
            <a:off x="503239" y="2424022"/>
            <a:ext cx="5040000" cy="3938400"/>
          </a:xfrm>
        </p:spPr>
        <p:txBody>
          <a:bodyPr/>
          <a:lstStyle>
            <a:lvl1pPr>
              <a:lnSpc>
                <a:spcPct val="150000"/>
              </a:lnSpc>
              <a:spcAft>
                <a:spcPts val="1000"/>
              </a:spcAft>
              <a:defRPr/>
            </a:lvl1pPr>
            <a:lvl2pPr>
              <a:lnSpc>
                <a:spcPct val="150000"/>
              </a:lnSpc>
              <a:spcAft>
                <a:spcPts val="1000"/>
              </a:spcAft>
              <a:buClr>
                <a:schemeClr val="accent1"/>
              </a:buClr>
              <a:defRPr/>
            </a:lvl2pPr>
            <a:lvl3pPr>
              <a:lnSpc>
                <a:spcPct val="150000"/>
              </a:lnSpc>
              <a:spcAft>
                <a:spcPts val="1000"/>
              </a:spcAft>
              <a:buClr>
                <a:schemeClr val="bg2"/>
              </a:buClr>
              <a:defRPr/>
            </a:lvl3pPr>
            <a:lvl4pPr>
              <a:lnSpc>
                <a:spcPct val="150000"/>
              </a:lnSpc>
              <a:spcAft>
                <a:spcPts val="1000"/>
              </a:spcAft>
              <a:buClr>
                <a:schemeClr val="bg2"/>
              </a:buClr>
              <a:defRPr/>
            </a:lvl4pPr>
            <a:lvl5pPr>
              <a:lnSpc>
                <a:spcPct val="150000"/>
              </a:lnSpc>
              <a:spcAft>
                <a:spcPts val="1000"/>
              </a:spcAft>
              <a:buClr>
                <a:schemeClr val="bg2"/>
              </a:buClr>
              <a:defRPr/>
            </a:lvl5pPr>
          </a:lstStyle>
          <a:p>
            <a:pPr lvl="0"/>
            <a:r>
              <a:rPr lang="en-US"/>
              <a:t>Click to add text</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Tijdelijke aanduiding voor inhoud 3">
            <a:extLst>
              <a:ext uri="{FF2B5EF4-FFF2-40B4-BE49-F238E27FC236}">
                <a16:creationId xmlns:a16="http://schemas.microsoft.com/office/drawing/2014/main" id="{B53EB2C8-5967-4EBE-BDB5-EF810CDA23A5}"/>
              </a:ext>
            </a:extLst>
          </p:cNvPr>
          <p:cNvSpPr>
            <a:spLocks noGrp="1"/>
          </p:cNvSpPr>
          <p:nvPr>
            <p:ph sz="quarter" idx="18" hasCustomPrompt="1"/>
          </p:nvPr>
        </p:nvSpPr>
        <p:spPr>
          <a:xfrm>
            <a:off x="6540000" y="2422800"/>
            <a:ext cx="5040000" cy="3938400"/>
          </a:xfrm>
        </p:spPr>
        <p:txBody>
          <a:bodyPr/>
          <a:lstStyle>
            <a:lvl1pPr>
              <a:lnSpc>
                <a:spcPct val="150000"/>
              </a:lnSpc>
              <a:spcAft>
                <a:spcPts val="1000"/>
              </a:spcAft>
              <a:defRPr>
                <a:solidFill>
                  <a:schemeClr val="bg2"/>
                </a:solidFill>
              </a:defRPr>
            </a:lvl1pPr>
            <a:lvl2pPr>
              <a:lnSpc>
                <a:spcPct val="150000"/>
              </a:lnSpc>
              <a:spcAft>
                <a:spcPts val="1000"/>
              </a:spcAft>
              <a:buClr>
                <a:schemeClr val="tx1"/>
              </a:buClr>
              <a:defRPr>
                <a:solidFill>
                  <a:schemeClr val="bg2"/>
                </a:solidFill>
              </a:defRPr>
            </a:lvl2pPr>
            <a:lvl3pPr>
              <a:lnSpc>
                <a:spcPct val="150000"/>
              </a:lnSpc>
              <a:spcAft>
                <a:spcPts val="1000"/>
              </a:spcAft>
              <a:defRPr>
                <a:solidFill>
                  <a:schemeClr val="bg2"/>
                </a:solidFill>
              </a:defRPr>
            </a:lvl3pPr>
            <a:lvl4pPr>
              <a:lnSpc>
                <a:spcPct val="150000"/>
              </a:lnSpc>
              <a:spcAft>
                <a:spcPts val="1000"/>
              </a:spcAft>
              <a:defRPr>
                <a:solidFill>
                  <a:schemeClr val="bg2"/>
                </a:solidFill>
              </a:defRPr>
            </a:lvl4pPr>
            <a:lvl5pPr>
              <a:lnSpc>
                <a:spcPct val="150000"/>
              </a:lnSpc>
              <a:spcAft>
                <a:spcPts val="1000"/>
              </a:spcAft>
              <a:defRPr>
                <a:solidFill>
                  <a:schemeClr val="bg2"/>
                </a:solidFill>
              </a:defRPr>
            </a:lvl5pPr>
          </a:lstStyle>
          <a:p>
            <a:pPr lvl="0"/>
            <a:r>
              <a:rPr lang="en-US"/>
              <a:t>Click to add text</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07376456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_Team slid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8BB32715-E288-422A-957E-2F662CF2AB66}"/>
              </a:ext>
            </a:extLst>
          </p:cNvPr>
          <p:cNvSpPr/>
          <p:nvPr userDrawn="1"/>
        </p:nvSpPr>
        <p:spPr>
          <a:xfrm>
            <a:off x="0" y="3760478"/>
            <a:ext cx="12192000" cy="75708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54000" bIns="54000" rtlCol="0" anchor="t" anchorCtr="0">
            <a:noAutofit/>
          </a:bodyPr>
          <a:lstStyle/>
          <a:p>
            <a:pPr algn="l">
              <a:lnSpc>
                <a:spcPct val="110000"/>
              </a:lnSpc>
            </a:pPr>
            <a:endParaRPr lang="en-SG" sz="1400">
              <a:solidFill>
                <a:schemeClr val="tx1"/>
              </a:solidFill>
            </a:endParaRPr>
          </a:p>
        </p:txBody>
      </p:sp>
      <p:sp>
        <p:nvSpPr>
          <p:cNvPr id="2" name="Title 1">
            <a:extLst>
              <a:ext uri="{FF2B5EF4-FFF2-40B4-BE49-F238E27FC236}">
                <a16:creationId xmlns:a16="http://schemas.microsoft.com/office/drawing/2014/main" id="{E6E0FA48-03C5-4B7A-972D-4A2221603CD0}"/>
              </a:ext>
            </a:extLst>
          </p:cNvPr>
          <p:cNvSpPr>
            <a:spLocks noGrp="1"/>
          </p:cNvSpPr>
          <p:nvPr>
            <p:ph type="title" hasCustomPrompt="1"/>
          </p:nvPr>
        </p:nvSpPr>
        <p:spPr>
          <a:xfrm>
            <a:off x="504000" y="403200"/>
            <a:ext cx="11082519" cy="972000"/>
          </a:xfrm>
        </p:spPr>
        <p:txBody>
          <a:bodyPr>
            <a:noAutofit/>
          </a:bodyPr>
          <a:lstStyle>
            <a:lvl1pPr>
              <a:defRPr/>
            </a:lvl1pPr>
          </a:lstStyle>
          <a:p>
            <a:r>
              <a:rPr lang="en-US"/>
              <a:t>Your SKIM team…</a:t>
            </a:r>
          </a:p>
        </p:txBody>
      </p:sp>
      <p:sp>
        <p:nvSpPr>
          <p:cNvPr id="4" name="Tijdelijke aanduiding voor dianummer 3">
            <a:extLst>
              <a:ext uri="{FF2B5EF4-FFF2-40B4-BE49-F238E27FC236}">
                <a16:creationId xmlns:a16="http://schemas.microsoft.com/office/drawing/2014/main" id="{72291602-76B8-4CEF-89D4-0ED9CBC9CAA0}"/>
              </a:ext>
            </a:extLst>
          </p:cNvPr>
          <p:cNvSpPr>
            <a:spLocks noGrp="1"/>
          </p:cNvSpPr>
          <p:nvPr>
            <p:ph type="sldNum" sz="quarter" idx="4"/>
          </p:nvPr>
        </p:nvSpPr>
        <p:spPr>
          <a:xfrm>
            <a:off x="504000" y="6378472"/>
            <a:ext cx="2743200" cy="365125"/>
          </a:xfrm>
          <a:prstGeom prst="rect">
            <a:avLst/>
          </a:prstGeom>
        </p:spPr>
        <p:txBody>
          <a:bodyPr vert="horz" lIns="0" tIns="45720" rIns="91440" bIns="45720" rtlCol="0" anchor="ctr"/>
          <a:lstStyle>
            <a:lvl1pPr algn="l">
              <a:defRPr sz="800">
                <a:solidFill>
                  <a:schemeClr val="bg2"/>
                </a:solidFill>
              </a:defRPr>
            </a:lvl1pPr>
          </a:lstStyle>
          <a:p>
            <a:fld id="{B592C3DA-96A1-4E84-9171-AC4C91AB4FEA}" type="slidenum">
              <a:rPr lang="en-US" smtClean="0"/>
              <a:pPr/>
              <a:t>‹#›</a:t>
            </a:fld>
            <a:endParaRPr lang="en-US"/>
          </a:p>
        </p:txBody>
      </p:sp>
      <p:sp>
        <p:nvSpPr>
          <p:cNvPr id="19" name="Picture Placeholder 20">
            <a:extLst>
              <a:ext uri="{FF2B5EF4-FFF2-40B4-BE49-F238E27FC236}">
                <a16:creationId xmlns:a16="http://schemas.microsoft.com/office/drawing/2014/main" id="{3C14BBE5-4F46-4FA4-B512-DE212DD8192E}"/>
              </a:ext>
            </a:extLst>
          </p:cNvPr>
          <p:cNvSpPr>
            <a:spLocks noGrp="1"/>
          </p:cNvSpPr>
          <p:nvPr>
            <p:ph type="pic" sz="quarter" idx="22" hasCustomPrompt="1"/>
          </p:nvPr>
        </p:nvSpPr>
        <p:spPr>
          <a:xfrm>
            <a:off x="994516" y="3345491"/>
            <a:ext cx="1548000" cy="1548000"/>
          </a:xfrm>
          <a:prstGeom prst="ellipse">
            <a:avLst/>
          </a:prstGeom>
          <a:solidFill>
            <a:srgbClr val="E6EFF1"/>
          </a:solidFill>
          <a:ln w="38100">
            <a:solidFill>
              <a:schemeClr val="accent2"/>
            </a:solidFill>
          </a:ln>
        </p:spPr>
        <p:txBody>
          <a:bodyPr/>
          <a:lstStyle>
            <a:lvl1pPr marL="0" indent="0" algn="ctr">
              <a:buNone/>
              <a:defRPr sz="800"/>
            </a:lvl1pPr>
          </a:lstStyle>
          <a:p>
            <a:pPr marL="0" marR="0" lvl="0" indent="-288000" algn="l" defTabSz="914400" rtl="0" eaLnBrk="1" fontAlgn="auto" latinLnBrk="0" hangingPunct="1">
              <a:lnSpc>
                <a:spcPct val="150000"/>
              </a:lnSpc>
              <a:spcBef>
                <a:spcPts val="0"/>
              </a:spcBef>
              <a:spcAft>
                <a:spcPts val="0"/>
              </a:spcAft>
              <a:buClrTx/>
              <a:buSzTx/>
              <a:tabLst/>
              <a:defRPr/>
            </a:pPr>
            <a:r>
              <a:rPr lang="en-US"/>
              <a:t>To add photo:</a:t>
            </a:r>
            <a:br>
              <a:rPr lang="en-US"/>
            </a:br>
            <a:r>
              <a:rPr lang="en-US"/>
              <a:t>1. Click border of this box</a:t>
            </a:r>
            <a:br>
              <a:rPr lang="en-US"/>
            </a:br>
            <a:r>
              <a:rPr lang="en-US"/>
              <a:t>2. Select ‘Add image’ from SKIM buttons</a:t>
            </a:r>
          </a:p>
        </p:txBody>
      </p:sp>
      <p:sp>
        <p:nvSpPr>
          <p:cNvPr id="21" name="Picture Placeholder 20">
            <a:extLst>
              <a:ext uri="{FF2B5EF4-FFF2-40B4-BE49-F238E27FC236}">
                <a16:creationId xmlns:a16="http://schemas.microsoft.com/office/drawing/2014/main" id="{FA5800CE-8B35-4A91-A5E0-E2D505EB7913}"/>
              </a:ext>
            </a:extLst>
          </p:cNvPr>
          <p:cNvSpPr>
            <a:spLocks noGrp="1"/>
          </p:cNvSpPr>
          <p:nvPr>
            <p:ph type="pic" sz="quarter" idx="27" hasCustomPrompt="1"/>
          </p:nvPr>
        </p:nvSpPr>
        <p:spPr>
          <a:xfrm>
            <a:off x="3108155" y="3365020"/>
            <a:ext cx="1548000" cy="1548000"/>
          </a:xfrm>
          <a:prstGeom prst="ellipse">
            <a:avLst/>
          </a:prstGeom>
          <a:solidFill>
            <a:srgbClr val="E6EFF1"/>
          </a:solidFill>
          <a:ln w="38100">
            <a:solidFill>
              <a:schemeClr val="accent2"/>
            </a:solidFill>
          </a:ln>
        </p:spPr>
        <p:txBody>
          <a:bodyPr/>
          <a:lstStyle>
            <a:lvl1pPr marL="0" indent="0" algn="ctr">
              <a:buNone/>
              <a:defRPr sz="800"/>
            </a:lvl1pPr>
          </a:lstStyle>
          <a:p>
            <a:pPr marL="0" marR="0" lvl="0" indent="-288000" algn="l" defTabSz="914400" rtl="0" eaLnBrk="1" fontAlgn="auto" latinLnBrk="0" hangingPunct="1">
              <a:lnSpc>
                <a:spcPct val="150000"/>
              </a:lnSpc>
              <a:spcBef>
                <a:spcPts val="0"/>
              </a:spcBef>
              <a:spcAft>
                <a:spcPts val="0"/>
              </a:spcAft>
              <a:buClrTx/>
              <a:buSzTx/>
              <a:tabLst/>
              <a:defRPr/>
            </a:pPr>
            <a:r>
              <a:rPr lang="en-US"/>
              <a:t>To add photo:</a:t>
            </a:r>
            <a:br>
              <a:rPr lang="en-US"/>
            </a:br>
            <a:r>
              <a:rPr lang="en-US"/>
              <a:t>1. Click border of this box</a:t>
            </a:r>
            <a:br>
              <a:rPr lang="en-US"/>
            </a:br>
            <a:r>
              <a:rPr lang="en-US"/>
              <a:t>2. Select ‘Add image’ from SKIM buttons</a:t>
            </a:r>
          </a:p>
        </p:txBody>
      </p:sp>
      <p:sp>
        <p:nvSpPr>
          <p:cNvPr id="22" name="Picture Placeholder 20">
            <a:extLst>
              <a:ext uri="{FF2B5EF4-FFF2-40B4-BE49-F238E27FC236}">
                <a16:creationId xmlns:a16="http://schemas.microsoft.com/office/drawing/2014/main" id="{78E96C9E-84F0-46CD-BDD6-26F3FC1FD921}"/>
              </a:ext>
            </a:extLst>
          </p:cNvPr>
          <p:cNvSpPr>
            <a:spLocks noGrp="1"/>
          </p:cNvSpPr>
          <p:nvPr>
            <p:ph type="pic" sz="quarter" idx="28" hasCustomPrompt="1"/>
          </p:nvPr>
        </p:nvSpPr>
        <p:spPr>
          <a:xfrm>
            <a:off x="5221794" y="3365020"/>
            <a:ext cx="1548000" cy="1548000"/>
          </a:xfrm>
          <a:prstGeom prst="ellipse">
            <a:avLst/>
          </a:prstGeom>
          <a:solidFill>
            <a:srgbClr val="E6EFF1"/>
          </a:solidFill>
          <a:ln w="38100">
            <a:solidFill>
              <a:schemeClr val="accent2"/>
            </a:solidFill>
          </a:ln>
        </p:spPr>
        <p:txBody>
          <a:bodyPr/>
          <a:lstStyle>
            <a:lvl1pPr marL="0" indent="0" algn="ctr">
              <a:buNone/>
              <a:defRPr sz="800"/>
            </a:lvl1pPr>
          </a:lstStyle>
          <a:p>
            <a:pPr marL="0" marR="0" lvl="0" indent="-288000" algn="l" defTabSz="914400" rtl="0" eaLnBrk="1" fontAlgn="auto" latinLnBrk="0" hangingPunct="1">
              <a:lnSpc>
                <a:spcPct val="150000"/>
              </a:lnSpc>
              <a:spcBef>
                <a:spcPts val="0"/>
              </a:spcBef>
              <a:spcAft>
                <a:spcPts val="0"/>
              </a:spcAft>
              <a:buClrTx/>
              <a:buSzTx/>
              <a:tabLst/>
              <a:defRPr/>
            </a:pPr>
            <a:r>
              <a:rPr lang="en-US"/>
              <a:t>To add photo:</a:t>
            </a:r>
            <a:br>
              <a:rPr lang="en-US"/>
            </a:br>
            <a:r>
              <a:rPr lang="en-US"/>
              <a:t>1. Click border of this box</a:t>
            </a:r>
            <a:br>
              <a:rPr lang="en-US"/>
            </a:br>
            <a:r>
              <a:rPr lang="en-US"/>
              <a:t>2. Select ‘Add image’ from SKIM buttons</a:t>
            </a:r>
          </a:p>
        </p:txBody>
      </p:sp>
      <p:sp>
        <p:nvSpPr>
          <p:cNvPr id="23" name="Picture Placeholder 20">
            <a:extLst>
              <a:ext uri="{FF2B5EF4-FFF2-40B4-BE49-F238E27FC236}">
                <a16:creationId xmlns:a16="http://schemas.microsoft.com/office/drawing/2014/main" id="{84FFB6F2-9DD2-4F51-894A-89C4E2327688}"/>
              </a:ext>
            </a:extLst>
          </p:cNvPr>
          <p:cNvSpPr>
            <a:spLocks noGrp="1"/>
          </p:cNvSpPr>
          <p:nvPr>
            <p:ph type="pic" sz="quarter" idx="29" hasCustomPrompt="1"/>
          </p:nvPr>
        </p:nvSpPr>
        <p:spPr>
          <a:xfrm>
            <a:off x="7335433" y="3345491"/>
            <a:ext cx="1548000" cy="1548000"/>
          </a:xfrm>
          <a:prstGeom prst="ellipse">
            <a:avLst/>
          </a:prstGeom>
          <a:solidFill>
            <a:srgbClr val="E6EFF1"/>
          </a:solidFill>
          <a:ln w="38100">
            <a:solidFill>
              <a:schemeClr val="accent3"/>
            </a:solidFill>
          </a:ln>
        </p:spPr>
        <p:txBody>
          <a:bodyPr/>
          <a:lstStyle>
            <a:lvl1pPr marL="0" indent="0" algn="ctr">
              <a:buNone/>
              <a:defRPr sz="800"/>
            </a:lvl1pPr>
          </a:lstStyle>
          <a:p>
            <a:pPr marL="0" marR="0" lvl="0" indent="-288000" algn="l" defTabSz="914400" rtl="0" eaLnBrk="1" fontAlgn="auto" latinLnBrk="0" hangingPunct="1">
              <a:lnSpc>
                <a:spcPct val="150000"/>
              </a:lnSpc>
              <a:spcBef>
                <a:spcPts val="0"/>
              </a:spcBef>
              <a:spcAft>
                <a:spcPts val="0"/>
              </a:spcAft>
              <a:buClrTx/>
              <a:buSzTx/>
              <a:tabLst/>
              <a:defRPr/>
            </a:pPr>
            <a:r>
              <a:rPr lang="en-US"/>
              <a:t>To add photo:</a:t>
            </a:r>
            <a:br>
              <a:rPr lang="en-US"/>
            </a:br>
            <a:r>
              <a:rPr lang="en-US"/>
              <a:t>1. Click border of this box</a:t>
            </a:r>
            <a:br>
              <a:rPr lang="en-US"/>
            </a:br>
            <a:r>
              <a:rPr lang="en-US"/>
              <a:t>2. Select ‘Add image’ from SKIM buttons</a:t>
            </a:r>
          </a:p>
        </p:txBody>
      </p:sp>
      <p:sp>
        <p:nvSpPr>
          <p:cNvPr id="24" name="Picture Placeholder 20">
            <a:extLst>
              <a:ext uri="{FF2B5EF4-FFF2-40B4-BE49-F238E27FC236}">
                <a16:creationId xmlns:a16="http://schemas.microsoft.com/office/drawing/2014/main" id="{7C209E36-93BC-4BA8-A524-CC98351E45FA}"/>
              </a:ext>
            </a:extLst>
          </p:cNvPr>
          <p:cNvSpPr>
            <a:spLocks noGrp="1"/>
          </p:cNvSpPr>
          <p:nvPr>
            <p:ph type="pic" sz="quarter" idx="30" hasCustomPrompt="1"/>
          </p:nvPr>
        </p:nvSpPr>
        <p:spPr>
          <a:xfrm>
            <a:off x="9449072" y="3345491"/>
            <a:ext cx="1548000" cy="1548000"/>
          </a:xfrm>
          <a:prstGeom prst="ellipse">
            <a:avLst/>
          </a:prstGeom>
          <a:solidFill>
            <a:srgbClr val="E6EFF1"/>
          </a:solidFill>
          <a:ln w="38100">
            <a:solidFill>
              <a:schemeClr val="accent3"/>
            </a:solidFill>
          </a:ln>
        </p:spPr>
        <p:txBody>
          <a:bodyPr/>
          <a:lstStyle>
            <a:lvl1pPr marL="0" indent="0" algn="ctr">
              <a:buNone/>
              <a:defRPr sz="800"/>
            </a:lvl1pPr>
          </a:lstStyle>
          <a:p>
            <a:pPr marL="0" marR="0" lvl="0" indent="-288000" algn="l" defTabSz="914400" rtl="0" eaLnBrk="1" fontAlgn="auto" latinLnBrk="0" hangingPunct="1">
              <a:lnSpc>
                <a:spcPct val="150000"/>
              </a:lnSpc>
              <a:spcBef>
                <a:spcPts val="0"/>
              </a:spcBef>
              <a:spcAft>
                <a:spcPts val="0"/>
              </a:spcAft>
              <a:buClrTx/>
              <a:buSzTx/>
              <a:tabLst/>
              <a:defRPr/>
            </a:pPr>
            <a:r>
              <a:rPr lang="en-US"/>
              <a:t>To add photo:</a:t>
            </a:r>
            <a:br>
              <a:rPr lang="en-US"/>
            </a:br>
            <a:r>
              <a:rPr lang="en-US"/>
              <a:t>1. Click border of this box</a:t>
            </a:r>
            <a:br>
              <a:rPr lang="en-US"/>
            </a:br>
            <a:r>
              <a:rPr lang="en-US"/>
              <a:t>2. Select ‘Add image’ from SKIM buttons</a:t>
            </a:r>
          </a:p>
        </p:txBody>
      </p:sp>
    </p:spTree>
    <p:extLst>
      <p:ext uri="{BB962C8B-B14F-4D97-AF65-F5344CB8AC3E}">
        <p14:creationId xmlns:p14="http://schemas.microsoft.com/office/powerpoint/2010/main" val="177087792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3 Column + subheading">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C85C1D93-6B17-48E5-BA8D-2F8EAED97F60}"/>
              </a:ext>
            </a:extLst>
          </p:cNvPr>
          <p:cNvSpPr>
            <a:spLocks noGrp="1"/>
          </p:cNvSpPr>
          <p:nvPr>
            <p:ph sz="half" idx="2" hasCustomPrompt="1"/>
          </p:nvPr>
        </p:nvSpPr>
        <p:spPr>
          <a:xfrm>
            <a:off x="504000" y="2132940"/>
            <a:ext cx="3294000" cy="4245532"/>
          </a:xfrm>
        </p:spPr>
        <p:txBody>
          <a:bodyPr>
            <a:noAutofit/>
          </a:bodyPr>
          <a:lstStyle>
            <a:lvl1pPr marL="0" indent="0">
              <a:lnSpc>
                <a:spcPct val="120000"/>
              </a:lnSpc>
              <a:buClr>
                <a:schemeClr val="accent1"/>
              </a:buClr>
              <a:buFont typeface="Courier New" panose="02070309020205020404" pitchFamily="49" charset="0"/>
              <a:buNone/>
              <a:defRPr sz="1200"/>
            </a:lvl1pPr>
            <a:lvl2pPr marL="360000" indent="0">
              <a:lnSpc>
                <a:spcPct val="120000"/>
              </a:lnSpc>
              <a:buClr>
                <a:schemeClr val="bg2"/>
              </a:buClr>
              <a:buFont typeface="Wingdings" panose="05000000000000000000" pitchFamily="2" charset="2"/>
              <a:buNone/>
              <a:defRPr sz="1200"/>
            </a:lvl2pPr>
            <a:lvl3pPr marL="576000" indent="0">
              <a:lnSpc>
                <a:spcPct val="120000"/>
              </a:lnSpc>
              <a:buClr>
                <a:schemeClr val="bg2"/>
              </a:buClr>
              <a:buFont typeface="Wingdings" panose="05000000000000000000" pitchFamily="2" charset="2"/>
              <a:buNone/>
              <a:defRPr sz="1200"/>
            </a:lvl3pPr>
            <a:lvl4pPr marL="1152000" indent="-288000">
              <a:lnSpc>
                <a:spcPct val="150000"/>
              </a:lnSpc>
              <a:buClr>
                <a:schemeClr val="bg2"/>
              </a:buClr>
              <a:buFont typeface="Wingdings" panose="05000000000000000000" pitchFamily="2" charset="2"/>
              <a:buChar char="§"/>
              <a:defRPr sz="1200"/>
            </a:lvl4pPr>
            <a:lvl5pPr marL="1152000" indent="-288000">
              <a:lnSpc>
                <a:spcPct val="150000"/>
              </a:lnSpc>
              <a:buClr>
                <a:schemeClr val="bg2"/>
              </a:buClr>
              <a:buFont typeface="Wingdings" panose="05000000000000000000" pitchFamily="2" charset="2"/>
              <a:buChar char="§"/>
              <a:defRPr sz="1200"/>
            </a:lvl5pPr>
            <a:lvl6pPr marL="1152000">
              <a:buClr>
                <a:schemeClr val="bg2"/>
              </a:buClr>
              <a:defRPr/>
            </a:lvl6pPr>
            <a:lvl7pPr marL="1152000">
              <a:buClr>
                <a:schemeClr val="bg2"/>
              </a:buClr>
              <a:defRPr/>
            </a:lvl7pPr>
            <a:lvl8pPr marL="1152000">
              <a:buClr>
                <a:schemeClr val="bg2"/>
              </a:buClr>
              <a:defRPr/>
            </a:lvl8pPr>
            <a:lvl9pPr marL="1152000">
              <a:buClr>
                <a:schemeClr val="bg2"/>
              </a:buClr>
              <a:defRPr/>
            </a:lvl9pPr>
          </a:lstStyle>
          <a:p>
            <a:pPr lvl="0"/>
            <a:r>
              <a:rPr lang="en-US"/>
              <a:t>Click to add text</a:t>
            </a:r>
          </a:p>
        </p:txBody>
      </p:sp>
      <p:sp>
        <p:nvSpPr>
          <p:cNvPr id="5" name="Text Placeholder 4">
            <a:extLst>
              <a:ext uri="{FF2B5EF4-FFF2-40B4-BE49-F238E27FC236}">
                <a16:creationId xmlns:a16="http://schemas.microsoft.com/office/drawing/2014/main" id="{307AC6E6-059C-4C33-9AC7-00ACD93D8788}"/>
              </a:ext>
            </a:extLst>
          </p:cNvPr>
          <p:cNvSpPr>
            <a:spLocks noGrp="1"/>
          </p:cNvSpPr>
          <p:nvPr>
            <p:ph type="body" sz="quarter" idx="3" hasCustomPrompt="1"/>
          </p:nvPr>
        </p:nvSpPr>
        <p:spPr>
          <a:xfrm>
            <a:off x="8287038" y="1679340"/>
            <a:ext cx="3294000" cy="299313"/>
          </a:xfrm>
        </p:spPr>
        <p:txBody>
          <a:bodyPr anchor="t" anchorCtr="0">
            <a:spAutoFit/>
          </a:bodyPr>
          <a:lstStyle>
            <a:lvl1pPr marL="0" indent="0">
              <a:lnSpc>
                <a:spcPct val="120000"/>
              </a:lnSpc>
              <a:buNone/>
              <a:defRPr sz="18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add subheading</a:t>
            </a:r>
          </a:p>
        </p:txBody>
      </p:sp>
      <p:sp>
        <p:nvSpPr>
          <p:cNvPr id="13" name="Content Placeholder 3">
            <a:extLst>
              <a:ext uri="{FF2B5EF4-FFF2-40B4-BE49-F238E27FC236}">
                <a16:creationId xmlns:a16="http://schemas.microsoft.com/office/drawing/2014/main" id="{B1E68455-A454-4B0A-ADC3-F10B23520EF8}"/>
              </a:ext>
            </a:extLst>
          </p:cNvPr>
          <p:cNvSpPr>
            <a:spLocks noGrp="1"/>
          </p:cNvSpPr>
          <p:nvPr>
            <p:ph sz="half" idx="15" hasCustomPrompt="1"/>
          </p:nvPr>
        </p:nvSpPr>
        <p:spPr>
          <a:xfrm>
            <a:off x="4309200" y="2132940"/>
            <a:ext cx="3294000" cy="4245532"/>
          </a:xfrm>
        </p:spPr>
        <p:txBody>
          <a:bodyPr vert="horz" lIns="0" tIns="0" rIns="0" bIns="0" rtlCol="0">
            <a:noAutofit/>
          </a:bodyPr>
          <a:lstStyle>
            <a:lvl1pPr marL="0" indent="0">
              <a:lnSpc>
                <a:spcPct val="120000"/>
              </a:lnSpc>
              <a:buNone/>
              <a:defRPr lang="en-US" sz="1200" dirty="0"/>
            </a:lvl1pPr>
            <a:lvl2pPr>
              <a:spcAft>
                <a:spcPts val="1000"/>
              </a:spcAft>
              <a:buClr>
                <a:schemeClr val="bg2"/>
              </a:buClr>
              <a:defRPr lang="en-US" sz="1200" dirty="0"/>
            </a:lvl2pPr>
            <a:lvl3pPr>
              <a:spcAft>
                <a:spcPts val="1000"/>
              </a:spcAft>
              <a:buClr>
                <a:schemeClr val="bg2"/>
              </a:buClr>
              <a:defRPr lang="en-US" dirty="0"/>
            </a:lvl3pPr>
            <a:lvl4pPr>
              <a:spcAft>
                <a:spcPts val="1000"/>
              </a:spcAft>
              <a:defRPr/>
            </a:lvl4pPr>
            <a:lvl5pPr marL="1152000">
              <a:buClr>
                <a:schemeClr val="bg2"/>
              </a:buClr>
              <a:defRPr/>
            </a:lvl5pPr>
            <a:lvl6pPr marL="1152000">
              <a:buClr>
                <a:schemeClr val="bg2"/>
              </a:buClr>
              <a:defRPr/>
            </a:lvl6pPr>
            <a:lvl7pPr marL="1152000" indent="-171450">
              <a:buClr>
                <a:schemeClr val="bg2"/>
              </a:buClr>
              <a:buFont typeface="Wingdings" panose="05000000000000000000" pitchFamily="2" charset="2"/>
              <a:buChar char="§"/>
              <a:defRPr/>
            </a:lvl7pPr>
            <a:lvl8pPr marL="1152000">
              <a:buClr>
                <a:schemeClr val="bg2"/>
              </a:buClr>
              <a:defRPr/>
            </a:lvl8pPr>
            <a:lvl9pPr marL="1152000">
              <a:buClr>
                <a:schemeClr val="bg2"/>
              </a:buClr>
              <a:defRPr/>
            </a:lvl9pPr>
          </a:lstStyle>
          <a:p>
            <a:pPr lvl="0"/>
            <a:r>
              <a:rPr lang="en-US"/>
              <a:t>Click to add text</a:t>
            </a:r>
          </a:p>
          <a:p>
            <a:pPr lvl="0"/>
            <a:endParaRPr lang="en-US"/>
          </a:p>
        </p:txBody>
      </p:sp>
      <p:sp>
        <p:nvSpPr>
          <p:cNvPr id="12" name="Text Placeholder 4">
            <a:extLst>
              <a:ext uri="{FF2B5EF4-FFF2-40B4-BE49-F238E27FC236}">
                <a16:creationId xmlns:a16="http://schemas.microsoft.com/office/drawing/2014/main" id="{32EE6C59-6F52-4F3B-B2B3-F2952F024F07}"/>
              </a:ext>
            </a:extLst>
          </p:cNvPr>
          <p:cNvSpPr>
            <a:spLocks noGrp="1"/>
          </p:cNvSpPr>
          <p:nvPr>
            <p:ph type="body" sz="quarter" idx="14" hasCustomPrompt="1"/>
          </p:nvPr>
        </p:nvSpPr>
        <p:spPr>
          <a:xfrm>
            <a:off x="4309200" y="1679340"/>
            <a:ext cx="3294000" cy="299313"/>
          </a:xfrm>
        </p:spPr>
        <p:txBody>
          <a:bodyPr anchor="t" anchorCtr="0">
            <a:spAutoFit/>
          </a:bodyPr>
          <a:lstStyle>
            <a:lvl1pPr marL="0" indent="0">
              <a:lnSpc>
                <a:spcPct val="120000"/>
              </a:lnSpc>
              <a:buNone/>
              <a:defRPr sz="18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add subheading</a:t>
            </a:r>
          </a:p>
        </p:txBody>
      </p:sp>
      <p:sp>
        <p:nvSpPr>
          <p:cNvPr id="14" name="Content Placeholder 3">
            <a:extLst>
              <a:ext uri="{FF2B5EF4-FFF2-40B4-BE49-F238E27FC236}">
                <a16:creationId xmlns:a16="http://schemas.microsoft.com/office/drawing/2014/main" id="{AE13AD73-21AE-4650-B0DA-1D17DB5C047A}"/>
              </a:ext>
            </a:extLst>
          </p:cNvPr>
          <p:cNvSpPr>
            <a:spLocks noGrp="1"/>
          </p:cNvSpPr>
          <p:nvPr>
            <p:ph sz="half" idx="13" hasCustomPrompt="1"/>
          </p:nvPr>
        </p:nvSpPr>
        <p:spPr>
          <a:xfrm>
            <a:off x="8287038" y="2132940"/>
            <a:ext cx="3294000" cy="4245532"/>
          </a:xfrm>
        </p:spPr>
        <p:txBody>
          <a:bodyPr>
            <a:noAutofit/>
          </a:bodyPr>
          <a:lstStyle>
            <a:lvl1pPr marL="0" indent="0">
              <a:lnSpc>
                <a:spcPct val="120000"/>
              </a:lnSpc>
              <a:buClr>
                <a:schemeClr val="bg2"/>
              </a:buClr>
              <a:buFont typeface="Courier New" panose="02070309020205020404" pitchFamily="49" charset="0"/>
              <a:buNone/>
              <a:defRPr sz="1200"/>
            </a:lvl1pPr>
            <a:lvl2pPr marL="648000" indent="-288000">
              <a:buClr>
                <a:schemeClr val="bg2"/>
              </a:buClr>
              <a:buFont typeface="Wingdings" panose="05000000000000000000" pitchFamily="2" charset="2"/>
              <a:buChar char="§"/>
              <a:defRPr sz="1200"/>
            </a:lvl2pPr>
            <a:lvl3pPr marL="864000" indent="-288000">
              <a:buClr>
                <a:schemeClr val="bg2"/>
              </a:buClr>
              <a:buFont typeface="Wingdings" panose="05000000000000000000" pitchFamily="2" charset="2"/>
              <a:buChar char="§"/>
              <a:defRPr sz="1200"/>
            </a:lvl3pPr>
            <a:lvl4pPr marL="1152000" indent="-288000">
              <a:buClr>
                <a:schemeClr val="bg2"/>
              </a:buClr>
              <a:buFont typeface="Wingdings" panose="05000000000000000000" pitchFamily="2" charset="2"/>
              <a:buChar char="§"/>
              <a:defRPr sz="1200"/>
            </a:lvl4pPr>
            <a:lvl5pPr marL="1152000" indent="-288000">
              <a:buClr>
                <a:schemeClr val="bg2"/>
              </a:buClr>
              <a:buFont typeface="Wingdings" panose="05000000000000000000" pitchFamily="2" charset="2"/>
              <a:buChar char="§"/>
              <a:defRPr sz="1200"/>
            </a:lvl5pPr>
            <a:lvl6pPr marL="1152000">
              <a:buClr>
                <a:schemeClr val="bg2"/>
              </a:buClr>
              <a:defRPr/>
            </a:lvl6pPr>
            <a:lvl7pPr marL="1152000">
              <a:buClr>
                <a:schemeClr val="bg2"/>
              </a:buClr>
              <a:defRPr/>
            </a:lvl7pPr>
            <a:lvl8pPr marL="1152000">
              <a:buClr>
                <a:schemeClr val="bg2"/>
              </a:buClr>
              <a:defRPr/>
            </a:lvl8pPr>
            <a:lvl9pPr marL="1152000">
              <a:buClr>
                <a:schemeClr val="bg2"/>
              </a:buClr>
              <a:defRPr/>
            </a:lvl9pPr>
          </a:lstStyle>
          <a:p>
            <a:pPr marL="0" marR="0" lvl="0" indent="0" algn="l" defTabSz="914400" rtl="0" eaLnBrk="1" fontAlgn="auto" latinLnBrk="0" hangingPunct="1">
              <a:lnSpc>
                <a:spcPct val="120000"/>
              </a:lnSpc>
              <a:spcBef>
                <a:spcPts val="0"/>
              </a:spcBef>
              <a:spcAft>
                <a:spcPts val="1000"/>
              </a:spcAft>
              <a:buClr>
                <a:schemeClr val="bg2"/>
              </a:buClr>
              <a:buSzTx/>
              <a:buFont typeface="Courier New" panose="02070309020205020404" pitchFamily="49" charset="0"/>
              <a:buNone/>
              <a:tabLst/>
              <a:defRPr/>
            </a:pPr>
            <a:r>
              <a:rPr lang="en-US"/>
              <a:t>Click to add text</a:t>
            </a:r>
          </a:p>
          <a:p>
            <a:pPr lvl="0"/>
            <a:endParaRPr lang="en-US"/>
          </a:p>
        </p:txBody>
      </p:sp>
      <p:sp>
        <p:nvSpPr>
          <p:cNvPr id="3" name="Text Placeholder 2">
            <a:extLst>
              <a:ext uri="{FF2B5EF4-FFF2-40B4-BE49-F238E27FC236}">
                <a16:creationId xmlns:a16="http://schemas.microsoft.com/office/drawing/2014/main" id="{C7309557-2B8E-490F-8547-975C069159A6}"/>
              </a:ext>
            </a:extLst>
          </p:cNvPr>
          <p:cNvSpPr>
            <a:spLocks noGrp="1"/>
          </p:cNvSpPr>
          <p:nvPr>
            <p:ph type="body" idx="1" hasCustomPrompt="1"/>
          </p:nvPr>
        </p:nvSpPr>
        <p:spPr>
          <a:xfrm>
            <a:off x="504000" y="1679340"/>
            <a:ext cx="3294000" cy="311047"/>
          </a:xfrm>
        </p:spPr>
        <p:txBody>
          <a:bodyPr anchor="t" anchorCtr="0">
            <a:spAutoFit/>
          </a:bodyPr>
          <a:lstStyle>
            <a:lvl1pPr marL="0" indent="0">
              <a:lnSpc>
                <a:spcPct val="120000"/>
              </a:lnSpc>
              <a:buNone/>
              <a:defRPr sz="18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add subheading</a:t>
            </a:r>
          </a:p>
        </p:txBody>
      </p:sp>
      <p:sp>
        <p:nvSpPr>
          <p:cNvPr id="2" name="Title 1">
            <a:extLst>
              <a:ext uri="{FF2B5EF4-FFF2-40B4-BE49-F238E27FC236}">
                <a16:creationId xmlns:a16="http://schemas.microsoft.com/office/drawing/2014/main" id="{66EC978F-9F5A-4C6F-BF4A-C3DA5CCEA79C}"/>
              </a:ext>
            </a:extLst>
          </p:cNvPr>
          <p:cNvSpPr>
            <a:spLocks noGrp="1"/>
          </p:cNvSpPr>
          <p:nvPr>
            <p:ph type="title" hasCustomPrompt="1"/>
          </p:nvPr>
        </p:nvSpPr>
        <p:spPr>
          <a:xfrm>
            <a:off x="504000" y="403200"/>
            <a:ext cx="11084400" cy="972000"/>
          </a:xfrm>
        </p:spPr>
        <p:txBody>
          <a:bodyPr>
            <a:noAutofit/>
          </a:bodyPr>
          <a:lstStyle>
            <a:lvl1pPr>
              <a:defRPr/>
            </a:lvl1pPr>
          </a:lstStyle>
          <a:p>
            <a:r>
              <a:rPr lang="en-US"/>
              <a:t>Click to add headline</a:t>
            </a:r>
          </a:p>
        </p:txBody>
      </p:sp>
      <p:sp>
        <p:nvSpPr>
          <p:cNvPr id="9" name="Tijdelijke aanduiding voor dianummer 3">
            <a:extLst>
              <a:ext uri="{FF2B5EF4-FFF2-40B4-BE49-F238E27FC236}">
                <a16:creationId xmlns:a16="http://schemas.microsoft.com/office/drawing/2014/main" id="{32564F6C-A1C1-4DDD-8BC1-A1B6EF5B5E4B}"/>
              </a:ext>
            </a:extLst>
          </p:cNvPr>
          <p:cNvSpPr>
            <a:spLocks noGrp="1"/>
          </p:cNvSpPr>
          <p:nvPr>
            <p:ph type="sldNum" sz="quarter" idx="4"/>
          </p:nvPr>
        </p:nvSpPr>
        <p:spPr>
          <a:xfrm>
            <a:off x="504000" y="6378472"/>
            <a:ext cx="2743200" cy="365125"/>
          </a:xfrm>
          <a:prstGeom prst="rect">
            <a:avLst/>
          </a:prstGeom>
        </p:spPr>
        <p:txBody>
          <a:bodyPr vert="horz" lIns="0" tIns="45720" rIns="91440" bIns="45720" rtlCol="0" anchor="ctr"/>
          <a:lstStyle>
            <a:lvl1pPr algn="l">
              <a:defRPr sz="800">
                <a:solidFill>
                  <a:schemeClr val="bg2"/>
                </a:solidFill>
              </a:defRPr>
            </a:lvl1pPr>
          </a:lstStyle>
          <a:p>
            <a:fld id="{B592C3DA-96A1-4E84-9171-AC4C91AB4FEA}" type="slidenum">
              <a:rPr lang="en-US" smtClean="0"/>
              <a:pPr/>
              <a:t>‹#›</a:t>
            </a:fld>
            <a:endParaRPr lang="en-US"/>
          </a:p>
        </p:txBody>
      </p:sp>
    </p:spTree>
    <p:extLst>
      <p:ext uri="{BB962C8B-B14F-4D97-AF65-F5344CB8AC3E}">
        <p14:creationId xmlns:p14="http://schemas.microsoft.com/office/powerpoint/2010/main" val="347708373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3 Column + graphic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EC978F-9F5A-4C6F-BF4A-C3DA5CCEA79C}"/>
              </a:ext>
            </a:extLst>
          </p:cNvPr>
          <p:cNvSpPr>
            <a:spLocks noGrp="1"/>
          </p:cNvSpPr>
          <p:nvPr>
            <p:ph type="title" hasCustomPrompt="1"/>
          </p:nvPr>
        </p:nvSpPr>
        <p:spPr>
          <a:xfrm>
            <a:off x="504000" y="403200"/>
            <a:ext cx="11084400" cy="972000"/>
          </a:xfrm>
        </p:spPr>
        <p:txBody>
          <a:bodyPr>
            <a:noAutofit/>
          </a:bodyPr>
          <a:lstStyle>
            <a:lvl1pPr>
              <a:defRPr/>
            </a:lvl1pPr>
          </a:lstStyle>
          <a:p>
            <a:r>
              <a:rPr lang="en-US"/>
              <a:t>Click to add headline</a:t>
            </a:r>
          </a:p>
        </p:txBody>
      </p:sp>
      <p:sp>
        <p:nvSpPr>
          <p:cNvPr id="21" name="Picture Placeholder 20">
            <a:extLst>
              <a:ext uri="{FF2B5EF4-FFF2-40B4-BE49-F238E27FC236}">
                <a16:creationId xmlns:a16="http://schemas.microsoft.com/office/drawing/2014/main" id="{1AAC6A62-0BA7-49DA-BC73-E136D1011893}"/>
              </a:ext>
            </a:extLst>
          </p:cNvPr>
          <p:cNvSpPr>
            <a:spLocks noGrp="1"/>
          </p:cNvSpPr>
          <p:nvPr>
            <p:ph type="pic" sz="quarter" idx="22" hasCustomPrompt="1"/>
          </p:nvPr>
        </p:nvSpPr>
        <p:spPr>
          <a:xfrm>
            <a:off x="503238" y="1755058"/>
            <a:ext cx="3420000" cy="2078755"/>
          </a:xfrm>
        </p:spPr>
        <p:txBody>
          <a:bodyPr/>
          <a:lstStyle>
            <a:lvl1pPr marL="0" indent="0">
              <a:buNone/>
              <a:defRPr/>
            </a:lvl1pPr>
          </a:lstStyle>
          <a:p>
            <a:pPr marL="0" marR="0" lvl="0" indent="-288000" algn="l" defTabSz="914400" rtl="0" eaLnBrk="1" fontAlgn="auto" latinLnBrk="0" hangingPunct="1">
              <a:lnSpc>
                <a:spcPct val="150000"/>
              </a:lnSpc>
              <a:spcBef>
                <a:spcPts val="0"/>
              </a:spcBef>
              <a:spcAft>
                <a:spcPts val="0"/>
              </a:spcAft>
              <a:buClrTx/>
              <a:buSzTx/>
              <a:tabLst/>
              <a:defRPr/>
            </a:pPr>
            <a:r>
              <a:rPr lang="en-US"/>
              <a:t>To add image:</a:t>
            </a:r>
            <a:br>
              <a:rPr lang="en-US"/>
            </a:br>
            <a:r>
              <a:rPr lang="en-US"/>
              <a:t>1. Click border of this box</a:t>
            </a:r>
            <a:br>
              <a:rPr lang="en-US"/>
            </a:br>
            <a:r>
              <a:rPr lang="en-US"/>
              <a:t>2. Select ‘Add image’ from SKIM buttons</a:t>
            </a:r>
          </a:p>
        </p:txBody>
      </p:sp>
      <p:sp>
        <p:nvSpPr>
          <p:cNvPr id="22" name="Picture Placeholder 20">
            <a:extLst>
              <a:ext uri="{FF2B5EF4-FFF2-40B4-BE49-F238E27FC236}">
                <a16:creationId xmlns:a16="http://schemas.microsoft.com/office/drawing/2014/main" id="{B726A48D-9C56-4F70-86C3-38E9A19F8B6D}"/>
              </a:ext>
            </a:extLst>
          </p:cNvPr>
          <p:cNvSpPr>
            <a:spLocks noGrp="1"/>
          </p:cNvSpPr>
          <p:nvPr>
            <p:ph type="pic" sz="quarter" idx="23" hasCustomPrompt="1"/>
          </p:nvPr>
        </p:nvSpPr>
        <p:spPr>
          <a:xfrm>
            <a:off x="4330577" y="1755058"/>
            <a:ext cx="3420000" cy="2078755"/>
          </a:xfrm>
        </p:spPr>
        <p:txBody>
          <a:bodyPr/>
          <a:lstStyle>
            <a:lvl1pPr marL="0" indent="0">
              <a:buNone/>
              <a:defRPr/>
            </a:lvl1pPr>
          </a:lstStyle>
          <a:p>
            <a:pPr marL="0" marR="0" lvl="0" indent="-288000" algn="l" defTabSz="914400" rtl="0" eaLnBrk="1" fontAlgn="auto" latinLnBrk="0" hangingPunct="1">
              <a:lnSpc>
                <a:spcPct val="150000"/>
              </a:lnSpc>
              <a:spcBef>
                <a:spcPts val="0"/>
              </a:spcBef>
              <a:spcAft>
                <a:spcPts val="0"/>
              </a:spcAft>
              <a:buClrTx/>
              <a:buSzTx/>
              <a:tabLst/>
              <a:defRPr/>
            </a:pPr>
            <a:r>
              <a:rPr lang="en-US"/>
              <a:t>To add image:</a:t>
            </a:r>
            <a:br>
              <a:rPr lang="en-US"/>
            </a:br>
            <a:r>
              <a:rPr lang="en-US"/>
              <a:t>1. Click border of this box</a:t>
            </a:r>
            <a:br>
              <a:rPr lang="en-US"/>
            </a:br>
            <a:r>
              <a:rPr lang="en-US"/>
              <a:t>2. Select ‘Add image’ from SKIM buttons</a:t>
            </a:r>
          </a:p>
        </p:txBody>
      </p:sp>
      <p:sp>
        <p:nvSpPr>
          <p:cNvPr id="23" name="Picture Placeholder 20">
            <a:extLst>
              <a:ext uri="{FF2B5EF4-FFF2-40B4-BE49-F238E27FC236}">
                <a16:creationId xmlns:a16="http://schemas.microsoft.com/office/drawing/2014/main" id="{B132900B-8968-4687-B411-068403343D06}"/>
              </a:ext>
            </a:extLst>
          </p:cNvPr>
          <p:cNvSpPr>
            <a:spLocks noGrp="1"/>
          </p:cNvSpPr>
          <p:nvPr>
            <p:ph type="pic" sz="quarter" idx="24" hasCustomPrompt="1"/>
          </p:nvPr>
        </p:nvSpPr>
        <p:spPr>
          <a:xfrm>
            <a:off x="8157916" y="1755058"/>
            <a:ext cx="3420000" cy="2078755"/>
          </a:xfrm>
        </p:spPr>
        <p:txBody>
          <a:bodyPr/>
          <a:lstStyle>
            <a:lvl1pPr marL="0" indent="0">
              <a:buNone/>
              <a:defRPr/>
            </a:lvl1pPr>
          </a:lstStyle>
          <a:p>
            <a:pPr marL="0" marR="0" lvl="0" indent="-288000" algn="l" defTabSz="914400" rtl="0" eaLnBrk="1" fontAlgn="auto" latinLnBrk="0" hangingPunct="1">
              <a:lnSpc>
                <a:spcPct val="150000"/>
              </a:lnSpc>
              <a:spcBef>
                <a:spcPts val="0"/>
              </a:spcBef>
              <a:spcAft>
                <a:spcPts val="0"/>
              </a:spcAft>
              <a:buClrTx/>
              <a:buSzTx/>
              <a:tabLst/>
              <a:defRPr/>
            </a:pPr>
            <a:r>
              <a:rPr lang="en-US"/>
              <a:t>To add image:</a:t>
            </a:r>
            <a:br>
              <a:rPr lang="en-US"/>
            </a:br>
            <a:r>
              <a:rPr lang="en-US"/>
              <a:t>1. Click border of this box</a:t>
            </a:r>
            <a:br>
              <a:rPr lang="en-US"/>
            </a:br>
            <a:r>
              <a:rPr lang="en-US"/>
              <a:t>2. Select ‘Add image’ from SKIM buttons</a:t>
            </a:r>
          </a:p>
        </p:txBody>
      </p:sp>
      <p:sp>
        <p:nvSpPr>
          <p:cNvPr id="10" name="Text Placeholder 2">
            <a:extLst>
              <a:ext uri="{FF2B5EF4-FFF2-40B4-BE49-F238E27FC236}">
                <a16:creationId xmlns:a16="http://schemas.microsoft.com/office/drawing/2014/main" id="{C3C4ED56-5038-4059-B2E4-4CA8068E37E3}"/>
              </a:ext>
            </a:extLst>
          </p:cNvPr>
          <p:cNvSpPr>
            <a:spLocks noGrp="1"/>
          </p:cNvSpPr>
          <p:nvPr>
            <p:ph type="body" idx="1" hasCustomPrompt="1"/>
          </p:nvPr>
        </p:nvSpPr>
        <p:spPr>
          <a:xfrm>
            <a:off x="503238" y="4053250"/>
            <a:ext cx="3420000" cy="299313"/>
          </a:xfrm>
        </p:spPr>
        <p:txBody>
          <a:bodyPr lIns="0" anchor="b">
            <a:spAutoFit/>
          </a:bodyPr>
          <a:lstStyle>
            <a:lvl1pPr marL="0" indent="0">
              <a:lnSpc>
                <a:spcPct val="120000"/>
              </a:lnSpc>
              <a:buNone/>
              <a:defRPr sz="18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add subheading</a:t>
            </a:r>
          </a:p>
        </p:txBody>
      </p:sp>
      <p:sp>
        <p:nvSpPr>
          <p:cNvPr id="12" name="Text Placeholder 2">
            <a:extLst>
              <a:ext uri="{FF2B5EF4-FFF2-40B4-BE49-F238E27FC236}">
                <a16:creationId xmlns:a16="http://schemas.microsoft.com/office/drawing/2014/main" id="{C828BD95-F08F-4F02-B2D2-9BE3EFE44B38}"/>
              </a:ext>
            </a:extLst>
          </p:cNvPr>
          <p:cNvSpPr>
            <a:spLocks noGrp="1"/>
          </p:cNvSpPr>
          <p:nvPr>
            <p:ph type="body" idx="26" hasCustomPrompt="1"/>
          </p:nvPr>
        </p:nvSpPr>
        <p:spPr>
          <a:xfrm>
            <a:off x="4330577" y="4053250"/>
            <a:ext cx="3420000" cy="299313"/>
          </a:xfrm>
        </p:spPr>
        <p:txBody>
          <a:bodyPr lIns="0" anchor="b">
            <a:spAutoFit/>
          </a:bodyPr>
          <a:lstStyle>
            <a:lvl1pPr marL="0" indent="0">
              <a:lnSpc>
                <a:spcPct val="120000"/>
              </a:lnSpc>
              <a:buNone/>
              <a:defRPr sz="18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add subheading</a:t>
            </a:r>
          </a:p>
        </p:txBody>
      </p:sp>
      <p:sp>
        <p:nvSpPr>
          <p:cNvPr id="14" name="Text Placeholder 2">
            <a:extLst>
              <a:ext uri="{FF2B5EF4-FFF2-40B4-BE49-F238E27FC236}">
                <a16:creationId xmlns:a16="http://schemas.microsoft.com/office/drawing/2014/main" id="{283FC967-C1A3-480A-841A-858F1736E820}"/>
              </a:ext>
            </a:extLst>
          </p:cNvPr>
          <p:cNvSpPr>
            <a:spLocks noGrp="1"/>
          </p:cNvSpPr>
          <p:nvPr>
            <p:ph type="body" idx="28" hasCustomPrompt="1"/>
          </p:nvPr>
        </p:nvSpPr>
        <p:spPr>
          <a:xfrm>
            <a:off x="8157916" y="4053250"/>
            <a:ext cx="3420000" cy="299313"/>
          </a:xfrm>
        </p:spPr>
        <p:txBody>
          <a:bodyPr lIns="0" anchor="b">
            <a:spAutoFit/>
          </a:bodyPr>
          <a:lstStyle>
            <a:lvl1pPr marL="0" indent="0">
              <a:lnSpc>
                <a:spcPct val="120000"/>
              </a:lnSpc>
              <a:buNone/>
              <a:defRPr sz="18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add subheading</a:t>
            </a:r>
          </a:p>
        </p:txBody>
      </p:sp>
      <p:sp>
        <p:nvSpPr>
          <p:cNvPr id="15" name="Tijdelijke aanduiding voor dianummer 3">
            <a:extLst>
              <a:ext uri="{FF2B5EF4-FFF2-40B4-BE49-F238E27FC236}">
                <a16:creationId xmlns:a16="http://schemas.microsoft.com/office/drawing/2014/main" id="{B37CB909-5B7D-4490-9464-6F8E4C29EBC4}"/>
              </a:ext>
            </a:extLst>
          </p:cNvPr>
          <p:cNvSpPr>
            <a:spLocks noGrp="1"/>
          </p:cNvSpPr>
          <p:nvPr>
            <p:ph type="sldNum" sz="quarter" idx="4"/>
          </p:nvPr>
        </p:nvSpPr>
        <p:spPr>
          <a:xfrm>
            <a:off x="504000" y="6378472"/>
            <a:ext cx="2743200" cy="365125"/>
          </a:xfrm>
          <a:prstGeom prst="rect">
            <a:avLst/>
          </a:prstGeom>
        </p:spPr>
        <p:txBody>
          <a:bodyPr vert="horz" lIns="0" tIns="45720" rIns="91440" bIns="45720" rtlCol="0" anchor="ctr"/>
          <a:lstStyle>
            <a:lvl1pPr algn="l">
              <a:defRPr sz="800">
                <a:solidFill>
                  <a:schemeClr val="bg2"/>
                </a:solidFill>
              </a:defRPr>
            </a:lvl1pPr>
          </a:lstStyle>
          <a:p>
            <a:fld id="{B592C3DA-96A1-4E84-9171-AC4C91AB4FEA}" type="slidenum">
              <a:rPr lang="en-US" smtClean="0"/>
              <a:pPr/>
              <a:t>‹#›</a:t>
            </a:fld>
            <a:endParaRPr lang="en-US"/>
          </a:p>
        </p:txBody>
      </p:sp>
      <p:sp>
        <p:nvSpPr>
          <p:cNvPr id="4" name="Text Placeholder 3">
            <a:extLst>
              <a:ext uri="{FF2B5EF4-FFF2-40B4-BE49-F238E27FC236}">
                <a16:creationId xmlns:a16="http://schemas.microsoft.com/office/drawing/2014/main" id="{59B3B98E-D434-42BF-91DE-E380D66BEFB0}"/>
              </a:ext>
            </a:extLst>
          </p:cNvPr>
          <p:cNvSpPr>
            <a:spLocks noGrp="1"/>
          </p:cNvSpPr>
          <p:nvPr>
            <p:ph type="body" sz="quarter" idx="29"/>
          </p:nvPr>
        </p:nvSpPr>
        <p:spPr>
          <a:xfrm>
            <a:off x="503238" y="4352925"/>
            <a:ext cx="3419475" cy="2008188"/>
          </a:xfrm>
        </p:spPr>
        <p:txBody>
          <a:bodyPr tIns="46800" bIns="4680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6" name="Text Placeholder 3">
            <a:extLst>
              <a:ext uri="{FF2B5EF4-FFF2-40B4-BE49-F238E27FC236}">
                <a16:creationId xmlns:a16="http://schemas.microsoft.com/office/drawing/2014/main" id="{9F68958E-790C-4210-A913-28570C956B13}"/>
              </a:ext>
            </a:extLst>
          </p:cNvPr>
          <p:cNvSpPr>
            <a:spLocks noGrp="1"/>
          </p:cNvSpPr>
          <p:nvPr>
            <p:ph type="body" sz="quarter" idx="30"/>
          </p:nvPr>
        </p:nvSpPr>
        <p:spPr>
          <a:xfrm>
            <a:off x="4331102" y="4352925"/>
            <a:ext cx="3419475" cy="2008188"/>
          </a:xfrm>
        </p:spPr>
        <p:txBody>
          <a:bodyPr tIns="46800" bIns="4680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Text Placeholder 3">
            <a:extLst>
              <a:ext uri="{FF2B5EF4-FFF2-40B4-BE49-F238E27FC236}">
                <a16:creationId xmlns:a16="http://schemas.microsoft.com/office/drawing/2014/main" id="{B6798849-8BC7-4E53-B021-21E95F7B2A0D}"/>
              </a:ext>
            </a:extLst>
          </p:cNvPr>
          <p:cNvSpPr>
            <a:spLocks noGrp="1"/>
          </p:cNvSpPr>
          <p:nvPr>
            <p:ph type="body" sz="quarter" idx="31"/>
          </p:nvPr>
        </p:nvSpPr>
        <p:spPr>
          <a:xfrm>
            <a:off x="8157916" y="4370284"/>
            <a:ext cx="3419475" cy="2008188"/>
          </a:xfrm>
        </p:spPr>
        <p:txBody>
          <a:bodyPr tIns="46800" bIns="4680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70509731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2 Content, subtitle, graphic or imag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EC978F-9F5A-4C6F-BF4A-C3DA5CCEA79C}"/>
              </a:ext>
            </a:extLst>
          </p:cNvPr>
          <p:cNvSpPr>
            <a:spLocks noGrp="1"/>
          </p:cNvSpPr>
          <p:nvPr>
            <p:ph type="title" hasCustomPrompt="1"/>
          </p:nvPr>
        </p:nvSpPr>
        <p:spPr>
          <a:xfrm>
            <a:off x="504000" y="403200"/>
            <a:ext cx="11084400" cy="972000"/>
          </a:xfrm>
        </p:spPr>
        <p:txBody>
          <a:bodyPr>
            <a:noAutofit/>
          </a:bodyPr>
          <a:lstStyle>
            <a:lvl1pPr>
              <a:defRPr/>
            </a:lvl1pPr>
          </a:lstStyle>
          <a:p>
            <a:r>
              <a:rPr lang="en-US"/>
              <a:t>Click to add headline</a:t>
            </a:r>
          </a:p>
        </p:txBody>
      </p:sp>
      <p:sp>
        <p:nvSpPr>
          <p:cNvPr id="21" name="Picture Placeholder 20">
            <a:extLst>
              <a:ext uri="{FF2B5EF4-FFF2-40B4-BE49-F238E27FC236}">
                <a16:creationId xmlns:a16="http://schemas.microsoft.com/office/drawing/2014/main" id="{1AAC6A62-0BA7-49DA-BC73-E136D1011893}"/>
              </a:ext>
            </a:extLst>
          </p:cNvPr>
          <p:cNvSpPr>
            <a:spLocks noGrp="1"/>
          </p:cNvSpPr>
          <p:nvPr>
            <p:ph type="pic" sz="quarter" idx="22" hasCustomPrompt="1"/>
          </p:nvPr>
        </p:nvSpPr>
        <p:spPr>
          <a:xfrm>
            <a:off x="503238" y="1595438"/>
            <a:ext cx="5328000" cy="2238375"/>
          </a:xfrm>
        </p:spPr>
        <p:txBody>
          <a:bodyPr/>
          <a:lstStyle>
            <a:lvl1pPr marL="0" indent="0">
              <a:buNone/>
              <a:defRPr/>
            </a:lvl1pPr>
          </a:lstStyle>
          <a:p>
            <a:pPr marL="0" marR="0" lvl="0" indent="-288000" algn="l" defTabSz="914400" rtl="0" eaLnBrk="1" fontAlgn="auto" latinLnBrk="0" hangingPunct="1">
              <a:lnSpc>
                <a:spcPct val="150000"/>
              </a:lnSpc>
              <a:spcBef>
                <a:spcPts val="0"/>
              </a:spcBef>
              <a:spcAft>
                <a:spcPts val="0"/>
              </a:spcAft>
              <a:buClrTx/>
              <a:buSzTx/>
              <a:tabLst/>
              <a:defRPr/>
            </a:pPr>
            <a:r>
              <a:rPr lang="en-US"/>
              <a:t>To add image:</a:t>
            </a:r>
            <a:br>
              <a:rPr lang="en-US"/>
            </a:br>
            <a:r>
              <a:rPr lang="en-US"/>
              <a:t>1. Click border of this box</a:t>
            </a:r>
            <a:br>
              <a:rPr lang="en-US"/>
            </a:br>
            <a:r>
              <a:rPr lang="en-US"/>
              <a:t>2. Select ‘Add image’ from SKIM buttons</a:t>
            </a:r>
          </a:p>
        </p:txBody>
      </p:sp>
      <p:sp>
        <p:nvSpPr>
          <p:cNvPr id="23" name="Picture Placeholder 20">
            <a:extLst>
              <a:ext uri="{FF2B5EF4-FFF2-40B4-BE49-F238E27FC236}">
                <a16:creationId xmlns:a16="http://schemas.microsoft.com/office/drawing/2014/main" id="{B132900B-8968-4687-B411-068403343D06}"/>
              </a:ext>
            </a:extLst>
          </p:cNvPr>
          <p:cNvSpPr>
            <a:spLocks noGrp="1"/>
          </p:cNvSpPr>
          <p:nvPr>
            <p:ph type="pic" sz="quarter" idx="24" hasCustomPrompt="1"/>
          </p:nvPr>
        </p:nvSpPr>
        <p:spPr>
          <a:xfrm>
            <a:off x="6260400" y="1595438"/>
            <a:ext cx="5328000" cy="2238375"/>
          </a:xfrm>
        </p:spPr>
        <p:txBody>
          <a:bodyPr/>
          <a:lstStyle>
            <a:lvl1pPr marL="0" indent="0">
              <a:buNone/>
              <a:defRPr/>
            </a:lvl1pPr>
          </a:lstStyle>
          <a:p>
            <a:pPr marL="0" marR="0" lvl="0" indent="-288000" algn="l" defTabSz="914400" rtl="0" eaLnBrk="1" fontAlgn="auto" latinLnBrk="0" hangingPunct="1">
              <a:lnSpc>
                <a:spcPct val="150000"/>
              </a:lnSpc>
              <a:spcBef>
                <a:spcPts val="0"/>
              </a:spcBef>
              <a:spcAft>
                <a:spcPts val="0"/>
              </a:spcAft>
              <a:buClrTx/>
              <a:buSzTx/>
              <a:tabLst/>
              <a:defRPr/>
            </a:pPr>
            <a:r>
              <a:rPr lang="en-US"/>
              <a:t>To add image:</a:t>
            </a:r>
            <a:br>
              <a:rPr lang="en-US"/>
            </a:br>
            <a:r>
              <a:rPr lang="en-US"/>
              <a:t>1. Click border of this box</a:t>
            </a:r>
            <a:br>
              <a:rPr lang="en-US"/>
            </a:br>
            <a:r>
              <a:rPr lang="en-US"/>
              <a:t>2. Select ‘Add image’ from SKIM buttons</a:t>
            </a:r>
          </a:p>
        </p:txBody>
      </p:sp>
      <p:sp>
        <p:nvSpPr>
          <p:cNvPr id="11" name="Text Placeholder 2">
            <a:extLst>
              <a:ext uri="{FF2B5EF4-FFF2-40B4-BE49-F238E27FC236}">
                <a16:creationId xmlns:a16="http://schemas.microsoft.com/office/drawing/2014/main" id="{5CF3CF17-3AB3-44C7-948E-65D4F086A707}"/>
              </a:ext>
            </a:extLst>
          </p:cNvPr>
          <p:cNvSpPr>
            <a:spLocks noGrp="1"/>
          </p:cNvSpPr>
          <p:nvPr>
            <p:ph type="body" idx="1" hasCustomPrompt="1"/>
          </p:nvPr>
        </p:nvSpPr>
        <p:spPr>
          <a:xfrm>
            <a:off x="503238" y="4076846"/>
            <a:ext cx="5328000" cy="275717"/>
          </a:xfrm>
        </p:spPr>
        <p:txBody>
          <a:bodyPr lIns="0" anchor="b">
            <a:spAutoFit/>
          </a:bodyPr>
          <a:lstStyle>
            <a:lvl1pPr marL="0" indent="0">
              <a:lnSpc>
                <a:spcPct val="120000"/>
              </a:lnSpc>
              <a:buNone/>
              <a:defRPr sz="16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add subheading</a:t>
            </a:r>
          </a:p>
        </p:txBody>
      </p:sp>
      <p:sp>
        <p:nvSpPr>
          <p:cNvPr id="13" name="Text Placeholder 2">
            <a:extLst>
              <a:ext uri="{FF2B5EF4-FFF2-40B4-BE49-F238E27FC236}">
                <a16:creationId xmlns:a16="http://schemas.microsoft.com/office/drawing/2014/main" id="{FA99B6E9-9256-4B52-8668-1D615E19FE83}"/>
              </a:ext>
            </a:extLst>
          </p:cNvPr>
          <p:cNvSpPr>
            <a:spLocks noGrp="1"/>
          </p:cNvSpPr>
          <p:nvPr>
            <p:ph type="body" idx="27" hasCustomPrompt="1"/>
          </p:nvPr>
        </p:nvSpPr>
        <p:spPr>
          <a:xfrm>
            <a:off x="6260400" y="4076846"/>
            <a:ext cx="5328000" cy="275717"/>
          </a:xfrm>
        </p:spPr>
        <p:txBody>
          <a:bodyPr lIns="0" anchor="b">
            <a:spAutoFit/>
          </a:bodyPr>
          <a:lstStyle>
            <a:lvl1pPr marL="0" indent="0">
              <a:lnSpc>
                <a:spcPct val="120000"/>
              </a:lnSpc>
              <a:buNone/>
              <a:defRPr sz="16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add subheading</a:t>
            </a:r>
          </a:p>
        </p:txBody>
      </p:sp>
      <p:sp>
        <p:nvSpPr>
          <p:cNvPr id="9" name="Tijdelijke aanduiding voor dianummer 3">
            <a:extLst>
              <a:ext uri="{FF2B5EF4-FFF2-40B4-BE49-F238E27FC236}">
                <a16:creationId xmlns:a16="http://schemas.microsoft.com/office/drawing/2014/main" id="{2CECC40C-B764-4646-AC90-43EC0AE2CC15}"/>
              </a:ext>
            </a:extLst>
          </p:cNvPr>
          <p:cNvSpPr>
            <a:spLocks noGrp="1"/>
          </p:cNvSpPr>
          <p:nvPr>
            <p:ph type="sldNum" sz="quarter" idx="4"/>
          </p:nvPr>
        </p:nvSpPr>
        <p:spPr>
          <a:xfrm>
            <a:off x="504000" y="6378472"/>
            <a:ext cx="2743200" cy="365125"/>
          </a:xfrm>
          <a:prstGeom prst="rect">
            <a:avLst/>
          </a:prstGeom>
        </p:spPr>
        <p:txBody>
          <a:bodyPr vert="horz" lIns="0" tIns="45720" rIns="91440" bIns="45720" rtlCol="0" anchor="ctr"/>
          <a:lstStyle>
            <a:lvl1pPr algn="l">
              <a:defRPr sz="800">
                <a:solidFill>
                  <a:schemeClr val="bg2"/>
                </a:solidFill>
              </a:defRPr>
            </a:lvl1pPr>
          </a:lstStyle>
          <a:p>
            <a:fld id="{B592C3DA-96A1-4E84-9171-AC4C91AB4FEA}" type="slidenum">
              <a:rPr lang="en-US" smtClean="0"/>
              <a:pPr/>
              <a:t>‹#›</a:t>
            </a:fld>
            <a:endParaRPr lang="en-US"/>
          </a:p>
        </p:txBody>
      </p:sp>
      <p:sp>
        <p:nvSpPr>
          <p:cNvPr id="4" name="Text Placeholder 3">
            <a:extLst>
              <a:ext uri="{FF2B5EF4-FFF2-40B4-BE49-F238E27FC236}">
                <a16:creationId xmlns:a16="http://schemas.microsoft.com/office/drawing/2014/main" id="{085CCE74-2317-4388-9B02-51D4EFC7EC9B}"/>
              </a:ext>
            </a:extLst>
          </p:cNvPr>
          <p:cNvSpPr>
            <a:spLocks noGrp="1"/>
          </p:cNvSpPr>
          <p:nvPr>
            <p:ph type="body" sz="quarter" idx="28"/>
          </p:nvPr>
        </p:nvSpPr>
        <p:spPr>
          <a:xfrm>
            <a:off x="503238" y="4352925"/>
            <a:ext cx="5328000" cy="2008438"/>
          </a:xfrm>
        </p:spPr>
        <p:txBody>
          <a:bodyPr tIns="46800" bIns="4680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4" name="Text Placeholder 3">
            <a:extLst>
              <a:ext uri="{FF2B5EF4-FFF2-40B4-BE49-F238E27FC236}">
                <a16:creationId xmlns:a16="http://schemas.microsoft.com/office/drawing/2014/main" id="{DC19489B-2F64-4DBE-BEDF-B994012424E1}"/>
              </a:ext>
            </a:extLst>
          </p:cNvPr>
          <p:cNvSpPr>
            <a:spLocks noGrp="1"/>
          </p:cNvSpPr>
          <p:nvPr>
            <p:ph type="body" sz="quarter" idx="29"/>
          </p:nvPr>
        </p:nvSpPr>
        <p:spPr>
          <a:xfrm>
            <a:off x="6260400" y="4352925"/>
            <a:ext cx="5328000" cy="2008438"/>
          </a:xfrm>
        </p:spPr>
        <p:txBody>
          <a:bodyPr tIns="46800" bIns="4680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58585365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ase study">
    <p:spTree>
      <p:nvGrpSpPr>
        <p:cNvPr id="1" name=""/>
        <p:cNvGrpSpPr/>
        <p:nvPr/>
      </p:nvGrpSpPr>
      <p:grpSpPr>
        <a:xfrm>
          <a:off x="0" y="0"/>
          <a:ext cx="0" cy="0"/>
          <a:chOff x="0" y="0"/>
          <a:chExt cx="0" cy="0"/>
        </a:xfrm>
      </p:grpSpPr>
      <p:sp>
        <p:nvSpPr>
          <p:cNvPr id="24" name="Afgeronde rechthoek 65">
            <a:extLst>
              <a:ext uri="{FF2B5EF4-FFF2-40B4-BE49-F238E27FC236}">
                <a16:creationId xmlns:a16="http://schemas.microsoft.com/office/drawing/2014/main" id="{6EAD5E44-6C89-44E7-A4A7-B80FB29E1123}"/>
              </a:ext>
            </a:extLst>
          </p:cNvPr>
          <p:cNvSpPr/>
          <p:nvPr userDrawn="1"/>
        </p:nvSpPr>
        <p:spPr>
          <a:xfrm>
            <a:off x="8122920" y="0"/>
            <a:ext cx="4069080" cy="6858000"/>
          </a:xfrm>
          <a:prstGeom prst="roundRect">
            <a:avLst>
              <a:gd name="adj" fmla="val 0"/>
            </a:avLst>
          </a:prstGeom>
          <a:solidFill>
            <a:srgbClr val="91B7BF">
              <a:alpha val="50000"/>
            </a:srgb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chemeClr val="tx1"/>
              </a:solidFill>
              <a:latin typeface="Segoe Print" panose="02000600000000000000" pitchFamily="2" charset="0"/>
              <a:cs typeface="MV Boli" panose="02000500030200090000" pitchFamily="2" charset="0"/>
            </a:endParaRPr>
          </a:p>
        </p:txBody>
      </p:sp>
      <p:sp>
        <p:nvSpPr>
          <p:cNvPr id="25" name="Afgeronde rechthoek 44">
            <a:extLst>
              <a:ext uri="{FF2B5EF4-FFF2-40B4-BE49-F238E27FC236}">
                <a16:creationId xmlns:a16="http://schemas.microsoft.com/office/drawing/2014/main" id="{7D1FE341-0C87-4833-AE0B-AFA0DE6030CE}"/>
              </a:ext>
            </a:extLst>
          </p:cNvPr>
          <p:cNvSpPr/>
          <p:nvPr userDrawn="1"/>
        </p:nvSpPr>
        <p:spPr>
          <a:xfrm>
            <a:off x="4053839" y="0"/>
            <a:ext cx="4069080" cy="6877958"/>
          </a:xfrm>
          <a:prstGeom prst="roundRect">
            <a:avLst>
              <a:gd name="adj" fmla="val 0"/>
            </a:avLst>
          </a:prstGeom>
          <a:solidFill>
            <a:srgbClr val="E6EFF1">
              <a:alpha val="17000"/>
            </a:srgb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chemeClr val="tx1"/>
              </a:solidFill>
              <a:latin typeface="Segoe Print" panose="02000600000000000000" pitchFamily="2" charset="0"/>
              <a:cs typeface="MV Boli" panose="02000500030200090000" pitchFamily="2" charset="0"/>
            </a:endParaRPr>
          </a:p>
        </p:txBody>
      </p:sp>
      <p:sp>
        <p:nvSpPr>
          <p:cNvPr id="9" name="Text Placeholder 8">
            <a:extLst>
              <a:ext uri="{FF2B5EF4-FFF2-40B4-BE49-F238E27FC236}">
                <a16:creationId xmlns:a16="http://schemas.microsoft.com/office/drawing/2014/main" id="{6A5225FC-4D45-4DE8-BE2E-237E132245DB}"/>
              </a:ext>
            </a:extLst>
          </p:cNvPr>
          <p:cNvSpPr>
            <a:spLocks noGrp="1"/>
          </p:cNvSpPr>
          <p:nvPr>
            <p:ph type="body" sz="quarter" idx="19" hasCustomPrompt="1"/>
          </p:nvPr>
        </p:nvSpPr>
        <p:spPr>
          <a:xfrm>
            <a:off x="503238" y="1893600"/>
            <a:ext cx="3294000" cy="1918800"/>
          </a:xfrm>
        </p:spPr>
        <p:txBody>
          <a:bodyPr lIns="0" tIns="46800" rIns="0" bIns="46800">
            <a:noAutofit/>
          </a:bodyPr>
          <a:lstStyle>
            <a:lvl1pPr>
              <a:lnSpc>
                <a:spcPct val="150000"/>
              </a:lnSpc>
              <a:defRPr sz="1200" b="0">
                <a:solidFill>
                  <a:schemeClr val="tx1"/>
                </a:solidFill>
              </a:defRPr>
            </a:lvl1pPr>
            <a:lvl2pPr marL="576000" indent="-288000">
              <a:lnSpc>
                <a:spcPct val="110000"/>
              </a:lnSpc>
              <a:buClr>
                <a:schemeClr val="accent1"/>
              </a:buClr>
              <a:buFont typeface="Wingdings" panose="05000000000000000000" pitchFamily="2" charset="2"/>
              <a:buChar char="§"/>
              <a:defRPr sz="1200"/>
            </a:lvl2pPr>
            <a:lvl3pPr marL="864000">
              <a:lnSpc>
                <a:spcPct val="110000"/>
              </a:lnSpc>
              <a:defRPr sz="1200"/>
            </a:lvl3pPr>
            <a:lvl4pPr marL="1152000">
              <a:lnSpc>
                <a:spcPct val="110000"/>
              </a:lnSpc>
              <a:buClr>
                <a:schemeClr val="bg2"/>
              </a:buClr>
              <a:defRPr sz="1200"/>
            </a:lvl4pPr>
            <a:lvl5pPr marL="1152000">
              <a:lnSpc>
                <a:spcPct val="110000"/>
              </a:lnSpc>
              <a:buClr>
                <a:schemeClr val="bg2"/>
              </a:buClr>
              <a:defRPr sz="1200"/>
            </a:lvl5pPr>
            <a:lvl6pPr marL="1152000" indent="-285750">
              <a:lnSpc>
                <a:spcPts val="1800"/>
              </a:lnSpc>
              <a:buClr>
                <a:schemeClr val="bg2"/>
              </a:buClr>
              <a:buFont typeface="Wingdings" panose="05000000000000000000" pitchFamily="2" charset="2"/>
              <a:buChar char="§"/>
              <a:defRPr sz="1200"/>
            </a:lvl6pPr>
            <a:lvl7pPr marL="1152000" indent="-285750">
              <a:lnSpc>
                <a:spcPts val="1800"/>
              </a:lnSpc>
              <a:buClr>
                <a:schemeClr val="bg2"/>
              </a:buClr>
              <a:buFont typeface="Wingdings" panose="05000000000000000000" pitchFamily="2" charset="2"/>
              <a:buChar char="§"/>
              <a:defRPr sz="1200"/>
            </a:lvl7pPr>
            <a:lvl8pPr marL="1152000" indent="-285750">
              <a:lnSpc>
                <a:spcPts val="1800"/>
              </a:lnSpc>
              <a:buClr>
                <a:schemeClr val="bg2"/>
              </a:buClr>
              <a:buFont typeface="Wingdings" panose="05000000000000000000" pitchFamily="2" charset="2"/>
              <a:buChar char="§"/>
              <a:defRPr sz="1200"/>
            </a:lvl8pPr>
            <a:lvl9pPr marL="1152000" indent="-285750">
              <a:lnSpc>
                <a:spcPts val="1800"/>
              </a:lnSpc>
              <a:buClr>
                <a:schemeClr val="bg2"/>
              </a:buClr>
              <a:buFont typeface="Wingdings" panose="05000000000000000000" pitchFamily="2" charset="2"/>
              <a:buChar char="§"/>
              <a:defRPr sz="1200"/>
            </a:lvl9pPr>
          </a:lstStyle>
          <a:p>
            <a:pPr lvl="0"/>
            <a:r>
              <a:rPr lang="en-US"/>
              <a:t>Click to add text</a:t>
            </a:r>
          </a:p>
          <a:p>
            <a:pPr lvl="1"/>
            <a:r>
              <a:rPr lang="en-US"/>
              <a:t>Second level</a:t>
            </a:r>
          </a:p>
          <a:p>
            <a:pPr lvl="2"/>
            <a:endParaRPr lang="en-US"/>
          </a:p>
        </p:txBody>
      </p:sp>
      <p:sp>
        <p:nvSpPr>
          <p:cNvPr id="21" name="Picture Placeholder 20">
            <a:extLst>
              <a:ext uri="{FF2B5EF4-FFF2-40B4-BE49-F238E27FC236}">
                <a16:creationId xmlns:a16="http://schemas.microsoft.com/office/drawing/2014/main" id="{1AAC6A62-0BA7-49DA-BC73-E136D1011893}"/>
              </a:ext>
            </a:extLst>
          </p:cNvPr>
          <p:cNvSpPr>
            <a:spLocks noGrp="1"/>
          </p:cNvSpPr>
          <p:nvPr>
            <p:ph type="pic" sz="quarter" idx="22" hasCustomPrompt="1"/>
          </p:nvPr>
        </p:nvSpPr>
        <p:spPr>
          <a:xfrm>
            <a:off x="503238" y="4067410"/>
            <a:ext cx="3294000" cy="2790590"/>
          </a:xfrm>
        </p:spPr>
        <p:txBody>
          <a:bodyPr/>
          <a:lstStyle>
            <a:lvl1pPr marL="0" indent="0">
              <a:buFont typeface="Arial" panose="020B0604020202020204" pitchFamily="34" charset="0"/>
              <a:buNone/>
              <a:defRPr/>
            </a:lvl1pPr>
          </a:lstStyle>
          <a:p>
            <a:r>
              <a:rPr lang="en-US"/>
              <a:t>To add image:</a:t>
            </a:r>
          </a:p>
          <a:p>
            <a:r>
              <a:rPr lang="en-US"/>
              <a:t>1. Click border of this box</a:t>
            </a:r>
            <a:br>
              <a:rPr lang="en-US"/>
            </a:br>
            <a:r>
              <a:rPr lang="en-US"/>
              <a:t>2. Select ‘Add image’ from SKIM buttons</a:t>
            </a:r>
          </a:p>
        </p:txBody>
      </p:sp>
      <p:sp>
        <p:nvSpPr>
          <p:cNvPr id="22" name="Picture Placeholder 20">
            <a:extLst>
              <a:ext uri="{FF2B5EF4-FFF2-40B4-BE49-F238E27FC236}">
                <a16:creationId xmlns:a16="http://schemas.microsoft.com/office/drawing/2014/main" id="{B726A48D-9C56-4F70-86C3-38E9A19F8B6D}"/>
              </a:ext>
            </a:extLst>
          </p:cNvPr>
          <p:cNvSpPr>
            <a:spLocks noGrp="1"/>
          </p:cNvSpPr>
          <p:nvPr>
            <p:ph type="pic" sz="quarter" idx="23" hasCustomPrompt="1"/>
          </p:nvPr>
        </p:nvSpPr>
        <p:spPr>
          <a:xfrm>
            <a:off x="4294799" y="4067410"/>
            <a:ext cx="3572091" cy="2790590"/>
          </a:xfrm>
        </p:spPr>
        <p:txBody>
          <a:bodyPr/>
          <a:lstStyle>
            <a:lvl1pPr marL="0" indent="0">
              <a:buFont typeface="Arial" panose="020B0604020202020204" pitchFamily="34" charset="0"/>
              <a:buNone/>
              <a:defRPr/>
            </a:lvl1pPr>
          </a:lstStyle>
          <a:p>
            <a:r>
              <a:rPr lang="en-US"/>
              <a:t>To add image:</a:t>
            </a:r>
          </a:p>
          <a:p>
            <a:r>
              <a:rPr lang="en-US"/>
              <a:t>1. Click border of this box</a:t>
            </a:r>
            <a:br>
              <a:rPr lang="en-US"/>
            </a:br>
            <a:r>
              <a:rPr lang="en-US"/>
              <a:t>2. Select ‘Add image’ from SKIM buttons</a:t>
            </a:r>
          </a:p>
        </p:txBody>
      </p:sp>
      <p:sp>
        <p:nvSpPr>
          <p:cNvPr id="23" name="Picture Placeholder 20">
            <a:extLst>
              <a:ext uri="{FF2B5EF4-FFF2-40B4-BE49-F238E27FC236}">
                <a16:creationId xmlns:a16="http://schemas.microsoft.com/office/drawing/2014/main" id="{B132900B-8968-4687-B411-068403343D06}"/>
              </a:ext>
            </a:extLst>
          </p:cNvPr>
          <p:cNvSpPr>
            <a:spLocks noGrp="1"/>
          </p:cNvSpPr>
          <p:nvPr>
            <p:ph type="pic" sz="quarter" idx="24" hasCustomPrompt="1"/>
          </p:nvPr>
        </p:nvSpPr>
        <p:spPr>
          <a:xfrm>
            <a:off x="8384400" y="4067410"/>
            <a:ext cx="3294000" cy="2790590"/>
          </a:xfrm>
        </p:spPr>
        <p:txBody>
          <a:bodyPr/>
          <a:lstStyle>
            <a:lvl1pPr marL="0" indent="0">
              <a:buFont typeface="Arial" panose="020B0604020202020204" pitchFamily="34" charset="0"/>
              <a:buNone/>
              <a:defRPr/>
            </a:lvl1pPr>
          </a:lstStyle>
          <a:p>
            <a:r>
              <a:rPr lang="en-US"/>
              <a:t>To add image:</a:t>
            </a:r>
          </a:p>
          <a:p>
            <a:r>
              <a:rPr lang="en-US"/>
              <a:t>1. Click border of this box</a:t>
            </a:r>
            <a:br>
              <a:rPr lang="en-US"/>
            </a:br>
            <a:r>
              <a:rPr lang="en-US"/>
              <a:t>2. Select ‘Add image’ from SKIM buttons</a:t>
            </a:r>
          </a:p>
        </p:txBody>
      </p:sp>
      <p:sp>
        <p:nvSpPr>
          <p:cNvPr id="10" name="Text Placeholder 2">
            <a:extLst>
              <a:ext uri="{FF2B5EF4-FFF2-40B4-BE49-F238E27FC236}">
                <a16:creationId xmlns:a16="http://schemas.microsoft.com/office/drawing/2014/main" id="{C3C4ED56-5038-4059-B2E4-4CA8068E37E3}"/>
              </a:ext>
            </a:extLst>
          </p:cNvPr>
          <p:cNvSpPr>
            <a:spLocks noGrp="1"/>
          </p:cNvSpPr>
          <p:nvPr>
            <p:ph type="body" idx="1" hasCustomPrompt="1"/>
          </p:nvPr>
        </p:nvSpPr>
        <p:spPr>
          <a:xfrm>
            <a:off x="503238" y="432893"/>
            <a:ext cx="3294000" cy="275717"/>
          </a:xfrm>
        </p:spPr>
        <p:txBody>
          <a:bodyPr lIns="0" anchor="b">
            <a:spAutoFit/>
          </a:bodyPr>
          <a:lstStyle>
            <a:lvl1pPr marL="0" indent="0">
              <a:lnSpc>
                <a:spcPct val="120000"/>
              </a:lnSpc>
              <a:buNone/>
              <a:defRPr sz="16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hallenge</a:t>
            </a:r>
          </a:p>
        </p:txBody>
      </p:sp>
      <p:sp>
        <p:nvSpPr>
          <p:cNvPr id="11" name="Text Placeholder 8">
            <a:extLst>
              <a:ext uri="{FF2B5EF4-FFF2-40B4-BE49-F238E27FC236}">
                <a16:creationId xmlns:a16="http://schemas.microsoft.com/office/drawing/2014/main" id="{F614C777-7DE6-4F81-B746-9297D34DA225}"/>
              </a:ext>
            </a:extLst>
          </p:cNvPr>
          <p:cNvSpPr>
            <a:spLocks noGrp="1"/>
          </p:cNvSpPr>
          <p:nvPr>
            <p:ph type="body" sz="quarter" idx="25" hasCustomPrompt="1"/>
          </p:nvPr>
        </p:nvSpPr>
        <p:spPr>
          <a:xfrm>
            <a:off x="4294799" y="1893600"/>
            <a:ext cx="3572091" cy="1918800"/>
          </a:xfrm>
        </p:spPr>
        <p:txBody>
          <a:bodyPr lIns="0" tIns="46800" rIns="0" bIns="46800">
            <a:noAutofit/>
          </a:bodyPr>
          <a:lstStyle>
            <a:lvl1pPr>
              <a:lnSpc>
                <a:spcPct val="150000"/>
              </a:lnSpc>
              <a:defRPr sz="1200" b="0">
                <a:solidFill>
                  <a:schemeClr val="tx1"/>
                </a:solidFill>
              </a:defRPr>
            </a:lvl1pPr>
            <a:lvl2pPr marL="576000" indent="-288000">
              <a:lnSpc>
                <a:spcPct val="110000"/>
              </a:lnSpc>
              <a:buFont typeface="Wingdings" panose="05000000000000000000" pitchFamily="2" charset="2"/>
              <a:buChar char="§"/>
              <a:defRPr sz="1200"/>
            </a:lvl2pPr>
            <a:lvl3pPr marL="864000">
              <a:lnSpc>
                <a:spcPct val="110000"/>
              </a:lnSpc>
              <a:defRPr sz="1200"/>
            </a:lvl3pPr>
            <a:lvl4pPr marL="1152000">
              <a:lnSpc>
                <a:spcPct val="110000"/>
              </a:lnSpc>
              <a:buClr>
                <a:schemeClr val="bg2"/>
              </a:buClr>
              <a:defRPr sz="1200"/>
            </a:lvl4pPr>
            <a:lvl5pPr marL="1152000">
              <a:lnSpc>
                <a:spcPct val="110000"/>
              </a:lnSpc>
              <a:buClr>
                <a:schemeClr val="bg2"/>
              </a:buClr>
              <a:defRPr sz="1200"/>
            </a:lvl5pPr>
            <a:lvl6pPr marL="1152000" indent="-285750">
              <a:lnSpc>
                <a:spcPts val="1800"/>
              </a:lnSpc>
              <a:buClr>
                <a:schemeClr val="bg2"/>
              </a:buClr>
              <a:buFont typeface="Wingdings" panose="05000000000000000000" pitchFamily="2" charset="2"/>
              <a:buChar char="§"/>
              <a:defRPr sz="1200"/>
            </a:lvl6pPr>
            <a:lvl7pPr marL="1152000" indent="-285750">
              <a:lnSpc>
                <a:spcPts val="1800"/>
              </a:lnSpc>
              <a:buClr>
                <a:schemeClr val="bg2"/>
              </a:buClr>
              <a:buFont typeface="Wingdings" panose="05000000000000000000" pitchFamily="2" charset="2"/>
              <a:buChar char="§"/>
              <a:defRPr sz="1200"/>
            </a:lvl7pPr>
            <a:lvl8pPr marL="1152000" indent="-285750">
              <a:lnSpc>
                <a:spcPts val="1800"/>
              </a:lnSpc>
              <a:buClr>
                <a:schemeClr val="bg2"/>
              </a:buClr>
              <a:buFont typeface="Wingdings" panose="05000000000000000000" pitchFamily="2" charset="2"/>
              <a:buChar char="§"/>
              <a:defRPr sz="1200"/>
            </a:lvl8pPr>
            <a:lvl9pPr marL="1152000" indent="-285750">
              <a:lnSpc>
                <a:spcPts val="1800"/>
              </a:lnSpc>
              <a:buClr>
                <a:schemeClr val="bg2"/>
              </a:buClr>
              <a:buFont typeface="Wingdings" panose="05000000000000000000" pitchFamily="2" charset="2"/>
              <a:buChar char="§"/>
              <a:defRPr sz="1200"/>
            </a:lvl9pPr>
          </a:lstStyle>
          <a:p>
            <a:pPr lvl="0"/>
            <a:r>
              <a:rPr lang="en-US"/>
              <a:t>Click to add text</a:t>
            </a:r>
          </a:p>
          <a:p>
            <a:pPr lvl="1"/>
            <a:r>
              <a:rPr lang="en-US"/>
              <a:t>Second level</a:t>
            </a:r>
          </a:p>
          <a:p>
            <a:pPr lvl="2"/>
            <a:endParaRPr lang="en-US"/>
          </a:p>
        </p:txBody>
      </p:sp>
      <p:sp>
        <p:nvSpPr>
          <p:cNvPr id="12" name="Text Placeholder 2">
            <a:extLst>
              <a:ext uri="{FF2B5EF4-FFF2-40B4-BE49-F238E27FC236}">
                <a16:creationId xmlns:a16="http://schemas.microsoft.com/office/drawing/2014/main" id="{C828BD95-F08F-4F02-B2D2-9BE3EFE44B38}"/>
              </a:ext>
            </a:extLst>
          </p:cNvPr>
          <p:cNvSpPr>
            <a:spLocks noGrp="1"/>
          </p:cNvSpPr>
          <p:nvPr>
            <p:ph type="body" idx="26" hasCustomPrompt="1"/>
          </p:nvPr>
        </p:nvSpPr>
        <p:spPr>
          <a:xfrm>
            <a:off x="4294799" y="432893"/>
            <a:ext cx="3572091" cy="275717"/>
          </a:xfrm>
        </p:spPr>
        <p:txBody>
          <a:bodyPr lIns="0" anchor="b">
            <a:spAutoFit/>
          </a:bodyPr>
          <a:lstStyle>
            <a:lvl1pPr marL="0" indent="0">
              <a:lnSpc>
                <a:spcPct val="120000"/>
              </a:lnSpc>
              <a:buNone/>
              <a:defRPr sz="16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Solution</a:t>
            </a:r>
          </a:p>
        </p:txBody>
      </p:sp>
      <p:sp>
        <p:nvSpPr>
          <p:cNvPr id="13" name="Text Placeholder 8">
            <a:extLst>
              <a:ext uri="{FF2B5EF4-FFF2-40B4-BE49-F238E27FC236}">
                <a16:creationId xmlns:a16="http://schemas.microsoft.com/office/drawing/2014/main" id="{03B647E6-055F-40EA-814B-4D6EE0C9699F}"/>
              </a:ext>
            </a:extLst>
          </p:cNvPr>
          <p:cNvSpPr>
            <a:spLocks noGrp="1"/>
          </p:cNvSpPr>
          <p:nvPr>
            <p:ph type="body" sz="quarter" idx="27" hasCustomPrompt="1"/>
          </p:nvPr>
        </p:nvSpPr>
        <p:spPr>
          <a:xfrm>
            <a:off x="8384400" y="1893600"/>
            <a:ext cx="3294000" cy="1918800"/>
          </a:xfrm>
        </p:spPr>
        <p:txBody>
          <a:bodyPr lIns="0" tIns="46800" rIns="0" bIns="46800">
            <a:noAutofit/>
          </a:bodyPr>
          <a:lstStyle>
            <a:lvl1pPr>
              <a:lnSpc>
                <a:spcPct val="150000"/>
              </a:lnSpc>
              <a:defRPr sz="1200" b="0">
                <a:solidFill>
                  <a:schemeClr val="tx1"/>
                </a:solidFill>
              </a:defRPr>
            </a:lvl1pPr>
            <a:lvl2pPr marL="576000" indent="-288000">
              <a:lnSpc>
                <a:spcPct val="110000"/>
              </a:lnSpc>
              <a:buFont typeface="Wingdings" panose="05000000000000000000" pitchFamily="2" charset="2"/>
              <a:buChar char="§"/>
              <a:defRPr sz="1200"/>
            </a:lvl2pPr>
            <a:lvl3pPr marL="864000">
              <a:lnSpc>
                <a:spcPct val="110000"/>
              </a:lnSpc>
              <a:defRPr sz="1200"/>
            </a:lvl3pPr>
            <a:lvl4pPr marL="1152000">
              <a:lnSpc>
                <a:spcPct val="110000"/>
              </a:lnSpc>
              <a:buClr>
                <a:schemeClr val="bg2"/>
              </a:buClr>
              <a:defRPr sz="1200"/>
            </a:lvl4pPr>
            <a:lvl5pPr marL="1152000">
              <a:lnSpc>
                <a:spcPct val="110000"/>
              </a:lnSpc>
              <a:buClr>
                <a:schemeClr val="bg2"/>
              </a:buClr>
              <a:defRPr sz="1200"/>
            </a:lvl5pPr>
            <a:lvl6pPr marL="1152000" indent="-285750">
              <a:lnSpc>
                <a:spcPts val="1800"/>
              </a:lnSpc>
              <a:buClr>
                <a:schemeClr val="bg2"/>
              </a:buClr>
              <a:buFont typeface="Wingdings" panose="05000000000000000000" pitchFamily="2" charset="2"/>
              <a:buChar char="§"/>
              <a:defRPr sz="1200"/>
            </a:lvl6pPr>
            <a:lvl7pPr marL="1152000" indent="-285750">
              <a:lnSpc>
                <a:spcPts val="1800"/>
              </a:lnSpc>
              <a:buClr>
                <a:schemeClr val="bg2"/>
              </a:buClr>
              <a:buFont typeface="Wingdings" panose="05000000000000000000" pitchFamily="2" charset="2"/>
              <a:buChar char="§"/>
              <a:defRPr sz="1200"/>
            </a:lvl7pPr>
            <a:lvl8pPr marL="1152000" indent="-285750">
              <a:lnSpc>
                <a:spcPts val="1800"/>
              </a:lnSpc>
              <a:buClr>
                <a:schemeClr val="bg2"/>
              </a:buClr>
              <a:buFont typeface="Wingdings" panose="05000000000000000000" pitchFamily="2" charset="2"/>
              <a:buChar char="§"/>
              <a:defRPr sz="1200"/>
            </a:lvl8pPr>
            <a:lvl9pPr marL="1152000" indent="-285750">
              <a:lnSpc>
                <a:spcPts val="1800"/>
              </a:lnSpc>
              <a:buClr>
                <a:schemeClr val="bg2"/>
              </a:buClr>
              <a:buFont typeface="Wingdings" panose="05000000000000000000" pitchFamily="2" charset="2"/>
              <a:buChar char="§"/>
              <a:defRPr sz="1200"/>
            </a:lvl9pPr>
          </a:lstStyle>
          <a:p>
            <a:pPr lvl="0"/>
            <a:r>
              <a:rPr lang="en-US"/>
              <a:t>Click to add text</a:t>
            </a:r>
          </a:p>
          <a:p>
            <a:pPr lvl="1"/>
            <a:r>
              <a:rPr lang="en-US"/>
              <a:t>Second level</a:t>
            </a:r>
          </a:p>
          <a:p>
            <a:pPr lvl="2"/>
            <a:endParaRPr lang="en-US"/>
          </a:p>
        </p:txBody>
      </p:sp>
      <p:sp>
        <p:nvSpPr>
          <p:cNvPr id="14" name="Text Placeholder 2">
            <a:extLst>
              <a:ext uri="{FF2B5EF4-FFF2-40B4-BE49-F238E27FC236}">
                <a16:creationId xmlns:a16="http://schemas.microsoft.com/office/drawing/2014/main" id="{283FC967-C1A3-480A-841A-858F1736E820}"/>
              </a:ext>
            </a:extLst>
          </p:cNvPr>
          <p:cNvSpPr>
            <a:spLocks noGrp="1"/>
          </p:cNvSpPr>
          <p:nvPr>
            <p:ph type="body" idx="28" hasCustomPrompt="1"/>
          </p:nvPr>
        </p:nvSpPr>
        <p:spPr>
          <a:xfrm>
            <a:off x="8384400" y="442575"/>
            <a:ext cx="3294000" cy="266035"/>
          </a:xfrm>
        </p:spPr>
        <p:txBody>
          <a:bodyPr lIns="0" anchor="b">
            <a:spAutoFit/>
          </a:bodyPr>
          <a:lstStyle>
            <a:lvl1pPr marL="0" indent="0">
              <a:lnSpc>
                <a:spcPct val="120000"/>
              </a:lnSpc>
              <a:buNone/>
              <a:defRPr sz="16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Outcome</a:t>
            </a:r>
          </a:p>
        </p:txBody>
      </p:sp>
      <p:sp>
        <p:nvSpPr>
          <p:cNvPr id="26" name="Text Placeholder 2">
            <a:extLst>
              <a:ext uri="{FF2B5EF4-FFF2-40B4-BE49-F238E27FC236}">
                <a16:creationId xmlns:a16="http://schemas.microsoft.com/office/drawing/2014/main" id="{84CD55AD-9000-4505-BE8A-B841C0FCE97D}"/>
              </a:ext>
            </a:extLst>
          </p:cNvPr>
          <p:cNvSpPr>
            <a:spLocks noGrp="1"/>
          </p:cNvSpPr>
          <p:nvPr>
            <p:ph type="body" idx="29" hasCustomPrompt="1"/>
          </p:nvPr>
        </p:nvSpPr>
        <p:spPr>
          <a:xfrm>
            <a:off x="503238" y="982110"/>
            <a:ext cx="3294000" cy="666000"/>
          </a:xfrm>
        </p:spPr>
        <p:txBody>
          <a:bodyPr lIns="0" anchor="t" anchorCtr="0">
            <a:noAutofit/>
          </a:bodyPr>
          <a:lstStyle>
            <a:lvl1pPr marL="0" indent="0">
              <a:lnSpc>
                <a:spcPct val="100000"/>
              </a:lnSpc>
              <a:buNone/>
              <a:defRPr sz="18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add challenge</a:t>
            </a:r>
          </a:p>
        </p:txBody>
      </p:sp>
      <p:sp>
        <p:nvSpPr>
          <p:cNvPr id="27" name="Text Placeholder 2">
            <a:extLst>
              <a:ext uri="{FF2B5EF4-FFF2-40B4-BE49-F238E27FC236}">
                <a16:creationId xmlns:a16="http://schemas.microsoft.com/office/drawing/2014/main" id="{568E59CF-7243-4376-B427-209FEB36A724}"/>
              </a:ext>
            </a:extLst>
          </p:cNvPr>
          <p:cNvSpPr>
            <a:spLocks noGrp="1"/>
          </p:cNvSpPr>
          <p:nvPr>
            <p:ph type="body" idx="30" hasCustomPrompt="1"/>
          </p:nvPr>
        </p:nvSpPr>
        <p:spPr>
          <a:xfrm>
            <a:off x="4294799" y="982110"/>
            <a:ext cx="3572091" cy="666000"/>
          </a:xfrm>
        </p:spPr>
        <p:txBody>
          <a:bodyPr lIns="0" anchor="t" anchorCtr="0">
            <a:noAutofit/>
          </a:bodyPr>
          <a:lstStyle>
            <a:lvl1pPr marL="0" indent="0">
              <a:lnSpc>
                <a:spcPct val="100000"/>
              </a:lnSpc>
              <a:buNone/>
              <a:defRPr sz="18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add solution or methodology</a:t>
            </a:r>
          </a:p>
        </p:txBody>
      </p:sp>
      <p:sp>
        <p:nvSpPr>
          <p:cNvPr id="28" name="Text Placeholder 2">
            <a:extLst>
              <a:ext uri="{FF2B5EF4-FFF2-40B4-BE49-F238E27FC236}">
                <a16:creationId xmlns:a16="http://schemas.microsoft.com/office/drawing/2014/main" id="{8A33BB81-5781-4AA8-A20C-E95F12AE8A1E}"/>
              </a:ext>
            </a:extLst>
          </p:cNvPr>
          <p:cNvSpPr>
            <a:spLocks noGrp="1"/>
          </p:cNvSpPr>
          <p:nvPr>
            <p:ph type="body" idx="31" hasCustomPrompt="1"/>
          </p:nvPr>
        </p:nvSpPr>
        <p:spPr>
          <a:xfrm>
            <a:off x="8384400" y="982110"/>
            <a:ext cx="3294000" cy="666000"/>
          </a:xfrm>
        </p:spPr>
        <p:txBody>
          <a:bodyPr lIns="0" anchor="t" anchorCtr="0">
            <a:noAutofit/>
          </a:bodyPr>
          <a:lstStyle>
            <a:lvl1pPr marL="0" indent="0">
              <a:lnSpc>
                <a:spcPct val="100000"/>
              </a:lnSpc>
              <a:buNone/>
              <a:defRPr sz="18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add business impact or client testimonial</a:t>
            </a:r>
          </a:p>
        </p:txBody>
      </p:sp>
      <p:sp>
        <p:nvSpPr>
          <p:cNvPr id="16" name="Tijdelijke aanduiding voor dianummer 3">
            <a:extLst>
              <a:ext uri="{FF2B5EF4-FFF2-40B4-BE49-F238E27FC236}">
                <a16:creationId xmlns:a16="http://schemas.microsoft.com/office/drawing/2014/main" id="{A9FA959C-4711-4A06-9E82-EAB5FF616C4A}"/>
              </a:ext>
            </a:extLst>
          </p:cNvPr>
          <p:cNvSpPr>
            <a:spLocks noGrp="1"/>
          </p:cNvSpPr>
          <p:nvPr>
            <p:ph type="sldNum" sz="quarter" idx="4"/>
          </p:nvPr>
        </p:nvSpPr>
        <p:spPr>
          <a:xfrm>
            <a:off x="504000" y="6378472"/>
            <a:ext cx="2743200" cy="365125"/>
          </a:xfrm>
          <a:prstGeom prst="rect">
            <a:avLst/>
          </a:prstGeom>
        </p:spPr>
        <p:txBody>
          <a:bodyPr vert="horz" lIns="0" tIns="45720" rIns="91440" bIns="45720" rtlCol="0" anchor="ctr"/>
          <a:lstStyle>
            <a:lvl1pPr algn="l">
              <a:defRPr sz="800">
                <a:solidFill>
                  <a:schemeClr val="bg2"/>
                </a:solidFill>
              </a:defRPr>
            </a:lvl1pPr>
          </a:lstStyle>
          <a:p>
            <a:fld id="{B592C3DA-96A1-4E84-9171-AC4C91AB4FEA}" type="slidenum">
              <a:rPr lang="en-US" smtClean="0"/>
              <a:pPr/>
              <a:t>‹#›</a:t>
            </a:fld>
            <a:endParaRPr lang="en-US"/>
          </a:p>
        </p:txBody>
      </p:sp>
    </p:spTree>
    <p:extLst>
      <p:ext uri="{BB962C8B-B14F-4D97-AF65-F5344CB8AC3E}">
        <p14:creationId xmlns:p14="http://schemas.microsoft.com/office/powerpoint/2010/main" val="398038646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rgbClr val="E6EFF1"/>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5399A6D0-9338-45C1-A9EB-862A7ED57EAE}"/>
              </a:ext>
            </a:extLst>
          </p:cNvPr>
          <p:cNvSpPr>
            <a:spLocks noGrp="1"/>
          </p:cNvSpPr>
          <p:nvPr>
            <p:ph type="body" sz="quarter" idx="12" hasCustomPrompt="1"/>
          </p:nvPr>
        </p:nvSpPr>
        <p:spPr>
          <a:xfrm>
            <a:off x="0" y="720000"/>
            <a:ext cx="12192000" cy="5418000"/>
          </a:xfrm>
        </p:spPr>
        <p:txBody>
          <a:bodyPr lIns="1512000" rIns="1512000" bIns="900000" anchor="ctr" anchorCtr="0"/>
          <a:lstStyle>
            <a:lvl1pPr marL="0" indent="0" algn="ctr">
              <a:lnSpc>
                <a:spcPct val="100000"/>
              </a:lnSpc>
              <a:buNone/>
              <a:defRPr sz="4400" b="1">
                <a:solidFill>
                  <a:schemeClr val="bg1"/>
                </a:solidFill>
                <a:latin typeface="+mj-lt"/>
              </a:defRPr>
            </a:lvl1pPr>
            <a:lvl2pPr>
              <a:defRPr sz="4400">
                <a:solidFill>
                  <a:schemeClr val="bg1"/>
                </a:solidFill>
              </a:defRPr>
            </a:lvl2pPr>
            <a:lvl3pPr>
              <a:defRPr sz="4400">
                <a:solidFill>
                  <a:schemeClr val="bg1"/>
                </a:solidFill>
              </a:defRPr>
            </a:lvl3pPr>
            <a:lvl4pPr>
              <a:defRPr sz="4400">
                <a:solidFill>
                  <a:schemeClr val="bg1"/>
                </a:solidFill>
              </a:defRPr>
            </a:lvl4pPr>
            <a:lvl5pPr>
              <a:defRPr sz="4400">
                <a:solidFill>
                  <a:schemeClr val="bg1"/>
                </a:solidFill>
              </a:defRPr>
            </a:lvl5pPr>
          </a:lstStyle>
          <a:p>
            <a:pPr lvl="0"/>
            <a:r>
              <a:rPr lang="en-US"/>
              <a:t>“Click to add compelling quote on one or two lines”</a:t>
            </a:r>
          </a:p>
        </p:txBody>
      </p:sp>
      <p:sp>
        <p:nvSpPr>
          <p:cNvPr id="5" name="Picture Placeholder 4">
            <a:extLst>
              <a:ext uri="{FF2B5EF4-FFF2-40B4-BE49-F238E27FC236}">
                <a16:creationId xmlns:a16="http://schemas.microsoft.com/office/drawing/2014/main" id="{D73B5AB7-07D1-4AC9-835F-F2E1FE03861A}"/>
              </a:ext>
            </a:extLst>
          </p:cNvPr>
          <p:cNvSpPr>
            <a:spLocks noGrp="1"/>
          </p:cNvSpPr>
          <p:nvPr>
            <p:ph type="pic" sz="quarter" idx="13" hasCustomPrompt="1"/>
          </p:nvPr>
        </p:nvSpPr>
        <p:spPr>
          <a:xfrm>
            <a:off x="0" y="0"/>
            <a:ext cx="12192000" cy="6858000"/>
          </a:xfrm>
        </p:spPr>
        <p:txBody>
          <a:bodyPr lIns="504000"/>
          <a:lstStyle>
            <a:lvl1pPr marL="0" indent="0">
              <a:buNone/>
              <a:defRPr/>
            </a:lvl1pPr>
          </a:lstStyle>
          <a:p>
            <a:pPr marL="0" marR="0" lvl="0" indent="-288000" algn="l" defTabSz="914400" rtl="0" eaLnBrk="1" fontAlgn="auto" latinLnBrk="0" hangingPunct="1">
              <a:lnSpc>
                <a:spcPct val="150000"/>
              </a:lnSpc>
              <a:spcBef>
                <a:spcPts val="0"/>
              </a:spcBef>
              <a:spcAft>
                <a:spcPts val="0"/>
              </a:spcAft>
              <a:buClrTx/>
              <a:buSzTx/>
              <a:tabLst/>
              <a:defRPr/>
            </a:pPr>
            <a:br>
              <a:rPr lang="en-US"/>
            </a:br>
            <a:r>
              <a:rPr lang="en-US"/>
              <a:t>To add image:</a:t>
            </a:r>
            <a:br>
              <a:rPr lang="en-US"/>
            </a:br>
            <a:r>
              <a:rPr lang="en-US"/>
              <a:t>1. Click border of this box</a:t>
            </a:r>
            <a:br>
              <a:rPr lang="en-US"/>
            </a:br>
            <a:r>
              <a:rPr lang="en-US"/>
              <a:t>2. Select ‘Add image’ from SKIM buttons</a:t>
            </a:r>
            <a:br>
              <a:rPr lang="en-US"/>
            </a:br>
            <a:r>
              <a:rPr lang="en-US"/>
              <a:t>3. Add overlay and send backward as needed</a:t>
            </a:r>
            <a:br>
              <a:rPr lang="en-US"/>
            </a:br>
            <a:r>
              <a:rPr lang="en-US"/>
              <a:t>4. Add SKIM logo</a:t>
            </a:r>
          </a:p>
        </p:txBody>
      </p:sp>
      <p:sp>
        <p:nvSpPr>
          <p:cNvPr id="9" name="Tijdelijke aanduiding voor tekst 8">
            <a:extLst>
              <a:ext uri="{FF2B5EF4-FFF2-40B4-BE49-F238E27FC236}">
                <a16:creationId xmlns:a16="http://schemas.microsoft.com/office/drawing/2014/main" id="{C8E6DB85-477A-4315-A5C0-95E75A556715}"/>
              </a:ext>
            </a:extLst>
          </p:cNvPr>
          <p:cNvSpPr>
            <a:spLocks noGrp="1"/>
          </p:cNvSpPr>
          <p:nvPr>
            <p:ph type="body" sz="quarter" idx="11" hasCustomPrompt="1"/>
          </p:nvPr>
        </p:nvSpPr>
        <p:spPr>
          <a:xfrm>
            <a:off x="6585527" y="4492800"/>
            <a:ext cx="4095673" cy="615553"/>
          </a:xfrm>
        </p:spPr>
        <p:txBody>
          <a:bodyPr wrap="square">
            <a:spAutoFit/>
          </a:bodyPr>
          <a:lstStyle>
            <a:lvl1pPr marL="0" indent="0" algn="r">
              <a:lnSpc>
                <a:spcPct val="100000"/>
              </a:lnSpc>
              <a:buNone/>
              <a:defRPr sz="2000">
                <a:solidFill>
                  <a:schemeClr val="bg1"/>
                </a:solidFill>
              </a:defRPr>
            </a:lvl1pPr>
          </a:lstStyle>
          <a:p>
            <a:pPr lvl="0"/>
            <a:r>
              <a:rPr lang="en-US"/>
              <a:t>Author,</a:t>
            </a:r>
            <a:br>
              <a:rPr lang="en-US"/>
            </a:br>
            <a:r>
              <a:rPr lang="en-US"/>
              <a:t>Title, Company</a:t>
            </a:r>
          </a:p>
        </p:txBody>
      </p:sp>
      <p:pic>
        <p:nvPicPr>
          <p:cNvPr id="4" name="Picture 7">
            <a:extLst>
              <a:ext uri="{FF2B5EF4-FFF2-40B4-BE49-F238E27FC236}">
                <a16:creationId xmlns:a16="http://schemas.microsoft.com/office/drawing/2014/main" id="{F352A71F-E24D-4B68-B41A-4400C2A9E103}"/>
              </a:ext>
            </a:extLst>
          </p:cNvPr>
          <p:cNvPicPr>
            <a:picLocks noChangeAspect="1"/>
          </p:cNvPicPr>
          <p:nvPr userDrawn="1"/>
        </p:nvPicPr>
        <p:blipFill>
          <a:blip r:embed="rId2" cstate="print">
            <a:biLevel thresh="25000"/>
            <a:extLst>
              <a:ext uri="{28A0092B-C50C-407E-A947-70E740481C1C}">
                <a14:useLocalDpi xmlns:a14="http://schemas.microsoft.com/office/drawing/2010/main" val="0"/>
              </a:ext>
            </a:extLst>
          </a:blip>
          <a:stretch>
            <a:fillRect/>
          </a:stretch>
        </p:blipFill>
        <p:spPr>
          <a:xfrm>
            <a:off x="11559600" y="6364800"/>
            <a:ext cx="386391" cy="266400"/>
          </a:xfrm>
          <a:prstGeom prst="rect">
            <a:avLst/>
          </a:prstGeom>
        </p:spPr>
      </p:pic>
      <p:sp>
        <p:nvSpPr>
          <p:cNvPr id="6" name="Tijdelijke aanduiding voor dianummer 3">
            <a:extLst>
              <a:ext uri="{FF2B5EF4-FFF2-40B4-BE49-F238E27FC236}">
                <a16:creationId xmlns:a16="http://schemas.microsoft.com/office/drawing/2014/main" id="{EA2B3E1C-A40B-4757-A799-637B87F10A35}"/>
              </a:ext>
            </a:extLst>
          </p:cNvPr>
          <p:cNvSpPr>
            <a:spLocks noGrp="1"/>
          </p:cNvSpPr>
          <p:nvPr>
            <p:ph type="sldNum" sz="quarter" idx="4"/>
          </p:nvPr>
        </p:nvSpPr>
        <p:spPr>
          <a:xfrm>
            <a:off x="504000" y="6378472"/>
            <a:ext cx="2743200" cy="365125"/>
          </a:xfrm>
          <a:prstGeom prst="rect">
            <a:avLst/>
          </a:prstGeom>
        </p:spPr>
        <p:txBody>
          <a:bodyPr vert="horz" lIns="0" tIns="45720" rIns="91440" bIns="45720" rtlCol="0" anchor="ctr"/>
          <a:lstStyle>
            <a:lvl1pPr algn="l">
              <a:defRPr sz="800">
                <a:solidFill>
                  <a:schemeClr val="bg1"/>
                </a:solidFill>
              </a:defRPr>
            </a:lvl1pPr>
          </a:lstStyle>
          <a:p>
            <a:fld id="{B592C3DA-96A1-4E84-9171-AC4C91AB4FEA}" type="slidenum">
              <a:rPr lang="en-US" smtClean="0"/>
              <a:pPr/>
              <a:t>‹#›</a:t>
            </a:fld>
            <a:endParaRPr lang="en-US"/>
          </a:p>
        </p:txBody>
      </p:sp>
    </p:spTree>
    <p:extLst>
      <p:ext uri="{BB962C8B-B14F-4D97-AF65-F5344CB8AC3E}">
        <p14:creationId xmlns:p14="http://schemas.microsoft.com/office/powerpoint/2010/main" val="367232917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Quote Teal">
    <p:bg>
      <p:bgPr>
        <a:solidFill>
          <a:schemeClr val="bg2"/>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5399A6D0-9338-45C1-A9EB-862A7ED57EAE}"/>
              </a:ext>
            </a:extLst>
          </p:cNvPr>
          <p:cNvSpPr>
            <a:spLocks noGrp="1"/>
          </p:cNvSpPr>
          <p:nvPr>
            <p:ph type="body" sz="quarter" idx="12" hasCustomPrompt="1"/>
          </p:nvPr>
        </p:nvSpPr>
        <p:spPr>
          <a:xfrm>
            <a:off x="0" y="720000"/>
            <a:ext cx="12192000" cy="5418000"/>
          </a:xfrm>
        </p:spPr>
        <p:txBody>
          <a:bodyPr lIns="1512000" rIns="1512000" bIns="900000" anchor="ctr" anchorCtr="0"/>
          <a:lstStyle>
            <a:lvl1pPr algn="ctr">
              <a:lnSpc>
                <a:spcPct val="100000"/>
              </a:lnSpc>
              <a:defRPr sz="4400" b="1">
                <a:solidFill>
                  <a:schemeClr val="bg1"/>
                </a:solidFill>
                <a:latin typeface="+mj-lt"/>
              </a:defRPr>
            </a:lvl1pPr>
            <a:lvl2pPr>
              <a:defRPr sz="4400">
                <a:solidFill>
                  <a:schemeClr val="bg1"/>
                </a:solidFill>
              </a:defRPr>
            </a:lvl2pPr>
            <a:lvl3pPr>
              <a:defRPr sz="4400">
                <a:solidFill>
                  <a:schemeClr val="bg1"/>
                </a:solidFill>
              </a:defRPr>
            </a:lvl3pPr>
            <a:lvl4pPr>
              <a:defRPr sz="4400">
                <a:solidFill>
                  <a:schemeClr val="bg1"/>
                </a:solidFill>
              </a:defRPr>
            </a:lvl4pPr>
            <a:lvl5pPr>
              <a:defRPr sz="4400">
                <a:solidFill>
                  <a:schemeClr val="bg1"/>
                </a:solidFill>
              </a:defRPr>
            </a:lvl5pPr>
          </a:lstStyle>
          <a:p>
            <a:pPr lvl="0"/>
            <a:r>
              <a:rPr lang="en-US"/>
              <a:t>“Click to add compelling quote on one or two lines”</a:t>
            </a:r>
          </a:p>
        </p:txBody>
      </p:sp>
      <p:sp>
        <p:nvSpPr>
          <p:cNvPr id="9" name="Tijdelijke aanduiding voor tekst 8">
            <a:extLst>
              <a:ext uri="{FF2B5EF4-FFF2-40B4-BE49-F238E27FC236}">
                <a16:creationId xmlns:a16="http://schemas.microsoft.com/office/drawing/2014/main" id="{C8E6DB85-477A-4315-A5C0-95E75A556715}"/>
              </a:ext>
            </a:extLst>
          </p:cNvPr>
          <p:cNvSpPr>
            <a:spLocks noGrp="1"/>
          </p:cNvSpPr>
          <p:nvPr>
            <p:ph type="body" sz="quarter" idx="11" hasCustomPrompt="1"/>
          </p:nvPr>
        </p:nvSpPr>
        <p:spPr>
          <a:xfrm>
            <a:off x="6613237" y="4492800"/>
            <a:ext cx="4067964" cy="615553"/>
          </a:xfrm>
        </p:spPr>
        <p:txBody>
          <a:bodyPr wrap="square">
            <a:spAutoFit/>
          </a:bodyPr>
          <a:lstStyle>
            <a:lvl1pPr marL="0" indent="0" algn="r">
              <a:lnSpc>
                <a:spcPct val="100000"/>
              </a:lnSpc>
              <a:buNone/>
              <a:defRPr sz="2000">
                <a:solidFill>
                  <a:schemeClr val="bg1"/>
                </a:solidFill>
              </a:defRPr>
            </a:lvl1pPr>
          </a:lstStyle>
          <a:p>
            <a:pPr lvl="0"/>
            <a:r>
              <a:rPr lang="en-US"/>
              <a:t>Author,</a:t>
            </a:r>
            <a:br>
              <a:rPr lang="en-US"/>
            </a:br>
            <a:r>
              <a:rPr lang="en-US"/>
              <a:t>Title, Company</a:t>
            </a:r>
          </a:p>
        </p:txBody>
      </p:sp>
      <p:pic>
        <p:nvPicPr>
          <p:cNvPr id="4" name="Picture 7">
            <a:extLst>
              <a:ext uri="{FF2B5EF4-FFF2-40B4-BE49-F238E27FC236}">
                <a16:creationId xmlns:a16="http://schemas.microsoft.com/office/drawing/2014/main" id="{F352A71F-E24D-4B68-B41A-4400C2A9E103}"/>
              </a:ext>
            </a:extLst>
          </p:cNvPr>
          <p:cNvPicPr>
            <a:picLocks noChangeAspect="1"/>
          </p:cNvPicPr>
          <p:nvPr userDrawn="1"/>
        </p:nvPicPr>
        <p:blipFill>
          <a:blip r:embed="rId2" cstate="print">
            <a:biLevel thresh="25000"/>
            <a:extLst>
              <a:ext uri="{28A0092B-C50C-407E-A947-70E740481C1C}">
                <a14:useLocalDpi xmlns:a14="http://schemas.microsoft.com/office/drawing/2010/main" val="0"/>
              </a:ext>
            </a:extLst>
          </a:blip>
          <a:stretch>
            <a:fillRect/>
          </a:stretch>
        </p:blipFill>
        <p:spPr>
          <a:xfrm>
            <a:off x="11559600" y="6364800"/>
            <a:ext cx="386391" cy="266400"/>
          </a:xfrm>
          <a:prstGeom prst="rect">
            <a:avLst/>
          </a:prstGeom>
        </p:spPr>
      </p:pic>
      <p:sp>
        <p:nvSpPr>
          <p:cNvPr id="6" name="Tijdelijke aanduiding voor dianummer 3">
            <a:extLst>
              <a:ext uri="{FF2B5EF4-FFF2-40B4-BE49-F238E27FC236}">
                <a16:creationId xmlns:a16="http://schemas.microsoft.com/office/drawing/2014/main" id="{EA2B3E1C-A40B-4757-A799-637B87F10A35}"/>
              </a:ext>
            </a:extLst>
          </p:cNvPr>
          <p:cNvSpPr>
            <a:spLocks noGrp="1"/>
          </p:cNvSpPr>
          <p:nvPr>
            <p:ph type="sldNum" sz="quarter" idx="4"/>
          </p:nvPr>
        </p:nvSpPr>
        <p:spPr>
          <a:xfrm>
            <a:off x="504000" y="6378472"/>
            <a:ext cx="2743200" cy="365125"/>
          </a:xfrm>
          <a:prstGeom prst="rect">
            <a:avLst/>
          </a:prstGeom>
        </p:spPr>
        <p:txBody>
          <a:bodyPr vert="horz" lIns="0" tIns="45720" rIns="91440" bIns="45720" rtlCol="0" anchor="ctr"/>
          <a:lstStyle>
            <a:lvl1pPr algn="l">
              <a:defRPr sz="800">
                <a:solidFill>
                  <a:schemeClr val="bg1"/>
                </a:solidFill>
              </a:defRPr>
            </a:lvl1pPr>
          </a:lstStyle>
          <a:p>
            <a:fld id="{B592C3DA-96A1-4E84-9171-AC4C91AB4FEA}" type="slidenum">
              <a:rPr lang="en-US" smtClean="0"/>
              <a:pPr/>
              <a:t>‹#›</a:t>
            </a:fld>
            <a:endParaRPr lang="en-US"/>
          </a:p>
        </p:txBody>
      </p:sp>
    </p:spTree>
    <p:extLst>
      <p:ext uri="{BB962C8B-B14F-4D97-AF65-F5344CB8AC3E}">
        <p14:creationId xmlns:p14="http://schemas.microsoft.com/office/powerpoint/2010/main" val="142342331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Divider: Full image">
    <p:bg>
      <p:bgPr>
        <a:solidFill>
          <a:srgbClr val="E6EFF1"/>
        </a:solidFill>
        <a:effectLst/>
      </p:bgPr>
    </p:bg>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7E508154-7AB5-4B06-92EE-D9140AF27C87}"/>
              </a:ext>
            </a:extLst>
          </p:cNvPr>
          <p:cNvSpPr>
            <a:spLocks noGrp="1"/>
          </p:cNvSpPr>
          <p:nvPr>
            <p:ph type="pic" sz="quarter" idx="13" hasCustomPrompt="1"/>
          </p:nvPr>
        </p:nvSpPr>
        <p:spPr>
          <a:xfrm>
            <a:off x="0" y="-3600"/>
            <a:ext cx="12192000" cy="6865200"/>
          </a:xfrm>
        </p:spPr>
        <p:txBody>
          <a:bodyPr lIns="504000"/>
          <a:lstStyle>
            <a:lvl1pPr marL="0" indent="0">
              <a:buNone/>
              <a:defRPr/>
            </a:lvl1pPr>
          </a:lstStyle>
          <a:p>
            <a:pPr marL="0" marR="0" lvl="0" indent="-288000" algn="l" defTabSz="914400" rtl="0" eaLnBrk="1" fontAlgn="auto" latinLnBrk="0" hangingPunct="1">
              <a:lnSpc>
                <a:spcPct val="150000"/>
              </a:lnSpc>
              <a:spcBef>
                <a:spcPts val="0"/>
              </a:spcBef>
              <a:spcAft>
                <a:spcPts val="0"/>
              </a:spcAft>
              <a:buClrTx/>
              <a:buSzTx/>
              <a:tabLst/>
              <a:defRPr/>
            </a:pPr>
            <a:br>
              <a:rPr lang="en-US"/>
            </a:br>
            <a:r>
              <a:rPr lang="en-US"/>
              <a:t>To add background image:</a:t>
            </a:r>
            <a:br>
              <a:rPr lang="en-US"/>
            </a:br>
            <a:r>
              <a:rPr lang="en-US"/>
              <a:t>1. Click border of this box</a:t>
            </a:r>
            <a:br>
              <a:rPr lang="en-US"/>
            </a:br>
            <a:r>
              <a:rPr lang="en-US"/>
              <a:t>2. Select ‘Add image’ from SKIM buttons</a:t>
            </a:r>
            <a:br>
              <a:rPr lang="en-US"/>
            </a:br>
            <a:r>
              <a:rPr lang="en-US"/>
              <a:t>3. Add overlay and send backward as needed</a:t>
            </a:r>
            <a:br>
              <a:rPr lang="en-US"/>
            </a:br>
            <a:r>
              <a:rPr lang="en-US"/>
              <a:t>4. Add SKIM logo</a:t>
            </a:r>
          </a:p>
        </p:txBody>
      </p:sp>
      <p:pic>
        <p:nvPicPr>
          <p:cNvPr id="12" name="Picture 7">
            <a:extLst>
              <a:ext uri="{FF2B5EF4-FFF2-40B4-BE49-F238E27FC236}">
                <a16:creationId xmlns:a16="http://schemas.microsoft.com/office/drawing/2014/main" id="{DA1B2545-4B6A-4B79-819B-3F3629D0DB46}"/>
              </a:ext>
            </a:extLst>
          </p:cNvPr>
          <p:cNvPicPr>
            <a:picLocks noChangeAspect="1"/>
          </p:cNvPicPr>
          <p:nvPr userDrawn="1"/>
        </p:nvPicPr>
        <p:blipFill>
          <a:blip r:embed="rId2" cstate="print">
            <a:biLevel thresh="25000"/>
            <a:extLst>
              <a:ext uri="{28A0092B-C50C-407E-A947-70E740481C1C}">
                <a14:useLocalDpi xmlns:a14="http://schemas.microsoft.com/office/drawing/2010/main" val="0"/>
              </a:ext>
            </a:extLst>
          </a:blip>
          <a:stretch>
            <a:fillRect/>
          </a:stretch>
        </p:blipFill>
        <p:spPr>
          <a:xfrm>
            <a:off x="11559600" y="6364800"/>
            <a:ext cx="386391" cy="266400"/>
          </a:xfrm>
          <a:prstGeom prst="rect">
            <a:avLst/>
          </a:prstGeom>
        </p:spPr>
      </p:pic>
      <p:sp>
        <p:nvSpPr>
          <p:cNvPr id="5" name="Text Placeholder 4">
            <a:extLst>
              <a:ext uri="{FF2B5EF4-FFF2-40B4-BE49-F238E27FC236}">
                <a16:creationId xmlns:a16="http://schemas.microsoft.com/office/drawing/2014/main" id="{FEC91A72-FB70-4808-975D-893B805F003E}"/>
              </a:ext>
            </a:extLst>
          </p:cNvPr>
          <p:cNvSpPr>
            <a:spLocks noGrp="1"/>
          </p:cNvSpPr>
          <p:nvPr>
            <p:ph type="body" sz="quarter" idx="14" hasCustomPrompt="1"/>
          </p:nvPr>
        </p:nvSpPr>
        <p:spPr>
          <a:xfrm>
            <a:off x="6137977" y="504000"/>
            <a:ext cx="5436011" cy="5850000"/>
          </a:xfrm>
          <a:noFill/>
        </p:spPr>
        <p:txBody>
          <a:bodyPr anchor="ctr" anchorCtr="0">
            <a:noAutofit/>
          </a:bodyPr>
          <a:lstStyle>
            <a:lvl1pPr marL="0" indent="0">
              <a:lnSpc>
                <a:spcPct val="150000"/>
              </a:lnSpc>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add text. Delete text box if no descriptive text is needed</a:t>
            </a:r>
          </a:p>
        </p:txBody>
      </p:sp>
      <p:sp>
        <p:nvSpPr>
          <p:cNvPr id="2" name="Title 1">
            <a:extLst>
              <a:ext uri="{FF2B5EF4-FFF2-40B4-BE49-F238E27FC236}">
                <a16:creationId xmlns:a16="http://schemas.microsoft.com/office/drawing/2014/main" id="{D8E250B2-F80A-4990-9F94-2AB6B07D6852}"/>
              </a:ext>
            </a:extLst>
          </p:cNvPr>
          <p:cNvSpPr>
            <a:spLocks noGrp="1"/>
          </p:cNvSpPr>
          <p:nvPr>
            <p:ph type="ctrTitle" hasCustomPrompt="1"/>
          </p:nvPr>
        </p:nvSpPr>
        <p:spPr>
          <a:xfrm>
            <a:off x="504000" y="504000"/>
            <a:ext cx="5040000" cy="5850000"/>
          </a:xfrm>
          <a:noFill/>
        </p:spPr>
        <p:txBody>
          <a:bodyPr anchor="ctr" anchorCtr="0">
            <a:noAutofit/>
          </a:bodyPr>
          <a:lstStyle>
            <a:lvl1pPr algn="l">
              <a:defRPr sz="3800">
                <a:solidFill>
                  <a:schemeClr val="bg1"/>
                </a:solidFill>
              </a:defRPr>
            </a:lvl1pPr>
          </a:lstStyle>
          <a:p>
            <a:r>
              <a:rPr lang="en-US"/>
              <a:t>Click to add section name</a:t>
            </a:r>
          </a:p>
        </p:txBody>
      </p:sp>
      <p:sp>
        <p:nvSpPr>
          <p:cNvPr id="6" name="Tijdelijke aanduiding voor dianummer 3">
            <a:extLst>
              <a:ext uri="{FF2B5EF4-FFF2-40B4-BE49-F238E27FC236}">
                <a16:creationId xmlns:a16="http://schemas.microsoft.com/office/drawing/2014/main" id="{4A6DDED1-50AA-4049-9862-7216181C5C14}"/>
              </a:ext>
            </a:extLst>
          </p:cNvPr>
          <p:cNvSpPr>
            <a:spLocks noGrp="1"/>
          </p:cNvSpPr>
          <p:nvPr>
            <p:ph type="sldNum" sz="quarter" idx="4"/>
          </p:nvPr>
        </p:nvSpPr>
        <p:spPr>
          <a:xfrm>
            <a:off x="504000" y="6378472"/>
            <a:ext cx="2743200" cy="365125"/>
          </a:xfrm>
          <a:prstGeom prst="rect">
            <a:avLst/>
          </a:prstGeom>
        </p:spPr>
        <p:txBody>
          <a:bodyPr vert="horz" lIns="0" tIns="45720" rIns="91440" bIns="45720" rtlCol="0" anchor="ctr"/>
          <a:lstStyle>
            <a:lvl1pPr algn="l">
              <a:defRPr sz="800">
                <a:solidFill>
                  <a:schemeClr val="bg1"/>
                </a:solidFill>
              </a:defRPr>
            </a:lvl1pPr>
          </a:lstStyle>
          <a:p>
            <a:fld id="{B592C3DA-96A1-4E84-9171-AC4C91AB4FEA}" type="slidenum">
              <a:rPr lang="en-US" smtClean="0"/>
              <a:pPr/>
              <a:t>‹#›</a:t>
            </a:fld>
            <a:endParaRPr lang="en-US"/>
          </a:p>
        </p:txBody>
      </p:sp>
    </p:spTree>
    <p:extLst>
      <p:ext uri="{BB962C8B-B14F-4D97-AF65-F5344CB8AC3E}">
        <p14:creationId xmlns:p14="http://schemas.microsoft.com/office/powerpoint/2010/main" val="309042339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Thanks">
    <p:spTree>
      <p:nvGrpSpPr>
        <p:cNvPr id="1" name=""/>
        <p:cNvGrpSpPr/>
        <p:nvPr/>
      </p:nvGrpSpPr>
      <p:grpSpPr>
        <a:xfrm>
          <a:off x="0" y="0"/>
          <a:ext cx="0" cy="0"/>
          <a:chOff x="0" y="0"/>
          <a:chExt cx="0" cy="0"/>
        </a:xfrm>
      </p:grpSpPr>
      <p:sp>
        <p:nvSpPr>
          <p:cNvPr id="7" name="Tijdelijke aanduiding voor afbeelding 6">
            <a:extLst>
              <a:ext uri="{FF2B5EF4-FFF2-40B4-BE49-F238E27FC236}">
                <a16:creationId xmlns:a16="http://schemas.microsoft.com/office/drawing/2014/main" id="{0C6356A8-EFE9-49F7-AC1B-B7A930B44ABC}"/>
              </a:ext>
            </a:extLst>
          </p:cNvPr>
          <p:cNvSpPr>
            <a:spLocks noGrp="1"/>
          </p:cNvSpPr>
          <p:nvPr>
            <p:ph type="pic" sz="quarter" idx="10" hasCustomPrompt="1"/>
          </p:nvPr>
        </p:nvSpPr>
        <p:spPr>
          <a:xfrm>
            <a:off x="3642000" y="0"/>
            <a:ext cx="8550000" cy="6858000"/>
          </a:xfrm>
        </p:spPr>
        <p:txBody>
          <a:bodyPr/>
          <a:lstStyle>
            <a:lvl1pPr marL="0" indent="0">
              <a:buNone/>
              <a:defRPr/>
            </a:lvl1pPr>
          </a:lstStyle>
          <a:p>
            <a:pPr marL="0" marR="0" lvl="0" indent="-288000" algn="l" defTabSz="914400" rtl="0" eaLnBrk="1" fontAlgn="auto" latinLnBrk="0" hangingPunct="1">
              <a:lnSpc>
                <a:spcPct val="150000"/>
              </a:lnSpc>
              <a:spcBef>
                <a:spcPts val="0"/>
              </a:spcBef>
              <a:spcAft>
                <a:spcPts val="0"/>
              </a:spcAft>
              <a:buClrTx/>
              <a:buSzTx/>
              <a:tabLst/>
              <a:defRPr/>
            </a:pPr>
            <a:br>
              <a:rPr lang="en-US"/>
            </a:br>
            <a:r>
              <a:rPr lang="en-US"/>
              <a:t>To add background SKIM image:</a:t>
            </a:r>
            <a:br>
              <a:rPr lang="en-US"/>
            </a:br>
            <a:r>
              <a:rPr lang="en-US"/>
              <a:t>1. Click border of this box</a:t>
            </a:r>
            <a:br>
              <a:rPr lang="en-US"/>
            </a:br>
            <a:r>
              <a:rPr lang="en-US"/>
              <a:t>2. Select ‘Add image’ from SKIM buttons</a:t>
            </a:r>
            <a:br>
              <a:rPr lang="en-US"/>
            </a:br>
            <a:r>
              <a:rPr lang="en-US"/>
              <a:t>3. Add overlay and send backward as needed</a:t>
            </a:r>
            <a:br>
              <a:rPr lang="en-US"/>
            </a:br>
            <a:r>
              <a:rPr lang="en-US"/>
              <a:t>4. Add SKIM logo</a:t>
            </a:r>
          </a:p>
        </p:txBody>
      </p:sp>
      <p:pic>
        <p:nvPicPr>
          <p:cNvPr id="8" name="Picture 40" descr="Logo&#10;&#10;Description automatically generated">
            <a:extLst>
              <a:ext uri="{FF2B5EF4-FFF2-40B4-BE49-F238E27FC236}">
                <a16:creationId xmlns:a16="http://schemas.microsoft.com/office/drawing/2014/main" id="{EE288273-3807-49A7-BBFB-27CF673960A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506775" y="5032103"/>
            <a:ext cx="2268245" cy="1420488"/>
          </a:xfrm>
          <a:prstGeom prst="rect">
            <a:avLst/>
          </a:prstGeom>
        </p:spPr>
      </p:pic>
      <p:sp>
        <p:nvSpPr>
          <p:cNvPr id="32" name="TextBox 25">
            <a:extLst>
              <a:ext uri="{FF2B5EF4-FFF2-40B4-BE49-F238E27FC236}">
                <a16:creationId xmlns:a16="http://schemas.microsoft.com/office/drawing/2014/main" id="{2052DA8D-223A-4F00-915F-298CF8EEF107}"/>
              </a:ext>
            </a:extLst>
          </p:cNvPr>
          <p:cNvSpPr txBox="1"/>
          <p:nvPr userDrawn="1"/>
        </p:nvSpPr>
        <p:spPr>
          <a:xfrm>
            <a:off x="490664" y="6051309"/>
            <a:ext cx="2770248" cy="366832"/>
          </a:xfrm>
          <a:prstGeom prst="rect">
            <a:avLst/>
          </a:prstGeom>
          <a:noFill/>
          <a:ln>
            <a:noFill/>
          </a:ln>
        </p:spPr>
        <p:txBody>
          <a:bodyPr wrap="square" lIns="0" tIns="0" rIns="0" bIns="0">
            <a:noAutofit/>
          </a:bodyPr>
          <a:lstStyle/>
          <a:p>
            <a:pPr algn="l">
              <a:lnSpc>
                <a:spcPct val="150000"/>
              </a:lnSpc>
            </a:pPr>
            <a:r>
              <a:rPr lang="en-US" b="1">
                <a:solidFill>
                  <a:schemeClr val="bg1"/>
                </a:solidFill>
                <a:latin typeface="Rawline" panose="00000500000000000000" pitchFamily="2" charset="0"/>
              </a:rPr>
              <a:t>SKIMgroup.com</a:t>
            </a:r>
            <a:endParaRPr lang="en-US">
              <a:solidFill>
                <a:schemeClr val="bg1"/>
              </a:solidFill>
              <a:latin typeface="Rawline" panose="00000500000000000000" pitchFamily="2" charset="0"/>
            </a:endParaRPr>
          </a:p>
        </p:txBody>
      </p:sp>
      <p:sp>
        <p:nvSpPr>
          <p:cNvPr id="2" name="Title 1">
            <a:extLst>
              <a:ext uri="{FF2B5EF4-FFF2-40B4-BE49-F238E27FC236}">
                <a16:creationId xmlns:a16="http://schemas.microsoft.com/office/drawing/2014/main" id="{3F969158-A333-4B56-96E8-4AFB59A603EE}"/>
              </a:ext>
            </a:extLst>
          </p:cNvPr>
          <p:cNvSpPr>
            <a:spLocks noGrp="1"/>
          </p:cNvSpPr>
          <p:nvPr>
            <p:ph type="title" hasCustomPrompt="1"/>
          </p:nvPr>
        </p:nvSpPr>
        <p:spPr>
          <a:xfrm>
            <a:off x="504000" y="403200"/>
            <a:ext cx="2772000" cy="972000"/>
          </a:xfrm>
        </p:spPr>
        <p:txBody>
          <a:bodyPr/>
          <a:lstStyle>
            <a:lvl1pPr>
              <a:defRPr/>
            </a:lvl1pPr>
          </a:lstStyle>
          <a:p>
            <a:r>
              <a:rPr lang="en-US"/>
              <a:t>Thanks!</a:t>
            </a:r>
          </a:p>
        </p:txBody>
      </p:sp>
      <p:sp>
        <p:nvSpPr>
          <p:cNvPr id="9" name="Tijdelijke aanduiding voor dianummer 3">
            <a:extLst>
              <a:ext uri="{FF2B5EF4-FFF2-40B4-BE49-F238E27FC236}">
                <a16:creationId xmlns:a16="http://schemas.microsoft.com/office/drawing/2014/main" id="{6F9080DA-0EEC-4C5F-B2ED-522C59A4B9DA}"/>
              </a:ext>
            </a:extLst>
          </p:cNvPr>
          <p:cNvSpPr>
            <a:spLocks noGrp="1"/>
          </p:cNvSpPr>
          <p:nvPr>
            <p:ph type="sldNum" sz="quarter" idx="4"/>
          </p:nvPr>
        </p:nvSpPr>
        <p:spPr>
          <a:xfrm>
            <a:off x="504000" y="6378472"/>
            <a:ext cx="2743200" cy="365125"/>
          </a:xfrm>
          <a:prstGeom prst="rect">
            <a:avLst/>
          </a:prstGeom>
        </p:spPr>
        <p:txBody>
          <a:bodyPr vert="horz" lIns="0" tIns="45720" rIns="91440" bIns="45720" rtlCol="0" anchor="ctr"/>
          <a:lstStyle>
            <a:lvl1pPr algn="l">
              <a:defRPr sz="800">
                <a:solidFill>
                  <a:schemeClr val="bg2"/>
                </a:solidFill>
              </a:defRPr>
            </a:lvl1pPr>
          </a:lstStyle>
          <a:p>
            <a:fld id="{B592C3DA-96A1-4E84-9171-AC4C91AB4FEA}" type="slidenum">
              <a:rPr lang="en-US" smtClean="0"/>
              <a:pPr/>
              <a:t>‹#›</a:t>
            </a:fld>
            <a:endParaRPr lang="en-US"/>
          </a:p>
        </p:txBody>
      </p:sp>
      <p:pic>
        <p:nvPicPr>
          <p:cNvPr id="10" name="doLogoLarge" descr="Logo&#10;&#10;Description automatically generated">
            <a:extLst>
              <a:ext uri="{FF2B5EF4-FFF2-40B4-BE49-F238E27FC236}">
                <a16:creationId xmlns:a16="http://schemas.microsoft.com/office/drawing/2014/main" id="{C74CEF3E-4057-44AE-88EF-EE334A66A6EB}"/>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659175" y="5184503"/>
            <a:ext cx="2268245" cy="1420488"/>
          </a:xfrm>
          <a:prstGeom prst="rect">
            <a:avLst/>
          </a:prstGeom>
        </p:spPr>
      </p:pic>
      <p:grpSp>
        <p:nvGrpSpPr>
          <p:cNvPr id="11" name="Group 10">
            <a:extLst>
              <a:ext uri="{FF2B5EF4-FFF2-40B4-BE49-F238E27FC236}">
                <a16:creationId xmlns:a16="http://schemas.microsoft.com/office/drawing/2014/main" id="{E873A905-D429-4FB5-8F02-AA358F024064}"/>
              </a:ext>
            </a:extLst>
          </p:cNvPr>
          <p:cNvGrpSpPr/>
          <p:nvPr userDrawn="1"/>
        </p:nvGrpSpPr>
        <p:grpSpPr>
          <a:xfrm>
            <a:off x="4094095" y="5582159"/>
            <a:ext cx="2586428" cy="342741"/>
            <a:chOff x="333136" y="4671659"/>
            <a:chExt cx="1939821" cy="257056"/>
          </a:xfrm>
        </p:grpSpPr>
        <p:pic>
          <p:nvPicPr>
            <p:cNvPr id="12" name="Afbeelding 3" descr="006-linkedin-logo-button.png">
              <a:hlinkClick r:id="rId3"/>
              <a:extLst>
                <a:ext uri="{FF2B5EF4-FFF2-40B4-BE49-F238E27FC236}">
                  <a16:creationId xmlns:a16="http://schemas.microsoft.com/office/drawing/2014/main" id="{D377EB86-CE7D-4DC9-80C9-7CCED7F32F16}"/>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33136" y="4671659"/>
              <a:ext cx="257056" cy="257056"/>
            </a:xfrm>
            <a:prstGeom prst="rect">
              <a:avLst/>
            </a:prstGeom>
          </p:spPr>
        </p:pic>
        <p:pic>
          <p:nvPicPr>
            <p:cNvPr id="13" name="Afbeelding 4" descr="005-youtube-symbol.png">
              <a:hlinkClick r:id="rId5"/>
              <a:extLst>
                <a:ext uri="{FF2B5EF4-FFF2-40B4-BE49-F238E27FC236}">
                  <a16:creationId xmlns:a16="http://schemas.microsoft.com/office/drawing/2014/main" id="{C0866EE1-7629-4B4A-BBDD-673C496715D6}"/>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176695" y="4671659"/>
              <a:ext cx="257056" cy="257056"/>
            </a:xfrm>
            <a:prstGeom prst="rect">
              <a:avLst/>
            </a:prstGeom>
          </p:spPr>
        </p:pic>
        <p:pic>
          <p:nvPicPr>
            <p:cNvPr id="14" name="Afbeelding 14" descr="003-twitter-logo-button.png">
              <a:hlinkClick r:id="rId7"/>
              <a:extLst>
                <a:ext uri="{FF2B5EF4-FFF2-40B4-BE49-F238E27FC236}">
                  <a16:creationId xmlns:a16="http://schemas.microsoft.com/office/drawing/2014/main" id="{6C707B0A-8AC3-42F2-BA87-03EBAC1EF595}"/>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757091" y="4676010"/>
              <a:ext cx="252705" cy="252705"/>
            </a:xfrm>
            <a:prstGeom prst="rect">
              <a:avLst/>
            </a:prstGeom>
          </p:spPr>
        </p:pic>
        <p:pic>
          <p:nvPicPr>
            <p:cNvPr id="15" name="Afbeelding 15" descr="002-facebook-logo-button.png">
              <a:hlinkClick r:id="rId9"/>
              <a:extLst>
                <a:ext uri="{FF2B5EF4-FFF2-40B4-BE49-F238E27FC236}">
                  <a16:creationId xmlns:a16="http://schemas.microsoft.com/office/drawing/2014/main" id="{5C5E2ABB-71F8-4BDB-8968-74189783D035}"/>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1600650" y="4676010"/>
              <a:ext cx="252705" cy="252705"/>
            </a:xfrm>
            <a:prstGeom prst="rect">
              <a:avLst/>
            </a:prstGeom>
          </p:spPr>
        </p:pic>
        <p:pic>
          <p:nvPicPr>
            <p:cNvPr id="16" name="Afbeelding 16" descr="001-instagram.png">
              <a:hlinkClick r:id="rId11"/>
              <a:extLst>
                <a:ext uri="{FF2B5EF4-FFF2-40B4-BE49-F238E27FC236}">
                  <a16:creationId xmlns:a16="http://schemas.microsoft.com/office/drawing/2014/main" id="{E25AF864-A2DA-4B10-915E-1D892AED376A}"/>
                </a:ext>
              </a:extLst>
            </p:cNvPr>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2020252" y="4676010"/>
              <a:ext cx="252705" cy="252705"/>
            </a:xfrm>
            <a:prstGeom prst="rect">
              <a:avLst/>
            </a:prstGeom>
          </p:spPr>
        </p:pic>
      </p:grpSp>
      <p:sp>
        <p:nvSpPr>
          <p:cNvPr id="17" name="TextBox 25">
            <a:extLst>
              <a:ext uri="{FF2B5EF4-FFF2-40B4-BE49-F238E27FC236}">
                <a16:creationId xmlns:a16="http://schemas.microsoft.com/office/drawing/2014/main" id="{55E2CE97-16DB-445D-8EC4-E4A7AC17CE99}"/>
              </a:ext>
            </a:extLst>
          </p:cNvPr>
          <p:cNvSpPr txBox="1"/>
          <p:nvPr userDrawn="1"/>
        </p:nvSpPr>
        <p:spPr>
          <a:xfrm>
            <a:off x="4094095" y="6009444"/>
            <a:ext cx="2770248" cy="366832"/>
          </a:xfrm>
          <a:prstGeom prst="rect">
            <a:avLst/>
          </a:prstGeom>
          <a:noFill/>
          <a:ln>
            <a:noFill/>
          </a:ln>
        </p:spPr>
        <p:txBody>
          <a:bodyPr wrap="square" lIns="0" tIns="0" rIns="0" bIns="0">
            <a:noAutofit/>
          </a:bodyPr>
          <a:lstStyle/>
          <a:p>
            <a:pPr algn="l">
              <a:lnSpc>
                <a:spcPct val="150000"/>
              </a:lnSpc>
            </a:pPr>
            <a:r>
              <a:rPr lang="en-US" sz="2000" b="1">
                <a:solidFill>
                  <a:schemeClr val="bg1"/>
                </a:solidFill>
                <a:latin typeface="+mj-lt"/>
              </a:rPr>
              <a:t>SKIMgroup.com</a:t>
            </a:r>
          </a:p>
        </p:txBody>
      </p:sp>
      <p:sp>
        <p:nvSpPr>
          <p:cNvPr id="5" name="Text Placeholder 4">
            <a:extLst>
              <a:ext uri="{FF2B5EF4-FFF2-40B4-BE49-F238E27FC236}">
                <a16:creationId xmlns:a16="http://schemas.microsoft.com/office/drawing/2014/main" id="{84B0F4C6-9154-44E4-9A55-CDAEDCEA90D0}"/>
              </a:ext>
            </a:extLst>
          </p:cNvPr>
          <p:cNvSpPr>
            <a:spLocks noGrp="1"/>
          </p:cNvSpPr>
          <p:nvPr>
            <p:ph type="body" sz="quarter" idx="11" hasCustomPrompt="1"/>
          </p:nvPr>
        </p:nvSpPr>
        <p:spPr>
          <a:xfrm>
            <a:off x="494026" y="1595437"/>
            <a:ext cx="2757487" cy="4567237"/>
          </a:xfrm>
        </p:spPr>
        <p:txBody>
          <a:bodyPr/>
          <a:lstStyle>
            <a:lvl1pPr marL="0" indent="0">
              <a:lnSpc>
                <a:spcPct val="150000"/>
              </a:lnSpc>
              <a:spcAft>
                <a:spcPts val="0"/>
              </a:spcAft>
              <a:buFont typeface="Arial" panose="020B0604020202020204" pitchFamily="34" charset="0"/>
              <a:buNone/>
              <a:defRPr sz="1300" b="1"/>
            </a:lvl1pPr>
          </a:lstStyle>
          <a:p>
            <a:r>
              <a:rPr lang="en-US" err="1"/>
              <a:t>SKIMmer</a:t>
            </a:r>
            <a:r>
              <a:rPr lang="en-US"/>
              <a:t> name</a:t>
            </a:r>
            <a:br>
              <a:rPr lang="en-US"/>
            </a:br>
            <a:r>
              <a:rPr lang="en-US" b="0"/>
              <a:t>Title</a:t>
            </a:r>
            <a:br>
              <a:rPr lang="en-US" b="0"/>
            </a:br>
            <a:r>
              <a:rPr lang="en-US">
                <a:hlinkClick r:id="rId13"/>
              </a:rPr>
              <a:t>email@skimgroup.com</a:t>
            </a:r>
            <a:endParaRPr lang="en-US"/>
          </a:p>
          <a:p>
            <a:endParaRPr lang="en-US"/>
          </a:p>
          <a:p>
            <a:r>
              <a:rPr lang="en-US" err="1"/>
              <a:t>SKIMmer</a:t>
            </a:r>
            <a:r>
              <a:rPr lang="en-US"/>
              <a:t> name</a:t>
            </a:r>
          </a:p>
          <a:p>
            <a:r>
              <a:rPr lang="en-US" b="0"/>
              <a:t>Title</a:t>
            </a:r>
          </a:p>
          <a:p>
            <a:r>
              <a:rPr lang="en-US">
                <a:hlinkClick r:id="rId13"/>
              </a:rPr>
              <a:t>email@skimgroup.com</a:t>
            </a:r>
            <a:endParaRPr lang="en-US"/>
          </a:p>
          <a:p>
            <a:endParaRPr lang="en-US" b="0" u="sng"/>
          </a:p>
          <a:p>
            <a:r>
              <a:rPr lang="en-US" err="1"/>
              <a:t>SKIMmer</a:t>
            </a:r>
            <a:r>
              <a:rPr lang="en-US"/>
              <a:t> name</a:t>
            </a:r>
          </a:p>
          <a:p>
            <a:r>
              <a:rPr lang="en-US" b="0"/>
              <a:t>Title</a:t>
            </a:r>
          </a:p>
          <a:p>
            <a:r>
              <a:rPr lang="en-US">
                <a:hlinkClick r:id="rId13"/>
              </a:rPr>
              <a:t>email@skimgroup.com</a:t>
            </a:r>
            <a:endParaRPr lang="en-US"/>
          </a:p>
          <a:p>
            <a:endParaRPr lang="en-US" b="0" u="sng"/>
          </a:p>
          <a:p>
            <a:r>
              <a:rPr lang="en-US" err="1"/>
              <a:t>SKIMmer</a:t>
            </a:r>
            <a:r>
              <a:rPr lang="en-US"/>
              <a:t> name</a:t>
            </a:r>
          </a:p>
          <a:p>
            <a:r>
              <a:rPr lang="en-US" b="0"/>
              <a:t>Title</a:t>
            </a:r>
          </a:p>
          <a:p>
            <a:r>
              <a:rPr lang="en-US">
                <a:hlinkClick r:id="rId13"/>
              </a:rPr>
              <a:t>email@skimgroup.com</a:t>
            </a:r>
            <a:endParaRPr lang="en-US" b="0" u="sng"/>
          </a:p>
        </p:txBody>
      </p:sp>
    </p:spTree>
    <p:extLst>
      <p:ext uri="{BB962C8B-B14F-4D97-AF65-F5344CB8AC3E}">
        <p14:creationId xmlns:p14="http://schemas.microsoft.com/office/powerpoint/2010/main" val="37509963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type="blank" preserve="1">
  <p:cSld name="Plain">
    <p:spTree>
      <p:nvGrpSpPr>
        <p:cNvPr id="1" name=""/>
        <p:cNvGrpSpPr/>
        <p:nvPr/>
      </p:nvGrpSpPr>
      <p:grpSpPr>
        <a:xfrm>
          <a:off x="0" y="0"/>
          <a:ext cx="0" cy="0"/>
          <a:chOff x="0" y="0"/>
          <a:chExt cx="0" cy="0"/>
        </a:xfrm>
      </p:grpSpPr>
      <p:pic>
        <p:nvPicPr>
          <p:cNvPr id="2" name="doLogoGreen">
            <a:extLst>
              <a:ext uri="{FF2B5EF4-FFF2-40B4-BE49-F238E27FC236}">
                <a16:creationId xmlns:a16="http://schemas.microsoft.com/office/drawing/2014/main" id="{827C03A1-5679-44BD-A2DC-7FB5C60095B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559600" y="6364800"/>
            <a:ext cx="386197" cy="266266"/>
          </a:xfrm>
          <a:prstGeom prst="rect">
            <a:avLst/>
          </a:prstGeom>
        </p:spPr>
      </p:pic>
      <p:sp>
        <p:nvSpPr>
          <p:cNvPr id="3" name="Tijdelijke aanduiding voor dianummer 3">
            <a:extLst>
              <a:ext uri="{FF2B5EF4-FFF2-40B4-BE49-F238E27FC236}">
                <a16:creationId xmlns:a16="http://schemas.microsoft.com/office/drawing/2014/main" id="{A0B63F3F-FFD8-4913-8D05-2B280BA71392}"/>
              </a:ext>
            </a:extLst>
          </p:cNvPr>
          <p:cNvSpPr>
            <a:spLocks noGrp="1"/>
          </p:cNvSpPr>
          <p:nvPr>
            <p:ph type="sldNum" sz="quarter" idx="4"/>
          </p:nvPr>
        </p:nvSpPr>
        <p:spPr>
          <a:xfrm>
            <a:off x="504000" y="6378472"/>
            <a:ext cx="2743200" cy="365125"/>
          </a:xfrm>
          <a:prstGeom prst="rect">
            <a:avLst/>
          </a:prstGeom>
        </p:spPr>
        <p:txBody>
          <a:bodyPr vert="horz" lIns="0" tIns="45720" rIns="91440" bIns="45720" rtlCol="0" anchor="ctr"/>
          <a:lstStyle>
            <a:lvl1pPr algn="l">
              <a:defRPr sz="800">
                <a:solidFill>
                  <a:schemeClr val="bg2"/>
                </a:solidFill>
              </a:defRPr>
            </a:lvl1pPr>
          </a:lstStyle>
          <a:p>
            <a:fld id="{B592C3DA-96A1-4E84-9171-AC4C91AB4FEA}" type="slidenum">
              <a:rPr lang="en-US" smtClean="0"/>
              <a:pPr/>
              <a:t>‹#›</a:t>
            </a:fld>
            <a:endParaRPr lang="en-US"/>
          </a:p>
        </p:txBody>
      </p:sp>
    </p:spTree>
    <p:extLst>
      <p:ext uri="{BB962C8B-B14F-4D97-AF65-F5344CB8AC3E}">
        <p14:creationId xmlns:p14="http://schemas.microsoft.com/office/powerpoint/2010/main" val="2786855156"/>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Research process, 1/3 imag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EC978F-9F5A-4C6F-BF4A-C3DA5CCEA79C}"/>
              </a:ext>
            </a:extLst>
          </p:cNvPr>
          <p:cNvSpPr>
            <a:spLocks noGrp="1"/>
          </p:cNvSpPr>
          <p:nvPr>
            <p:ph type="title"/>
          </p:nvPr>
        </p:nvSpPr>
        <p:spPr>
          <a:xfrm>
            <a:off x="504000" y="403200"/>
            <a:ext cx="7354800" cy="972000"/>
          </a:xfrm>
        </p:spPr>
        <p:txBody>
          <a:bodyPr>
            <a:noAutofit/>
          </a:bodyPr>
          <a:lstStyle/>
          <a:p>
            <a:r>
              <a:rPr lang="en-US"/>
              <a:t>Click to edit Master title style</a:t>
            </a:r>
            <a:endParaRPr lang="en-GB"/>
          </a:p>
        </p:txBody>
      </p:sp>
      <p:sp>
        <p:nvSpPr>
          <p:cNvPr id="9" name="Text Placeholder 8">
            <a:extLst>
              <a:ext uri="{FF2B5EF4-FFF2-40B4-BE49-F238E27FC236}">
                <a16:creationId xmlns:a16="http://schemas.microsoft.com/office/drawing/2014/main" id="{6A5225FC-4D45-4DE8-BE2E-237E132245DB}"/>
              </a:ext>
            </a:extLst>
          </p:cNvPr>
          <p:cNvSpPr>
            <a:spLocks noGrp="1"/>
          </p:cNvSpPr>
          <p:nvPr>
            <p:ph type="body" sz="quarter" idx="19"/>
          </p:nvPr>
        </p:nvSpPr>
        <p:spPr>
          <a:xfrm>
            <a:off x="503238" y="1814400"/>
            <a:ext cx="7167600" cy="4410000"/>
          </a:xfrm>
        </p:spPr>
        <p:txBody>
          <a:bodyPr lIns="0" tIns="0" rIns="0" bIns="0" numCol="2" spcCol="360000">
            <a:noAutofit/>
          </a:bodyPr>
          <a:lstStyle>
            <a:lvl1pPr>
              <a:lnSpc>
                <a:spcPct val="130000"/>
              </a:lnSpc>
              <a:defRPr b="0">
                <a:solidFill>
                  <a:schemeClr val="tx1"/>
                </a:solidFill>
              </a:defRPr>
            </a:lvl1pPr>
            <a:lvl2pPr marL="285750" indent="-285750">
              <a:lnSpc>
                <a:spcPct val="110000"/>
              </a:lnSpc>
              <a:buFont typeface="Courier New" panose="02070309020205020404" pitchFamily="49" charset="0"/>
              <a:buChar char="o"/>
              <a:defRPr/>
            </a:lvl2pPr>
            <a:lvl3pPr marL="576000">
              <a:lnSpc>
                <a:spcPct val="110000"/>
              </a:lnSpc>
              <a:defRPr/>
            </a:lvl3pPr>
            <a:lvl4pPr marL="864000">
              <a:lnSpc>
                <a:spcPct val="110000"/>
              </a:lnSpc>
              <a:defRPr/>
            </a:lvl4pPr>
            <a:lvl5pPr marL="1152000">
              <a:lnSpc>
                <a:spcPct val="110000"/>
              </a:lnSpc>
              <a:defRPr/>
            </a:lvl5pPr>
            <a:lvl6pPr marL="1149750" indent="-285750">
              <a:buFont typeface="Courier New" panose="02070309020205020404" pitchFamily="49" charset="0"/>
              <a:buChar char="o"/>
              <a:defRPr/>
            </a:lvl6pPr>
            <a:lvl7pPr marL="1149750" indent="-285750">
              <a:buFont typeface="Courier New" panose="02070309020205020404" pitchFamily="49" charset="0"/>
              <a:buChar char="o"/>
              <a:defRPr/>
            </a:lvl7pPr>
            <a:lvl8pPr marL="1149750" indent="-285750">
              <a:buFont typeface="Courier New" panose="02070309020205020404" pitchFamily="49" charset="0"/>
              <a:buChar char="o"/>
              <a:defRPr/>
            </a:lvl8pPr>
            <a:lvl9pPr marL="1149750" indent="-285750">
              <a:buFont typeface="Courier New" panose="02070309020205020404" pitchFamily="49" charset="0"/>
              <a:buChar char="o"/>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Picture Placeholder 3">
            <a:extLst>
              <a:ext uri="{FF2B5EF4-FFF2-40B4-BE49-F238E27FC236}">
                <a16:creationId xmlns:a16="http://schemas.microsoft.com/office/drawing/2014/main" id="{5870ACFA-C15B-4322-ADDC-AA6CDA39A098}"/>
              </a:ext>
            </a:extLst>
          </p:cNvPr>
          <p:cNvSpPr>
            <a:spLocks noGrp="1"/>
          </p:cNvSpPr>
          <p:nvPr>
            <p:ph type="pic" sz="quarter" idx="22"/>
          </p:nvPr>
        </p:nvSpPr>
        <p:spPr>
          <a:xfrm>
            <a:off x="8150400" y="0"/>
            <a:ext cx="4042800" cy="6858000"/>
          </a:xfrm>
          <a:solidFill>
            <a:schemeClr val="bg1"/>
          </a:solidFill>
        </p:spPr>
        <p:txBody>
          <a:bodyPr/>
          <a:lstStyle/>
          <a:p>
            <a:r>
              <a:rPr lang="en-US"/>
              <a:t>Click icon to add picture</a:t>
            </a:r>
            <a:endParaRPr lang="en-GB"/>
          </a:p>
        </p:txBody>
      </p:sp>
      <p:pic>
        <p:nvPicPr>
          <p:cNvPr id="8" name="doLogoGreen">
            <a:extLst>
              <a:ext uri="{FF2B5EF4-FFF2-40B4-BE49-F238E27FC236}">
                <a16:creationId xmlns:a16="http://schemas.microsoft.com/office/drawing/2014/main" id="{F1E7B36C-E466-4EF6-A598-4FBB3A60EE0F}"/>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1559600" y="6364800"/>
            <a:ext cx="386197" cy="266266"/>
          </a:xfrm>
          <a:prstGeom prst="rect">
            <a:avLst/>
          </a:prstGeom>
        </p:spPr>
      </p:pic>
    </p:spTree>
    <p:extLst>
      <p:ext uri="{BB962C8B-B14F-4D97-AF65-F5344CB8AC3E}">
        <p14:creationId xmlns:p14="http://schemas.microsoft.com/office/powerpoint/2010/main" val="148096350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Title, subtitle and Content">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403200" y="2025600"/>
            <a:ext cx="11375136" cy="3782400"/>
          </a:xfrm>
        </p:spPr>
        <p:txBody>
          <a:bodyPr/>
          <a:lstStyle>
            <a:lvl1pPr>
              <a:defRPr/>
            </a:lvl1pPr>
            <a:lvl2pPr>
              <a:defRPr baseline="0"/>
            </a:lvl2pPr>
            <a:lvl3pPr>
              <a:defRPr/>
            </a:lvl3pPr>
            <a:lvl4pPr>
              <a:defRPr/>
            </a:lvl4pPr>
            <a:lvl5pPr>
              <a:defRPr/>
            </a:lvl5pPr>
          </a:lstStyle>
          <a:p>
            <a:pPr lvl="0"/>
            <a:r>
              <a:rPr lang="en-US" noProof="0"/>
              <a:t>Click to add tex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Slide Number Placeholder 5"/>
          <p:cNvSpPr>
            <a:spLocks noGrp="1"/>
          </p:cNvSpPr>
          <p:nvPr>
            <p:ph type="sldNum" sz="quarter" idx="12"/>
          </p:nvPr>
        </p:nvSpPr>
        <p:spPr/>
        <p:txBody>
          <a:bodyPr/>
          <a:lstStyle/>
          <a:p>
            <a:fld id="{AD794642-CA53-41FB-9828-DCB7B578655C}" type="slidenum">
              <a:rPr lang="en-US" noProof="0" smtClean="0"/>
              <a:t>‹#›</a:t>
            </a:fld>
            <a:endParaRPr lang="en-US" noProof="0"/>
          </a:p>
        </p:txBody>
      </p:sp>
      <p:sp>
        <p:nvSpPr>
          <p:cNvPr id="5" name="Text Placeholder 2"/>
          <p:cNvSpPr>
            <a:spLocks noGrp="1"/>
          </p:cNvSpPr>
          <p:nvPr>
            <p:ph type="body" idx="13"/>
          </p:nvPr>
        </p:nvSpPr>
        <p:spPr>
          <a:xfrm>
            <a:off x="403199" y="1584000"/>
            <a:ext cx="11375136" cy="361667"/>
          </a:xfrm>
        </p:spPr>
        <p:txBody>
          <a:bodyPr anchor="b"/>
          <a:lstStyle>
            <a:lvl1pPr marL="0" indent="0">
              <a:buNone/>
              <a:defRPr sz="1867" b="0">
                <a:solidFill>
                  <a:schemeClr val="accent2"/>
                </a:solidFill>
              </a:defRPr>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en-US"/>
              <a:t>Click to edit Master text styles</a:t>
            </a:r>
          </a:p>
        </p:txBody>
      </p:sp>
      <p:sp>
        <p:nvSpPr>
          <p:cNvPr id="7" name="Title 4"/>
          <p:cNvSpPr>
            <a:spLocks noGrp="1"/>
          </p:cNvSpPr>
          <p:nvPr>
            <p:ph type="title" hasCustomPrompt="1"/>
          </p:nvPr>
        </p:nvSpPr>
        <p:spPr>
          <a:xfrm>
            <a:off x="403200" y="403200"/>
            <a:ext cx="11374269" cy="456000"/>
          </a:xfrm>
        </p:spPr>
        <p:txBody>
          <a:bodyPr/>
          <a:lstStyle>
            <a:lvl1pPr>
              <a:defRPr/>
            </a:lvl1pPr>
          </a:lstStyle>
          <a:p>
            <a:r>
              <a:rPr lang="en-US"/>
              <a:t>Title</a:t>
            </a:r>
          </a:p>
        </p:txBody>
      </p:sp>
    </p:spTree>
    <p:extLst>
      <p:ext uri="{BB962C8B-B14F-4D97-AF65-F5344CB8AC3E}">
        <p14:creationId xmlns:p14="http://schemas.microsoft.com/office/powerpoint/2010/main" val="40182146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cSld name="Navy: Title and Content">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363687E0-AFF2-421C-85A9-F9B8B361B281}"/>
              </a:ext>
            </a:extLst>
          </p:cNvPr>
          <p:cNvSpPr/>
          <p:nvPr/>
        </p:nvSpPr>
        <p:spPr>
          <a:xfrm>
            <a:off x="11573189" y="0"/>
            <a:ext cx="618811"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solidFill>
                <a:schemeClr val="bg1"/>
              </a:solidFill>
            </a:endParaRPr>
          </a:p>
        </p:txBody>
      </p:sp>
      <p:sp>
        <p:nvSpPr>
          <p:cNvPr id="3" name="Content Placeholder 2">
            <a:extLst>
              <a:ext uri="{FF2B5EF4-FFF2-40B4-BE49-F238E27FC236}">
                <a16:creationId xmlns:a16="http://schemas.microsoft.com/office/drawing/2014/main" id="{CE56AEBC-9A60-492F-AF9C-D229DC450B7C}"/>
              </a:ext>
            </a:extLst>
          </p:cNvPr>
          <p:cNvSpPr>
            <a:spLocks noGrp="1"/>
          </p:cNvSpPr>
          <p:nvPr>
            <p:ph idx="1"/>
          </p:nvPr>
        </p:nvSpPr>
        <p:spPr/>
        <p:txBody>
          <a:bodyPr tIns="0">
            <a:noAutofit/>
          </a:bodyPr>
          <a:lstStyle>
            <a:lvl1pPr>
              <a:defRPr>
                <a:solidFill>
                  <a:schemeClr val="tx2"/>
                </a:solidFill>
              </a:defRPr>
            </a:lvl1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GB"/>
          </a:p>
        </p:txBody>
      </p:sp>
      <p:sp>
        <p:nvSpPr>
          <p:cNvPr id="5" name="Footer Placeholder 4">
            <a:extLst>
              <a:ext uri="{FF2B5EF4-FFF2-40B4-BE49-F238E27FC236}">
                <a16:creationId xmlns:a16="http://schemas.microsoft.com/office/drawing/2014/main" id="{4AF3F946-98DC-4D67-8162-C5E911BA0F66}"/>
              </a:ext>
            </a:extLst>
          </p:cNvPr>
          <p:cNvSpPr>
            <a:spLocks noGrp="1"/>
          </p:cNvSpPr>
          <p:nvPr>
            <p:ph type="ftr" sz="quarter" idx="11"/>
          </p:nvPr>
        </p:nvSpPr>
        <p:spPr/>
        <p:txBody>
          <a:bodyPr>
            <a:noAutofit/>
          </a:bodyPr>
          <a:lstStyle>
            <a:lvl1pPr>
              <a:defRPr>
                <a:solidFill>
                  <a:schemeClr val="bg1"/>
                </a:solidFill>
              </a:defRPr>
            </a:lvl1pPr>
          </a:lstStyle>
          <a:p>
            <a:r>
              <a:rPr lang="en-GB"/>
              <a:t>Insert Section title here</a:t>
            </a:r>
          </a:p>
        </p:txBody>
      </p:sp>
      <p:sp>
        <p:nvSpPr>
          <p:cNvPr id="6" name="Slide Number Placeholder 5">
            <a:extLst>
              <a:ext uri="{FF2B5EF4-FFF2-40B4-BE49-F238E27FC236}">
                <a16:creationId xmlns:a16="http://schemas.microsoft.com/office/drawing/2014/main" id="{27965E68-CBA5-49A5-A9EC-6A92A3DFE928}"/>
              </a:ext>
            </a:extLst>
          </p:cNvPr>
          <p:cNvSpPr>
            <a:spLocks noGrp="1"/>
          </p:cNvSpPr>
          <p:nvPr>
            <p:ph type="sldNum" sz="quarter" idx="12"/>
          </p:nvPr>
        </p:nvSpPr>
        <p:spPr/>
        <p:txBody>
          <a:bodyPr>
            <a:noAutofit/>
          </a:bodyPr>
          <a:lstStyle>
            <a:lvl1pPr>
              <a:defRPr>
                <a:solidFill>
                  <a:schemeClr val="bg1"/>
                </a:solidFill>
              </a:defRPr>
            </a:lvl1pPr>
          </a:lstStyle>
          <a:p>
            <a:fld id="{B5F9A4F6-7BA3-4126-88A5-A8B8CE7104E5}" type="slidenum">
              <a:rPr lang="en-GB" smtClean="0"/>
              <a:pPr/>
              <a:t>‹#›</a:t>
            </a:fld>
            <a:endParaRPr lang="en-GB"/>
          </a:p>
        </p:txBody>
      </p:sp>
      <p:sp>
        <p:nvSpPr>
          <p:cNvPr id="7" name="Text Placeholder 7">
            <a:extLst>
              <a:ext uri="{FF2B5EF4-FFF2-40B4-BE49-F238E27FC236}">
                <a16:creationId xmlns:a16="http://schemas.microsoft.com/office/drawing/2014/main" id="{D8B974B4-AB3D-49C0-BDB0-F7CE273521D0}"/>
              </a:ext>
            </a:extLst>
          </p:cNvPr>
          <p:cNvSpPr>
            <a:spLocks noGrp="1"/>
          </p:cNvSpPr>
          <p:nvPr>
            <p:ph type="body" sz="quarter" idx="13"/>
          </p:nvPr>
        </p:nvSpPr>
        <p:spPr>
          <a:xfrm>
            <a:off x="587374" y="413912"/>
            <a:ext cx="10839600" cy="1286301"/>
          </a:xfrm>
        </p:spPr>
        <p:txBody>
          <a:bodyPr tIns="0" bIns="0">
            <a:noAutofit/>
          </a:bodyPr>
          <a:lstStyle>
            <a:lvl1pPr algn="l" defTabSz="914400" rtl="0" eaLnBrk="1" latinLnBrk="0" hangingPunct="1">
              <a:lnSpc>
                <a:spcPct val="90000"/>
              </a:lnSpc>
              <a:spcBef>
                <a:spcPct val="0"/>
              </a:spcBef>
              <a:buNone/>
              <a:defRPr lang="en-US" sz="2800" kern="1200" cap="all" baseline="0" dirty="0" smtClean="0">
                <a:solidFill>
                  <a:schemeClr val="tx1"/>
                </a:solidFill>
                <a:latin typeface="+mj-lt"/>
                <a:ea typeface="+mj-ea"/>
                <a:cs typeface="+mj-cs"/>
              </a:defRPr>
            </a:lvl1pPr>
            <a:lvl2pPr>
              <a:defRPr sz="2400"/>
            </a:lvl2pPr>
          </a:lstStyle>
          <a:p>
            <a:pPr lvl="0"/>
            <a:r>
              <a:rPr lang="fr-FR"/>
              <a:t>Cliquez pour modifier les styles du texte du masque</a:t>
            </a:r>
          </a:p>
          <a:p>
            <a:pPr lvl="1"/>
            <a:r>
              <a:rPr lang="fr-FR"/>
              <a:t>Deuxième niveau</a:t>
            </a:r>
          </a:p>
        </p:txBody>
      </p:sp>
    </p:spTree>
    <p:extLst>
      <p:ext uri="{BB962C8B-B14F-4D97-AF65-F5344CB8AC3E}">
        <p14:creationId xmlns:p14="http://schemas.microsoft.com/office/powerpoint/2010/main" val="19742480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403200" y="4264880"/>
            <a:ext cx="11375136" cy="531605"/>
          </a:xfrm>
          <a:blipFill>
            <a:blip r:embed="rId3" cstate="print">
              <a:extLst>
                <a:ext uri="{28A0092B-C50C-407E-A947-70E740481C1C}">
                  <a14:useLocalDpi xmlns:a14="http://schemas.microsoft.com/office/drawing/2010/main"/>
                </a:ext>
              </a:extLst>
            </a:blip>
            <a:stretch>
              <a:fillRect/>
            </a:stretch>
          </a:blipFill>
        </p:spPr>
        <p:txBody>
          <a:bodyPr wrap="square" lIns="216000" rIns="0" anchor="t">
            <a:spAutoFit/>
          </a:bodyPr>
          <a:lstStyle>
            <a:lvl1pPr algn="l">
              <a:defRPr sz="3733">
                <a:solidFill>
                  <a:srgbClr val="1C6D7D"/>
                </a:solidFill>
              </a:defRPr>
            </a:lvl1pPr>
          </a:lstStyle>
          <a:p>
            <a:r>
              <a:rPr lang="en-US"/>
              <a:t>Title of your presentation</a:t>
            </a:r>
          </a:p>
        </p:txBody>
      </p:sp>
      <p:sp>
        <p:nvSpPr>
          <p:cNvPr id="3" name="Subtitle 2"/>
          <p:cNvSpPr>
            <a:spLocks noGrp="1"/>
          </p:cNvSpPr>
          <p:nvPr>
            <p:ph type="subTitle" idx="1" hasCustomPrompt="1"/>
          </p:nvPr>
        </p:nvSpPr>
        <p:spPr>
          <a:xfrm>
            <a:off x="403200" y="4791039"/>
            <a:ext cx="11375136" cy="447238"/>
          </a:xfrm>
          <a:blipFill>
            <a:blip r:embed="rId4" cstate="print">
              <a:extLst>
                <a:ext uri="{28A0092B-C50C-407E-A947-70E740481C1C}">
                  <a14:useLocalDpi xmlns:a14="http://schemas.microsoft.com/office/drawing/2010/main"/>
                </a:ext>
              </a:extLst>
            </a:blip>
            <a:stretch>
              <a:fillRect/>
            </a:stretch>
          </a:blipFill>
        </p:spPr>
        <p:txBody>
          <a:bodyPr wrap="square" lIns="216000">
            <a:spAutoFit/>
          </a:bodyPr>
          <a:lstStyle>
            <a:lvl1pPr marL="0" indent="0" algn="l">
              <a:buNone/>
              <a:defRPr sz="2667" baseline="0">
                <a:solidFill>
                  <a:schemeClr val="accent3"/>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Subtitle of your presentation</a:t>
            </a:r>
          </a:p>
        </p:txBody>
      </p:sp>
      <p:pic>
        <p:nvPicPr>
          <p:cNvPr id="7" name="Picture 6"/>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415394" y="804576"/>
            <a:ext cx="1397135" cy="963264"/>
          </a:xfrm>
          <a:prstGeom prst="rect">
            <a:avLst/>
          </a:prstGeom>
        </p:spPr>
      </p:pic>
      <p:pic>
        <p:nvPicPr>
          <p:cNvPr id="10" name="Afbeelding 5"/>
          <p:cNvPicPr>
            <a:picLocks noChangeAspect="1"/>
          </p:cNvPicPr>
          <p:nvPr userDrawn="1"/>
        </p:nvPicPr>
        <p:blipFill rotWithShape="1">
          <a:blip r:embed="rId6" cstate="print">
            <a:extLst>
              <a:ext uri="{28A0092B-C50C-407E-A947-70E740481C1C}">
                <a14:useLocalDpi xmlns:a14="http://schemas.microsoft.com/office/drawing/2010/main"/>
              </a:ext>
            </a:extLst>
          </a:blip>
          <a:srcRect/>
          <a:stretch/>
        </p:blipFill>
        <p:spPr bwMode="auto">
          <a:xfrm>
            <a:off x="9707460" y="334116"/>
            <a:ext cx="2124293" cy="1891200"/>
          </a:xfrm>
          <a:prstGeom prst="rect">
            <a:avLst/>
          </a:prstGeom>
          <a:ln>
            <a:noFill/>
          </a:ln>
          <a:extLst>
            <a:ext uri="{53640926-AAD7-44d8-BBD7-CCE9431645EC}">
              <a14:shadowObscured xmlns:lc="http://schemas.openxmlformats.org/drawingml/2006/lockedCanvas" xmlns:mo="http://schemas.microsoft.com/office/mac/office/2008/main" xmlns:mv="urn:schemas-microsoft-com:mac:vml" xmlns:o="urn:schemas-microsoft-com:office:office" xmlns:v="urn:schemas-microsoft-com:vml" xmlns:w10="urn:schemas-microsoft-com:office:word" xmlns:w="http://schemas.openxmlformats.org/wordprocessingml/2006/main" xmlns:a14="http://schemas.microsoft.com/office/drawing/2010/main" xmlns:pic="http://schemas.openxmlformats.org/drawingml/2006/picture" xmlns:wps="http://schemas.microsoft.com/office/word/2010/wordprocessingShape" xmlns:wne="http://schemas.microsoft.com/office/word/2006/wordml" xmlns:wpi="http://schemas.microsoft.com/office/word/2010/wordprocessingInk" xmlns:wpg="http://schemas.microsoft.com/office/word/2010/wordprocessingGroup" xmlns:w15="http://schemas.microsoft.com/office/word/2012/wordml" xmlns:w14="http://schemas.microsoft.com/office/word/2010/wordml" xmlns:wp="http://schemas.openxmlformats.org/drawingml/2006/wordprocessingDrawing" xmlns:wp14="http://schemas.microsoft.com/office/word/2010/wordprocessingDrawing" xmlns:m="http://schemas.openxmlformats.org/officeDocument/2006/math" xmlns:mc="http://schemas.openxmlformats.org/markup-compatibility/2006" xmlns:wpc="http://schemas.microsoft.com/office/word/2010/wordprocessingCanvas" xmlns=""/>
            </a:ext>
          </a:extLst>
        </p:spPr>
      </p:pic>
      <p:sp>
        <p:nvSpPr>
          <p:cNvPr id="18" name="Text Placeholder 17"/>
          <p:cNvSpPr>
            <a:spLocks noGrp="1"/>
          </p:cNvSpPr>
          <p:nvPr>
            <p:ph type="body" sz="quarter" idx="13" hasCustomPrompt="1"/>
          </p:nvPr>
        </p:nvSpPr>
        <p:spPr>
          <a:xfrm>
            <a:off x="403201" y="6083808"/>
            <a:ext cx="9358068" cy="363291"/>
          </a:xfrm>
        </p:spPr>
        <p:txBody>
          <a:bodyPr>
            <a:normAutofit/>
          </a:bodyPr>
          <a:lstStyle>
            <a:lvl1pPr>
              <a:buFontTx/>
              <a:buNone/>
              <a:defRPr sz="2133">
                <a:solidFill>
                  <a:srgbClr val="1C6D7D"/>
                </a:solidFill>
              </a:defRPr>
            </a:lvl1pPr>
            <a:lvl2pPr marL="0" indent="0">
              <a:buFontTx/>
              <a:buNone/>
              <a:defRPr>
                <a:solidFill>
                  <a:schemeClr val="bg1"/>
                </a:solidFill>
              </a:defRPr>
            </a:lvl2pPr>
            <a:lvl3pPr marL="287993" indent="0">
              <a:buFontTx/>
              <a:buNone/>
              <a:defRPr>
                <a:solidFill>
                  <a:schemeClr val="bg1"/>
                </a:solidFill>
              </a:defRPr>
            </a:lvl3pPr>
            <a:lvl4pPr marL="575986" indent="0">
              <a:buFontTx/>
              <a:buNone/>
              <a:defRPr>
                <a:solidFill>
                  <a:schemeClr val="bg1"/>
                </a:solidFill>
              </a:defRPr>
            </a:lvl4pPr>
            <a:lvl5pPr marL="575986" indent="0">
              <a:buFontTx/>
              <a:buNone/>
              <a:defRPr>
                <a:solidFill>
                  <a:schemeClr val="bg1"/>
                </a:solidFill>
              </a:defRPr>
            </a:lvl5pPr>
          </a:lstStyle>
          <a:p>
            <a:pPr lvl="0"/>
            <a:r>
              <a:rPr lang="en-US"/>
              <a:t>Name | Month day, year</a:t>
            </a:r>
          </a:p>
        </p:txBody>
      </p:sp>
      <p:sp>
        <p:nvSpPr>
          <p:cNvPr id="5" name="Picture Placeholder 4"/>
          <p:cNvSpPr>
            <a:spLocks noGrp="1"/>
          </p:cNvSpPr>
          <p:nvPr>
            <p:ph type="pic" sz="quarter" idx="14" hasCustomPrompt="1"/>
          </p:nvPr>
        </p:nvSpPr>
        <p:spPr>
          <a:xfrm>
            <a:off x="9939080" y="4791039"/>
            <a:ext cx="1833600" cy="1661309"/>
          </a:xfrm>
        </p:spPr>
        <p:txBody>
          <a:bodyPr anchor="b"/>
          <a:lstStyle>
            <a:lvl1pPr marL="0" indent="0" algn="r">
              <a:buFontTx/>
              <a:buNone/>
              <a:defRPr>
                <a:solidFill>
                  <a:schemeClr val="accent1"/>
                </a:solidFill>
                <a:latin typeface="+mj-lt"/>
              </a:defRPr>
            </a:lvl1pPr>
          </a:lstStyle>
          <a:p>
            <a:r>
              <a:rPr lang="en-US" sz="1867">
                <a:solidFill>
                  <a:schemeClr val="tx2"/>
                </a:solidFill>
                <a:latin typeface="Segoe Print" panose="02000600000000000000" pitchFamily="2" charset="0"/>
                <a:cs typeface="MV Boli" panose="02000500030200090000" pitchFamily="2" charset="0"/>
              </a:rPr>
              <a:t>If any, add client logo here</a:t>
            </a:r>
            <a:endParaRPr lang="nl-NL"/>
          </a:p>
        </p:txBody>
      </p:sp>
    </p:spTree>
    <p:extLst>
      <p:ext uri="{BB962C8B-B14F-4D97-AF65-F5344CB8AC3E}">
        <p14:creationId xmlns:p14="http://schemas.microsoft.com/office/powerpoint/2010/main" val="278413701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403200" y="1584000"/>
            <a:ext cx="11375136" cy="4224000"/>
          </a:xfrm>
        </p:spPr>
        <p:txBody>
          <a:bodyPr/>
          <a:lstStyle>
            <a:lvl1pPr>
              <a:defRPr/>
            </a:lvl1pPr>
            <a:lvl2pPr>
              <a:defRPr baseline="0"/>
            </a:lvl2pPr>
            <a:lvl3pPr>
              <a:defRPr/>
            </a:lvl3pPr>
            <a:lvl4pPr>
              <a:defRPr/>
            </a:lvl4pPr>
            <a:lvl5pPr>
              <a:defRPr/>
            </a:lvl5pPr>
          </a:lstStyle>
          <a:p>
            <a:pPr lvl="0"/>
            <a:r>
              <a:rPr lang="en-US" noProof="0"/>
              <a:t>Click to add text </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 name="Slide Number Placeholder 3"/>
          <p:cNvSpPr>
            <a:spLocks noGrp="1"/>
          </p:cNvSpPr>
          <p:nvPr>
            <p:ph type="sldNum" sz="quarter" idx="10"/>
          </p:nvPr>
        </p:nvSpPr>
        <p:spPr>
          <a:xfrm>
            <a:off x="403200" y="6139200"/>
            <a:ext cx="619200" cy="365125"/>
          </a:xfrm>
        </p:spPr>
        <p:txBody>
          <a:bodyPr/>
          <a:lstStyle/>
          <a:p>
            <a:fld id="{AD794642-CA53-41FB-9828-DCB7B578655C}" type="slidenum">
              <a:rPr lang="en-US" noProof="0" smtClean="0"/>
              <a:pPr/>
              <a:t>‹#›</a:t>
            </a:fld>
            <a:endParaRPr lang="en-US" noProof="0"/>
          </a:p>
        </p:txBody>
      </p:sp>
      <p:sp>
        <p:nvSpPr>
          <p:cNvPr id="6" name="Title 4"/>
          <p:cNvSpPr>
            <a:spLocks noGrp="1"/>
          </p:cNvSpPr>
          <p:nvPr>
            <p:ph type="title" hasCustomPrompt="1"/>
          </p:nvPr>
        </p:nvSpPr>
        <p:spPr>
          <a:xfrm>
            <a:off x="403200" y="403200"/>
            <a:ext cx="11374269" cy="454104"/>
          </a:xfrm>
        </p:spPr>
        <p:txBody>
          <a:bodyPr/>
          <a:lstStyle>
            <a:lvl1pPr>
              <a:defRPr/>
            </a:lvl1pPr>
          </a:lstStyle>
          <a:p>
            <a:r>
              <a:rPr lang="en-US"/>
              <a:t>Title</a:t>
            </a:r>
          </a:p>
        </p:txBody>
      </p:sp>
    </p:spTree>
    <p:extLst>
      <p:ext uri="{BB962C8B-B14F-4D97-AF65-F5344CB8AC3E}">
        <p14:creationId xmlns:p14="http://schemas.microsoft.com/office/powerpoint/2010/main" val="83847777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403200" y="2025600"/>
            <a:ext cx="11375136" cy="3782400"/>
          </a:xfrm>
        </p:spPr>
        <p:txBody>
          <a:bodyPr/>
          <a:lstStyle>
            <a:lvl1pPr>
              <a:defRPr/>
            </a:lvl1pPr>
            <a:lvl2pPr>
              <a:defRPr baseline="0"/>
            </a:lvl2pPr>
            <a:lvl3pPr>
              <a:defRPr/>
            </a:lvl3pPr>
            <a:lvl4pPr>
              <a:defRPr/>
            </a:lvl4pPr>
            <a:lvl5pPr>
              <a:defRPr/>
            </a:lvl5pPr>
          </a:lstStyle>
          <a:p>
            <a:pPr lvl="0"/>
            <a:r>
              <a:rPr lang="en-US" noProof="0"/>
              <a:t>Click to add tex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Slide Number Placeholder 5"/>
          <p:cNvSpPr>
            <a:spLocks noGrp="1"/>
          </p:cNvSpPr>
          <p:nvPr>
            <p:ph type="sldNum" sz="quarter" idx="12"/>
          </p:nvPr>
        </p:nvSpPr>
        <p:spPr/>
        <p:txBody>
          <a:bodyPr/>
          <a:lstStyle/>
          <a:p>
            <a:fld id="{AD794642-CA53-41FB-9828-DCB7B578655C}" type="slidenum">
              <a:rPr lang="en-US" noProof="0" smtClean="0"/>
              <a:t>‹#›</a:t>
            </a:fld>
            <a:endParaRPr lang="en-US" noProof="0"/>
          </a:p>
        </p:txBody>
      </p:sp>
      <p:sp>
        <p:nvSpPr>
          <p:cNvPr id="5" name="Text Placeholder 2"/>
          <p:cNvSpPr>
            <a:spLocks noGrp="1"/>
          </p:cNvSpPr>
          <p:nvPr>
            <p:ph type="body" idx="13"/>
          </p:nvPr>
        </p:nvSpPr>
        <p:spPr>
          <a:xfrm>
            <a:off x="403199" y="1584000"/>
            <a:ext cx="11375136" cy="361667"/>
          </a:xfrm>
        </p:spPr>
        <p:txBody>
          <a:bodyPr anchor="b"/>
          <a:lstStyle>
            <a:lvl1pPr marL="0" indent="0">
              <a:buNone/>
              <a:defRPr sz="1867" b="0">
                <a:solidFill>
                  <a:schemeClr val="accent3"/>
                </a:solidFill>
              </a:defRPr>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en-US"/>
              <a:t>Click to edit Master text styles</a:t>
            </a:r>
          </a:p>
        </p:txBody>
      </p:sp>
      <p:sp>
        <p:nvSpPr>
          <p:cNvPr id="7" name="Title 4"/>
          <p:cNvSpPr>
            <a:spLocks noGrp="1"/>
          </p:cNvSpPr>
          <p:nvPr>
            <p:ph type="title" hasCustomPrompt="1"/>
          </p:nvPr>
        </p:nvSpPr>
        <p:spPr>
          <a:xfrm>
            <a:off x="403200" y="403200"/>
            <a:ext cx="11374269" cy="454104"/>
          </a:xfrm>
        </p:spPr>
        <p:txBody>
          <a:bodyPr/>
          <a:lstStyle>
            <a:lvl1pPr>
              <a:defRPr/>
            </a:lvl1pPr>
          </a:lstStyle>
          <a:p>
            <a:r>
              <a:rPr lang="en-US"/>
              <a:t>Title</a:t>
            </a:r>
          </a:p>
        </p:txBody>
      </p:sp>
    </p:spTree>
    <p:extLst>
      <p:ext uri="{BB962C8B-B14F-4D97-AF65-F5344CB8AC3E}">
        <p14:creationId xmlns:p14="http://schemas.microsoft.com/office/powerpoint/2010/main" val="256594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wo Content subtitle">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403200" y="2024630"/>
            <a:ext cx="5486400" cy="3783369"/>
          </a:xfrm>
        </p:spPr>
        <p:txBody>
          <a:bodyPr/>
          <a:lstStyle>
            <a:lvl1pPr>
              <a:lnSpc>
                <a:spcPct val="120000"/>
              </a:lnSpc>
              <a:spcAft>
                <a:spcPts val="0"/>
              </a:spcAft>
              <a:defRPr/>
            </a:lvl1pPr>
            <a:lvl2pPr marL="575986" indent="-287993">
              <a:lnSpc>
                <a:spcPct val="120000"/>
              </a:lnSpc>
              <a:spcAft>
                <a:spcPts val="0"/>
              </a:spcAft>
              <a:buClr>
                <a:schemeClr val="tx2"/>
              </a:buClr>
              <a:buFont typeface="Courier New" panose="02070309020205020404" pitchFamily="49" charset="0"/>
              <a:buChar char="o"/>
              <a:defRPr/>
            </a:lvl2pPr>
            <a:lvl3pPr>
              <a:lnSpc>
                <a:spcPct val="120000"/>
              </a:lnSpc>
              <a:spcAft>
                <a:spcPts val="0"/>
              </a:spcAft>
              <a:defRPr/>
            </a:lvl3pPr>
            <a:lvl4pPr>
              <a:lnSpc>
                <a:spcPct val="120000"/>
              </a:lnSpc>
              <a:spcAft>
                <a:spcPts val="0"/>
              </a:spcAft>
              <a:defRPr/>
            </a:lvl4pPr>
            <a:lvl5pPr>
              <a:lnSpc>
                <a:spcPct val="120000"/>
              </a:lnSpc>
              <a:spcAft>
                <a:spcPts val="0"/>
              </a:spcAft>
              <a:defRPr/>
            </a:lvl5pPr>
          </a:lstStyle>
          <a:p>
            <a:pPr lvl="0"/>
            <a:r>
              <a:rPr lang="en-US" noProof="0"/>
              <a:t>First level</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 name="Content Placeholder 3"/>
          <p:cNvSpPr>
            <a:spLocks noGrp="1"/>
          </p:cNvSpPr>
          <p:nvPr>
            <p:ph sz="half" idx="2" hasCustomPrompt="1"/>
          </p:nvPr>
        </p:nvSpPr>
        <p:spPr>
          <a:xfrm>
            <a:off x="6291069" y="2024628"/>
            <a:ext cx="5486400" cy="3783371"/>
          </a:xfrm>
        </p:spPr>
        <p:txBody>
          <a:bodyPr/>
          <a:lstStyle>
            <a:lvl1pPr>
              <a:lnSpc>
                <a:spcPct val="120000"/>
              </a:lnSpc>
              <a:spcAft>
                <a:spcPts val="0"/>
              </a:spcAft>
              <a:defRPr/>
            </a:lvl1pPr>
            <a:lvl2pPr>
              <a:lnSpc>
                <a:spcPct val="120000"/>
              </a:lnSpc>
              <a:spcAft>
                <a:spcPts val="0"/>
              </a:spcAft>
              <a:defRPr/>
            </a:lvl2pPr>
            <a:lvl3pPr>
              <a:lnSpc>
                <a:spcPct val="120000"/>
              </a:lnSpc>
              <a:spcAft>
                <a:spcPts val="0"/>
              </a:spcAft>
              <a:defRPr/>
            </a:lvl3pPr>
            <a:lvl4pPr>
              <a:lnSpc>
                <a:spcPct val="120000"/>
              </a:lnSpc>
              <a:spcAft>
                <a:spcPts val="0"/>
              </a:spcAft>
              <a:defRPr/>
            </a:lvl4pPr>
            <a:lvl5pPr>
              <a:lnSpc>
                <a:spcPct val="120000"/>
              </a:lnSpc>
              <a:spcAft>
                <a:spcPts val="0"/>
              </a:spcAft>
              <a:defRPr/>
            </a:lvl5pPr>
          </a:lstStyle>
          <a:p>
            <a:pPr lvl="0"/>
            <a:r>
              <a:rPr lang="en-US" noProof="0"/>
              <a:t>First level</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Slide Number Placeholder 6"/>
          <p:cNvSpPr>
            <a:spLocks noGrp="1"/>
          </p:cNvSpPr>
          <p:nvPr>
            <p:ph type="sldNum" sz="quarter" idx="12"/>
          </p:nvPr>
        </p:nvSpPr>
        <p:spPr/>
        <p:txBody>
          <a:bodyPr/>
          <a:lstStyle/>
          <a:p>
            <a:fld id="{AD794642-CA53-41FB-9828-DCB7B578655C}" type="slidenum">
              <a:rPr lang="en-US" smtClean="0"/>
              <a:t>‹#›</a:t>
            </a:fld>
            <a:endParaRPr lang="en-US"/>
          </a:p>
        </p:txBody>
      </p:sp>
      <p:sp>
        <p:nvSpPr>
          <p:cNvPr id="11" name="Text Placeholder 2"/>
          <p:cNvSpPr>
            <a:spLocks noGrp="1"/>
          </p:cNvSpPr>
          <p:nvPr>
            <p:ph type="body" idx="13"/>
          </p:nvPr>
        </p:nvSpPr>
        <p:spPr>
          <a:xfrm>
            <a:off x="403200" y="1584000"/>
            <a:ext cx="5486400" cy="361667"/>
          </a:xfrm>
        </p:spPr>
        <p:txBody>
          <a:bodyPr anchor="b"/>
          <a:lstStyle>
            <a:lvl1pPr marL="0" indent="0">
              <a:buNone/>
              <a:defRPr sz="1867" b="0">
                <a:solidFill>
                  <a:schemeClr val="accent3"/>
                </a:solidFill>
              </a:defRPr>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en-US"/>
              <a:t>Click to edit Master text styles</a:t>
            </a:r>
          </a:p>
        </p:txBody>
      </p:sp>
      <p:sp>
        <p:nvSpPr>
          <p:cNvPr id="12" name="Text Placeholder 2"/>
          <p:cNvSpPr>
            <a:spLocks noGrp="1"/>
          </p:cNvSpPr>
          <p:nvPr>
            <p:ph type="body" idx="14"/>
          </p:nvPr>
        </p:nvSpPr>
        <p:spPr>
          <a:xfrm>
            <a:off x="6291071" y="1583999"/>
            <a:ext cx="5486400" cy="361667"/>
          </a:xfrm>
        </p:spPr>
        <p:txBody>
          <a:bodyPr anchor="b"/>
          <a:lstStyle>
            <a:lvl1pPr marL="0" indent="0">
              <a:buNone/>
              <a:defRPr sz="1867" b="0">
                <a:solidFill>
                  <a:schemeClr val="accent3"/>
                </a:solidFill>
              </a:defRPr>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en-US"/>
              <a:t>Click to edit Master text styles</a:t>
            </a:r>
          </a:p>
        </p:txBody>
      </p:sp>
      <p:sp>
        <p:nvSpPr>
          <p:cNvPr id="5" name="Title 4"/>
          <p:cNvSpPr>
            <a:spLocks noGrp="1"/>
          </p:cNvSpPr>
          <p:nvPr>
            <p:ph type="title" hasCustomPrompt="1"/>
          </p:nvPr>
        </p:nvSpPr>
        <p:spPr>
          <a:xfrm>
            <a:off x="403200" y="403200"/>
            <a:ext cx="11374269" cy="454104"/>
          </a:xfrm>
        </p:spPr>
        <p:txBody>
          <a:bodyPr/>
          <a:lstStyle>
            <a:lvl1pPr>
              <a:defRPr/>
            </a:lvl1pPr>
          </a:lstStyle>
          <a:p>
            <a:r>
              <a:rPr lang="en-US"/>
              <a:t>Title</a:t>
            </a:r>
          </a:p>
        </p:txBody>
      </p:sp>
    </p:spTree>
    <p:extLst>
      <p:ext uri="{BB962C8B-B14F-4D97-AF65-F5344CB8AC3E}">
        <p14:creationId xmlns:p14="http://schemas.microsoft.com/office/powerpoint/2010/main" val="1506842258"/>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403200" y="1584000"/>
            <a:ext cx="5486400" cy="4224000"/>
          </a:xfrm>
        </p:spPr>
        <p:txBody>
          <a:bodyPr/>
          <a:lstStyle>
            <a:lvl1pPr>
              <a:lnSpc>
                <a:spcPct val="120000"/>
              </a:lnSpc>
              <a:spcAft>
                <a:spcPts val="0"/>
              </a:spcAft>
              <a:defRPr/>
            </a:lvl1pPr>
            <a:lvl2pPr marL="575986" indent="-287993">
              <a:lnSpc>
                <a:spcPct val="120000"/>
              </a:lnSpc>
              <a:spcAft>
                <a:spcPts val="0"/>
              </a:spcAft>
              <a:buClr>
                <a:schemeClr val="tx2"/>
              </a:buClr>
              <a:buFont typeface="Courier New" panose="02070309020205020404" pitchFamily="49" charset="0"/>
              <a:buChar char="o"/>
              <a:defRPr/>
            </a:lvl2pPr>
            <a:lvl3pPr>
              <a:lnSpc>
                <a:spcPct val="120000"/>
              </a:lnSpc>
              <a:spcAft>
                <a:spcPts val="0"/>
              </a:spcAft>
              <a:defRPr/>
            </a:lvl3pPr>
            <a:lvl4pPr>
              <a:lnSpc>
                <a:spcPct val="120000"/>
              </a:lnSpc>
              <a:spcAft>
                <a:spcPts val="0"/>
              </a:spcAft>
              <a:defRPr/>
            </a:lvl4pPr>
            <a:lvl5pPr>
              <a:lnSpc>
                <a:spcPct val="120000"/>
              </a:lnSpc>
              <a:spcAft>
                <a:spcPts val="0"/>
              </a:spcAft>
              <a:defRPr/>
            </a:lvl5pPr>
          </a:lstStyle>
          <a:p>
            <a:pPr lvl="0"/>
            <a:r>
              <a:rPr lang="en-US" noProof="0"/>
              <a:t>First level</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 name="Content Placeholder 3"/>
          <p:cNvSpPr>
            <a:spLocks noGrp="1"/>
          </p:cNvSpPr>
          <p:nvPr>
            <p:ph sz="half" idx="2" hasCustomPrompt="1"/>
          </p:nvPr>
        </p:nvSpPr>
        <p:spPr>
          <a:xfrm>
            <a:off x="6291069" y="1584001"/>
            <a:ext cx="5486400" cy="4223999"/>
          </a:xfrm>
        </p:spPr>
        <p:txBody>
          <a:bodyPr/>
          <a:lstStyle>
            <a:lvl1pPr>
              <a:lnSpc>
                <a:spcPct val="120000"/>
              </a:lnSpc>
              <a:spcAft>
                <a:spcPts val="0"/>
              </a:spcAft>
              <a:defRPr/>
            </a:lvl1pPr>
            <a:lvl2pPr>
              <a:lnSpc>
                <a:spcPct val="120000"/>
              </a:lnSpc>
              <a:spcAft>
                <a:spcPts val="0"/>
              </a:spcAft>
              <a:defRPr/>
            </a:lvl2pPr>
            <a:lvl3pPr>
              <a:lnSpc>
                <a:spcPct val="120000"/>
              </a:lnSpc>
              <a:spcAft>
                <a:spcPts val="0"/>
              </a:spcAft>
              <a:defRPr/>
            </a:lvl3pPr>
            <a:lvl4pPr>
              <a:lnSpc>
                <a:spcPct val="120000"/>
              </a:lnSpc>
              <a:spcAft>
                <a:spcPts val="0"/>
              </a:spcAft>
              <a:defRPr/>
            </a:lvl4pPr>
            <a:lvl5pPr>
              <a:lnSpc>
                <a:spcPct val="120000"/>
              </a:lnSpc>
              <a:spcAft>
                <a:spcPts val="0"/>
              </a:spcAft>
              <a:defRPr/>
            </a:lvl5pPr>
          </a:lstStyle>
          <a:p>
            <a:pPr lvl="0"/>
            <a:r>
              <a:rPr lang="en-US" noProof="0"/>
              <a:t>First level</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Slide Number Placeholder 6"/>
          <p:cNvSpPr>
            <a:spLocks noGrp="1"/>
          </p:cNvSpPr>
          <p:nvPr>
            <p:ph type="sldNum" sz="quarter" idx="12"/>
          </p:nvPr>
        </p:nvSpPr>
        <p:spPr/>
        <p:txBody>
          <a:bodyPr/>
          <a:lstStyle/>
          <a:p>
            <a:fld id="{AD794642-CA53-41FB-9828-DCB7B578655C}" type="slidenum">
              <a:rPr lang="en-US" smtClean="0"/>
              <a:t>‹#›</a:t>
            </a:fld>
            <a:endParaRPr lang="en-US"/>
          </a:p>
        </p:txBody>
      </p:sp>
      <p:sp>
        <p:nvSpPr>
          <p:cNvPr id="5" name="Title 4"/>
          <p:cNvSpPr>
            <a:spLocks noGrp="1"/>
          </p:cNvSpPr>
          <p:nvPr>
            <p:ph type="title" hasCustomPrompt="1"/>
          </p:nvPr>
        </p:nvSpPr>
        <p:spPr>
          <a:xfrm>
            <a:off x="403200" y="403200"/>
            <a:ext cx="11374269" cy="454104"/>
          </a:xfrm>
        </p:spPr>
        <p:txBody>
          <a:bodyPr/>
          <a:lstStyle>
            <a:lvl1pPr>
              <a:defRPr/>
            </a:lvl1pPr>
          </a:lstStyle>
          <a:p>
            <a:r>
              <a:rPr lang="en-US"/>
              <a:t>Title</a:t>
            </a:r>
          </a:p>
        </p:txBody>
      </p:sp>
    </p:spTree>
    <p:extLst>
      <p:ext uri="{BB962C8B-B14F-4D97-AF65-F5344CB8AC3E}">
        <p14:creationId xmlns:p14="http://schemas.microsoft.com/office/powerpoint/2010/main" val="213678940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Divider: Full, no image">
    <p:bg>
      <p:bgPr>
        <a:solidFill>
          <a:schemeClr val="accent1"/>
        </a:solidFill>
        <a:effectLst/>
      </p:bgPr>
    </p:bg>
    <p:spTree>
      <p:nvGrpSpPr>
        <p:cNvPr id="1" name=""/>
        <p:cNvGrpSpPr/>
        <p:nvPr/>
      </p:nvGrpSpPr>
      <p:grpSpPr>
        <a:xfrm>
          <a:off x="0" y="0"/>
          <a:ext cx="0" cy="0"/>
          <a:chOff x="0" y="0"/>
          <a:chExt cx="0" cy="0"/>
        </a:xfrm>
      </p:grpSpPr>
      <p:pic>
        <p:nvPicPr>
          <p:cNvPr id="12" name="Picture 7">
            <a:extLst>
              <a:ext uri="{FF2B5EF4-FFF2-40B4-BE49-F238E27FC236}">
                <a16:creationId xmlns:a16="http://schemas.microsoft.com/office/drawing/2014/main" id="{DA1B2545-4B6A-4B79-819B-3F3629D0DB46}"/>
              </a:ext>
            </a:extLst>
          </p:cNvPr>
          <p:cNvPicPr>
            <a:picLocks noChangeAspect="1"/>
          </p:cNvPicPr>
          <p:nvPr userDrawn="1"/>
        </p:nvPicPr>
        <p:blipFill>
          <a:blip r:embed="rId2" cstate="print">
            <a:biLevel thresh="25000"/>
            <a:extLst>
              <a:ext uri="{28A0092B-C50C-407E-A947-70E740481C1C}">
                <a14:useLocalDpi xmlns:a14="http://schemas.microsoft.com/office/drawing/2010/main" val="0"/>
              </a:ext>
            </a:extLst>
          </a:blip>
          <a:stretch>
            <a:fillRect/>
          </a:stretch>
        </p:blipFill>
        <p:spPr>
          <a:xfrm>
            <a:off x="11559600" y="6364800"/>
            <a:ext cx="386391" cy="266400"/>
          </a:xfrm>
          <a:prstGeom prst="rect">
            <a:avLst/>
          </a:prstGeom>
        </p:spPr>
      </p:pic>
      <p:sp>
        <p:nvSpPr>
          <p:cNvPr id="5" name="Text Placeholder 4">
            <a:extLst>
              <a:ext uri="{FF2B5EF4-FFF2-40B4-BE49-F238E27FC236}">
                <a16:creationId xmlns:a16="http://schemas.microsoft.com/office/drawing/2014/main" id="{FEC91A72-FB70-4808-975D-893B805F003E}"/>
              </a:ext>
            </a:extLst>
          </p:cNvPr>
          <p:cNvSpPr>
            <a:spLocks noGrp="1"/>
          </p:cNvSpPr>
          <p:nvPr>
            <p:ph type="body" sz="quarter" idx="14" hasCustomPrompt="1"/>
          </p:nvPr>
        </p:nvSpPr>
        <p:spPr>
          <a:xfrm>
            <a:off x="6137977" y="504000"/>
            <a:ext cx="5436011" cy="5850000"/>
          </a:xfrm>
          <a:noFill/>
        </p:spPr>
        <p:txBody>
          <a:bodyPr anchor="ctr" anchorCtr="0">
            <a:noAutofit/>
          </a:bodyPr>
          <a:lstStyle>
            <a:lvl1pPr marL="0" indent="0">
              <a:lnSpc>
                <a:spcPct val="150000"/>
              </a:lnSpc>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add descriptive text. Delete text box if no text is needed</a:t>
            </a:r>
          </a:p>
        </p:txBody>
      </p:sp>
      <p:sp>
        <p:nvSpPr>
          <p:cNvPr id="2" name="Title 1">
            <a:extLst>
              <a:ext uri="{FF2B5EF4-FFF2-40B4-BE49-F238E27FC236}">
                <a16:creationId xmlns:a16="http://schemas.microsoft.com/office/drawing/2014/main" id="{D8E250B2-F80A-4990-9F94-2AB6B07D6852}"/>
              </a:ext>
            </a:extLst>
          </p:cNvPr>
          <p:cNvSpPr>
            <a:spLocks noGrp="1"/>
          </p:cNvSpPr>
          <p:nvPr>
            <p:ph type="ctrTitle" hasCustomPrompt="1"/>
          </p:nvPr>
        </p:nvSpPr>
        <p:spPr>
          <a:xfrm>
            <a:off x="504000" y="504000"/>
            <a:ext cx="5040000" cy="5850000"/>
          </a:xfrm>
          <a:noFill/>
        </p:spPr>
        <p:txBody>
          <a:bodyPr anchor="ctr" anchorCtr="0">
            <a:noAutofit/>
          </a:bodyPr>
          <a:lstStyle>
            <a:lvl1pPr algn="l">
              <a:defRPr sz="3800">
                <a:solidFill>
                  <a:schemeClr val="bg1"/>
                </a:solidFill>
              </a:defRPr>
            </a:lvl1pPr>
          </a:lstStyle>
          <a:p>
            <a:r>
              <a:rPr lang="en-US"/>
              <a:t>Click to add section name</a:t>
            </a:r>
          </a:p>
        </p:txBody>
      </p:sp>
      <p:sp>
        <p:nvSpPr>
          <p:cNvPr id="6" name="Tijdelijke aanduiding voor dianummer 3">
            <a:extLst>
              <a:ext uri="{FF2B5EF4-FFF2-40B4-BE49-F238E27FC236}">
                <a16:creationId xmlns:a16="http://schemas.microsoft.com/office/drawing/2014/main" id="{4A6DDED1-50AA-4049-9862-7216181C5C14}"/>
              </a:ext>
            </a:extLst>
          </p:cNvPr>
          <p:cNvSpPr>
            <a:spLocks noGrp="1"/>
          </p:cNvSpPr>
          <p:nvPr>
            <p:ph type="sldNum" sz="quarter" idx="4"/>
          </p:nvPr>
        </p:nvSpPr>
        <p:spPr>
          <a:xfrm>
            <a:off x="504000" y="6378472"/>
            <a:ext cx="2743200" cy="365125"/>
          </a:xfrm>
          <a:prstGeom prst="rect">
            <a:avLst/>
          </a:prstGeom>
        </p:spPr>
        <p:txBody>
          <a:bodyPr vert="horz" lIns="0" tIns="45720" rIns="91440" bIns="45720" rtlCol="0" anchor="ctr"/>
          <a:lstStyle>
            <a:lvl1pPr algn="l">
              <a:defRPr sz="800">
                <a:solidFill>
                  <a:schemeClr val="bg1"/>
                </a:solidFill>
              </a:defRPr>
            </a:lvl1pPr>
          </a:lstStyle>
          <a:p>
            <a:fld id="{B592C3DA-96A1-4E84-9171-AC4C91AB4FEA}" type="slidenum">
              <a:rPr lang="en-US" smtClean="0"/>
              <a:pPr/>
              <a:t>‹#›</a:t>
            </a:fld>
            <a:endParaRPr lang="en-US"/>
          </a:p>
        </p:txBody>
      </p:sp>
    </p:spTree>
    <p:extLst>
      <p:ext uri="{BB962C8B-B14F-4D97-AF65-F5344CB8AC3E}">
        <p14:creationId xmlns:p14="http://schemas.microsoft.com/office/powerpoint/2010/main" val="2074982236"/>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wo Content Small and Big">
    <p:spTree>
      <p:nvGrpSpPr>
        <p:cNvPr id="1" name=""/>
        <p:cNvGrpSpPr/>
        <p:nvPr/>
      </p:nvGrpSpPr>
      <p:grpSpPr>
        <a:xfrm>
          <a:off x="0" y="0"/>
          <a:ext cx="0" cy="0"/>
          <a:chOff x="0" y="0"/>
          <a:chExt cx="0" cy="0"/>
        </a:xfrm>
      </p:grpSpPr>
      <p:sp>
        <p:nvSpPr>
          <p:cNvPr id="4" name="Content Placeholder 3"/>
          <p:cNvSpPr>
            <a:spLocks noGrp="1"/>
          </p:cNvSpPr>
          <p:nvPr>
            <p:ph sz="half" idx="2" hasCustomPrompt="1"/>
          </p:nvPr>
        </p:nvSpPr>
        <p:spPr>
          <a:xfrm>
            <a:off x="5020551" y="2025600"/>
            <a:ext cx="6756920" cy="3782400"/>
          </a:xfrm>
        </p:spPr>
        <p:txBody>
          <a:bodyPr/>
          <a:lstStyle>
            <a:lvl2pPr>
              <a:defRPr baseline="0"/>
            </a:lvl2pPr>
            <a:lvl3pPr>
              <a:defRPr/>
            </a:lvl3pPr>
            <a:lvl4pPr>
              <a:defRPr/>
            </a:lvl4pPr>
            <a:lvl5pPr>
              <a:defRPr/>
            </a:lvl5pPr>
          </a:lstStyle>
          <a:p>
            <a:pPr lvl="0"/>
            <a:r>
              <a:rPr lang="en-US" noProof="0"/>
              <a:t>First level</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Slide Number Placeholder 6"/>
          <p:cNvSpPr>
            <a:spLocks noGrp="1"/>
          </p:cNvSpPr>
          <p:nvPr>
            <p:ph type="sldNum" sz="quarter" idx="12"/>
          </p:nvPr>
        </p:nvSpPr>
        <p:spPr/>
        <p:txBody>
          <a:bodyPr/>
          <a:lstStyle/>
          <a:p>
            <a:fld id="{AD794642-CA53-41FB-9828-DCB7B578655C}" type="slidenum">
              <a:rPr lang="en-US" smtClean="0"/>
              <a:t>‹#›</a:t>
            </a:fld>
            <a:endParaRPr lang="en-US"/>
          </a:p>
        </p:txBody>
      </p:sp>
      <p:sp>
        <p:nvSpPr>
          <p:cNvPr id="11" name="Text Placeholder 2"/>
          <p:cNvSpPr>
            <a:spLocks noGrp="1"/>
          </p:cNvSpPr>
          <p:nvPr>
            <p:ph type="body" idx="13"/>
          </p:nvPr>
        </p:nvSpPr>
        <p:spPr>
          <a:xfrm>
            <a:off x="403201" y="1584000"/>
            <a:ext cx="4215881" cy="361667"/>
          </a:xfrm>
        </p:spPr>
        <p:txBody>
          <a:bodyPr anchor="b"/>
          <a:lstStyle>
            <a:lvl1pPr marL="0" indent="0">
              <a:buNone/>
              <a:defRPr sz="1867" b="0">
                <a:solidFill>
                  <a:schemeClr val="accent3"/>
                </a:solidFill>
              </a:defRPr>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en-US"/>
              <a:t>Click to edit Master text styles</a:t>
            </a:r>
          </a:p>
        </p:txBody>
      </p:sp>
      <p:sp>
        <p:nvSpPr>
          <p:cNvPr id="12" name="Text Placeholder 2"/>
          <p:cNvSpPr>
            <a:spLocks noGrp="1"/>
          </p:cNvSpPr>
          <p:nvPr>
            <p:ph type="body" idx="14"/>
          </p:nvPr>
        </p:nvSpPr>
        <p:spPr>
          <a:xfrm>
            <a:off x="5020550" y="1584000"/>
            <a:ext cx="6756919" cy="361667"/>
          </a:xfrm>
        </p:spPr>
        <p:txBody>
          <a:bodyPr anchor="b"/>
          <a:lstStyle>
            <a:lvl1pPr marL="0" indent="0">
              <a:buNone/>
              <a:defRPr sz="1867" b="0">
                <a:solidFill>
                  <a:schemeClr val="accent3"/>
                </a:solidFill>
              </a:defRPr>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en-US"/>
              <a:t>Click to edit Master text styles</a:t>
            </a:r>
          </a:p>
        </p:txBody>
      </p:sp>
      <p:sp>
        <p:nvSpPr>
          <p:cNvPr id="10" name="Title 4"/>
          <p:cNvSpPr>
            <a:spLocks noGrp="1"/>
          </p:cNvSpPr>
          <p:nvPr>
            <p:ph type="title" hasCustomPrompt="1"/>
          </p:nvPr>
        </p:nvSpPr>
        <p:spPr>
          <a:xfrm>
            <a:off x="403200" y="403200"/>
            <a:ext cx="11374269" cy="454104"/>
          </a:xfrm>
        </p:spPr>
        <p:txBody>
          <a:bodyPr/>
          <a:lstStyle>
            <a:lvl1pPr>
              <a:defRPr/>
            </a:lvl1pPr>
          </a:lstStyle>
          <a:p>
            <a:r>
              <a:rPr lang="en-US"/>
              <a:t>Title</a:t>
            </a:r>
          </a:p>
        </p:txBody>
      </p:sp>
      <p:sp>
        <p:nvSpPr>
          <p:cNvPr id="8" name="Content Placeholder 3"/>
          <p:cNvSpPr>
            <a:spLocks noGrp="1"/>
          </p:cNvSpPr>
          <p:nvPr>
            <p:ph sz="half" idx="15" hasCustomPrompt="1"/>
          </p:nvPr>
        </p:nvSpPr>
        <p:spPr>
          <a:xfrm>
            <a:off x="407723" y="2025600"/>
            <a:ext cx="4211359" cy="3782400"/>
          </a:xfrm>
        </p:spPr>
        <p:txBody>
          <a:bodyPr/>
          <a:lstStyle>
            <a:lvl2pPr>
              <a:defRPr baseline="0"/>
            </a:lvl2pPr>
            <a:lvl3pPr>
              <a:defRPr/>
            </a:lvl3pPr>
            <a:lvl4pPr>
              <a:defRPr/>
            </a:lvl4pPr>
            <a:lvl5pPr>
              <a:defRPr/>
            </a:lvl5pPr>
          </a:lstStyle>
          <a:p>
            <a:pPr lvl="0"/>
            <a:r>
              <a:rPr lang="en-US" noProof="0"/>
              <a:t>First level</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2149539740"/>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hree Content subtitle">
    <p:spTree>
      <p:nvGrpSpPr>
        <p:cNvPr id="1" name=""/>
        <p:cNvGrpSpPr/>
        <p:nvPr/>
      </p:nvGrpSpPr>
      <p:grpSpPr>
        <a:xfrm>
          <a:off x="0" y="0"/>
          <a:ext cx="0" cy="0"/>
          <a:chOff x="0" y="0"/>
          <a:chExt cx="0" cy="0"/>
        </a:xfrm>
      </p:grpSpPr>
      <p:sp>
        <p:nvSpPr>
          <p:cNvPr id="7" name="Slide Number Placeholder 6"/>
          <p:cNvSpPr>
            <a:spLocks noGrp="1"/>
          </p:cNvSpPr>
          <p:nvPr>
            <p:ph type="sldNum" sz="quarter" idx="12"/>
          </p:nvPr>
        </p:nvSpPr>
        <p:spPr/>
        <p:txBody>
          <a:bodyPr/>
          <a:lstStyle/>
          <a:p>
            <a:fld id="{AD794642-CA53-41FB-9828-DCB7B578655C}" type="slidenum">
              <a:rPr lang="en-US" smtClean="0"/>
              <a:t>‹#›</a:t>
            </a:fld>
            <a:endParaRPr lang="en-US"/>
          </a:p>
        </p:txBody>
      </p:sp>
      <p:sp>
        <p:nvSpPr>
          <p:cNvPr id="13" name="Content Placeholder 2"/>
          <p:cNvSpPr>
            <a:spLocks noGrp="1"/>
          </p:cNvSpPr>
          <p:nvPr>
            <p:ph sz="half" idx="13" hasCustomPrompt="1"/>
          </p:nvPr>
        </p:nvSpPr>
        <p:spPr>
          <a:xfrm>
            <a:off x="4341717" y="2025600"/>
            <a:ext cx="3499104" cy="3782400"/>
          </a:xfrm>
        </p:spPr>
        <p:txBody>
          <a:bodyPr/>
          <a:lstStyle>
            <a:lvl2pPr>
              <a:defRPr/>
            </a:lvl2pPr>
            <a:lvl3pPr>
              <a:defRPr/>
            </a:lvl3pPr>
            <a:lvl4pPr>
              <a:defRPr/>
            </a:lvl4pPr>
            <a:lvl5pPr>
              <a:defRPr/>
            </a:lvl5pPr>
          </a:lstStyle>
          <a:p>
            <a:pPr lvl="0"/>
            <a:r>
              <a:rPr lang="en-US" noProof="0"/>
              <a:t>First level</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Text Placeholder 2"/>
          <p:cNvSpPr>
            <a:spLocks noGrp="1"/>
          </p:cNvSpPr>
          <p:nvPr>
            <p:ph type="body" idx="14"/>
          </p:nvPr>
        </p:nvSpPr>
        <p:spPr>
          <a:xfrm>
            <a:off x="403199" y="1584000"/>
            <a:ext cx="3499104" cy="361667"/>
          </a:xfrm>
        </p:spPr>
        <p:txBody>
          <a:bodyPr anchor="b"/>
          <a:lstStyle>
            <a:lvl1pPr marL="0" indent="0">
              <a:buNone/>
              <a:defRPr sz="1867" b="0">
                <a:solidFill>
                  <a:schemeClr val="accent3"/>
                </a:solidFill>
              </a:defRPr>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en-US"/>
              <a:t>Click to edit Master text styles</a:t>
            </a:r>
          </a:p>
        </p:txBody>
      </p:sp>
      <p:sp>
        <p:nvSpPr>
          <p:cNvPr id="12" name="Text Placeholder 2"/>
          <p:cNvSpPr>
            <a:spLocks noGrp="1"/>
          </p:cNvSpPr>
          <p:nvPr>
            <p:ph type="body" idx="15"/>
          </p:nvPr>
        </p:nvSpPr>
        <p:spPr>
          <a:xfrm>
            <a:off x="4341716" y="1584000"/>
            <a:ext cx="3499104" cy="361667"/>
          </a:xfrm>
        </p:spPr>
        <p:txBody>
          <a:bodyPr anchor="b"/>
          <a:lstStyle>
            <a:lvl1pPr marL="0" indent="0">
              <a:buNone/>
              <a:defRPr sz="1867" b="0">
                <a:solidFill>
                  <a:schemeClr val="accent3"/>
                </a:solidFill>
              </a:defRPr>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en-US"/>
              <a:t>Click to edit Master text styles</a:t>
            </a:r>
          </a:p>
        </p:txBody>
      </p:sp>
      <p:sp>
        <p:nvSpPr>
          <p:cNvPr id="14" name="Text Placeholder 2"/>
          <p:cNvSpPr>
            <a:spLocks noGrp="1"/>
          </p:cNvSpPr>
          <p:nvPr>
            <p:ph type="body" idx="16"/>
          </p:nvPr>
        </p:nvSpPr>
        <p:spPr>
          <a:xfrm>
            <a:off x="8280235" y="1584000"/>
            <a:ext cx="3499104" cy="361667"/>
          </a:xfrm>
        </p:spPr>
        <p:txBody>
          <a:bodyPr anchor="b"/>
          <a:lstStyle>
            <a:lvl1pPr marL="0" indent="0">
              <a:buNone/>
              <a:defRPr sz="1867" b="0">
                <a:solidFill>
                  <a:schemeClr val="accent3"/>
                </a:solidFill>
              </a:defRPr>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en-US"/>
              <a:t>Click to edit Master text styles</a:t>
            </a:r>
          </a:p>
        </p:txBody>
      </p:sp>
      <p:sp>
        <p:nvSpPr>
          <p:cNvPr id="15" name="Title 4"/>
          <p:cNvSpPr>
            <a:spLocks noGrp="1"/>
          </p:cNvSpPr>
          <p:nvPr>
            <p:ph type="title" hasCustomPrompt="1"/>
          </p:nvPr>
        </p:nvSpPr>
        <p:spPr>
          <a:xfrm>
            <a:off x="403200" y="403200"/>
            <a:ext cx="11374269" cy="454104"/>
          </a:xfrm>
        </p:spPr>
        <p:txBody>
          <a:bodyPr/>
          <a:lstStyle>
            <a:lvl1pPr>
              <a:defRPr/>
            </a:lvl1pPr>
          </a:lstStyle>
          <a:p>
            <a:r>
              <a:rPr lang="en-US"/>
              <a:t>Title</a:t>
            </a:r>
          </a:p>
        </p:txBody>
      </p:sp>
      <p:sp>
        <p:nvSpPr>
          <p:cNvPr id="11" name="Content Placeholder 2"/>
          <p:cNvSpPr>
            <a:spLocks noGrp="1"/>
          </p:cNvSpPr>
          <p:nvPr>
            <p:ph sz="half" idx="17" hasCustomPrompt="1"/>
          </p:nvPr>
        </p:nvSpPr>
        <p:spPr>
          <a:xfrm>
            <a:off x="403199" y="2025600"/>
            <a:ext cx="3499104" cy="3782400"/>
          </a:xfrm>
        </p:spPr>
        <p:txBody>
          <a:bodyPr/>
          <a:lstStyle>
            <a:lvl2pPr>
              <a:defRPr/>
            </a:lvl2pPr>
            <a:lvl3pPr>
              <a:defRPr/>
            </a:lvl3pPr>
            <a:lvl4pPr>
              <a:defRPr/>
            </a:lvl4pPr>
            <a:lvl5pPr>
              <a:defRPr/>
            </a:lvl5pPr>
          </a:lstStyle>
          <a:p>
            <a:pPr lvl="0"/>
            <a:r>
              <a:rPr lang="en-US" noProof="0"/>
              <a:t>First level</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7" name="Content Placeholder 2"/>
          <p:cNvSpPr>
            <a:spLocks noGrp="1"/>
          </p:cNvSpPr>
          <p:nvPr>
            <p:ph sz="half" idx="18" hasCustomPrompt="1"/>
          </p:nvPr>
        </p:nvSpPr>
        <p:spPr>
          <a:xfrm>
            <a:off x="8280235" y="2028588"/>
            <a:ext cx="3499104" cy="3782400"/>
          </a:xfrm>
        </p:spPr>
        <p:txBody>
          <a:bodyPr/>
          <a:lstStyle>
            <a:lvl2pPr>
              <a:defRPr/>
            </a:lvl2pPr>
            <a:lvl3pPr>
              <a:defRPr/>
            </a:lvl3pPr>
            <a:lvl4pPr>
              <a:defRPr/>
            </a:lvl4pPr>
            <a:lvl5pPr>
              <a:defRPr/>
            </a:lvl5pPr>
          </a:lstStyle>
          <a:p>
            <a:pPr lvl="0"/>
            <a:r>
              <a:rPr lang="en-US" noProof="0"/>
              <a:t>First level</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187485667"/>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sp>
        <p:nvSpPr>
          <p:cNvPr id="7" name="Slide Number Placeholder 6"/>
          <p:cNvSpPr>
            <a:spLocks noGrp="1"/>
          </p:cNvSpPr>
          <p:nvPr>
            <p:ph type="sldNum" sz="quarter" idx="12"/>
          </p:nvPr>
        </p:nvSpPr>
        <p:spPr/>
        <p:txBody>
          <a:bodyPr/>
          <a:lstStyle/>
          <a:p>
            <a:fld id="{AD794642-CA53-41FB-9828-DCB7B578655C}" type="slidenum">
              <a:rPr lang="en-US" smtClean="0"/>
              <a:t>‹#›</a:t>
            </a:fld>
            <a:endParaRPr lang="en-US"/>
          </a:p>
        </p:txBody>
      </p:sp>
      <p:sp>
        <p:nvSpPr>
          <p:cNvPr id="13" name="Content Placeholder 2"/>
          <p:cNvSpPr>
            <a:spLocks noGrp="1"/>
          </p:cNvSpPr>
          <p:nvPr>
            <p:ph sz="half" idx="13" hasCustomPrompt="1"/>
          </p:nvPr>
        </p:nvSpPr>
        <p:spPr>
          <a:xfrm>
            <a:off x="4341717" y="1584000"/>
            <a:ext cx="3499104" cy="4224000"/>
          </a:xfrm>
        </p:spPr>
        <p:txBody>
          <a:bodyPr/>
          <a:lstStyle>
            <a:lvl2pPr>
              <a:defRPr/>
            </a:lvl2pPr>
            <a:lvl3pPr>
              <a:defRPr/>
            </a:lvl3pPr>
            <a:lvl4pPr>
              <a:defRPr/>
            </a:lvl4pPr>
            <a:lvl5pPr>
              <a:defRPr/>
            </a:lvl5pPr>
          </a:lstStyle>
          <a:p>
            <a:pPr lvl="0"/>
            <a:r>
              <a:rPr lang="en-US" noProof="0"/>
              <a:t>First level</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5" name="Title 4"/>
          <p:cNvSpPr>
            <a:spLocks noGrp="1"/>
          </p:cNvSpPr>
          <p:nvPr>
            <p:ph type="title" hasCustomPrompt="1"/>
          </p:nvPr>
        </p:nvSpPr>
        <p:spPr>
          <a:xfrm>
            <a:off x="403200" y="403200"/>
            <a:ext cx="11374269" cy="454104"/>
          </a:xfrm>
        </p:spPr>
        <p:txBody>
          <a:bodyPr/>
          <a:lstStyle>
            <a:lvl1pPr>
              <a:defRPr/>
            </a:lvl1pPr>
          </a:lstStyle>
          <a:p>
            <a:r>
              <a:rPr lang="en-US"/>
              <a:t>Title</a:t>
            </a:r>
          </a:p>
        </p:txBody>
      </p:sp>
      <p:sp>
        <p:nvSpPr>
          <p:cNvPr id="11" name="Content Placeholder 2"/>
          <p:cNvSpPr>
            <a:spLocks noGrp="1"/>
          </p:cNvSpPr>
          <p:nvPr>
            <p:ph sz="half" idx="17" hasCustomPrompt="1"/>
          </p:nvPr>
        </p:nvSpPr>
        <p:spPr>
          <a:xfrm>
            <a:off x="403199" y="1584000"/>
            <a:ext cx="3499104" cy="4224000"/>
          </a:xfrm>
        </p:spPr>
        <p:txBody>
          <a:bodyPr/>
          <a:lstStyle>
            <a:lvl2pPr>
              <a:defRPr/>
            </a:lvl2pPr>
            <a:lvl3pPr>
              <a:defRPr/>
            </a:lvl3pPr>
            <a:lvl4pPr>
              <a:defRPr/>
            </a:lvl4pPr>
            <a:lvl5pPr>
              <a:defRPr/>
            </a:lvl5pPr>
          </a:lstStyle>
          <a:p>
            <a:pPr lvl="0"/>
            <a:r>
              <a:rPr lang="en-US" noProof="0"/>
              <a:t>First level</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7" name="Content Placeholder 2"/>
          <p:cNvSpPr>
            <a:spLocks noGrp="1"/>
          </p:cNvSpPr>
          <p:nvPr>
            <p:ph sz="half" idx="18" hasCustomPrompt="1"/>
          </p:nvPr>
        </p:nvSpPr>
        <p:spPr>
          <a:xfrm>
            <a:off x="8280235" y="1584000"/>
            <a:ext cx="3499104" cy="4224000"/>
          </a:xfrm>
        </p:spPr>
        <p:txBody>
          <a:bodyPr/>
          <a:lstStyle>
            <a:lvl2pPr>
              <a:defRPr/>
            </a:lvl2pPr>
            <a:lvl3pPr>
              <a:defRPr/>
            </a:lvl3pPr>
            <a:lvl4pPr>
              <a:defRPr/>
            </a:lvl4pPr>
            <a:lvl5pPr>
              <a:defRPr/>
            </a:lvl5pPr>
          </a:lstStyle>
          <a:p>
            <a:pPr lvl="0"/>
            <a:r>
              <a:rPr lang="en-US" noProof="0"/>
              <a:t>First level</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3766598738"/>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Plain White">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a:xfrm>
            <a:off x="403200" y="6139200"/>
            <a:ext cx="619200" cy="365125"/>
          </a:xfrm>
        </p:spPr>
        <p:txBody>
          <a:bodyPr/>
          <a:lstStyle/>
          <a:p>
            <a:fld id="{AD794642-CA53-41FB-9828-DCB7B578655C}" type="slidenum">
              <a:rPr lang="en-US" noProof="0" smtClean="0"/>
              <a:pPr/>
              <a:t>‹#›</a:t>
            </a:fld>
            <a:endParaRPr lang="en-US" noProof="0"/>
          </a:p>
        </p:txBody>
      </p:sp>
      <p:sp>
        <p:nvSpPr>
          <p:cNvPr id="6" name="Title 4"/>
          <p:cNvSpPr>
            <a:spLocks noGrp="1"/>
          </p:cNvSpPr>
          <p:nvPr>
            <p:ph type="title" hasCustomPrompt="1"/>
          </p:nvPr>
        </p:nvSpPr>
        <p:spPr>
          <a:xfrm>
            <a:off x="408866" y="353675"/>
            <a:ext cx="11374269" cy="454104"/>
          </a:xfrm>
        </p:spPr>
        <p:txBody>
          <a:bodyPr/>
          <a:lstStyle>
            <a:lvl1pPr>
              <a:defRPr/>
            </a:lvl1pPr>
          </a:lstStyle>
          <a:p>
            <a:r>
              <a:rPr lang="en-US"/>
              <a:t>Title</a:t>
            </a:r>
          </a:p>
        </p:txBody>
      </p:sp>
    </p:spTree>
    <p:extLst>
      <p:ext uri="{BB962C8B-B14F-4D97-AF65-F5344CB8AC3E}">
        <p14:creationId xmlns:p14="http://schemas.microsoft.com/office/powerpoint/2010/main" val="980055462"/>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290208" y="3173040"/>
            <a:ext cx="8498587" cy="517064"/>
          </a:xfrm>
          <a:noFill/>
        </p:spPr>
        <p:txBody>
          <a:bodyPr lIns="0" tIns="0" anchor="ctr"/>
          <a:lstStyle>
            <a:lvl1pPr>
              <a:defRPr sz="3733">
                <a:solidFill>
                  <a:schemeClr val="bg1"/>
                </a:solidFill>
              </a:defRPr>
            </a:lvl1pPr>
          </a:lstStyle>
          <a:p>
            <a:r>
              <a:rPr lang="en-US"/>
              <a:t>Section title</a:t>
            </a:r>
          </a:p>
        </p:txBody>
      </p:sp>
      <p:pic>
        <p:nvPicPr>
          <p:cNvPr id="12" name="Picture 11"/>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461229" y="2193602"/>
            <a:ext cx="2475943" cy="2475943"/>
          </a:xfrm>
          <a:prstGeom prst="rect">
            <a:avLst/>
          </a:prstGeom>
        </p:spPr>
      </p:pic>
      <p:sp>
        <p:nvSpPr>
          <p:cNvPr id="13" name="Slide Number Placeholder 12"/>
          <p:cNvSpPr>
            <a:spLocks noGrp="1"/>
          </p:cNvSpPr>
          <p:nvPr>
            <p:ph type="sldNum" sz="quarter" idx="10"/>
          </p:nvPr>
        </p:nvSpPr>
        <p:spPr/>
        <p:txBody>
          <a:bodyPr/>
          <a:lstStyle>
            <a:lvl1pPr>
              <a:defRPr>
                <a:solidFill>
                  <a:schemeClr val="bg1"/>
                </a:solidFill>
              </a:defRPr>
            </a:lvl1pPr>
          </a:lstStyle>
          <a:p>
            <a:fld id="{AD794642-CA53-41FB-9828-DCB7B578655C}" type="slidenum">
              <a:rPr lang="en-US" smtClean="0"/>
              <a:pPr/>
              <a:t>‹#›</a:t>
            </a:fld>
            <a:endParaRPr lang="en-US"/>
          </a:p>
        </p:txBody>
      </p:sp>
      <p:sp>
        <p:nvSpPr>
          <p:cNvPr id="15" name="Content Placeholder 14"/>
          <p:cNvSpPr>
            <a:spLocks noGrp="1"/>
          </p:cNvSpPr>
          <p:nvPr>
            <p:ph sz="quarter" idx="11" hasCustomPrompt="1"/>
          </p:nvPr>
        </p:nvSpPr>
        <p:spPr>
          <a:xfrm>
            <a:off x="1180572" y="2681817"/>
            <a:ext cx="1026584" cy="1481667"/>
          </a:xfrm>
        </p:spPr>
        <p:txBody>
          <a:bodyPr/>
          <a:lstStyle>
            <a:lvl1pPr marL="0" indent="0" algn="ctr">
              <a:buNone/>
              <a:defRPr sz="1867">
                <a:solidFill>
                  <a:schemeClr val="bg1"/>
                </a:solidFill>
              </a:defRPr>
            </a:lvl1pPr>
          </a:lstStyle>
          <a:p>
            <a:pPr lvl="0"/>
            <a:r>
              <a:rPr lang="en-US"/>
              <a:t>Click to add icon</a:t>
            </a:r>
          </a:p>
        </p:txBody>
      </p:sp>
      <p:pic>
        <p:nvPicPr>
          <p:cNvPr id="14" name="Picture 13"/>
          <p:cNvPicPr>
            <a:picLocks noChangeAspect="1"/>
          </p:cNvPicPr>
          <p:nvPr userDrawn="1"/>
        </p:nvPicPr>
        <p:blipFill>
          <a:blip r:embed="rId4" cstate="print">
            <a:biLevel thresh="25000"/>
            <a:extLst>
              <a:ext uri="{28A0092B-C50C-407E-A947-70E740481C1C}">
                <a14:useLocalDpi xmlns:a14="http://schemas.microsoft.com/office/drawing/2010/main"/>
              </a:ext>
            </a:extLst>
          </a:blip>
          <a:stretch>
            <a:fillRect/>
          </a:stretch>
        </p:blipFill>
        <p:spPr>
          <a:xfrm>
            <a:off x="10986432" y="5911392"/>
            <a:ext cx="814555" cy="561600"/>
          </a:xfrm>
          <a:prstGeom prst="rect">
            <a:avLst/>
          </a:prstGeom>
        </p:spPr>
      </p:pic>
    </p:spTree>
    <p:extLst>
      <p:ext uri="{BB962C8B-B14F-4D97-AF65-F5344CB8AC3E}">
        <p14:creationId xmlns:p14="http://schemas.microsoft.com/office/powerpoint/2010/main" val="2915881755"/>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Section Divider summary">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290208" y="1531056"/>
            <a:ext cx="8498587" cy="517064"/>
          </a:xfrm>
          <a:noFill/>
        </p:spPr>
        <p:txBody>
          <a:bodyPr lIns="0" tIns="0" anchor="ctr"/>
          <a:lstStyle>
            <a:lvl1pPr>
              <a:defRPr sz="3733">
                <a:solidFill>
                  <a:schemeClr val="bg1"/>
                </a:solidFill>
              </a:defRPr>
            </a:lvl1pPr>
          </a:lstStyle>
          <a:p>
            <a:r>
              <a:rPr lang="en-US"/>
              <a:t>Section title</a:t>
            </a:r>
          </a:p>
        </p:txBody>
      </p:sp>
      <p:pic>
        <p:nvPicPr>
          <p:cNvPr id="12" name="Picture 11"/>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461229" y="551618"/>
            <a:ext cx="2475943" cy="2475943"/>
          </a:xfrm>
          <a:prstGeom prst="rect">
            <a:avLst/>
          </a:prstGeom>
        </p:spPr>
      </p:pic>
      <p:sp>
        <p:nvSpPr>
          <p:cNvPr id="13" name="Slide Number Placeholder 12"/>
          <p:cNvSpPr>
            <a:spLocks noGrp="1"/>
          </p:cNvSpPr>
          <p:nvPr>
            <p:ph type="sldNum" sz="quarter" idx="10"/>
          </p:nvPr>
        </p:nvSpPr>
        <p:spPr/>
        <p:txBody>
          <a:bodyPr/>
          <a:lstStyle>
            <a:lvl1pPr>
              <a:defRPr>
                <a:solidFill>
                  <a:schemeClr val="bg1"/>
                </a:solidFill>
              </a:defRPr>
            </a:lvl1pPr>
          </a:lstStyle>
          <a:p>
            <a:fld id="{AD794642-CA53-41FB-9828-DCB7B578655C}" type="slidenum">
              <a:rPr lang="en-US" smtClean="0"/>
              <a:pPr/>
              <a:t>‹#›</a:t>
            </a:fld>
            <a:endParaRPr lang="en-US"/>
          </a:p>
        </p:txBody>
      </p:sp>
      <p:sp>
        <p:nvSpPr>
          <p:cNvPr id="15" name="Content Placeholder 14"/>
          <p:cNvSpPr>
            <a:spLocks noGrp="1"/>
          </p:cNvSpPr>
          <p:nvPr>
            <p:ph sz="quarter" idx="11" hasCustomPrompt="1"/>
          </p:nvPr>
        </p:nvSpPr>
        <p:spPr>
          <a:xfrm>
            <a:off x="1180572" y="1039833"/>
            <a:ext cx="1026584" cy="1481667"/>
          </a:xfrm>
        </p:spPr>
        <p:txBody>
          <a:bodyPr/>
          <a:lstStyle>
            <a:lvl1pPr marL="0" indent="0" algn="ctr">
              <a:buNone/>
              <a:defRPr sz="1867">
                <a:solidFill>
                  <a:schemeClr val="bg1"/>
                </a:solidFill>
              </a:defRPr>
            </a:lvl1pPr>
          </a:lstStyle>
          <a:p>
            <a:pPr lvl="0"/>
            <a:r>
              <a:rPr lang="en-US"/>
              <a:t>Click to add icon</a:t>
            </a:r>
          </a:p>
        </p:txBody>
      </p:sp>
      <p:pic>
        <p:nvPicPr>
          <p:cNvPr id="14" name="Picture 13"/>
          <p:cNvPicPr>
            <a:picLocks noChangeAspect="1"/>
          </p:cNvPicPr>
          <p:nvPr userDrawn="1"/>
        </p:nvPicPr>
        <p:blipFill>
          <a:blip r:embed="rId4" cstate="print">
            <a:biLevel thresh="25000"/>
            <a:extLst>
              <a:ext uri="{28A0092B-C50C-407E-A947-70E740481C1C}">
                <a14:useLocalDpi xmlns:a14="http://schemas.microsoft.com/office/drawing/2010/main"/>
              </a:ext>
            </a:extLst>
          </a:blip>
          <a:stretch>
            <a:fillRect/>
          </a:stretch>
        </p:blipFill>
        <p:spPr>
          <a:xfrm>
            <a:off x="10986432" y="5911392"/>
            <a:ext cx="814555" cy="561600"/>
          </a:xfrm>
          <a:prstGeom prst="rect">
            <a:avLst/>
          </a:prstGeom>
        </p:spPr>
      </p:pic>
      <p:sp>
        <p:nvSpPr>
          <p:cNvPr id="4" name="Text Placeholder 3"/>
          <p:cNvSpPr>
            <a:spLocks noGrp="1"/>
          </p:cNvSpPr>
          <p:nvPr>
            <p:ph type="body" sz="quarter" idx="12"/>
          </p:nvPr>
        </p:nvSpPr>
        <p:spPr>
          <a:xfrm>
            <a:off x="3289300" y="2271733"/>
            <a:ext cx="8511117" cy="3536267"/>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NL"/>
          </a:p>
        </p:txBody>
      </p:sp>
    </p:spTree>
    <p:extLst>
      <p:ext uri="{BB962C8B-B14F-4D97-AF65-F5344CB8AC3E}">
        <p14:creationId xmlns:p14="http://schemas.microsoft.com/office/powerpoint/2010/main" val="2822584805"/>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Two Content Backgroun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03200" y="403200"/>
            <a:ext cx="11443200" cy="454104"/>
          </a:xfrm>
          <a:blipFill>
            <a:blip r:embed="rId3" cstate="print">
              <a:extLst>
                <a:ext uri="{28A0092B-C50C-407E-A947-70E740481C1C}">
                  <a14:useLocalDpi xmlns:a14="http://schemas.microsoft.com/office/drawing/2010/main"/>
                </a:ext>
              </a:extLst>
            </a:blip>
            <a:stretch>
              <a:fillRect/>
            </a:stretch>
          </a:blipFill>
        </p:spPr>
        <p:txBody>
          <a:bodyPr/>
          <a:lstStyle>
            <a:lvl1pPr>
              <a:defRPr>
                <a:solidFill>
                  <a:schemeClr val="bg1"/>
                </a:solidFill>
              </a:defRPr>
            </a:lvl1pPr>
          </a:lstStyle>
          <a:p>
            <a:r>
              <a:rPr lang="en-US"/>
              <a:t>Title</a:t>
            </a:r>
          </a:p>
        </p:txBody>
      </p:sp>
      <p:sp>
        <p:nvSpPr>
          <p:cNvPr id="7" name="Slide Number Placeholder 6"/>
          <p:cNvSpPr>
            <a:spLocks noGrp="1"/>
          </p:cNvSpPr>
          <p:nvPr>
            <p:ph type="sldNum" sz="quarter" idx="12"/>
          </p:nvPr>
        </p:nvSpPr>
        <p:spPr/>
        <p:txBody>
          <a:bodyPr/>
          <a:lstStyle>
            <a:lvl1pPr>
              <a:defRPr>
                <a:solidFill>
                  <a:schemeClr val="bg1"/>
                </a:solidFill>
              </a:defRPr>
            </a:lvl1pPr>
          </a:lstStyle>
          <a:p>
            <a:fld id="{AD794642-CA53-41FB-9828-DCB7B578655C}" type="slidenum">
              <a:rPr lang="en-US" smtClean="0"/>
              <a:pPr/>
              <a:t>‹#›</a:t>
            </a:fld>
            <a:endParaRPr lang="en-US"/>
          </a:p>
        </p:txBody>
      </p:sp>
      <p:sp>
        <p:nvSpPr>
          <p:cNvPr id="9" name="Content Placeholder 2"/>
          <p:cNvSpPr>
            <a:spLocks noGrp="1"/>
          </p:cNvSpPr>
          <p:nvPr>
            <p:ph sz="half" idx="1" hasCustomPrompt="1"/>
          </p:nvPr>
        </p:nvSpPr>
        <p:spPr>
          <a:xfrm>
            <a:off x="403200" y="2024630"/>
            <a:ext cx="5486400" cy="3783369"/>
          </a:xfrm>
        </p:spPr>
        <p:txBody>
          <a:bodyPr/>
          <a:lstStyle>
            <a:lvl1pPr marL="287993" indent="-287993">
              <a:lnSpc>
                <a:spcPct val="120000"/>
              </a:lnSpc>
              <a:spcAft>
                <a:spcPts val="0"/>
              </a:spcAft>
              <a:buClr>
                <a:schemeClr val="bg1"/>
              </a:buClr>
              <a:buSzPct val="100000"/>
              <a:buFont typeface="Courier New" panose="02070309020205020404" pitchFamily="49" charset="0"/>
              <a:buChar char="o"/>
              <a:defRPr>
                <a:solidFill>
                  <a:schemeClr val="bg1"/>
                </a:solidFill>
              </a:defRPr>
            </a:lvl1pPr>
            <a:lvl2pPr marL="575986" indent="-287993">
              <a:lnSpc>
                <a:spcPct val="120000"/>
              </a:lnSpc>
              <a:spcAft>
                <a:spcPts val="0"/>
              </a:spcAft>
              <a:buClr>
                <a:schemeClr val="bg1"/>
              </a:buClr>
              <a:buFont typeface="Courier New" panose="02070309020205020404" pitchFamily="49" charset="0"/>
              <a:buChar char="o"/>
              <a:defRPr>
                <a:solidFill>
                  <a:schemeClr val="bg1"/>
                </a:solidFill>
              </a:defRPr>
            </a:lvl2pPr>
            <a:lvl3pPr>
              <a:lnSpc>
                <a:spcPct val="120000"/>
              </a:lnSpc>
              <a:spcAft>
                <a:spcPts val="0"/>
              </a:spcAft>
              <a:buClr>
                <a:schemeClr val="bg1"/>
              </a:buClr>
              <a:defRPr>
                <a:solidFill>
                  <a:schemeClr val="bg1"/>
                </a:solidFill>
              </a:defRPr>
            </a:lvl3pPr>
            <a:lvl4pPr>
              <a:lnSpc>
                <a:spcPct val="120000"/>
              </a:lnSpc>
              <a:spcAft>
                <a:spcPts val="0"/>
              </a:spcAft>
              <a:buClr>
                <a:schemeClr val="bg1"/>
              </a:buClr>
              <a:defRPr>
                <a:solidFill>
                  <a:schemeClr val="bg1"/>
                </a:solidFill>
              </a:defRPr>
            </a:lvl4pPr>
            <a:lvl5pPr>
              <a:lnSpc>
                <a:spcPct val="120000"/>
              </a:lnSpc>
              <a:spcAft>
                <a:spcPts val="0"/>
              </a:spcAft>
              <a:buClr>
                <a:schemeClr val="bg1"/>
              </a:buClr>
              <a:defRPr>
                <a:solidFill>
                  <a:schemeClr val="bg1"/>
                </a:solidFill>
              </a:defRPr>
            </a:lvl5pPr>
            <a:lvl6pPr>
              <a:lnSpc>
                <a:spcPct val="120000"/>
              </a:lnSpc>
              <a:spcAft>
                <a:spcPts val="0"/>
              </a:spcAft>
              <a:buClr>
                <a:schemeClr val="bg1"/>
              </a:buClr>
              <a:defRPr sz="1867">
                <a:solidFill>
                  <a:schemeClr val="bg1"/>
                </a:solidFill>
              </a:defRPr>
            </a:lvl6pPr>
            <a:lvl7pPr>
              <a:lnSpc>
                <a:spcPct val="120000"/>
              </a:lnSpc>
              <a:spcAft>
                <a:spcPts val="0"/>
              </a:spcAft>
              <a:buClr>
                <a:schemeClr val="bg1"/>
              </a:buClr>
              <a:defRPr sz="1867">
                <a:solidFill>
                  <a:schemeClr val="bg1"/>
                </a:solidFill>
              </a:defRPr>
            </a:lvl7pPr>
            <a:lvl8pPr>
              <a:lnSpc>
                <a:spcPct val="120000"/>
              </a:lnSpc>
              <a:spcAft>
                <a:spcPts val="0"/>
              </a:spcAft>
              <a:buClr>
                <a:schemeClr val="bg1"/>
              </a:buClr>
              <a:defRPr sz="1867">
                <a:solidFill>
                  <a:schemeClr val="bg1"/>
                </a:solidFill>
              </a:defRPr>
            </a:lvl8pPr>
            <a:lvl9pPr>
              <a:lnSpc>
                <a:spcPct val="120000"/>
              </a:lnSpc>
              <a:spcAft>
                <a:spcPts val="0"/>
              </a:spcAft>
              <a:buClr>
                <a:schemeClr val="bg1"/>
              </a:buClr>
              <a:defRPr sz="1867">
                <a:solidFill>
                  <a:schemeClr val="bg1"/>
                </a:solidFill>
              </a:defRPr>
            </a:lvl9pPr>
          </a:lstStyle>
          <a:p>
            <a:pPr lvl="0"/>
            <a:r>
              <a:rPr lang="en-US" noProof="0"/>
              <a:t>First level</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ext Placeholder 2"/>
          <p:cNvSpPr>
            <a:spLocks noGrp="1"/>
          </p:cNvSpPr>
          <p:nvPr>
            <p:ph type="body" idx="13"/>
          </p:nvPr>
        </p:nvSpPr>
        <p:spPr>
          <a:xfrm>
            <a:off x="403200" y="1584000"/>
            <a:ext cx="5486400" cy="361667"/>
          </a:xfrm>
        </p:spPr>
        <p:txBody>
          <a:bodyPr anchor="b"/>
          <a:lstStyle>
            <a:lvl1pPr marL="0" indent="0">
              <a:buNone/>
              <a:defRPr sz="1867" b="0">
                <a:solidFill>
                  <a:schemeClr val="bg2"/>
                </a:solidFill>
              </a:defRPr>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en-US"/>
              <a:t>Click to edit Master text styles</a:t>
            </a:r>
          </a:p>
        </p:txBody>
      </p:sp>
      <p:sp>
        <p:nvSpPr>
          <p:cNvPr id="14" name="Text Placeholder 2"/>
          <p:cNvSpPr>
            <a:spLocks noGrp="1"/>
          </p:cNvSpPr>
          <p:nvPr>
            <p:ph type="body" idx="14"/>
          </p:nvPr>
        </p:nvSpPr>
        <p:spPr>
          <a:xfrm>
            <a:off x="6291071" y="1583999"/>
            <a:ext cx="5486400" cy="361667"/>
          </a:xfrm>
        </p:spPr>
        <p:txBody>
          <a:bodyPr anchor="b"/>
          <a:lstStyle>
            <a:lvl1pPr marL="0" indent="0">
              <a:buNone/>
              <a:defRPr sz="1867" b="0">
                <a:solidFill>
                  <a:schemeClr val="bg2"/>
                </a:solidFill>
              </a:defRPr>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en-US"/>
              <a:t>Click to edit Master text styles</a:t>
            </a:r>
          </a:p>
        </p:txBody>
      </p:sp>
      <p:pic>
        <p:nvPicPr>
          <p:cNvPr id="16" name="Picture 15"/>
          <p:cNvPicPr>
            <a:picLocks noChangeAspect="1"/>
          </p:cNvPicPr>
          <p:nvPr userDrawn="1"/>
        </p:nvPicPr>
        <p:blipFill>
          <a:blip r:embed="rId4" cstate="print">
            <a:biLevel thresh="25000"/>
            <a:extLst>
              <a:ext uri="{28A0092B-C50C-407E-A947-70E740481C1C}">
                <a14:useLocalDpi xmlns:a14="http://schemas.microsoft.com/office/drawing/2010/main"/>
              </a:ext>
            </a:extLst>
          </a:blip>
          <a:stretch>
            <a:fillRect/>
          </a:stretch>
        </p:blipFill>
        <p:spPr>
          <a:xfrm>
            <a:off x="10986432" y="5911392"/>
            <a:ext cx="814555" cy="561600"/>
          </a:xfrm>
          <a:prstGeom prst="rect">
            <a:avLst/>
          </a:prstGeom>
        </p:spPr>
      </p:pic>
      <p:sp>
        <p:nvSpPr>
          <p:cNvPr id="10" name="Content Placeholder 2"/>
          <p:cNvSpPr>
            <a:spLocks noGrp="1"/>
          </p:cNvSpPr>
          <p:nvPr>
            <p:ph sz="half" idx="15" hasCustomPrompt="1"/>
          </p:nvPr>
        </p:nvSpPr>
        <p:spPr>
          <a:xfrm>
            <a:off x="6291071" y="2024629"/>
            <a:ext cx="5486400" cy="3783369"/>
          </a:xfrm>
        </p:spPr>
        <p:txBody>
          <a:bodyPr/>
          <a:lstStyle>
            <a:lvl1pPr marL="287993" indent="-287993">
              <a:lnSpc>
                <a:spcPct val="120000"/>
              </a:lnSpc>
              <a:spcAft>
                <a:spcPts val="0"/>
              </a:spcAft>
              <a:buClr>
                <a:schemeClr val="bg1"/>
              </a:buClr>
              <a:buSzPct val="100000"/>
              <a:buFont typeface="Courier New" panose="02070309020205020404" pitchFamily="49" charset="0"/>
              <a:buChar char="o"/>
              <a:defRPr>
                <a:solidFill>
                  <a:schemeClr val="bg1"/>
                </a:solidFill>
              </a:defRPr>
            </a:lvl1pPr>
            <a:lvl2pPr marL="575986" indent="-287993">
              <a:lnSpc>
                <a:spcPct val="120000"/>
              </a:lnSpc>
              <a:spcAft>
                <a:spcPts val="0"/>
              </a:spcAft>
              <a:buClr>
                <a:schemeClr val="bg1"/>
              </a:buClr>
              <a:buFont typeface="Courier New" panose="02070309020205020404" pitchFamily="49" charset="0"/>
              <a:buChar char="o"/>
              <a:defRPr>
                <a:solidFill>
                  <a:schemeClr val="bg1"/>
                </a:solidFill>
              </a:defRPr>
            </a:lvl2pPr>
            <a:lvl3pPr>
              <a:lnSpc>
                <a:spcPct val="120000"/>
              </a:lnSpc>
              <a:spcAft>
                <a:spcPts val="0"/>
              </a:spcAft>
              <a:buClr>
                <a:schemeClr val="bg1"/>
              </a:buClr>
              <a:defRPr>
                <a:solidFill>
                  <a:schemeClr val="bg1"/>
                </a:solidFill>
              </a:defRPr>
            </a:lvl3pPr>
            <a:lvl4pPr>
              <a:lnSpc>
                <a:spcPct val="120000"/>
              </a:lnSpc>
              <a:spcAft>
                <a:spcPts val="0"/>
              </a:spcAft>
              <a:buClr>
                <a:schemeClr val="bg1"/>
              </a:buClr>
              <a:defRPr>
                <a:solidFill>
                  <a:schemeClr val="bg1"/>
                </a:solidFill>
              </a:defRPr>
            </a:lvl4pPr>
            <a:lvl5pPr>
              <a:lnSpc>
                <a:spcPct val="120000"/>
              </a:lnSpc>
              <a:spcAft>
                <a:spcPts val="0"/>
              </a:spcAft>
              <a:buClr>
                <a:schemeClr val="bg1"/>
              </a:buClr>
              <a:defRPr>
                <a:solidFill>
                  <a:schemeClr val="bg1"/>
                </a:solidFill>
              </a:defRPr>
            </a:lvl5pPr>
            <a:lvl6pPr>
              <a:lnSpc>
                <a:spcPct val="120000"/>
              </a:lnSpc>
              <a:spcAft>
                <a:spcPts val="0"/>
              </a:spcAft>
              <a:buClr>
                <a:schemeClr val="bg1"/>
              </a:buClr>
              <a:defRPr sz="1867">
                <a:solidFill>
                  <a:schemeClr val="bg1"/>
                </a:solidFill>
              </a:defRPr>
            </a:lvl6pPr>
            <a:lvl7pPr>
              <a:lnSpc>
                <a:spcPct val="120000"/>
              </a:lnSpc>
              <a:spcAft>
                <a:spcPts val="0"/>
              </a:spcAft>
              <a:buClr>
                <a:schemeClr val="bg1"/>
              </a:buClr>
              <a:defRPr sz="1867">
                <a:solidFill>
                  <a:schemeClr val="bg1"/>
                </a:solidFill>
              </a:defRPr>
            </a:lvl7pPr>
            <a:lvl8pPr>
              <a:lnSpc>
                <a:spcPct val="120000"/>
              </a:lnSpc>
              <a:spcAft>
                <a:spcPts val="0"/>
              </a:spcAft>
              <a:buClr>
                <a:schemeClr val="bg1"/>
              </a:buClr>
              <a:defRPr sz="1867">
                <a:solidFill>
                  <a:schemeClr val="bg1"/>
                </a:solidFill>
              </a:defRPr>
            </a:lvl8pPr>
            <a:lvl9pPr>
              <a:lnSpc>
                <a:spcPct val="120000"/>
              </a:lnSpc>
              <a:spcAft>
                <a:spcPts val="0"/>
              </a:spcAft>
              <a:buClr>
                <a:schemeClr val="bg1"/>
              </a:buClr>
              <a:defRPr sz="1867">
                <a:solidFill>
                  <a:schemeClr val="bg1"/>
                </a:solidFill>
              </a:defRPr>
            </a:lvl9pPr>
          </a:lstStyle>
          <a:p>
            <a:pPr lvl="0"/>
            <a:r>
              <a:rPr lang="en-US" noProof="0"/>
              <a:t>First level</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3171125624"/>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Content and Big Picture Backgroun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03201" y="403200"/>
            <a:ext cx="5210599" cy="454104"/>
          </a:xfrm>
          <a:blipFill>
            <a:blip r:embed="rId3" cstate="print">
              <a:extLst>
                <a:ext uri="{28A0092B-C50C-407E-A947-70E740481C1C}">
                  <a14:useLocalDpi xmlns:a14="http://schemas.microsoft.com/office/drawing/2010/main"/>
                </a:ext>
              </a:extLst>
            </a:blip>
            <a:stretch>
              <a:fillRect/>
            </a:stretch>
          </a:blipFill>
        </p:spPr>
        <p:txBody>
          <a:bodyPr wrap="square">
            <a:spAutoFit/>
          </a:bodyPr>
          <a:lstStyle>
            <a:lvl1pPr>
              <a:defRPr>
                <a:solidFill>
                  <a:schemeClr val="bg1"/>
                </a:solidFill>
              </a:defRPr>
            </a:lvl1pPr>
          </a:lstStyle>
          <a:p>
            <a:r>
              <a:rPr lang="en-US"/>
              <a:t>Title</a:t>
            </a:r>
          </a:p>
        </p:txBody>
      </p:sp>
      <p:sp>
        <p:nvSpPr>
          <p:cNvPr id="7" name="Slide Number Placeholder 6"/>
          <p:cNvSpPr>
            <a:spLocks noGrp="1"/>
          </p:cNvSpPr>
          <p:nvPr>
            <p:ph type="sldNum" sz="quarter" idx="12"/>
          </p:nvPr>
        </p:nvSpPr>
        <p:spPr/>
        <p:txBody>
          <a:bodyPr/>
          <a:lstStyle>
            <a:lvl1pPr>
              <a:defRPr>
                <a:solidFill>
                  <a:schemeClr val="bg1"/>
                </a:solidFill>
              </a:defRPr>
            </a:lvl1pPr>
          </a:lstStyle>
          <a:p>
            <a:fld id="{AD794642-CA53-41FB-9828-DCB7B578655C}" type="slidenum">
              <a:rPr lang="en-US" smtClean="0"/>
              <a:pPr/>
              <a:t>‹#›</a:t>
            </a:fld>
            <a:endParaRPr lang="en-US"/>
          </a:p>
        </p:txBody>
      </p:sp>
      <p:sp>
        <p:nvSpPr>
          <p:cNvPr id="10" name="Text Placeholder 2"/>
          <p:cNvSpPr>
            <a:spLocks noGrp="1"/>
          </p:cNvSpPr>
          <p:nvPr>
            <p:ph type="body" idx="14"/>
          </p:nvPr>
        </p:nvSpPr>
        <p:spPr>
          <a:xfrm>
            <a:off x="403200" y="1584000"/>
            <a:ext cx="5486400" cy="361667"/>
          </a:xfrm>
        </p:spPr>
        <p:txBody>
          <a:bodyPr anchor="b"/>
          <a:lstStyle>
            <a:lvl1pPr marL="0" indent="0">
              <a:buNone/>
              <a:defRPr sz="1867" b="0">
                <a:solidFill>
                  <a:schemeClr val="bg2"/>
                </a:solidFill>
              </a:defRPr>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en-US"/>
              <a:t>Click to edit Master text styles</a:t>
            </a:r>
          </a:p>
        </p:txBody>
      </p:sp>
      <p:pic>
        <p:nvPicPr>
          <p:cNvPr id="11" name="Picture 10"/>
          <p:cNvPicPr>
            <a:picLocks noChangeAspect="1"/>
          </p:cNvPicPr>
          <p:nvPr userDrawn="1"/>
        </p:nvPicPr>
        <p:blipFill>
          <a:blip r:embed="rId4" cstate="print">
            <a:biLevel thresh="25000"/>
            <a:extLst>
              <a:ext uri="{28A0092B-C50C-407E-A947-70E740481C1C}">
                <a14:useLocalDpi xmlns:a14="http://schemas.microsoft.com/office/drawing/2010/main"/>
              </a:ext>
            </a:extLst>
          </a:blip>
          <a:stretch>
            <a:fillRect/>
          </a:stretch>
        </p:blipFill>
        <p:spPr>
          <a:xfrm>
            <a:off x="10986432" y="5911392"/>
            <a:ext cx="814555" cy="561600"/>
          </a:xfrm>
          <a:prstGeom prst="rect">
            <a:avLst/>
          </a:prstGeom>
        </p:spPr>
      </p:pic>
      <p:sp>
        <p:nvSpPr>
          <p:cNvPr id="6" name="Picture Placeholder 5"/>
          <p:cNvSpPr>
            <a:spLocks noGrp="1"/>
          </p:cNvSpPr>
          <p:nvPr>
            <p:ph type="pic" sz="quarter" idx="13"/>
          </p:nvPr>
        </p:nvSpPr>
        <p:spPr>
          <a:xfrm>
            <a:off x="6136218" y="0"/>
            <a:ext cx="6055783" cy="6858000"/>
          </a:xfrm>
        </p:spPr>
        <p:txBody>
          <a:bodyPr/>
          <a:lstStyle>
            <a:lvl1pPr>
              <a:defRPr>
                <a:solidFill>
                  <a:schemeClr val="bg1"/>
                </a:solidFill>
              </a:defRPr>
            </a:lvl1pPr>
          </a:lstStyle>
          <a:p>
            <a:r>
              <a:rPr lang="en-US"/>
              <a:t>Click icon to add picture</a:t>
            </a:r>
          </a:p>
        </p:txBody>
      </p:sp>
      <p:sp>
        <p:nvSpPr>
          <p:cNvPr id="9" name="Content Placeholder 2"/>
          <p:cNvSpPr>
            <a:spLocks noGrp="1"/>
          </p:cNvSpPr>
          <p:nvPr>
            <p:ph sz="half" idx="15" hasCustomPrompt="1"/>
          </p:nvPr>
        </p:nvSpPr>
        <p:spPr>
          <a:xfrm>
            <a:off x="403200" y="2025601"/>
            <a:ext cx="5486400" cy="3783369"/>
          </a:xfrm>
        </p:spPr>
        <p:txBody>
          <a:bodyPr/>
          <a:lstStyle>
            <a:lvl1pPr marL="287993" indent="-287993">
              <a:lnSpc>
                <a:spcPct val="120000"/>
              </a:lnSpc>
              <a:spcAft>
                <a:spcPts val="0"/>
              </a:spcAft>
              <a:buClr>
                <a:schemeClr val="bg1"/>
              </a:buClr>
              <a:buSzPct val="100000"/>
              <a:buFont typeface="Courier New" panose="02070309020205020404" pitchFamily="49" charset="0"/>
              <a:buChar char="o"/>
              <a:defRPr>
                <a:solidFill>
                  <a:schemeClr val="bg1"/>
                </a:solidFill>
              </a:defRPr>
            </a:lvl1pPr>
            <a:lvl2pPr marL="575986" indent="-287993">
              <a:lnSpc>
                <a:spcPct val="120000"/>
              </a:lnSpc>
              <a:spcAft>
                <a:spcPts val="0"/>
              </a:spcAft>
              <a:buClr>
                <a:schemeClr val="bg1"/>
              </a:buClr>
              <a:buFont typeface="Courier New" panose="02070309020205020404" pitchFamily="49" charset="0"/>
              <a:buChar char="o"/>
              <a:defRPr>
                <a:solidFill>
                  <a:schemeClr val="bg1"/>
                </a:solidFill>
              </a:defRPr>
            </a:lvl2pPr>
            <a:lvl3pPr>
              <a:lnSpc>
                <a:spcPct val="120000"/>
              </a:lnSpc>
              <a:spcAft>
                <a:spcPts val="0"/>
              </a:spcAft>
              <a:buClr>
                <a:schemeClr val="bg1"/>
              </a:buClr>
              <a:defRPr>
                <a:solidFill>
                  <a:schemeClr val="bg1"/>
                </a:solidFill>
              </a:defRPr>
            </a:lvl3pPr>
            <a:lvl4pPr>
              <a:lnSpc>
                <a:spcPct val="120000"/>
              </a:lnSpc>
              <a:spcAft>
                <a:spcPts val="0"/>
              </a:spcAft>
              <a:buClr>
                <a:schemeClr val="bg1"/>
              </a:buClr>
              <a:defRPr>
                <a:solidFill>
                  <a:schemeClr val="bg1"/>
                </a:solidFill>
              </a:defRPr>
            </a:lvl4pPr>
            <a:lvl5pPr>
              <a:lnSpc>
                <a:spcPct val="120000"/>
              </a:lnSpc>
              <a:spcAft>
                <a:spcPts val="0"/>
              </a:spcAft>
              <a:buClr>
                <a:schemeClr val="bg1"/>
              </a:buClr>
              <a:defRPr sz="1867">
                <a:solidFill>
                  <a:schemeClr val="bg1"/>
                </a:solidFill>
              </a:defRPr>
            </a:lvl5pPr>
            <a:lvl6pPr>
              <a:lnSpc>
                <a:spcPct val="120000"/>
              </a:lnSpc>
              <a:spcAft>
                <a:spcPts val="0"/>
              </a:spcAft>
              <a:buClr>
                <a:schemeClr val="bg1"/>
              </a:buClr>
              <a:defRPr sz="1867">
                <a:solidFill>
                  <a:schemeClr val="bg1"/>
                </a:solidFill>
              </a:defRPr>
            </a:lvl6pPr>
            <a:lvl7pPr>
              <a:lnSpc>
                <a:spcPct val="120000"/>
              </a:lnSpc>
              <a:spcAft>
                <a:spcPts val="0"/>
              </a:spcAft>
              <a:buClr>
                <a:schemeClr val="bg1"/>
              </a:buClr>
              <a:defRPr sz="1867">
                <a:solidFill>
                  <a:schemeClr val="bg1"/>
                </a:solidFill>
              </a:defRPr>
            </a:lvl7pPr>
            <a:lvl8pPr>
              <a:lnSpc>
                <a:spcPct val="120000"/>
              </a:lnSpc>
              <a:spcAft>
                <a:spcPts val="0"/>
              </a:spcAft>
              <a:buClr>
                <a:schemeClr val="bg1"/>
              </a:buClr>
              <a:defRPr sz="1867">
                <a:solidFill>
                  <a:schemeClr val="bg1"/>
                </a:solidFill>
              </a:defRPr>
            </a:lvl8pPr>
            <a:lvl9pPr>
              <a:lnSpc>
                <a:spcPct val="120000"/>
              </a:lnSpc>
              <a:spcAft>
                <a:spcPts val="0"/>
              </a:spcAft>
              <a:buClr>
                <a:schemeClr val="bg1"/>
              </a:buClr>
              <a:defRPr sz="1867">
                <a:solidFill>
                  <a:schemeClr val="bg1"/>
                </a:solidFill>
              </a:defRPr>
            </a:lvl9pPr>
          </a:lstStyle>
          <a:p>
            <a:pPr lvl="0"/>
            <a:r>
              <a:rPr lang="en-US" noProof="0"/>
              <a:t>First level</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2774772070"/>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Contac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03201" y="3493433"/>
            <a:ext cx="4344167" cy="454104"/>
          </a:xfrm>
          <a:blipFill>
            <a:blip r:embed="rId3" cstate="print">
              <a:extLst>
                <a:ext uri="{28A0092B-C50C-407E-A947-70E740481C1C}">
                  <a14:useLocalDpi xmlns:a14="http://schemas.microsoft.com/office/drawing/2010/main"/>
                </a:ext>
              </a:extLst>
            </a:blip>
            <a:stretch>
              <a:fillRect/>
            </a:stretch>
          </a:blipFill>
        </p:spPr>
        <p:txBody>
          <a:bodyPr>
            <a:spAutoFit/>
          </a:bodyPr>
          <a:lstStyle>
            <a:lvl1pPr>
              <a:defRPr baseline="0">
                <a:solidFill>
                  <a:schemeClr val="bg1"/>
                </a:solidFill>
              </a:defRPr>
            </a:lvl1pPr>
          </a:lstStyle>
          <a:p>
            <a:r>
              <a:rPr lang="en-US"/>
              <a:t>Thank you</a:t>
            </a:r>
          </a:p>
        </p:txBody>
      </p:sp>
      <p:sp>
        <p:nvSpPr>
          <p:cNvPr id="11" name="Picture Placeholder 10"/>
          <p:cNvSpPr>
            <a:spLocks noGrp="1" noChangeAspect="1"/>
          </p:cNvSpPr>
          <p:nvPr>
            <p:ph type="pic" sz="quarter" idx="13"/>
          </p:nvPr>
        </p:nvSpPr>
        <p:spPr>
          <a:xfrm>
            <a:off x="5280000" y="2475664"/>
            <a:ext cx="1574400" cy="1574400"/>
          </a:xfrm>
          <a:custGeom>
            <a:avLst/>
            <a:gdLst>
              <a:gd name="connsiteX0" fmla="*/ 872837 w 1745674"/>
              <a:gd name="connsiteY0" fmla="*/ 0 h 1745674"/>
              <a:gd name="connsiteX1" fmla="*/ 1745674 w 1745674"/>
              <a:gd name="connsiteY1" fmla="*/ 872837 h 1745674"/>
              <a:gd name="connsiteX2" fmla="*/ 872837 w 1745674"/>
              <a:gd name="connsiteY2" fmla="*/ 1745674 h 1745674"/>
              <a:gd name="connsiteX3" fmla="*/ 0 w 1745674"/>
              <a:gd name="connsiteY3" fmla="*/ 872837 h 1745674"/>
              <a:gd name="connsiteX4" fmla="*/ 872837 w 1745674"/>
              <a:gd name="connsiteY4" fmla="*/ 0 h 17456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45674" h="1745674">
                <a:moveTo>
                  <a:pt x="872837" y="0"/>
                </a:moveTo>
                <a:cubicBezTo>
                  <a:pt x="1354892" y="0"/>
                  <a:pt x="1745674" y="390782"/>
                  <a:pt x="1745674" y="872837"/>
                </a:cubicBezTo>
                <a:cubicBezTo>
                  <a:pt x="1745674" y="1354892"/>
                  <a:pt x="1354892" y="1745674"/>
                  <a:pt x="872837" y="1745674"/>
                </a:cubicBezTo>
                <a:cubicBezTo>
                  <a:pt x="390782" y="1745674"/>
                  <a:pt x="0" y="1354892"/>
                  <a:pt x="0" y="872837"/>
                </a:cubicBezTo>
                <a:cubicBezTo>
                  <a:pt x="0" y="390782"/>
                  <a:pt x="390782" y="0"/>
                  <a:pt x="872837" y="0"/>
                </a:cubicBezTo>
                <a:close/>
              </a:path>
            </a:pathLst>
          </a:custGeom>
        </p:spPr>
        <p:txBody>
          <a:bodyPr wrap="square">
            <a:noAutofit/>
          </a:bodyPr>
          <a:lstStyle>
            <a:lvl1pPr marL="0" indent="0" algn="ctr">
              <a:buNone/>
              <a:defRPr sz="1867">
                <a:solidFill>
                  <a:schemeClr val="bg1"/>
                </a:solidFill>
              </a:defRPr>
            </a:lvl1pPr>
          </a:lstStyle>
          <a:p>
            <a:r>
              <a:rPr lang="en-US"/>
              <a:t>Click icon to add picture</a:t>
            </a:r>
          </a:p>
        </p:txBody>
      </p:sp>
      <p:sp>
        <p:nvSpPr>
          <p:cNvPr id="16" name="Picture Placeholder 10"/>
          <p:cNvSpPr>
            <a:spLocks noGrp="1" noChangeAspect="1"/>
          </p:cNvSpPr>
          <p:nvPr>
            <p:ph type="pic" sz="quarter" idx="16"/>
          </p:nvPr>
        </p:nvSpPr>
        <p:spPr>
          <a:xfrm>
            <a:off x="5280000" y="4874016"/>
            <a:ext cx="1574400" cy="1574400"/>
          </a:xfrm>
          <a:custGeom>
            <a:avLst/>
            <a:gdLst>
              <a:gd name="connsiteX0" fmla="*/ 872837 w 1745674"/>
              <a:gd name="connsiteY0" fmla="*/ 0 h 1745674"/>
              <a:gd name="connsiteX1" fmla="*/ 1745674 w 1745674"/>
              <a:gd name="connsiteY1" fmla="*/ 872837 h 1745674"/>
              <a:gd name="connsiteX2" fmla="*/ 872837 w 1745674"/>
              <a:gd name="connsiteY2" fmla="*/ 1745674 h 1745674"/>
              <a:gd name="connsiteX3" fmla="*/ 0 w 1745674"/>
              <a:gd name="connsiteY3" fmla="*/ 872837 h 1745674"/>
              <a:gd name="connsiteX4" fmla="*/ 872837 w 1745674"/>
              <a:gd name="connsiteY4" fmla="*/ 0 h 17456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45674" h="1745674">
                <a:moveTo>
                  <a:pt x="872837" y="0"/>
                </a:moveTo>
                <a:cubicBezTo>
                  <a:pt x="1354892" y="0"/>
                  <a:pt x="1745674" y="390782"/>
                  <a:pt x="1745674" y="872837"/>
                </a:cubicBezTo>
                <a:cubicBezTo>
                  <a:pt x="1745674" y="1354892"/>
                  <a:pt x="1354892" y="1745674"/>
                  <a:pt x="872837" y="1745674"/>
                </a:cubicBezTo>
                <a:cubicBezTo>
                  <a:pt x="390782" y="1745674"/>
                  <a:pt x="0" y="1354892"/>
                  <a:pt x="0" y="872837"/>
                </a:cubicBezTo>
                <a:cubicBezTo>
                  <a:pt x="0" y="390782"/>
                  <a:pt x="390782" y="0"/>
                  <a:pt x="872837" y="0"/>
                </a:cubicBezTo>
                <a:close/>
              </a:path>
            </a:pathLst>
          </a:custGeom>
        </p:spPr>
        <p:txBody>
          <a:bodyPr wrap="square">
            <a:noAutofit/>
          </a:bodyPr>
          <a:lstStyle>
            <a:lvl1pPr marL="0" indent="0" algn="r">
              <a:buNone/>
              <a:defRPr sz="1867">
                <a:solidFill>
                  <a:schemeClr val="bg1"/>
                </a:solidFill>
              </a:defRPr>
            </a:lvl1pPr>
          </a:lstStyle>
          <a:p>
            <a:r>
              <a:rPr lang="en-US"/>
              <a:t>Click icon to add picture</a:t>
            </a:r>
          </a:p>
        </p:txBody>
      </p:sp>
      <p:sp>
        <p:nvSpPr>
          <p:cNvPr id="6" name="TextBox 5"/>
          <p:cNvSpPr txBox="1"/>
          <p:nvPr userDrawn="1"/>
        </p:nvSpPr>
        <p:spPr>
          <a:xfrm>
            <a:off x="403200" y="5740674"/>
            <a:ext cx="3175483" cy="314532"/>
          </a:xfrm>
          <a:prstGeom prst="rect">
            <a:avLst/>
          </a:prstGeom>
          <a:noFill/>
        </p:spPr>
        <p:txBody>
          <a:bodyPr wrap="square" lIns="0" tIns="0" rIns="0" bIns="0" rtlCol="0">
            <a:noAutofit/>
          </a:bodyPr>
          <a:lstStyle/>
          <a:p>
            <a:pPr>
              <a:lnSpc>
                <a:spcPct val="75000"/>
              </a:lnSpc>
            </a:pPr>
            <a:r>
              <a:rPr lang="en-US" sz="1867">
                <a:solidFill>
                  <a:schemeClr val="tx1"/>
                </a:solidFill>
                <a:latin typeface="+mj-lt"/>
                <a:cs typeface="MV Boli" panose="02000500030200090000" pitchFamily="2" charset="0"/>
                <a:hlinkClick r:id="rId4"/>
              </a:rPr>
              <a:t>SKIMgroup.com</a:t>
            </a:r>
            <a:endParaRPr lang="en-US" sz="1467">
              <a:solidFill>
                <a:schemeClr val="tx1"/>
              </a:solidFill>
              <a:latin typeface="+mj-lt"/>
              <a:cs typeface="MV Boli" panose="02000500030200090000" pitchFamily="2" charset="0"/>
            </a:endParaRPr>
          </a:p>
        </p:txBody>
      </p:sp>
      <p:pic>
        <p:nvPicPr>
          <p:cNvPr id="22" name="Afbeelding 2" descr="004-slideshare-logo.png">
            <a:hlinkClick r:id="rId5"/>
          </p:cNvPr>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982303" y="6107940"/>
            <a:ext cx="342741" cy="342741"/>
          </a:xfrm>
          <a:prstGeom prst="rect">
            <a:avLst/>
          </a:prstGeom>
        </p:spPr>
      </p:pic>
      <p:pic>
        <p:nvPicPr>
          <p:cNvPr id="23" name="Afbeelding 3" descr="006-linkedin-logo-button.png">
            <a:hlinkClick r:id="rId7"/>
          </p:cNvPr>
          <p:cNvPicPr>
            <a:picLocks noChangeAspect="1"/>
          </p:cNvPicPr>
          <p:nvPr userDrawn="1"/>
        </p:nvPicPr>
        <p:blipFill>
          <a:blip r:embed="rId8" cstate="print">
            <a:extLst>
              <a:ext uri="{28A0092B-C50C-407E-A947-70E740481C1C}">
                <a14:useLocalDpi xmlns:a14="http://schemas.microsoft.com/office/drawing/2010/main"/>
              </a:ext>
            </a:extLst>
          </a:blip>
          <a:stretch>
            <a:fillRect/>
          </a:stretch>
        </p:blipFill>
        <p:spPr>
          <a:xfrm>
            <a:off x="403200" y="6107940"/>
            <a:ext cx="342741" cy="342741"/>
          </a:xfrm>
          <a:prstGeom prst="rect">
            <a:avLst/>
          </a:prstGeom>
        </p:spPr>
      </p:pic>
      <p:pic>
        <p:nvPicPr>
          <p:cNvPr id="24" name="Afbeelding 4" descr="005-youtube-symbol.png">
            <a:hlinkClick r:id="rId9"/>
          </p:cNvPr>
          <p:cNvPicPr>
            <a:picLocks noChangeAspect="1"/>
          </p:cNvPicPr>
          <p:nvPr userDrawn="1"/>
        </p:nvPicPr>
        <p:blipFill>
          <a:blip r:embed="rId10" cstate="print">
            <a:extLst>
              <a:ext uri="{28A0092B-C50C-407E-A947-70E740481C1C}">
                <a14:useLocalDpi xmlns:a14="http://schemas.microsoft.com/office/drawing/2010/main"/>
              </a:ext>
            </a:extLst>
          </a:blip>
          <a:stretch>
            <a:fillRect/>
          </a:stretch>
        </p:blipFill>
        <p:spPr>
          <a:xfrm>
            <a:off x="1550063" y="6107940"/>
            <a:ext cx="342741" cy="342741"/>
          </a:xfrm>
          <a:prstGeom prst="rect">
            <a:avLst/>
          </a:prstGeom>
        </p:spPr>
      </p:pic>
      <p:pic>
        <p:nvPicPr>
          <p:cNvPr id="25" name="Afbeelding 14" descr="003-twitter-logo-button.png">
            <a:hlinkClick r:id="rId11"/>
          </p:cNvPr>
          <p:cNvPicPr>
            <a:picLocks noChangeAspect="1"/>
          </p:cNvPicPr>
          <p:nvPr userDrawn="1"/>
        </p:nvPicPr>
        <p:blipFill>
          <a:blip r:embed="rId12" cstate="print">
            <a:extLst>
              <a:ext uri="{28A0092B-C50C-407E-A947-70E740481C1C}">
                <a14:useLocalDpi xmlns:a14="http://schemas.microsoft.com/office/drawing/2010/main"/>
              </a:ext>
            </a:extLst>
          </a:blip>
          <a:stretch>
            <a:fillRect/>
          </a:stretch>
        </p:blipFill>
        <p:spPr>
          <a:xfrm>
            <a:off x="2117823" y="6113742"/>
            <a:ext cx="336940" cy="336940"/>
          </a:xfrm>
          <a:prstGeom prst="rect">
            <a:avLst/>
          </a:prstGeom>
        </p:spPr>
      </p:pic>
      <p:pic>
        <p:nvPicPr>
          <p:cNvPr id="26" name="Afbeelding 15" descr="002-facebook-logo-button.png">
            <a:hlinkClick r:id="rId13"/>
          </p:cNvPr>
          <p:cNvPicPr>
            <a:picLocks noChangeAspect="1"/>
          </p:cNvPicPr>
          <p:nvPr userDrawn="1"/>
        </p:nvPicPr>
        <p:blipFill>
          <a:blip r:embed="rId14" cstate="print">
            <a:extLst>
              <a:ext uri="{28A0092B-C50C-407E-A947-70E740481C1C}">
                <a14:useLocalDpi xmlns:a14="http://schemas.microsoft.com/office/drawing/2010/main"/>
              </a:ext>
            </a:extLst>
          </a:blip>
          <a:stretch>
            <a:fillRect/>
          </a:stretch>
        </p:blipFill>
        <p:spPr>
          <a:xfrm>
            <a:off x="2679782" y="6113742"/>
            <a:ext cx="336940" cy="336940"/>
          </a:xfrm>
          <a:prstGeom prst="rect">
            <a:avLst/>
          </a:prstGeom>
        </p:spPr>
      </p:pic>
      <p:pic>
        <p:nvPicPr>
          <p:cNvPr id="27" name="Afbeelding 16" descr="001-instagram.png">
            <a:hlinkClick r:id="rId15"/>
          </p:cNvPr>
          <p:cNvPicPr>
            <a:picLocks noChangeAspect="1"/>
          </p:cNvPicPr>
          <p:nvPr userDrawn="1"/>
        </p:nvPicPr>
        <p:blipFill>
          <a:blip r:embed="rId16" cstate="print">
            <a:extLst>
              <a:ext uri="{28A0092B-C50C-407E-A947-70E740481C1C}">
                <a14:useLocalDpi xmlns:a14="http://schemas.microsoft.com/office/drawing/2010/main"/>
              </a:ext>
            </a:extLst>
          </a:blip>
          <a:stretch>
            <a:fillRect/>
          </a:stretch>
        </p:blipFill>
        <p:spPr>
          <a:xfrm>
            <a:off x="3241743" y="6113742"/>
            <a:ext cx="336940" cy="336940"/>
          </a:xfrm>
          <a:prstGeom prst="rect">
            <a:avLst/>
          </a:prstGeom>
        </p:spPr>
      </p:pic>
      <p:sp>
        <p:nvSpPr>
          <p:cNvPr id="29" name="Text Placeholder 28"/>
          <p:cNvSpPr>
            <a:spLocks noGrp="1"/>
          </p:cNvSpPr>
          <p:nvPr>
            <p:ph type="body" sz="quarter" idx="17" hasCustomPrompt="1"/>
          </p:nvPr>
        </p:nvSpPr>
        <p:spPr>
          <a:xfrm>
            <a:off x="7045633" y="2477065"/>
            <a:ext cx="4737353" cy="1178209"/>
          </a:xfrm>
        </p:spPr>
        <p:txBody>
          <a:bodyPr tIns="0" anchor="t"/>
          <a:lstStyle>
            <a:lvl1pPr marL="0" indent="0">
              <a:spcAft>
                <a:spcPts val="0"/>
              </a:spcAft>
              <a:buNone/>
              <a:defRPr>
                <a:solidFill>
                  <a:schemeClr val="bg1"/>
                </a:solidFill>
              </a:defRPr>
            </a:lvl1pPr>
            <a:lvl2pPr marL="0" indent="0">
              <a:spcAft>
                <a:spcPts val="0"/>
              </a:spcAft>
              <a:buFontTx/>
              <a:buNone/>
              <a:defRPr sz="1867">
                <a:solidFill>
                  <a:schemeClr val="bg1"/>
                </a:solidFill>
              </a:defRPr>
            </a:lvl2pPr>
            <a:lvl3pPr marL="0" indent="0">
              <a:spcAft>
                <a:spcPts val="0"/>
              </a:spcAft>
              <a:buFontTx/>
              <a:buNone/>
              <a:defRPr sz="1867" u="sng">
                <a:solidFill>
                  <a:schemeClr val="bg2"/>
                </a:solidFill>
              </a:defRPr>
            </a:lvl3pPr>
            <a:lvl4pPr marL="0" indent="0">
              <a:buFontTx/>
              <a:buNone/>
              <a:defRPr sz="1867">
                <a:solidFill>
                  <a:schemeClr val="bg1"/>
                </a:solidFill>
              </a:defRPr>
            </a:lvl4pPr>
            <a:lvl5pPr marL="0" indent="0">
              <a:buFontTx/>
              <a:buNone/>
              <a:defRPr sz="1867">
                <a:solidFill>
                  <a:schemeClr val="bg1"/>
                </a:solidFill>
              </a:defRPr>
            </a:lvl5pPr>
            <a:lvl6pPr marL="0" indent="0">
              <a:buFontTx/>
              <a:buNone/>
              <a:defRPr sz="1867">
                <a:solidFill>
                  <a:schemeClr val="bg1"/>
                </a:solidFill>
              </a:defRPr>
            </a:lvl6pPr>
            <a:lvl7pPr marL="0" indent="0">
              <a:buFontTx/>
              <a:buNone/>
              <a:defRPr sz="1867">
                <a:solidFill>
                  <a:schemeClr val="bg1"/>
                </a:solidFill>
              </a:defRPr>
            </a:lvl7pPr>
            <a:lvl8pPr marL="0" indent="0">
              <a:buFontTx/>
              <a:buNone/>
              <a:defRPr sz="1867">
                <a:solidFill>
                  <a:schemeClr val="bg1"/>
                </a:solidFill>
              </a:defRPr>
            </a:lvl8pPr>
            <a:lvl9pPr marL="0" indent="0">
              <a:buFontTx/>
              <a:buNone/>
              <a:defRPr sz="1867">
                <a:solidFill>
                  <a:schemeClr val="bg1"/>
                </a:solidFill>
              </a:defRPr>
            </a:lvl9pPr>
          </a:lstStyle>
          <a:p>
            <a:pPr lvl="0"/>
            <a:r>
              <a:rPr lang="en-US" noProof="0"/>
              <a:t>Firstname Lastname</a:t>
            </a:r>
          </a:p>
          <a:p>
            <a:pPr lvl="1"/>
            <a:r>
              <a:rPr lang="en-US" noProof="0"/>
              <a:t>Job Title</a:t>
            </a:r>
          </a:p>
          <a:p>
            <a:pPr lvl="2"/>
            <a:r>
              <a:rPr lang="en-US" noProof="0"/>
              <a:t>n.ame@skimgroup.com</a:t>
            </a:r>
          </a:p>
          <a:p>
            <a:pPr lvl="1"/>
            <a:endParaRPr lang="en-US" noProof="0"/>
          </a:p>
        </p:txBody>
      </p:sp>
      <p:pic>
        <p:nvPicPr>
          <p:cNvPr id="17" name="Picture 16"/>
          <p:cNvPicPr>
            <a:picLocks noChangeAspect="1"/>
          </p:cNvPicPr>
          <p:nvPr userDrawn="1"/>
        </p:nvPicPr>
        <p:blipFill>
          <a:blip r:embed="rId17" cstate="print">
            <a:extLst>
              <a:ext uri="{28A0092B-C50C-407E-A947-70E740481C1C}">
                <a14:useLocalDpi xmlns:a14="http://schemas.microsoft.com/office/drawing/2010/main"/>
              </a:ext>
            </a:extLst>
          </a:blip>
          <a:stretch>
            <a:fillRect/>
          </a:stretch>
        </p:blipFill>
        <p:spPr>
          <a:xfrm>
            <a:off x="415394" y="804576"/>
            <a:ext cx="1397135" cy="963264"/>
          </a:xfrm>
          <a:prstGeom prst="rect">
            <a:avLst/>
          </a:prstGeom>
        </p:spPr>
      </p:pic>
      <p:pic>
        <p:nvPicPr>
          <p:cNvPr id="18" name="Afbeelding 5"/>
          <p:cNvPicPr>
            <a:picLocks noChangeAspect="1"/>
          </p:cNvPicPr>
          <p:nvPr userDrawn="1"/>
        </p:nvPicPr>
        <p:blipFill rotWithShape="1">
          <a:blip r:embed="rId18" cstate="print">
            <a:extLst>
              <a:ext uri="{28A0092B-C50C-407E-A947-70E740481C1C}">
                <a14:useLocalDpi xmlns:a14="http://schemas.microsoft.com/office/drawing/2010/main"/>
              </a:ext>
            </a:extLst>
          </a:blip>
          <a:srcRect/>
          <a:stretch/>
        </p:blipFill>
        <p:spPr bwMode="auto">
          <a:xfrm>
            <a:off x="9707460" y="334116"/>
            <a:ext cx="2124293" cy="1891200"/>
          </a:xfrm>
          <a:prstGeom prst="rect">
            <a:avLst/>
          </a:prstGeom>
          <a:ln>
            <a:noFill/>
          </a:ln>
          <a:extLst>
            <a:ext uri="{53640926-AAD7-44d8-BBD7-CCE9431645EC}">
              <a14:shadowObscured xmlns:lc="http://schemas.openxmlformats.org/drawingml/2006/lockedCanvas" xmlns:mo="http://schemas.microsoft.com/office/mac/office/2008/main" xmlns:mv="urn:schemas-microsoft-com:mac:vml" xmlns:o="urn:schemas-microsoft-com:office:office" xmlns:v="urn:schemas-microsoft-com:vml" xmlns:w10="urn:schemas-microsoft-com:office:word" xmlns:w="http://schemas.openxmlformats.org/wordprocessingml/2006/main" xmlns:a14="http://schemas.microsoft.com/office/drawing/2010/main" xmlns:pic="http://schemas.openxmlformats.org/drawingml/2006/picture" xmlns:wps="http://schemas.microsoft.com/office/word/2010/wordprocessingShape" xmlns:wne="http://schemas.microsoft.com/office/word/2006/wordml" xmlns:wpi="http://schemas.microsoft.com/office/word/2010/wordprocessingInk" xmlns:wpg="http://schemas.microsoft.com/office/word/2010/wordprocessingGroup" xmlns:w15="http://schemas.microsoft.com/office/word/2012/wordml" xmlns:w14="http://schemas.microsoft.com/office/word/2010/wordml" xmlns:wp="http://schemas.openxmlformats.org/drawingml/2006/wordprocessingDrawing" xmlns:wp14="http://schemas.microsoft.com/office/word/2010/wordprocessingDrawing" xmlns:m="http://schemas.openxmlformats.org/officeDocument/2006/math" xmlns:mc="http://schemas.openxmlformats.org/markup-compatibility/2006" xmlns:wpc="http://schemas.microsoft.com/office/word/2010/wordprocessingCanvas" xmlns=""/>
            </a:ext>
          </a:extLst>
        </p:spPr>
      </p:pic>
      <p:sp>
        <p:nvSpPr>
          <p:cNvPr id="7" name="Text Placeholder 6"/>
          <p:cNvSpPr>
            <a:spLocks noGrp="1"/>
          </p:cNvSpPr>
          <p:nvPr>
            <p:ph type="body" sz="quarter" idx="19" hasCustomPrompt="1"/>
          </p:nvPr>
        </p:nvSpPr>
        <p:spPr>
          <a:xfrm>
            <a:off x="7492031" y="3672417"/>
            <a:ext cx="4291453" cy="313267"/>
          </a:xfrm>
        </p:spPr>
        <p:txBody>
          <a:bodyPr/>
          <a:lstStyle>
            <a:lvl1pPr marL="0" indent="0">
              <a:buNone/>
              <a:defRPr sz="1867">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Twitter</a:t>
            </a:r>
          </a:p>
        </p:txBody>
      </p:sp>
      <p:sp>
        <p:nvSpPr>
          <p:cNvPr id="21" name="Text Placeholder 28"/>
          <p:cNvSpPr>
            <a:spLocks noGrp="1"/>
          </p:cNvSpPr>
          <p:nvPr>
            <p:ph type="body" sz="quarter" idx="20" hasCustomPrompt="1"/>
          </p:nvPr>
        </p:nvSpPr>
        <p:spPr>
          <a:xfrm>
            <a:off x="7045633" y="4874017"/>
            <a:ext cx="4737353" cy="1178209"/>
          </a:xfrm>
        </p:spPr>
        <p:txBody>
          <a:bodyPr tIns="0" anchor="t"/>
          <a:lstStyle>
            <a:lvl1pPr marL="0" indent="0">
              <a:spcAft>
                <a:spcPts val="0"/>
              </a:spcAft>
              <a:buNone/>
              <a:defRPr>
                <a:solidFill>
                  <a:schemeClr val="bg1"/>
                </a:solidFill>
              </a:defRPr>
            </a:lvl1pPr>
            <a:lvl2pPr marL="0" indent="0">
              <a:spcAft>
                <a:spcPts val="0"/>
              </a:spcAft>
              <a:buFontTx/>
              <a:buNone/>
              <a:defRPr sz="1867">
                <a:solidFill>
                  <a:schemeClr val="bg1"/>
                </a:solidFill>
              </a:defRPr>
            </a:lvl2pPr>
            <a:lvl3pPr marL="0" indent="0">
              <a:spcAft>
                <a:spcPts val="0"/>
              </a:spcAft>
              <a:buFontTx/>
              <a:buNone/>
              <a:defRPr sz="1867" u="sng">
                <a:solidFill>
                  <a:schemeClr val="bg2"/>
                </a:solidFill>
              </a:defRPr>
            </a:lvl3pPr>
            <a:lvl4pPr marL="0" indent="0">
              <a:buFontTx/>
              <a:buNone/>
              <a:defRPr sz="1867">
                <a:solidFill>
                  <a:schemeClr val="bg1"/>
                </a:solidFill>
              </a:defRPr>
            </a:lvl4pPr>
            <a:lvl5pPr marL="0" indent="0">
              <a:buFontTx/>
              <a:buNone/>
              <a:defRPr sz="1867">
                <a:solidFill>
                  <a:schemeClr val="bg1"/>
                </a:solidFill>
              </a:defRPr>
            </a:lvl5pPr>
            <a:lvl6pPr marL="0" indent="0">
              <a:buFontTx/>
              <a:buNone/>
              <a:defRPr sz="1867">
                <a:solidFill>
                  <a:schemeClr val="bg1"/>
                </a:solidFill>
              </a:defRPr>
            </a:lvl6pPr>
            <a:lvl7pPr marL="0" indent="0">
              <a:buFontTx/>
              <a:buNone/>
              <a:defRPr sz="1867">
                <a:solidFill>
                  <a:schemeClr val="bg1"/>
                </a:solidFill>
              </a:defRPr>
            </a:lvl7pPr>
            <a:lvl8pPr marL="0" indent="0">
              <a:buFontTx/>
              <a:buNone/>
              <a:defRPr sz="1867">
                <a:solidFill>
                  <a:schemeClr val="bg1"/>
                </a:solidFill>
              </a:defRPr>
            </a:lvl8pPr>
            <a:lvl9pPr marL="0" indent="0">
              <a:buFontTx/>
              <a:buNone/>
              <a:defRPr sz="1867">
                <a:solidFill>
                  <a:schemeClr val="bg1"/>
                </a:solidFill>
              </a:defRPr>
            </a:lvl9pPr>
          </a:lstStyle>
          <a:p>
            <a:pPr lvl="0"/>
            <a:r>
              <a:rPr lang="en-US" noProof="0"/>
              <a:t>Firstname Lastname</a:t>
            </a:r>
          </a:p>
          <a:p>
            <a:pPr lvl="1"/>
            <a:r>
              <a:rPr lang="en-US" noProof="0"/>
              <a:t>Job Title</a:t>
            </a:r>
          </a:p>
          <a:p>
            <a:pPr lvl="2"/>
            <a:r>
              <a:rPr lang="en-US" noProof="0"/>
              <a:t>n.ame@skimgroup.com</a:t>
            </a:r>
          </a:p>
          <a:p>
            <a:pPr lvl="1"/>
            <a:endParaRPr lang="en-US" noProof="0"/>
          </a:p>
        </p:txBody>
      </p:sp>
      <p:sp>
        <p:nvSpPr>
          <p:cNvPr id="28" name="Text Placeholder 6"/>
          <p:cNvSpPr>
            <a:spLocks noGrp="1"/>
          </p:cNvSpPr>
          <p:nvPr>
            <p:ph type="body" sz="quarter" idx="21" hasCustomPrompt="1"/>
          </p:nvPr>
        </p:nvSpPr>
        <p:spPr>
          <a:xfrm>
            <a:off x="7492031" y="6069369"/>
            <a:ext cx="4291453" cy="313267"/>
          </a:xfrm>
        </p:spPr>
        <p:txBody>
          <a:bodyPr/>
          <a:lstStyle>
            <a:lvl1pPr marL="0" indent="0">
              <a:buNone/>
              <a:defRPr sz="1867">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Twitter</a:t>
            </a:r>
          </a:p>
        </p:txBody>
      </p:sp>
    </p:spTree>
    <p:extLst>
      <p:ext uri="{BB962C8B-B14F-4D97-AF65-F5344CB8AC3E}">
        <p14:creationId xmlns:p14="http://schemas.microsoft.com/office/powerpoint/2010/main" val="3613738895"/>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1_Contacts 3">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1" name="Picture Placeholder 10"/>
          <p:cNvSpPr>
            <a:spLocks noGrp="1" noChangeAspect="1"/>
          </p:cNvSpPr>
          <p:nvPr>
            <p:ph type="pic" sz="quarter" idx="13"/>
          </p:nvPr>
        </p:nvSpPr>
        <p:spPr>
          <a:xfrm>
            <a:off x="403200" y="3027420"/>
            <a:ext cx="1288976" cy="1288976"/>
          </a:xfrm>
          <a:custGeom>
            <a:avLst/>
            <a:gdLst>
              <a:gd name="connsiteX0" fmla="*/ 872837 w 1745674"/>
              <a:gd name="connsiteY0" fmla="*/ 0 h 1745674"/>
              <a:gd name="connsiteX1" fmla="*/ 1745674 w 1745674"/>
              <a:gd name="connsiteY1" fmla="*/ 872837 h 1745674"/>
              <a:gd name="connsiteX2" fmla="*/ 872837 w 1745674"/>
              <a:gd name="connsiteY2" fmla="*/ 1745674 h 1745674"/>
              <a:gd name="connsiteX3" fmla="*/ 0 w 1745674"/>
              <a:gd name="connsiteY3" fmla="*/ 872837 h 1745674"/>
              <a:gd name="connsiteX4" fmla="*/ 872837 w 1745674"/>
              <a:gd name="connsiteY4" fmla="*/ 0 h 17456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45674" h="1745674">
                <a:moveTo>
                  <a:pt x="872837" y="0"/>
                </a:moveTo>
                <a:cubicBezTo>
                  <a:pt x="1354892" y="0"/>
                  <a:pt x="1745674" y="390782"/>
                  <a:pt x="1745674" y="872837"/>
                </a:cubicBezTo>
                <a:cubicBezTo>
                  <a:pt x="1745674" y="1354892"/>
                  <a:pt x="1354892" y="1745674"/>
                  <a:pt x="872837" y="1745674"/>
                </a:cubicBezTo>
                <a:cubicBezTo>
                  <a:pt x="390782" y="1745674"/>
                  <a:pt x="0" y="1354892"/>
                  <a:pt x="0" y="872837"/>
                </a:cubicBezTo>
                <a:cubicBezTo>
                  <a:pt x="0" y="390782"/>
                  <a:pt x="390782" y="0"/>
                  <a:pt x="872837" y="0"/>
                </a:cubicBezTo>
                <a:close/>
              </a:path>
            </a:pathLst>
          </a:custGeom>
        </p:spPr>
        <p:txBody>
          <a:bodyPr wrap="square">
            <a:noAutofit/>
          </a:bodyPr>
          <a:lstStyle>
            <a:lvl1pPr marL="0" indent="0" algn="ctr">
              <a:buNone/>
              <a:defRPr sz="1867">
                <a:solidFill>
                  <a:schemeClr val="bg1"/>
                </a:solidFill>
              </a:defRPr>
            </a:lvl1pPr>
          </a:lstStyle>
          <a:p>
            <a:r>
              <a:rPr lang="en-US"/>
              <a:t>Click icon to add picture</a:t>
            </a:r>
          </a:p>
        </p:txBody>
      </p:sp>
      <p:sp>
        <p:nvSpPr>
          <p:cNvPr id="6" name="TextBox 5"/>
          <p:cNvSpPr txBox="1"/>
          <p:nvPr userDrawn="1"/>
        </p:nvSpPr>
        <p:spPr>
          <a:xfrm>
            <a:off x="7649029" y="6201434"/>
            <a:ext cx="1826328" cy="220623"/>
          </a:xfrm>
          <a:prstGeom prst="rect">
            <a:avLst/>
          </a:prstGeom>
          <a:noFill/>
        </p:spPr>
        <p:txBody>
          <a:bodyPr wrap="square" lIns="0" tIns="0" rIns="0" bIns="0" rtlCol="0">
            <a:noAutofit/>
          </a:bodyPr>
          <a:lstStyle/>
          <a:p>
            <a:pPr algn="l">
              <a:lnSpc>
                <a:spcPct val="75000"/>
              </a:lnSpc>
            </a:pPr>
            <a:r>
              <a:rPr lang="en-US" sz="1867">
                <a:solidFill>
                  <a:schemeClr val="tx1"/>
                </a:solidFill>
                <a:latin typeface="+mj-lt"/>
                <a:cs typeface="MV Boli" panose="02000500030200090000" pitchFamily="2" charset="0"/>
                <a:hlinkClick r:id="rId3"/>
              </a:rPr>
              <a:t>SKIMgroup.com</a:t>
            </a:r>
            <a:endParaRPr lang="en-US" sz="2400">
              <a:solidFill>
                <a:schemeClr val="tx1"/>
              </a:solidFill>
              <a:latin typeface="+mj-lt"/>
              <a:cs typeface="MV Boli" panose="02000500030200090000" pitchFamily="2" charset="0"/>
            </a:endParaRPr>
          </a:p>
        </p:txBody>
      </p:sp>
      <p:pic>
        <p:nvPicPr>
          <p:cNvPr id="22" name="Afbeelding 2" descr="004-slideshare-logo.png">
            <a:hlinkClick r:id="rId4"/>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9952177" y="6142217"/>
            <a:ext cx="292608" cy="292608"/>
          </a:xfrm>
          <a:prstGeom prst="rect">
            <a:avLst/>
          </a:prstGeom>
        </p:spPr>
      </p:pic>
      <p:pic>
        <p:nvPicPr>
          <p:cNvPr id="23" name="Afbeelding 3" descr="006-linkedin-logo-button.png">
            <a:hlinkClick r:id="rId6"/>
          </p:cNvPr>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9568673" y="6142217"/>
            <a:ext cx="292608" cy="292608"/>
          </a:xfrm>
          <a:prstGeom prst="rect">
            <a:avLst/>
          </a:prstGeom>
        </p:spPr>
      </p:pic>
      <p:pic>
        <p:nvPicPr>
          <p:cNvPr id="24" name="Afbeelding 4" descr="005-youtube-symbol.png">
            <a:hlinkClick r:id="rId8"/>
          </p:cNvPr>
          <p:cNvPicPr>
            <a:picLocks noChangeAspect="1"/>
          </p:cNvPicPr>
          <p:nvPr userDrawn="1"/>
        </p:nvPicPr>
        <p:blipFill>
          <a:blip r:embed="rId9" cstate="print">
            <a:extLst>
              <a:ext uri="{28A0092B-C50C-407E-A947-70E740481C1C}">
                <a14:useLocalDpi xmlns:a14="http://schemas.microsoft.com/office/drawing/2010/main"/>
              </a:ext>
            </a:extLst>
          </a:blip>
          <a:stretch>
            <a:fillRect/>
          </a:stretch>
        </p:blipFill>
        <p:spPr>
          <a:xfrm>
            <a:off x="10335681" y="6142217"/>
            <a:ext cx="292608" cy="292608"/>
          </a:xfrm>
          <a:prstGeom prst="rect">
            <a:avLst/>
          </a:prstGeom>
        </p:spPr>
      </p:pic>
      <p:pic>
        <p:nvPicPr>
          <p:cNvPr id="25" name="Afbeelding 14" descr="003-twitter-logo-button.png">
            <a:hlinkClick r:id="rId10"/>
          </p:cNvPr>
          <p:cNvPicPr>
            <a:picLocks noChangeAspect="1"/>
          </p:cNvPicPr>
          <p:nvPr userDrawn="1"/>
        </p:nvPicPr>
        <p:blipFill>
          <a:blip r:embed="rId11" cstate="print">
            <a:extLst>
              <a:ext uri="{28A0092B-C50C-407E-A947-70E740481C1C}">
                <a14:useLocalDpi xmlns:a14="http://schemas.microsoft.com/office/drawing/2010/main"/>
              </a:ext>
            </a:extLst>
          </a:blip>
          <a:stretch>
            <a:fillRect/>
          </a:stretch>
        </p:blipFill>
        <p:spPr>
          <a:xfrm>
            <a:off x="10719185" y="6142217"/>
            <a:ext cx="292608" cy="292608"/>
          </a:xfrm>
          <a:prstGeom prst="rect">
            <a:avLst/>
          </a:prstGeom>
        </p:spPr>
      </p:pic>
      <p:pic>
        <p:nvPicPr>
          <p:cNvPr id="26" name="Afbeelding 15" descr="002-facebook-logo-button.png">
            <a:hlinkClick r:id="rId12"/>
          </p:cNvPr>
          <p:cNvPicPr>
            <a:picLocks noChangeAspect="1"/>
          </p:cNvPicPr>
          <p:nvPr userDrawn="1"/>
        </p:nvPicPr>
        <p:blipFill>
          <a:blip r:embed="rId13" cstate="print">
            <a:extLst>
              <a:ext uri="{28A0092B-C50C-407E-A947-70E740481C1C}">
                <a14:useLocalDpi xmlns:a14="http://schemas.microsoft.com/office/drawing/2010/main"/>
              </a:ext>
            </a:extLst>
          </a:blip>
          <a:stretch>
            <a:fillRect/>
          </a:stretch>
        </p:blipFill>
        <p:spPr>
          <a:xfrm>
            <a:off x="11102689" y="6142217"/>
            <a:ext cx="292608" cy="292608"/>
          </a:xfrm>
          <a:prstGeom prst="rect">
            <a:avLst/>
          </a:prstGeom>
        </p:spPr>
      </p:pic>
      <p:pic>
        <p:nvPicPr>
          <p:cNvPr id="27" name="Afbeelding 16" descr="001-instagram.png">
            <a:hlinkClick r:id="rId14"/>
          </p:cNvPr>
          <p:cNvPicPr>
            <a:picLocks noChangeAspect="1"/>
          </p:cNvPicPr>
          <p:nvPr userDrawn="1"/>
        </p:nvPicPr>
        <p:blipFill>
          <a:blip r:embed="rId15" cstate="print">
            <a:extLst>
              <a:ext uri="{28A0092B-C50C-407E-A947-70E740481C1C}">
                <a14:useLocalDpi xmlns:a14="http://schemas.microsoft.com/office/drawing/2010/main"/>
              </a:ext>
            </a:extLst>
          </a:blip>
          <a:stretch>
            <a:fillRect/>
          </a:stretch>
        </p:blipFill>
        <p:spPr>
          <a:xfrm>
            <a:off x="11486193" y="6142217"/>
            <a:ext cx="292608" cy="292608"/>
          </a:xfrm>
          <a:prstGeom prst="rect">
            <a:avLst/>
          </a:prstGeom>
        </p:spPr>
      </p:pic>
      <p:sp>
        <p:nvSpPr>
          <p:cNvPr id="29" name="Text Placeholder 28"/>
          <p:cNvSpPr>
            <a:spLocks noGrp="1"/>
          </p:cNvSpPr>
          <p:nvPr>
            <p:ph type="body" sz="quarter" idx="17" hasCustomPrompt="1"/>
          </p:nvPr>
        </p:nvSpPr>
        <p:spPr>
          <a:xfrm>
            <a:off x="406015" y="4326877"/>
            <a:ext cx="3499104" cy="988800"/>
          </a:xfrm>
        </p:spPr>
        <p:txBody>
          <a:bodyPr tIns="0" anchor="t"/>
          <a:lstStyle>
            <a:lvl1pPr marL="0" indent="0">
              <a:lnSpc>
                <a:spcPct val="110000"/>
              </a:lnSpc>
              <a:spcAft>
                <a:spcPts val="0"/>
              </a:spcAft>
              <a:buNone/>
              <a:defRPr>
                <a:solidFill>
                  <a:schemeClr val="bg1"/>
                </a:solidFill>
              </a:defRPr>
            </a:lvl1pPr>
            <a:lvl2pPr marL="0" indent="0">
              <a:lnSpc>
                <a:spcPct val="110000"/>
              </a:lnSpc>
              <a:spcAft>
                <a:spcPts val="0"/>
              </a:spcAft>
              <a:buFontTx/>
              <a:buNone/>
              <a:defRPr sz="1867">
                <a:solidFill>
                  <a:schemeClr val="bg1"/>
                </a:solidFill>
              </a:defRPr>
            </a:lvl2pPr>
            <a:lvl3pPr marL="0" indent="0">
              <a:spcAft>
                <a:spcPts val="0"/>
              </a:spcAft>
              <a:buFontTx/>
              <a:buNone/>
              <a:defRPr sz="1867" u="sng">
                <a:solidFill>
                  <a:schemeClr val="bg2"/>
                </a:solidFill>
              </a:defRPr>
            </a:lvl3pPr>
            <a:lvl4pPr marL="0" indent="0">
              <a:buFontTx/>
              <a:buNone/>
              <a:defRPr sz="1867">
                <a:solidFill>
                  <a:schemeClr val="bg1"/>
                </a:solidFill>
              </a:defRPr>
            </a:lvl4pPr>
            <a:lvl5pPr marL="0" indent="0">
              <a:buFontTx/>
              <a:buNone/>
              <a:defRPr sz="1867">
                <a:solidFill>
                  <a:schemeClr val="bg1"/>
                </a:solidFill>
              </a:defRPr>
            </a:lvl5pPr>
            <a:lvl6pPr marL="0" indent="0">
              <a:buFontTx/>
              <a:buNone/>
              <a:defRPr sz="1867">
                <a:solidFill>
                  <a:schemeClr val="bg1"/>
                </a:solidFill>
              </a:defRPr>
            </a:lvl6pPr>
            <a:lvl7pPr marL="0" indent="0">
              <a:buFontTx/>
              <a:buNone/>
              <a:defRPr sz="1867">
                <a:solidFill>
                  <a:schemeClr val="bg1"/>
                </a:solidFill>
              </a:defRPr>
            </a:lvl7pPr>
            <a:lvl8pPr marL="0" indent="0">
              <a:buFontTx/>
              <a:buNone/>
              <a:defRPr sz="1867">
                <a:solidFill>
                  <a:schemeClr val="bg1"/>
                </a:solidFill>
              </a:defRPr>
            </a:lvl8pPr>
            <a:lvl9pPr marL="0" indent="0">
              <a:buFontTx/>
              <a:buNone/>
              <a:defRPr sz="1867">
                <a:solidFill>
                  <a:schemeClr val="bg1"/>
                </a:solidFill>
              </a:defRPr>
            </a:lvl9pPr>
          </a:lstStyle>
          <a:p>
            <a:pPr lvl="0"/>
            <a:r>
              <a:rPr lang="en-US" err="1"/>
              <a:t>Firstname</a:t>
            </a:r>
            <a:r>
              <a:rPr lang="en-US"/>
              <a:t> </a:t>
            </a:r>
            <a:r>
              <a:rPr lang="en-US" err="1"/>
              <a:t>Lastname</a:t>
            </a:r>
            <a:endParaRPr lang="en-US"/>
          </a:p>
          <a:p>
            <a:pPr lvl="1"/>
            <a:r>
              <a:rPr lang="en-US"/>
              <a:t>Job Title</a:t>
            </a:r>
          </a:p>
          <a:p>
            <a:pPr lvl="2"/>
            <a:r>
              <a:rPr lang="en-US" noProof="0"/>
              <a:t>n.ame@skimgroup.com</a:t>
            </a:r>
          </a:p>
          <a:p>
            <a:pPr lvl="1"/>
            <a:endParaRPr lang="en-US"/>
          </a:p>
        </p:txBody>
      </p:sp>
      <p:sp>
        <p:nvSpPr>
          <p:cNvPr id="21" name="Picture Placeholder 10"/>
          <p:cNvSpPr>
            <a:spLocks noGrp="1" noChangeAspect="1"/>
          </p:cNvSpPr>
          <p:nvPr>
            <p:ph type="pic" sz="quarter" idx="18"/>
          </p:nvPr>
        </p:nvSpPr>
        <p:spPr>
          <a:xfrm>
            <a:off x="4341448" y="3027420"/>
            <a:ext cx="1288976" cy="1288976"/>
          </a:xfrm>
          <a:custGeom>
            <a:avLst/>
            <a:gdLst>
              <a:gd name="connsiteX0" fmla="*/ 872837 w 1745674"/>
              <a:gd name="connsiteY0" fmla="*/ 0 h 1745674"/>
              <a:gd name="connsiteX1" fmla="*/ 1745674 w 1745674"/>
              <a:gd name="connsiteY1" fmla="*/ 872837 h 1745674"/>
              <a:gd name="connsiteX2" fmla="*/ 872837 w 1745674"/>
              <a:gd name="connsiteY2" fmla="*/ 1745674 h 1745674"/>
              <a:gd name="connsiteX3" fmla="*/ 0 w 1745674"/>
              <a:gd name="connsiteY3" fmla="*/ 872837 h 1745674"/>
              <a:gd name="connsiteX4" fmla="*/ 872837 w 1745674"/>
              <a:gd name="connsiteY4" fmla="*/ 0 h 17456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45674" h="1745674">
                <a:moveTo>
                  <a:pt x="872837" y="0"/>
                </a:moveTo>
                <a:cubicBezTo>
                  <a:pt x="1354892" y="0"/>
                  <a:pt x="1745674" y="390782"/>
                  <a:pt x="1745674" y="872837"/>
                </a:cubicBezTo>
                <a:cubicBezTo>
                  <a:pt x="1745674" y="1354892"/>
                  <a:pt x="1354892" y="1745674"/>
                  <a:pt x="872837" y="1745674"/>
                </a:cubicBezTo>
                <a:cubicBezTo>
                  <a:pt x="390782" y="1745674"/>
                  <a:pt x="0" y="1354892"/>
                  <a:pt x="0" y="872837"/>
                </a:cubicBezTo>
                <a:cubicBezTo>
                  <a:pt x="0" y="390782"/>
                  <a:pt x="390782" y="0"/>
                  <a:pt x="872837" y="0"/>
                </a:cubicBezTo>
                <a:close/>
              </a:path>
            </a:pathLst>
          </a:custGeom>
        </p:spPr>
        <p:txBody>
          <a:bodyPr wrap="square">
            <a:noAutofit/>
          </a:bodyPr>
          <a:lstStyle>
            <a:lvl1pPr marL="0" indent="0" algn="ctr">
              <a:buNone/>
              <a:defRPr sz="1867">
                <a:solidFill>
                  <a:schemeClr val="bg1"/>
                </a:solidFill>
              </a:defRPr>
            </a:lvl1pPr>
          </a:lstStyle>
          <a:p>
            <a:r>
              <a:rPr lang="en-US"/>
              <a:t>Click icon to add picture</a:t>
            </a:r>
          </a:p>
        </p:txBody>
      </p:sp>
      <p:sp>
        <p:nvSpPr>
          <p:cNvPr id="28" name="Text Placeholder 28"/>
          <p:cNvSpPr>
            <a:spLocks noGrp="1"/>
          </p:cNvSpPr>
          <p:nvPr>
            <p:ph type="body" sz="quarter" idx="19" hasCustomPrompt="1"/>
          </p:nvPr>
        </p:nvSpPr>
        <p:spPr>
          <a:xfrm>
            <a:off x="4341449" y="4326877"/>
            <a:ext cx="3499104" cy="988800"/>
          </a:xfrm>
        </p:spPr>
        <p:txBody>
          <a:bodyPr tIns="0" anchor="t"/>
          <a:lstStyle>
            <a:lvl1pPr marL="0" indent="0">
              <a:lnSpc>
                <a:spcPct val="110000"/>
              </a:lnSpc>
              <a:spcAft>
                <a:spcPts val="0"/>
              </a:spcAft>
              <a:buNone/>
              <a:defRPr>
                <a:solidFill>
                  <a:schemeClr val="bg1"/>
                </a:solidFill>
              </a:defRPr>
            </a:lvl1pPr>
            <a:lvl2pPr marL="0" indent="0">
              <a:lnSpc>
                <a:spcPct val="110000"/>
              </a:lnSpc>
              <a:spcAft>
                <a:spcPts val="0"/>
              </a:spcAft>
              <a:buFontTx/>
              <a:buNone/>
              <a:defRPr sz="1867">
                <a:solidFill>
                  <a:schemeClr val="bg1"/>
                </a:solidFill>
              </a:defRPr>
            </a:lvl2pPr>
            <a:lvl3pPr marL="0" indent="0">
              <a:spcAft>
                <a:spcPts val="0"/>
              </a:spcAft>
              <a:buFontTx/>
              <a:buNone/>
              <a:defRPr sz="1867" i="0" u="sng">
                <a:solidFill>
                  <a:schemeClr val="bg2"/>
                </a:solidFill>
              </a:defRPr>
            </a:lvl3pPr>
            <a:lvl4pPr marL="0" indent="0">
              <a:buFontTx/>
              <a:buNone/>
              <a:defRPr sz="1867">
                <a:solidFill>
                  <a:schemeClr val="bg1"/>
                </a:solidFill>
              </a:defRPr>
            </a:lvl4pPr>
            <a:lvl5pPr marL="0" indent="0">
              <a:buFontTx/>
              <a:buNone/>
              <a:defRPr sz="1867">
                <a:solidFill>
                  <a:schemeClr val="bg1"/>
                </a:solidFill>
              </a:defRPr>
            </a:lvl5pPr>
            <a:lvl6pPr marL="0" indent="0">
              <a:buFontTx/>
              <a:buNone/>
              <a:defRPr sz="1867">
                <a:solidFill>
                  <a:schemeClr val="bg1"/>
                </a:solidFill>
              </a:defRPr>
            </a:lvl6pPr>
            <a:lvl7pPr marL="0" indent="0">
              <a:buFontTx/>
              <a:buNone/>
              <a:defRPr sz="1867">
                <a:solidFill>
                  <a:schemeClr val="bg1"/>
                </a:solidFill>
              </a:defRPr>
            </a:lvl7pPr>
            <a:lvl8pPr marL="0" indent="0">
              <a:buFontTx/>
              <a:buNone/>
              <a:defRPr sz="1867">
                <a:solidFill>
                  <a:schemeClr val="bg1"/>
                </a:solidFill>
              </a:defRPr>
            </a:lvl8pPr>
            <a:lvl9pPr marL="0" indent="0">
              <a:buFontTx/>
              <a:buNone/>
              <a:defRPr sz="1867">
                <a:solidFill>
                  <a:schemeClr val="bg1"/>
                </a:solidFill>
              </a:defRPr>
            </a:lvl9pPr>
          </a:lstStyle>
          <a:p>
            <a:pPr lvl="0"/>
            <a:r>
              <a:rPr lang="en-US" err="1"/>
              <a:t>Firstname</a:t>
            </a:r>
            <a:r>
              <a:rPr lang="en-US"/>
              <a:t> </a:t>
            </a:r>
            <a:r>
              <a:rPr lang="en-US" err="1"/>
              <a:t>Lastname</a:t>
            </a:r>
            <a:endParaRPr lang="en-US"/>
          </a:p>
          <a:p>
            <a:pPr lvl="1"/>
            <a:r>
              <a:rPr lang="en-US"/>
              <a:t>Job Title</a:t>
            </a:r>
          </a:p>
          <a:p>
            <a:pPr lvl="2"/>
            <a:r>
              <a:rPr lang="en-US" noProof="0"/>
              <a:t>n.ame@skimgroup.com</a:t>
            </a:r>
          </a:p>
          <a:p>
            <a:pPr lvl="1"/>
            <a:endParaRPr lang="en-US"/>
          </a:p>
        </p:txBody>
      </p:sp>
      <p:sp>
        <p:nvSpPr>
          <p:cNvPr id="31" name="Picture Placeholder 10"/>
          <p:cNvSpPr>
            <a:spLocks noGrp="1" noChangeAspect="1"/>
          </p:cNvSpPr>
          <p:nvPr>
            <p:ph type="pic" sz="quarter" idx="20"/>
          </p:nvPr>
        </p:nvSpPr>
        <p:spPr>
          <a:xfrm>
            <a:off x="8291889" y="3027420"/>
            <a:ext cx="1288976" cy="1288976"/>
          </a:xfrm>
          <a:custGeom>
            <a:avLst/>
            <a:gdLst>
              <a:gd name="connsiteX0" fmla="*/ 872837 w 1745674"/>
              <a:gd name="connsiteY0" fmla="*/ 0 h 1745674"/>
              <a:gd name="connsiteX1" fmla="*/ 1745674 w 1745674"/>
              <a:gd name="connsiteY1" fmla="*/ 872837 h 1745674"/>
              <a:gd name="connsiteX2" fmla="*/ 872837 w 1745674"/>
              <a:gd name="connsiteY2" fmla="*/ 1745674 h 1745674"/>
              <a:gd name="connsiteX3" fmla="*/ 0 w 1745674"/>
              <a:gd name="connsiteY3" fmla="*/ 872837 h 1745674"/>
              <a:gd name="connsiteX4" fmla="*/ 872837 w 1745674"/>
              <a:gd name="connsiteY4" fmla="*/ 0 h 17456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45674" h="1745674">
                <a:moveTo>
                  <a:pt x="872837" y="0"/>
                </a:moveTo>
                <a:cubicBezTo>
                  <a:pt x="1354892" y="0"/>
                  <a:pt x="1745674" y="390782"/>
                  <a:pt x="1745674" y="872837"/>
                </a:cubicBezTo>
                <a:cubicBezTo>
                  <a:pt x="1745674" y="1354892"/>
                  <a:pt x="1354892" y="1745674"/>
                  <a:pt x="872837" y="1745674"/>
                </a:cubicBezTo>
                <a:cubicBezTo>
                  <a:pt x="390782" y="1745674"/>
                  <a:pt x="0" y="1354892"/>
                  <a:pt x="0" y="872837"/>
                </a:cubicBezTo>
                <a:cubicBezTo>
                  <a:pt x="0" y="390782"/>
                  <a:pt x="390782" y="0"/>
                  <a:pt x="872837" y="0"/>
                </a:cubicBezTo>
                <a:close/>
              </a:path>
            </a:pathLst>
          </a:custGeom>
        </p:spPr>
        <p:txBody>
          <a:bodyPr wrap="square">
            <a:noAutofit/>
          </a:bodyPr>
          <a:lstStyle>
            <a:lvl1pPr marL="0" indent="0" algn="ctr">
              <a:buNone/>
              <a:defRPr sz="1867">
                <a:solidFill>
                  <a:schemeClr val="bg1"/>
                </a:solidFill>
              </a:defRPr>
            </a:lvl1pPr>
          </a:lstStyle>
          <a:p>
            <a:r>
              <a:rPr lang="en-US"/>
              <a:t>Click icon to add picture</a:t>
            </a:r>
          </a:p>
        </p:txBody>
      </p:sp>
      <p:sp>
        <p:nvSpPr>
          <p:cNvPr id="32" name="Text Placeholder 28"/>
          <p:cNvSpPr>
            <a:spLocks noGrp="1"/>
          </p:cNvSpPr>
          <p:nvPr>
            <p:ph type="body" sz="quarter" idx="21" hasCustomPrompt="1"/>
          </p:nvPr>
        </p:nvSpPr>
        <p:spPr>
          <a:xfrm>
            <a:off x="8279697" y="4326877"/>
            <a:ext cx="3499104" cy="988800"/>
          </a:xfrm>
        </p:spPr>
        <p:txBody>
          <a:bodyPr tIns="0" anchor="t"/>
          <a:lstStyle>
            <a:lvl1pPr marL="0" indent="0">
              <a:lnSpc>
                <a:spcPct val="110000"/>
              </a:lnSpc>
              <a:spcAft>
                <a:spcPts val="0"/>
              </a:spcAft>
              <a:buNone/>
              <a:defRPr>
                <a:solidFill>
                  <a:schemeClr val="bg1"/>
                </a:solidFill>
              </a:defRPr>
            </a:lvl1pPr>
            <a:lvl2pPr marL="0" indent="0">
              <a:lnSpc>
                <a:spcPct val="110000"/>
              </a:lnSpc>
              <a:spcAft>
                <a:spcPts val="0"/>
              </a:spcAft>
              <a:buFontTx/>
              <a:buNone/>
              <a:defRPr sz="1867">
                <a:solidFill>
                  <a:schemeClr val="bg1"/>
                </a:solidFill>
              </a:defRPr>
            </a:lvl2pPr>
            <a:lvl3pPr marL="0" indent="0">
              <a:spcAft>
                <a:spcPts val="0"/>
              </a:spcAft>
              <a:buFontTx/>
              <a:buNone/>
              <a:defRPr sz="1867" u="sng">
                <a:solidFill>
                  <a:schemeClr val="bg2"/>
                </a:solidFill>
              </a:defRPr>
            </a:lvl3pPr>
            <a:lvl4pPr marL="0" indent="0">
              <a:buFontTx/>
              <a:buNone/>
              <a:defRPr sz="1867">
                <a:solidFill>
                  <a:schemeClr val="bg1"/>
                </a:solidFill>
              </a:defRPr>
            </a:lvl4pPr>
            <a:lvl5pPr marL="0" indent="0">
              <a:buFontTx/>
              <a:buNone/>
              <a:defRPr sz="1867">
                <a:solidFill>
                  <a:schemeClr val="bg1"/>
                </a:solidFill>
              </a:defRPr>
            </a:lvl5pPr>
            <a:lvl6pPr marL="0" indent="0">
              <a:buFontTx/>
              <a:buNone/>
              <a:defRPr sz="1867">
                <a:solidFill>
                  <a:schemeClr val="bg1"/>
                </a:solidFill>
              </a:defRPr>
            </a:lvl6pPr>
            <a:lvl7pPr marL="0" indent="0">
              <a:buFontTx/>
              <a:buNone/>
              <a:defRPr sz="1867">
                <a:solidFill>
                  <a:schemeClr val="bg1"/>
                </a:solidFill>
              </a:defRPr>
            </a:lvl7pPr>
            <a:lvl8pPr marL="0" indent="0">
              <a:buFontTx/>
              <a:buNone/>
              <a:defRPr sz="1867">
                <a:solidFill>
                  <a:schemeClr val="bg1"/>
                </a:solidFill>
              </a:defRPr>
            </a:lvl8pPr>
            <a:lvl9pPr marL="0" indent="0">
              <a:buFontTx/>
              <a:buNone/>
              <a:defRPr sz="1867">
                <a:solidFill>
                  <a:schemeClr val="bg1"/>
                </a:solidFill>
              </a:defRPr>
            </a:lvl9pPr>
          </a:lstStyle>
          <a:p>
            <a:pPr lvl="0"/>
            <a:r>
              <a:rPr lang="en-US" err="1"/>
              <a:t>Firstname</a:t>
            </a:r>
            <a:r>
              <a:rPr lang="en-US"/>
              <a:t> </a:t>
            </a:r>
            <a:r>
              <a:rPr lang="en-US" err="1"/>
              <a:t>Lastname</a:t>
            </a:r>
            <a:endParaRPr lang="en-US"/>
          </a:p>
          <a:p>
            <a:pPr lvl="1"/>
            <a:r>
              <a:rPr lang="en-US"/>
              <a:t>Job Title</a:t>
            </a:r>
          </a:p>
          <a:p>
            <a:pPr lvl="2"/>
            <a:r>
              <a:rPr lang="en-US" noProof="0"/>
              <a:t>n.ame@skimgroup.com</a:t>
            </a:r>
          </a:p>
          <a:p>
            <a:pPr lvl="1"/>
            <a:endParaRPr lang="en-US" noProof="0"/>
          </a:p>
        </p:txBody>
      </p:sp>
      <p:pic>
        <p:nvPicPr>
          <p:cNvPr id="18" name="Picture 17"/>
          <p:cNvPicPr>
            <a:picLocks noChangeAspect="1"/>
          </p:cNvPicPr>
          <p:nvPr userDrawn="1"/>
        </p:nvPicPr>
        <p:blipFill>
          <a:blip r:embed="rId16" cstate="print">
            <a:extLst>
              <a:ext uri="{28A0092B-C50C-407E-A947-70E740481C1C}">
                <a14:useLocalDpi xmlns:a14="http://schemas.microsoft.com/office/drawing/2010/main"/>
              </a:ext>
            </a:extLst>
          </a:blip>
          <a:stretch>
            <a:fillRect/>
          </a:stretch>
        </p:blipFill>
        <p:spPr>
          <a:xfrm>
            <a:off x="415394" y="804576"/>
            <a:ext cx="1397135" cy="963264"/>
          </a:xfrm>
          <a:prstGeom prst="rect">
            <a:avLst/>
          </a:prstGeom>
        </p:spPr>
      </p:pic>
      <p:pic>
        <p:nvPicPr>
          <p:cNvPr id="19" name="Afbeelding 5"/>
          <p:cNvPicPr>
            <a:picLocks noChangeAspect="1"/>
          </p:cNvPicPr>
          <p:nvPr userDrawn="1"/>
        </p:nvPicPr>
        <p:blipFill rotWithShape="1">
          <a:blip r:embed="rId17" cstate="print">
            <a:extLst>
              <a:ext uri="{28A0092B-C50C-407E-A947-70E740481C1C}">
                <a14:useLocalDpi xmlns:a14="http://schemas.microsoft.com/office/drawing/2010/main"/>
              </a:ext>
            </a:extLst>
          </a:blip>
          <a:srcRect/>
          <a:stretch/>
        </p:blipFill>
        <p:spPr bwMode="auto">
          <a:xfrm>
            <a:off x="9707460" y="334116"/>
            <a:ext cx="2124293" cy="1891200"/>
          </a:xfrm>
          <a:prstGeom prst="rect">
            <a:avLst/>
          </a:prstGeom>
          <a:ln>
            <a:noFill/>
          </a:ln>
          <a:extLst>
            <a:ext uri="{53640926-AAD7-44d8-BBD7-CCE9431645EC}">
              <a14:shadowObscured xmlns:lc="http://schemas.openxmlformats.org/drawingml/2006/lockedCanvas" xmlns:mo="http://schemas.microsoft.com/office/mac/office/2008/main" xmlns:mv="urn:schemas-microsoft-com:mac:vml" xmlns:o="urn:schemas-microsoft-com:office:office" xmlns:v="urn:schemas-microsoft-com:vml" xmlns:w10="urn:schemas-microsoft-com:office:word" xmlns:w="http://schemas.openxmlformats.org/wordprocessingml/2006/main" xmlns:a14="http://schemas.microsoft.com/office/drawing/2010/main" xmlns:pic="http://schemas.openxmlformats.org/drawingml/2006/picture" xmlns:wps="http://schemas.microsoft.com/office/word/2010/wordprocessingShape" xmlns:wne="http://schemas.microsoft.com/office/word/2006/wordml" xmlns:wpi="http://schemas.microsoft.com/office/word/2010/wordprocessingInk" xmlns:wpg="http://schemas.microsoft.com/office/word/2010/wordprocessingGroup" xmlns:w15="http://schemas.microsoft.com/office/word/2012/wordml" xmlns:w14="http://schemas.microsoft.com/office/word/2010/wordml" xmlns:wp="http://schemas.openxmlformats.org/drawingml/2006/wordprocessingDrawing" xmlns:wp14="http://schemas.microsoft.com/office/word/2010/wordprocessingDrawing" xmlns:m="http://schemas.openxmlformats.org/officeDocument/2006/math" xmlns:mc="http://schemas.openxmlformats.org/markup-compatibility/2006" xmlns:wpc="http://schemas.microsoft.com/office/word/2010/wordprocessingCanvas" xmlns=""/>
            </a:ext>
          </a:extLst>
        </p:spPr>
      </p:pic>
      <p:sp>
        <p:nvSpPr>
          <p:cNvPr id="20" name="Text Placeholder 6"/>
          <p:cNvSpPr>
            <a:spLocks noGrp="1"/>
          </p:cNvSpPr>
          <p:nvPr>
            <p:ph type="body" sz="quarter" idx="22" hasCustomPrompt="1"/>
          </p:nvPr>
        </p:nvSpPr>
        <p:spPr>
          <a:xfrm>
            <a:off x="8706801" y="5365453"/>
            <a:ext cx="3072000" cy="313267"/>
          </a:xfrm>
        </p:spPr>
        <p:txBody>
          <a:bodyPr/>
          <a:lstStyle>
            <a:lvl1pPr marL="0" indent="0">
              <a:buNone/>
              <a:defRPr sz="1867">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Twitter</a:t>
            </a:r>
          </a:p>
        </p:txBody>
      </p:sp>
      <p:sp>
        <p:nvSpPr>
          <p:cNvPr id="33" name="Text Placeholder 6"/>
          <p:cNvSpPr>
            <a:spLocks noGrp="1"/>
          </p:cNvSpPr>
          <p:nvPr>
            <p:ph type="body" sz="quarter" idx="23" hasCustomPrompt="1"/>
          </p:nvPr>
        </p:nvSpPr>
        <p:spPr>
          <a:xfrm>
            <a:off x="4768553" y="5365453"/>
            <a:ext cx="3072000" cy="313267"/>
          </a:xfrm>
        </p:spPr>
        <p:txBody>
          <a:bodyPr/>
          <a:lstStyle>
            <a:lvl1pPr marL="0" indent="0">
              <a:buNone/>
              <a:defRPr sz="1867">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Twitter</a:t>
            </a:r>
          </a:p>
        </p:txBody>
      </p:sp>
      <p:sp>
        <p:nvSpPr>
          <p:cNvPr id="35" name="Text Placeholder 6"/>
          <p:cNvSpPr>
            <a:spLocks noGrp="1"/>
          </p:cNvSpPr>
          <p:nvPr>
            <p:ph type="body" sz="quarter" idx="24" hasCustomPrompt="1"/>
          </p:nvPr>
        </p:nvSpPr>
        <p:spPr>
          <a:xfrm>
            <a:off x="833119" y="5365453"/>
            <a:ext cx="3072000" cy="313267"/>
          </a:xfrm>
        </p:spPr>
        <p:txBody>
          <a:bodyPr/>
          <a:lstStyle>
            <a:lvl1pPr marL="0" indent="0">
              <a:buNone/>
              <a:defRPr sz="1867">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Twitter</a:t>
            </a:r>
          </a:p>
        </p:txBody>
      </p:sp>
    </p:spTree>
    <p:extLst>
      <p:ext uri="{BB962C8B-B14F-4D97-AF65-F5344CB8AC3E}">
        <p14:creationId xmlns:p14="http://schemas.microsoft.com/office/powerpoint/2010/main" val="39149950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Divider: Half image">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7E508154-7AB5-4B06-92EE-D9140AF27C87}"/>
              </a:ext>
            </a:extLst>
          </p:cNvPr>
          <p:cNvSpPr>
            <a:spLocks noGrp="1"/>
          </p:cNvSpPr>
          <p:nvPr>
            <p:ph type="pic" sz="quarter" idx="13" hasCustomPrompt="1"/>
          </p:nvPr>
        </p:nvSpPr>
        <p:spPr>
          <a:xfrm>
            <a:off x="6097588" y="-3600"/>
            <a:ext cx="6094412" cy="6865200"/>
          </a:xfrm>
          <a:solidFill>
            <a:srgbClr val="E6EFF1"/>
          </a:solidFill>
        </p:spPr>
        <p:txBody>
          <a:bodyPr lIns="504000"/>
          <a:lstStyle>
            <a:lvl1pPr marL="0" indent="0">
              <a:buNone/>
              <a:defRPr/>
            </a:lvl1pPr>
          </a:lstStyle>
          <a:p>
            <a:pPr marL="0" marR="0" lvl="0" indent="-288000" algn="l" defTabSz="914400" rtl="0" eaLnBrk="1" fontAlgn="auto" latinLnBrk="0" hangingPunct="1">
              <a:lnSpc>
                <a:spcPct val="150000"/>
              </a:lnSpc>
              <a:spcBef>
                <a:spcPts val="0"/>
              </a:spcBef>
              <a:spcAft>
                <a:spcPts val="0"/>
              </a:spcAft>
              <a:buClrTx/>
              <a:buSzTx/>
              <a:tabLst/>
              <a:defRPr/>
            </a:pPr>
            <a:br>
              <a:rPr lang="en-US"/>
            </a:br>
            <a:r>
              <a:rPr lang="en-US"/>
              <a:t>To add image:</a:t>
            </a:r>
            <a:br>
              <a:rPr lang="en-US"/>
            </a:br>
            <a:r>
              <a:rPr lang="en-US"/>
              <a:t>1. Click border of this box</a:t>
            </a:r>
            <a:br>
              <a:rPr lang="en-US"/>
            </a:br>
            <a:r>
              <a:rPr lang="en-US"/>
              <a:t>2. Select ‘Add image’ from SKIM buttons</a:t>
            </a:r>
            <a:br>
              <a:rPr lang="en-US"/>
            </a:br>
            <a:r>
              <a:rPr lang="en-US"/>
              <a:t>3. Add overlay and send backward as needed</a:t>
            </a:r>
            <a:br>
              <a:rPr lang="en-US"/>
            </a:br>
            <a:r>
              <a:rPr lang="en-US"/>
              <a:t>4. Add SKIM logo</a:t>
            </a:r>
          </a:p>
        </p:txBody>
      </p:sp>
      <p:pic>
        <p:nvPicPr>
          <p:cNvPr id="14" name="Picture 7">
            <a:extLst>
              <a:ext uri="{FF2B5EF4-FFF2-40B4-BE49-F238E27FC236}">
                <a16:creationId xmlns:a16="http://schemas.microsoft.com/office/drawing/2014/main" id="{700B3485-7E74-40A1-852A-55A9188C1CF2}"/>
              </a:ext>
            </a:extLst>
          </p:cNvPr>
          <p:cNvPicPr>
            <a:picLocks noChangeAspect="1"/>
          </p:cNvPicPr>
          <p:nvPr userDrawn="1"/>
        </p:nvPicPr>
        <p:blipFill>
          <a:blip r:embed="rId2" cstate="print">
            <a:biLevel thresh="25000"/>
            <a:extLst>
              <a:ext uri="{28A0092B-C50C-407E-A947-70E740481C1C}">
                <a14:useLocalDpi xmlns:a14="http://schemas.microsoft.com/office/drawing/2010/main" val="0"/>
              </a:ext>
            </a:extLst>
          </a:blip>
          <a:stretch>
            <a:fillRect/>
          </a:stretch>
        </p:blipFill>
        <p:spPr>
          <a:xfrm>
            <a:off x="11559600" y="6364800"/>
            <a:ext cx="386391" cy="266400"/>
          </a:xfrm>
          <a:prstGeom prst="rect">
            <a:avLst/>
          </a:prstGeom>
        </p:spPr>
      </p:pic>
      <p:sp>
        <p:nvSpPr>
          <p:cNvPr id="5" name="Text Placeholder 4">
            <a:extLst>
              <a:ext uri="{FF2B5EF4-FFF2-40B4-BE49-F238E27FC236}">
                <a16:creationId xmlns:a16="http://schemas.microsoft.com/office/drawing/2014/main" id="{3AE0A589-D084-4102-B91A-9A6DFC50EEDB}"/>
              </a:ext>
            </a:extLst>
          </p:cNvPr>
          <p:cNvSpPr>
            <a:spLocks noGrp="1"/>
          </p:cNvSpPr>
          <p:nvPr>
            <p:ph type="body" sz="quarter" idx="14" hasCustomPrompt="1"/>
          </p:nvPr>
        </p:nvSpPr>
        <p:spPr>
          <a:xfrm>
            <a:off x="6600838" y="503238"/>
            <a:ext cx="5086337" cy="5851525"/>
          </a:xfrm>
        </p:spPr>
        <p:txBody>
          <a:bodyPr anchor="ctr" anchorCtr="0">
            <a:noAutofit/>
          </a:bodyPr>
          <a:lstStyle>
            <a:lvl1pPr marL="0" indent="0">
              <a:lnSpc>
                <a:spcPct val="150000"/>
              </a:lnSpc>
              <a:buNone/>
              <a:defRPr sz="2000">
                <a:solidFill>
                  <a:schemeClr val="bg1"/>
                </a:solidFill>
              </a:defRPr>
            </a:lvl1pPr>
            <a:lvl2pPr>
              <a:defRPr sz="2000">
                <a:solidFill>
                  <a:schemeClr val="bg1"/>
                </a:solidFill>
              </a:defRPr>
            </a:lvl2pPr>
            <a:lvl3pPr>
              <a:defRPr sz="2000">
                <a:solidFill>
                  <a:schemeClr val="bg1"/>
                </a:solidFill>
              </a:defRPr>
            </a:lvl3pPr>
            <a:lvl4pPr>
              <a:defRPr sz="2000">
                <a:solidFill>
                  <a:schemeClr val="bg1"/>
                </a:solidFill>
              </a:defRPr>
            </a:lvl4pPr>
            <a:lvl5pPr>
              <a:defRPr sz="2000">
                <a:solidFill>
                  <a:schemeClr val="accent1"/>
                </a:solidFill>
              </a:defRPr>
            </a:lvl5pPr>
          </a:lstStyle>
          <a:p>
            <a:pPr lvl="0"/>
            <a:r>
              <a:rPr lang="en-US"/>
              <a:t>Click to add text. Delete text box if no text is needed</a:t>
            </a:r>
          </a:p>
        </p:txBody>
      </p:sp>
      <p:sp>
        <p:nvSpPr>
          <p:cNvPr id="2" name="Title 1">
            <a:extLst>
              <a:ext uri="{FF2B5EF4-FFF2-40B4-BE49-F238E27FC236}">
                <a16:creationId xmlns:a16="http://schemas.microsoft.com/office/drawing/2014/main" id="{D8E250B2-F80A-4990-9F94-2AB6B07D6852}"/>
              </a:ext>
            </a:extLst>
          </p:cNvPr>
          <p:cNvSpPr>
            <a:spLocks noGrp="1"/>
          </p:cNvSpPr>
          <p:nvPr>
            <p:ph type="ctrTitle" hasCustomPrompt="1"/>
          </p:nvPr>
        </p:nvSpPr>
        <p:spPr>
          <a:xfrm>
            <a:off x="504000" y="503999"/>
            <a:ext cx="5076000" cy="5850000"/>
          </a:xfrm>
        </p:spPr>
        <p:txBody>
          <a:bodyPr anchor="ctr" anchorCtr="0">
            <a:noAutofit/>
          </a:bodyPr>
          <a:lstStyle>
            <a:lvl1pPr algn="l">
              <a:defRPr sz="3800"/>
            </a:lvl1pPr>
          </a:lstStyle>
          <a:p>
            <a:r>
              <a:rPr lang="en-US"/>
              <a:t>Click to add section name</a:t>
            </a:r>
          </a:p>
        </p:txBody>
      </p:sp>
      <p:sp>
        <p:nvSpPr>
          <p:cNvPr id="6" name="Tijdelijke aanduiding voor dianummer 3">
            <a:extLst>
              <a:ext uri="{FF2B5EF4-FFF2-40B4-BE49-F238E27FC236}">
                <a16:creationId xmlns:a16="http://schemas.microsoft.com/office/drawing/2014/main" id="{0E86DB11-5F32-4A4C-8FD4-08D3D2C30E98}"/>
              </a:ext>
            </a:extLst>
          </p:cNvPr>
          <p:cNvSpPr>
            <a:spLocks noGrp="1"/>
          </p:cNvSpPr>
          <p:nvPr>
            <p:ph type="sldNum" sz="quarter" idx="4"/>
          </p:nvPr>
        </p:nvSpPr>
        <p:spPr>
          <a:xfrm>
            <a:off x="504000" y="6378472"/>
            <a:ext cx="2743200" cy="365125"/>
          </a:xfrm>
          <a:prstGeom prst="rect">
            <a:avLst/>
          </a:prstGeom>
        </p:spPr>
        <p:txBody>
          <a:bodyPr vert="horz" lIns="0" tIns="45720" rIns="91440" bIns="45720" rtlCol="0" anchor="ctr"/>
          <a:lstStyle>
            <a:lvl1pPr algn="l">
              <a:defRPr sz="800">
                <a:solidFill>
                  <a:schemeClr val="bg2"/>
                </a:solidFill>
              </a:defRPr>
            </a:lvl1pPr>
          </a:lstStyle>
          <a:p>
            <a:fld id="{B592C3DA-96A1-4E84-9171-AC4C91AB4FEA}" type="slidenum">
              <a:rPr lang="en-US" smtClean="0"/>
              <a:pPr/>
              <a:t>‹#›</a:t>
            </a:fld>
            <a:endParaRPr lang="en-US"/>
          </a:p>
        </p:txBody>
      </p:sp>
    </p:spTree>
    <p:extLst>
      <p:ext uri="{BB962C8B-B14F-4D97-AF65-F5344CB8AC3E}">
        <p14:creationId xmlns:p14="http://schemas.microsoft.com/office/powerpoint/2010/main" val="40503298"/>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Plain Teal">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03200" y="403200"/>
            <a:ext cx="11443200" cy="454104"/>
          </a:xfrm>
          <a:blipFill>
            <a:blip r:embed="rId3" cstate="print">
              <a:extLst>
                <a:ext uri="{28A0092B-C50C-407E-A947-70E740481C1C}">
                  <a14:useLocalDpi xmlns:a14="http://schemas.microsoft.com/office/drawing/2010/main"/>
                </a:ext>
              </a:extLst>
            </a:blip>
            <a:stretch>
              <a:fillRect/>
            </a:stretch>
          </a:blipFill>
        </p:spPr>
        <p:txBody>
          <a:bodyPr/>
          <a:lstStyle>
            <a:lvl1pPr>
              <a:defRPr>
                <a:solidFill>
                  <a:schemeClr val="bg1"/>
                </a:solidFill>
              </a:defRPr>
            </a:lvl1pPr>
          </a:lstStyle>
          <a:p>
            <a:r>
              <a:rPr lang="en-US"/>
              <a:t>Title</a:t>
            </a:r>
          </a:p>
        </p:txBody>
      </p:sp>
      <p:sp>
        <p:nvSpPr>
          <p:cNvPr id="7" name="Slide Number Placeholder 6"/>
          <p:cNvSpPr>
            <a:spLocks noGrp="1"/>
          </p:cNvSpPr>
          <p:nvPr>
            <p:ph type="sldNum" sz="quarter" idx="12"/>
          </p:nvPr>
        </p:nvSpPr>
        <p:spPr/>
        <p:txBody>
          <a:bodyPr/>
          <a:lstStyle>
            <a:lvl1pPr>
              <a:defRPr>
                <a:solidFill>
                  <a:schemeClr val="bg1"/>
                </a:solidFill>
              </a:defRPr>
            </a:lvl1pPr>
          </a:lstStyle>
          <a:p>
            <a:fld id="{AD794642-CA53-41FB-9828-DCB7B578655C}" type="slidenum">
              <a:rPr lang="en-US" smtClean="0"/>
              <a:pPr/>
              <a:t>‹#›</a:t>
            </a:fld>
            <a:endParaRPr lang="en-US"/>
          </a:p>
        </p:txBody>
      </p:sp>
      <p:pic>
        <p:nvPicPr>
          <p:cNvPr id="16" name="Picture 15"/>
          <p:cNvPicPr>
            <a:picLocks noChangeAspect="1"/>
          </p:cNvPicPr>
          <p:nvPr userDrawn="1"/>
        </p:nvPicPr>
        <p:blipFill>
          <a:blip r:embed="rId4" cstate="print">
            <a:biLevel thresh="25000"/>
            <a:extLst>
              <a:ext uri="{28A0092B-C50C-407E-A947-70E740481C1C}">
                <a14:useLocalDpi xmlns:a14="http://schemas.microsoft.com/office/drawing/2010/main"/>
              </a:ext>
            </a:extLst>
          </a:blip>
          <a:stretch>
            <a:fillRect/>
          </a:stretch>
        </p:blipFill>
        <p:spPr>
          <a:xfrm>
            <a:off x="10986432" y="5911392"/>
            <a:ext cx="814555" cy="561600"/>
          </a:xfrm>
          <a:prstGeom prst="rect">
            <a:avLst/>
          </a:prstGeom>
        </p:spPr>
      </p:pic>
    </p:spTree>
    <p:extLst>
      <p:ext uri="{BB962C8B-B14F-4D97-AF65-F5344CB8AC3E}">
        <p14:creationId xmlns:p14="http://schemas.microsoft.com/office/powerpoint/2010/main" val="3327727313"/>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spAutoFit/>
          </a:bodyPr>
          <a:lstStyle/>
          <a:p>
            <a:r>
              <a:rPr lang="en-US"/>
              <a:t>Click to edit</a:t>
            </a:r>
          </a:p>
        </p:txBody>
      </p:sp>
      <p:sp>
        <p:nvSpPr>
          <p:cNvPr id="3" name="Slide Number Placeholder 2"/>
          <p:cNvSpPr>
            <a:spLocks noGrp="1"/>
          </p:cNvSpPr>
          <p:nvPr>
            <p:ph type="sldNum" sz="quarter" idx="10"/>
          </p:nvPr>
        </p:nvSpPr>
        <p:spPr/>
        <p:txBody>
          <a:bodyPr/>
          <a:lstStyle>
            <a:lvl1pPr>
              <a:defRPr/>
            </a:lvl1pPr>
          </a:lstStyle>
          <a:p>
            <a:fld id="{4E6D75A1-0CAB-4635-8D5F-5993BFDE48B4}" type="slidenum">
              <a:rPr lang="en-US"/>
              <a:pPr/>
              <a:t>‹#›</a:t>
            </a:fld>
            <a:endParaRPr lang="en-US"/>
          </a:p>
        </p:txBody>
      </p:sp>
    </p:spTree>
    <p:extLst>
      <p:ext uri="{BB962C8B-B14F-4D97-AF65-F5344CB8AC3E}">
        <p14:creationId xmlns:p14="http://schemas.microsoft.com/office/powerpoint/2010/main" val="4149908944"/>
      </p:ext>
    </p:extLst>
  </p:cSld>
  <p:clrMapOvr>
    <a:masterClrMapping/>
  </p:clrMapOvr>
  <p:transition spd="med"/>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lvl1pPr>
              <a:defRPr/>
            </a:lvl1pPr>
          </a:lstStyle>
          <a:p>
            <a:fld id="{4E6D75A1-0CAB-4635-8D5F-5993BFDE48B4}" type="slidenum">
              <a:rPr lang="en-US"/>
              <a:pPr/>
              <a:t>‹#›</a:t>
            </a:fld>
            <a:endParaRPr lang="en-US"/>
          </a:p>
        </p:txBody>
      </p:sp>
      <p:pic>
        <p:nvPicPr>
          <p:cNvPr id="4" name="Picture 14" descr="http://upload.wikimedia.org/wikipedia/commons/1/17/BlankMap-World-noborders.png"/>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l="-1" r="586"/>
          <a:stretch/>
        </p:blipFill>
        <p:spPr bwMode="auto">
          <a:xfrm>
            <a:off x="1304359" y="967202"/>
            <a:ext cx="10311260" cy="4800031"/>
          </a:xfrm>
          <a:prstGeom prst="rect">
            <a:avLst/>
          </a:prstGeom>
          <a:noFill/>
          <a:extLst>
            <a:ext uri="{909E8E84-426E-40DD-AFC4-6F175D3DCCD1}">
              <a14:hiddenFill xmlns:a14="http://schemas.microsoft.com/office/drawing/2010/main">
                <a:solidFill>
                  <a:srgbClr val="FFFFFF"/>
                </a:solidFill>
              </a14:hiddenFill>
            </a:ext>
          </a:extLst>
        </p:spPr>
      </p:pic>
      <p:sp>
        <p:nvSpPr>
          <p:cNvPr id="5" name="Rectangle 4"/>
          <p:cNvSpPr/>
          <p:nvPr userDrawn="1"/>
        </p:nvSpPr>
        <p:spPr bwMode="auto">
          <a:xfrm>
            <a:off x="929221" y="967202"/>
            <a:ext cx="10483735" cy="4800031"/>
          </a:xfrm>
          <a:prstGeom prst="rect">
            <a:avLst/>
          </a:prstGeom>
          <a:solidFill>
            <a:schemeClr val="bg1">
              <a:alpha val="65000"/>
            </a:schemeClr>
          </a:solidFill>
          <a:ln w="28575" cap="flat" cmpd="sng" algn="ctr">
            <a:noFill/>
            <a:prstDash val="solid"/>
            <a:round/>
            <a:headEnd type="none" w="med" len="med"/>
            <a:tailEnd type="stealth" w="med" len="med"/>
          </a:ln>
          <a:effectLst/>
        </p:spPr>
        <p:txBody>
          <a:bodyPr rot="0" spcFirstLastPara="0" vertOverflow="overflow" horzOverflow="overflow" vert="horz" wrap="square" lIns="60960" tIns="60960" rIns="60960" bIns="60960" numCol="1" spcCol="0" rtlCol="0" fromWordArt="0" anchor="ctr" anchorCtr="0" forceAA="0" compatLnSpc="1">
            <a:prstTxWarp prst="textNoShape">
              <a:avLst/>
            </a:prstTxWarp>
            <a:noAutofit/>
          </a:bodyPr>
          <a:lstStyle/>
          <a:p>
            <a:pPr marR="0" algn="l" defTabSz="1219170" rtl="0" eaLnBrk="1" fontAlgn="base" latinLnBrk="0" hangingPunct="1">
              <a:lnSpc>
                <a:spcPct val="100000"/>
              </a:lnSpc>
              <a:spcBef>
                <a:spcPct val="10000"/>
              </a:spcBef>
              <a:spcAft>
                <a:spcPct val="10000"/>
              </a:spcAft>
              <a:buClr>
                <a:schemeClr val="accent1"/>
              </a:buClr>
              <a:buSzTx/>
              <a:tabLst/>
            </a:pPr>
            <a:endParaRPr kumimoji="0" lang="en-US" sz="1867" b="0" i="0" u="none" strike="noStrike" cap="none" normalizeH="0" baseline="0">
              <a:ln>
                <a:noFill/>
              </a:ln>
              <a:solidFill>
                <a:schemeClr val="tx1"/>
              </a:solidFill>
              <a:effectLst/>
              <a:latin typeface="Arial" charset="0"/>
              <a:cs typeface="Arial" charset="0"/>
            </a:endParaRPr>
          </a:p>
        </p:txBody>
      </p:sp>
    </p:spTree>
    <p:extLst>
      <p:ext uri="{BB962C8B-B14F-4D97-AF65-F5344CB8AC3E}">
        <p14:creationId xmlns:p14="http://schemas.microsoft.com/office/powerpoint/2010/main" val="1542501607"/>
      </p:ext>
    </p:extLst>
  </p:cSld>
  <p:clrMapOvr>
    <a:masterClrMapping/>
  </p:clrMapOvr>
  <p:transition spd="med"/>
</p:sldLayout>
</file>

<file path=ppt/slideLayouts/slideLayout43.xml><?xml version="1.0" encoding="utf-8"?>
<p:sldLayout xmlns:a="http://schemas.openxmlformats.org/drawingml/2006/main" xmlns:r="http://schemas.openxmlformats.org/officeDocument/2006/relationships" xmlns:p="http://schemas.openxmlformats.org/presentationml/2006/main" type="title">
  <p:cSld name="Titeldia">
    <p:spTree>
      <p:nvGrpSpPr>
        <p:cNvPr id="1" name=""/>
        <p:cNvGrpSpPr/>
        <p:nvPr/>
      </p:nvGrpSpPr>
      <p:grpSpPr>
        <a:xfrm>
          <a:off x="0" y="0"/>
          <a:ext cx="0" cy="0"/>
          <a:chOff x="0" y="0"/>
          <a:chExt cx="0" cy="0"/>
        </a:xfrm>
      </p:grpSpPr>
      <p:sp>
        <p:nvSpPr>
          <p:cNvPr id="2" name="Titel 1"/>
          <p:cNvSpPr>
            <a:spLocks noGrp="1"/>
          </p:cNvSpPr>
          <p:nvPr>
            <p:ph type="ctrTitle"/>
          </p:nvPr>
        </p:nvSpPr>
        <p:spPr>
          <a:xfrm>
            <a:off x="914400" y="2130426"/>
            <a:ext cx="10363200" cy="454104"/>
          </a:xfrm>
        </p:spPr>
        <p:txBody>
          <a:bodyPr/>
          <a:lstStyle/>
          <a:p>
            <a:r>
              <a:rPr lang="en-US" noProof="0"/>
              <a:t>Click to edit Master title style</a:t>
            </a:r>
          </a:p>
        </p:txBody>
      </p:sp>
      <p:sp>
        <p:nvSpPr>
          <p:cNvPr id="3" name="Subtitel 2"/>
          <p:cNvSpPr>
            <a:spLocks noGrp="1"/>
          </p:cNvSpPr>
          <p:nvPr>
            <p:ph type="subTitle" idx="1"/>
          </p:nvPr>
        </p:nvSpPr>
        <p:spPr>
          <a:xfrm>
            <a:off x="1828800" y="3886200"/>
            <a:ext cx="8534400" cy="1752600"/>
          </a:xfrm>
        </p:spPr>
        <p:txBody>
          <a:bodyPr/>
          <a:lstStyle>
            <a:lvl1pPr marL="0" indent="0" algn="ctr">
              <a:buNone/>
              <a:defRPr>
                <a:solidFill>
                  <a:schemeClr val="tx1">
                    <a:tint val="75000"/>
                  </a:schemeClr>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noProof="0"/>
              <a:t>Click to edit Master subtitle style</a:t>
            </a:r>
          </a:p>
        </p:txBody>
      </p:sp>
      <p:sp>
        <p:nvSpPr>
          <p:cNvPr id="4" name="Tijdelijke aanduiding voor datum 3"/>
          <p:cNvSpPr>
            <a:spLocks noGrp="1"/>
          </p:cNvSpPr>
          <p:nvPr>
            <p:ph type="dt" sz="half" idx="10"/>
          </p:nvPr>
        </p:nvSpPr>
        <p:spPr>
          <a:xfrm>
            <a:off x="609600" y="6356351"/>
            <a:ext cx="2844800" cy="365125"/>
          </a:xfrm>
          <a:prstGeom prst="rect">
            <a:avLst/>
          </a:prstGeom>
        </p:spPr>
        <p:txBody>
          <a:bodyPr/>
          <a:lstStyle/>
          <a:p>
            <a:endParaRPr lang="en-US" noProof="0"/>
          </a:p>
        </p:txBody>
      </p:sp>
      <p:sp>
        <p:nvSpPr>
          <p:cNvPr id="5" name="Tijdelijke aanduiding voor voettekst 4"/>
          <p:cNvSpPr>
            <a:spLocks noGrp="1"/>
          </p:cNvSpPr>
          <p:nvPr>
            <p:ph type="ftr" sz="quarter" idx="11"/>
          </p:nvPr>
        </p:nvSpPr>
        <p:spPr>
          <a:xfrm>
            <a:off x="4165600" y="6356351"/>
            <a:ext cx="3860800" cy="365125"/>
          </a:xfrm>
          <a:prstGeom prst="rect">
            <a:avLst/>
          </a:prstGeom>
        </p:spPr>
        <p:txBody>
          <a:bodyPr/>
          <a:lstStyle/>
          <a:p>
            <a:endParaRPr lang="en-US" noProof="0"/>
          </a:p>
        </p:txBody>
      </p:sp>
      <p:sp>
        <p:nvSpPr>
          <p:cNvPr id="6" name="Tijdelijke aanduiding voor dianummer 5"/>
          <p:cNvSpPr>
            <a:spLocks noGrp="1"/>
          </p:cNvSpPr>
          <p:nvPr>
            <p:ph type="sldNum" sz="quarter" idx="12"/>
          </p:nvPr>
        </p:nvSpPr>
        <p:spPr/>
        <p:txBody>
          <a:bodyPr/>
          <a:lstStyle/>
          <a:p>
            <a:fld id="{28B283EA-3960-6D41-B19F-B86194ECD315}" type="slidenum">
              <a:rPr lang="en-US" noProof="0" smtClean="0"/>
              <a:t>‹#›</a:t>
            </a:fld>
            <a:endParaRPr lang="en-US" noProof="0"/>
          </a:p>
        </p:txBody>
      </p:sp>
    </p:spTree>
    <p:extLst>
      <p:ext uri="{BB962C8B-B14F-4D97-AF65-F5344CB8AC3E}">
        <p14:creationId xmlns:p14="http://schemas.microsoft.com/office/powerpoint/2010/main" val="1032233805"/>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userDrawn="1">
  <p:cSld name="1_Contac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03201" y="3493433"/>
            <a:ext cx="4344167" cy="454104"/>
          </a:xfrm>
          <a:blipFill>
            <a:blip r:embed="rId3"/>
            <a:stretch>
              <a:fillRect/>
            </a:stretch>
          </a:blipFill>
        </p:spPr>
        <p:txBody>
          <a:bodyPr>
            <a:spAutoFit/>
          </a:bodyPr>
          <a:lstStyle>
            <a:lvl1pPr>
              <a:defRPr baseline="0">
                <a:solidFill>
                  <a:schemeClr val="bg1"/>
                </a:solidFill>
              </a:defRPr>
            </a:lvl1pPr>
          </a:lstStyle>
          <a:p>
            <a:r>
              <a:rPr lang="en-US"/>
              <a:t>Thank you</a:t>
            </a:r>
          </a:p>
        </p:txBody>
      </p:sp>
      <p:sp>
        <p:nvSpPr>
          <p:cNvPr id="11" name="Picture Placeholder 10"/>
          <p:cNvSpPr>
            <a:spLocks noGrp="1" noChangeAspect="1"/>
          </p:cNvSpPr>
          <p:nvPr>
            <p:ph type="pic" sz="quarter" idx="13"/>
          </p:nvPr>
        </p:nvSpPr>
        <p:spPr>
          <a:xfrm>
            <a:off x="5280000" y="2475664"/>
            <a:ext cx="1574400" cy="1574400"/>
          </a:xfrm>
          <a:custGeom>
            <a:avLst/>
            <a:gdLst>
              <a:gd name="connsiteX0" fmla="*/ 872837 w 1745674"/>
              <a:gd name="connsiteY0" fmla="*/ 0 h 1745674"/>
              <a:gd name="connsiteX1" fmla="*/ 1745674 w 1745674"/>
              <a:gd name="connsiteY1" fmla="*/ 872837 h 1745674"/>
              <a:gd name="connsiteX2" fmla="*/ 872837 w 1745674"/>
              <a:gd name="connsiteY2" fmla="*/ 1745674 h 1745674"/>
              <a:gd name="connsiteX3" fmla="*/ 0 w 1745674"/>
              <a:gd name="connsiteY3" fmla="*/ 872837 h 1745674"/>
              <a:gd name="connsiteX4" fmla="*/ 872837 w 1745674"/>
              <a:gd name="connsiteY4" fmla="*/ 0 h 17456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45674" h="1745674">
                <a:moveTo>
                  <a:pt x="872837" y="0"/>
                </a:moveTo>
                <a:cubicBezTo>
                  <a:pt x="1354892" y="0"/>
                  <a:pt x="1745674" y="390782"/>
                  <a:pt x="1745674" y="872837"/>
                </a:cubicBezTo>
                <a:cubicBezTo>
                  <a:pt x="1745674" y="1354892"/>
                  <a:pt x="1354892" y="1745674"/>
                  <a:pt x="872837" y="1745674"/>
                </a:cubicBezTo>
                <a:cubicBezTo>
                  <a:pt x="390782" y="1745674"/>
                  <a:pt x="0" y="1354892"/>
                  <a:pt x="0" y="872837"/>
                </a:cubicBezTo>
                <a:cubicBezTo>
                  <a:pt x="0" y="390782"/>
                  <a:pt x="390782" y="0"/>
                  <a:pt x="872837" y="0"/>
                </a:cubicBezTo>
                <a:close/>
              </a:path>
            </a:pathLst>
          </a:custGeom>
        </p:spPr>
        <p:txBody>
          <a:bodyPr wrap="square">
            <a:noAutofit/>
          </a:bodyPr>
          <a:lstStyle>
            <a:lvl1pPr>
              <a:defRPr>
                <a:solidFill>
                  <a:schemeClr val="bg1"/>
                </a:solidFill>
              </a:defRPr>
            </a:lvl1pPr>
          </a:lstStyle>
          <a:p>
            <a:r>
              <a:rPr lang="en-US"/>
              <a:t>Click icon to add picture</a:t>
            </a:r>
          </a:p>
        </p:txBody>
      </p:sp>
      <p:sp>
        <p:nvSpPr>
          <p:cNvPr id="16" name="Picture Placeholder 10"/>
          <p:cNvSpPr>
            <a:spLocks noGrp="1" noChangeAspect="1"/>
          </p:cNvSpPr>
          <p:nvPr>
            <p:ph type="pic" sz="quarter" idx="16"/>
          </p:nvPr>
        </p:nvSpPr>
        <p:spPr>
          <a:xfrm>
            <a:off x="5280000" y="4874016"/>
            <a:ext cx="1574400" cy="1574400"/>
          </a:xfrm>
          <a:custGeom>
            <a:avLst/>
            <a:gdLst>
              <a:gd name="connsiteX0" fmla="*/ 872837 w 1745674"/>
              <a:gd name="connsiteY0" fmla="*/ 0 h 1745674"/>
              <a:gd name="connsiteX1" fmla="*/ 1745674 w 1745674"/>
              <a:gd name="connsiteY1" fmla="*/ 872837 h 1745674"/>
              <a:gd name="connsiteX2" fmla="*/ 872837 w 1745674"/>
              <a:gd name="connsiteY2" fmla="*/ 1745674 h 1745674"/>
              <a:gd name="connsiteX3" fmla="*/ 0 w 1745674"/>
              <a:gd name="connsiteY3" fmla="*/ 872837 h 1745674"/>
              <a:gd name="connsiteX4" fmla="*/ 872837 w 1745674"/>
              <a:gd name="connsiteY4" fmla="*/ 0 h 17456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45674" h="1745674">
                <a:moveTo>
                  <a:pt x="872837" y="0"/>
                </a:moveTo>
                <a:cubicBezTo>
                  <a:pt x="1354892" y="0"/>
                  <a:pt x="1745674" y="390782"/>
                  <a:pt x="1745674" y="872837"/>
                </a:cubicBezTo>
                <a:cubicBezTo>
                  <a:pt x="1745674" y="1354892"/>
                  <a:pt x="1354892" y="1745674"/>
                  <a:pt x="872837" y="1745674"/>
                </a:cubicBezTo>
                <a:cubicBezTo>
                  <a:pt x="390782" y="1745674"/>
                  <a:pt x="0" y="1354892"/>
                  <a:pt x="0" y="872837"/>
                </a:cubicBezTo>
                <a:cubicBezTo>
                  <a:pt x="0" y="390782"/>
                  <a:pt x="390782" y="0"/>
                  <a:pt x="872837" y="0"/>
                </a:cubicBezTo>
                <a:close/>
              </a:path>
            </a:pathLst>
          </a:custGeom>
        </p:spPr>
        <p:txBody>
          <a:bodyPr wrap="square">
            <a:noAutofit/>
          </a:bodyPr>
          <a:lstStyle>
            <a:lvl1pPr>
              <a:defRPr>
                <a:solidFill>
                  <a:schemeClr val="bg1"/>
                </a:solidFill>
              </a:defRPr>
            </a:lvl1pPr>
          </a:lstStyle>
          <a:p>
            <a:r>
              <a:rPr lang="en-US"/>
              <a:t>Click icon to add picture</a:t>
            </a:r>
          </a:p>
        </p:txBody>
      </p:sp>
      <p:sp>
        <p:nvSpPr>
          <p:cNvPr id="29" name="Text Placeholder 28"/>
          <p:cNvSpPr>
            <a:spLocks noGrp="1"/>
          </p:cNvSpPr>
          <p:nvPr>
            <p:ph type="body" sz="quarter" idx="17" hasCustomPrompt="1"/>
          </p:nvPr>
        </p:nvSpPr>
        <p:spPr>
          <a:xfrm>
            <a:off x="7045633" y="2477065"/>
            <a:ext cx="4737353" cy="1582927"/>
          </a:xfrm>
        </p:spPr>
        <p:txBody>
          <a:bodyPr anchor="ctr"/>
          <a:lstStyle>
            <a:lvl1pPr>
              <a:spcAft>
                <a:spcPts val="0"/>
              </a:spcAft>
              <a:defRPr>
                <a:solidFill>
                  <a:schemeClr val="bg1"/>
                </a:solidFill>
              </a:defRPr>
            </a:lvl1pPr>
            <a:lvl2pPr marL="0" indent="0">
              <a:spcAft>
                <a:spcPts val="0"/>
              </a:spcAft>
              <a:buFontTx/>
              <a:buNone/>
              <a:defRPr sz="1867">
                <a:solidFill>
                  <a:schemeClr val="bg1"/>
                </a:solidFill>
              </a:defRPr>
            </a:lvl2pPr>
            <a:lvl3pPr marL="0" indent="0">
              <a:buFontTx/>
              <a:buNone/>
              <a:defRPr sz="1867">
                <a:solidFill>
                  <a:schemeClr val="bg1"/>
                </a:solidFill>
              </a:defRPr>
            </a:lvl3pPr>
            <a:lvl4pPr marL="0" indent="0">
              <a:buFontTx/>
              <a:buNone/>
              <a:defRPr sz="1867">
                <a:solidFill>
                  <a:schemeClr val="bg1"/>
                </a:solidFill>
              </a:defRPr>
            </a:lvl4pPr>
            <a:lvl5pPr marL="0" indent="0">
              <a:buFontTx/>
              <a:buNone/>
              <a:defRPr sz="1867">
                <a:solidFill>
                  <a:schemeClr val="bg1"/>
                </a:solidFill>
              </a:defRPr>
            </a:lvl5pPr>
            <a:lvl6pPr marL="0" indent="0">
              <a:buFontTx/>
              <a:buNone/>
              <a:defRPr sz="1867">
                <a:solidFill>
                  <a:schemeClr val="bg1"/>
                </a:solidFill>
              </a:defRPr>
            </a:lvl6pPr>
            <a:lvl7pPr marL="0" indent="0">
              <a:buFontTx/>
              <a:buNone/>
              <a:defRPr sz="1867">
                <a:solidFill>
                  <a:schemeClr val="bg1"/>
                </a:solidFill>
              </a:defRPr>
            </a:lvl7pPr>
            <a:lvl8pPr marL="0" indent="0">
              <a:buFontTx/>
              <a:buNone/>
              <a:defRPr sz="1867">
                <a:solidFill>
                  <a:schemeClr val="bg1"/>
                </a:solidFill>
              </a:defRPr>
            </a:lvl8pPr>
            <a:lvl9pPr marL="0" indent="0">
              <a:buFontTx/>
              <a:buNone/>
              <a:defRPr sz="1867">
                <a:solidFill>
                  <a:schemeClr val="bg1"/>
                </a:solidFill>
              </a:defRPr>
            </a:lvl9pPr>
          </a:lstStyle>
          <a:p>
            <a:pPr lvl="0"/>
            <a:r>
              <a:rPr lang="en-US" noProof="0" err="1"/>
              <a:t>Firstname</a:t>
            </a:r>
            <a:r>
              <a:rPr lang="en-US" noProof="0"/>
              <a:t> </a:t>
            </a:r>
            <a:r>
              <a:rPr lang="en-US" noProof="0" err="1"/>
              <a:t>Lastname</a:t>
            </a:r>
            <a:endParaRPr lang="en-US" noProof="0"/>
          </a:p>
          <a:p>
            <a:pPr lvl="1"/>
            <a:r>
              <a:rPr lang="en-US" noProof="0"/>
              <a:t>Job Title</a:t>
            </a:r>
          </a:p>
          <a:p>
            <a:pPr lvl="1"/>
            <a:r>
              <a:rPr lang="en-US" noProof="0"/>
              <a:t>n.ame@skimgroup.com</a:t>
            </a:r>
          </a:p>
          <a:p>
            <a:pPr lvl="1"/>
            <a:endParaRPr lang="en-US" noProof="0"/>
          </a:p>
        </p:txBody>
      </p:sp>
      <p:sp>
        <p:nvSpPr>
          <p:cNvPr id="30" name="Text Placeholder 28"/>
          <p:cNvSpPr>
            <a:spLocks noGrp="1"/>
          </p:cNvSpPr>
          <p:nvPr>
            <p:ph type="body" sz="quarter" idx="18" hasCustomPrompt="1"/>
          </p:nvPr>
        </p:nvSpPr>
        <p:spPr>
          <a:xfrm>
            <a:off x="7045633" y="4865490"/>
            <a:ext cx="4737353" cy="1582927"/>
          </a:xfrm>
        </p:spPr>
        <p:txBody>
          <a:bodyPr anchor="ctr"/>
          <a:lstStyle>
            <a:lvl1pPr>
              <a:spcAft>
                <a:spcPts val="0"/>
              </a:spcAft>
              <a:defRPr>
                <a:solidFill>
                  <a:schemeClr val="bg1"/>
                </a:solidFill>
              </a:defRPr>
            </a:lvl1pPr>
            <a:lvl2pPr marL="0" indent="0">
              <a:spcAft>
                <a:spcPts val="0"/>
              </a:spcAft>
              <a:buFontTx/>
              <a:buNone/>
              <a:defRPr sz="1867" baseline="0">
                <a:solidFill>
                  <a:schemeClr val="bg1"/>
                </a:solidFill>
              </a:defRPr>
            </a:lvl2pPr>
            <a:lvl3pPr marL="0" indent="0">
              <a:buFontTx/>
              <a:buNone/>
              <a:defRPr sz="1867">
                <a:solidFill>
                  <a:schemeClr val="bg1"/>
                </a:solidFill>
              </a:defRPr>
            </a:lvl3pPr>
            <a:lvl4pPr marL="0" indent="0">
              <a:buFontTx/>
              <a:buNone/>
              <a:defRPr sz="1867">
                <a:solidFill>
                  <a:schemeClr val="bg1"/>
                </a:solidFill>
              </a:defRPr>
            </a:lvl4pPr>
            <a:lvl5pPr marL="0" indent="0">
              <a:buFontTx/>
              <a:buNone/>
              <a:defRPr sz="1867">
                <a:solidFill>
                  <a:schemeClr val="bg1"/>
                </a:solidFill>
              </a:defRPr>
            </a:lvl5pPr>
            <a:lvl6pPr marL="0" indent="0">
              <a:buFontTx/>
              <a:buNone/>
              <a:defRPr sz="1867">
                <a:solidFill>
                  <a:schemeClr val="bg1"/>
                </a:solidFill>
              </a:defRPr>
            </a:lvl6pPr>
            <a:lvl7pPr marL="0" indent="0">
              <a:buFontTx/>
              <a:buNone/>
              <a:defRPr sz="1867">
                <a:solidFill>
                  <a:schemeClr val="bg1"/>
                </a:solidFill>
              </a:defRPr>
            </a:lvl7pPr>
            <a:lvl8pPr marL="0" indent="0">
              <a:buFontTx/>
              <a:buNone/>
              <a:defRPr sz="1867">
                <a:solidFill>
                  <a:schemeClr val="bg1"/>
                </a:solidFill>
              </a:defRPr>
            </a:lvl8pPr>
            <a:lvl9pPr marL="0" indent="0">
              <a:buFontTx/>
              <a:buNone/>
              <a:defRPr sz="1867">
                <a:solidFill>
                  <a:schemeClr val="bg1"/>
                </a:solidFill>
              </a:defRPr>
            </a:lvl9pPr>
          </a:lstStyle>
          <a:p>
            <a:pPr lvl="0"/>
            <a:r>
              <a:rPr lang="en-US" noProof="0" err="1"/>
              <a:t>Firstname</a:t>
            </a:r>
            <a:r>
              <a:rPr lang="en-US" noProof="0"/>
              <a:t> </a:t>
            </a:r>
            <a:r>
              <a:rPr lang="en-US" noProof="0" err="1"/>
              <a:t>Lastname</a:t>
            </a:r>
            <a:endParaRPr lang="en-US" noProof="0"/>
          </a:p>
          <a:p>
            <a:pPr lvl="1"/>
            <a:r>
              <a:rPr lang="en-US" noProof="0"/>
              <a:t>Job Title</a:t>
            </a:r>
          </a:p>
          <a:p>
            <a:pPr lvl="1"/>
            <a:r>
              <a:rPr lang="en-US" noProof="0"/>
              <a:t>n.ame@skimgroup.com</a:t>
            </a:r>
          </a:p>
          <a:p>
            <a:pPr lvl="1"/>
            <a:endParaRPr lang="en-US" noProof="0"/>
          </a:p>
        </p:txBody>
      </p:sp>
    </p:spTree>
    <p:extLst>
      <p:ext uri="{BB962C8B-B14F-4D97-AF65-F5344CB8AC3E}">
        <p14:creationId xmlns:p14="http://schemas.microsoft.com/office/powerpoint/2010/main" val="4242095407"/>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lvl1pPr>
              <a:defRPr/>
            </a:lvl1pPr>
          </a:lstStyle>
          <a:p>
            <a:fld id="{4D8D0DEC-F0EC-4271-9DCB-4FE9D78CBA74}" type="slidenum">
              <a:rPr lang="en-US"/>
              <a:pPr/>
              <a:t>‹#›</a:t>
            </a:fld>
            <a:endParaRPr lang="en-US"/>
          </a:p>
        </p:txBody>
      </p:sp>
    </p:spTree>
    <p:extLst>
      <p:ext uri="{BB962C8B-B14F-4D97-AF65-F5344CB8AC3E}">
        <p14:creationId xmlns:p14="http://schemas.microsoft.com/office/powerpoint/2010/main" val="1326862145"/>
      </p:ext>
    </p:extLst>
  </p:cSld>
  <p:clrMapOvr>
    <a:masterClrMapping/>
  </p:clrMapOvr>
  <p:transition spd="med"/>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7E508154-7AB5-4B06-92EE-D9140AF27C87}"/>
              </a:ext>
            </a:extLst>
          </p:cNvPr>
          <p:cNvSpPr>
            <a:spLocks noGrp="1"/>
          </p:cNvSpPr>
          <p:nvPr>
            <p:ph type="pic" sz="quarter" idx="13" hasCustomPrompt="1"/>
          </p:nvPr>
        </p:nvSpPr>
        <p:spPr>
          <a:xfrm>
            <a:off x="6097588" y="-3600"/>
            <a:ext cx="6094412" cy="6865200"/>
          </a:xfrm>
        </p:spPr>
        <p:txBody>
          <a:bodyPr/>
          <a:lstStyle>
            <a:lvl1pPr marL="0" indent="0">
              <a:buNone/>
              <a:defRPr/>
            </a:lvl1pPr>
          </a:lstStyle>
          <a:p>
            <a:pPr marL="0" marR="0" lvl="0" indent="-288000" algn="l" defTabSz="914400" rtl="0" eaLnBrk="1" fontAlgn="auto" latinLnBrk="0" hangingPunct="1">
              <a:lnSpc>
                <a:spcPct val="150000"/>
              </a:lnSpc>
              <a:spcBef>
                <a:spcPts val="0"/>
              </a:spcBef>
              <a:spcAft>
                <a:spcPts val="0"/>
              </a:spcAft>
              <a:buClrTx/>
              <a:buSzTx/>
              <a:tabLst/>
              <a:defRPr/>
            </a:pPr>
            <a:br>
              <a:rPr lang="en-US" noProof="0"/>
            </a:br>
            <a:br>
              <a:rPr lang="en-US" noProof="0"/>
            </a:br>
            <a:r>
              <a:rPr lang="en-US" noProof="0"/>
              <a:t>To add image:</a:t>
            </a:r>
            <a:br>
              <a:rPr lang="en-US" noProof="0"/>
            </a:br>
            <a:r>
              <a:rPr lang="en-US" noProof="0"/>
              <a:t>1. Click border of this box</a:t>
            </a:r>
            <a:br>
              <a:rPr lang="en-US" noProof="0"/>
            </a:br>
            <a:r>
              <a:rPr lang="en-US" noProof="0"/>
              <a:t>2. Select ‘Add image’ from SKIM buttons</a:t>
            </a:r>
            <a:br>
              <a:rPr lang="en-US" noProof="0"/>
            </a:br>
            <a:r>
              <a:rPr lang="en-US" noProof="0"/>
              <a:t>3. Add overlay and send backward as needed</a:t>
            </a:r>
            <a:br>
              <a:rPr lang="en-US" noProof="0"/>
            </a:br>
            <a:r>
              <a:rPr lang="en-US" noProof="0"/>
              <a:t>4. Add SKIM logo</a:t>
            </a:r>
          </a:p>
        </p:txBody>
      </p:sp>
      <p:pic>
        <p:nvPicPr>
          <p:cNvPr id="8" name="Picture 46" descr="Logo&#10;&#10;Description automatically generated">
            <a:extLst>
              <a:ext uri="{FF2B5EF4-FFF2-40B4-BE49-F238E27FC236}">
                <a16:creationId xmlns:a16="http://schemas.microsoft.com/office/drawing/2014/main" id="{85AF2E5E-2981-40F6-88B7-F5C3F25F487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506775" y="5032103"/>
            <a:ext cx="2268245" cy="1420488"/>
          </a:xfrm>
          <a:prstGeom prst="rect">
            <a:avLst/>
          </a:prstGeom>
        </p:spPr>
      </p:pic>
      <p:sp>
        <p:nvSpPr>
          <p:cNvPr id="13" name="Content Placeholder 12">
            <a:extLst>
              <a:ext uri="{FF2B5EF4-FFF2-40B4-BE49-F238E27FC236}">
                <a16:creationId xmlns:a16="http://schemas.microsoft.com/office/drawing/2014/main" id="{E5C393B1-9579-4D7D-BCE0-2476ED4045C3}"/>
              </a:ext>
            </a:extLst>
          </p:cNvPr>
          <p:cNvSpPr>
            <a:spLocks noGrp="1"/>
          </p:cNvSpPr>
          <p:nvPr>
            <p:ph sz="quarter" idx="14" hasCustomPrompt="1"/>
          </p:nvPr>
        </p:nvSpPr>
        <p:spPr>
          <a:xfrm>
            <a:off x="503238" y="504000"/>
            <a:ext cx="2646000" cy="1198800"/>
          </a:xfrm>
        </p:spPr>
        <p:txBody>
          <a:bodyPr anchor="ctr" anchorCtr="0">
            <a:noAutofit/>
          </a:bodyPr>
          <a:lstStyle>
            <a:lvl1pPr marL="0" indent="0">
              <a:buNone/>
              <a:defRPr/>
            </a:lvl1pPr>
          </a:lstStyle>
          <a:p>
            <a:r>
              <a:rPr lang="en-US" noProof="0"/>
              <a:t>Add client logo</a:t>
            </a:r>
          </a:p>
        </p:txBody>
      </p:sp>
      <p:sp>
        <p:nvSpPr>
          <p:cNvPr id="15" name="Text Placeholder 14">
            <a:extLst>
              <a:ext uri="{FF2B5EF4-FFF2-40B4-BE49-F238E27FC236}">
                <a16:creationId xmlns:a16="http://schemas.microsoft.com/office/drawing/2014/main" id="{6EE45B92-C22D-4547-B538-608201D85745}"/>
              </a:ext>
            </a:extLst>
          </p:cNvPr>
          <p:cNvSpPr>
            <a:spLocks noGrp="1"/>
          </p:cNvSpPr>
          <p:nvPr>
            <p:ph type="body" sz="quarter" idx="15" hasCustomPrompt="1"/>
          </p:nvPr>
        </p:nvSpPr>
        <p:spPr>
          <a:xfrm>
            <a:off x="503238" y="5868000"/>
            <a:ext cx="5075237" cy="259200"/>
          </a:xfrm>
        </p:spPr>
        <p:txBody>
          <a:bodyPr tIns="36000" bIns="36000">
            <a:noAutofit/>
          </a:bodyPr>
          <a:lstStyle>
            <a:lvl1pPr marL="0" indent="0">
              <a:lnSpc>
                <a:spcPct val="100000"/>
              </a:lnSpc>
              <a:buFont typeface="Arial" panose="020B0604020202020204" pitchFamily="34" charset="0"/>
              <a:buNone/>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Prepared for [client name] and team, [client company]</a:t>
            </a:r>
          </a:p>
        </p:txBody>
      </p:sp>
      <p:sp>
        <p:nvSpPr>
          <p:cNvPr id="16" name="Text Placeholder 14">
            <a:extLst>
              <a:ext uri="{FF2B5EF4-FFF2-40B4-BE49-F238E27FC236}">
                <a16:creationId xmlns:a16="http://schemas.microsoft.com/office/drawing/2014/main" id="{60534F2F-F5AE-4905-8960-B0A49D9F9445}"/>
              </a:ext>
            </a:extLst>
          </p:cNvPr>
          <p:cNvSpPr>
            <a:spLocks noGrp="1"/>
          </p:cNvSpPr>
          <p:nvPr>
            <p:ph type="body" sz="quarter" idx="16" hasCustomPrompt="1"/>
          </p:nvPr>
        </p:nvSpPr>
        <p:spPr>
          <a:xfrm>
            <a:off x="509664" y="6159600"/>
            <a:ext cx="5075237" cy="259200"/>
          </a:xfrm>
        </p:spPr>
        <p:txBody>
          <a:bodyPr tIns="36000" bIns="36000">
            <a:noAutofit/>
          </a:bodyPr>
          <a:lstStyle>
            <a:lvl1pPr marL="0" indent="0">
              <a:lnSpc>
                <a:spcPct val="100000"/>
              </a:lnSpc>
              <a:buNone/>
              <a:defRPr sz="1200">
                <a:solidFill>
                  <a:schemeClr val="tx1"/>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X Month 2021   |   FXXXX</a:t>
            </a:r>
          </a:p>
        </p:txBody>
      </p:sp>
      <p:sp>
        <p:nvSpPr>
          <p:cNvPr id="3" name="Subtitle 2">
            <a:extLst>
              <a:ext uri="{FF2B5EF4-FFF2-40B4-BE49-F238E27FC236}">
                <a16:creationId xmlns:a16="http://schemas.microsoft.com/office/drawing/2014/main" id="{1B5AC349-CB4F-4675-94EB-FB609CCE2F82}"/>
              </a:ext>
            </a:extLst>
          </p:cNvPr>
          <p:cNvSpPr>
            <a:spLocks noGrp="1"/>
          </p:cNvSpPr>
          <p:nvPr>
            <p:ph type="subTitle" idx="1" hasCustomPrompt="1"/>
          </p:nvPr>
        </p:nvSpPr>
        <p:spPr>
          <a:xfrm>
            <a:off x="504000" y="3229200"/>
            <a:ext cx="5076000" cy="363552"/>
          </a:xfrm>
        </p:spPr>
        <p:txBody>
          <a:bodyPr tIns="36000" bIns="36000">
            <a:spAutoFit/>
          </a:bodyPr>
          <a:lstStyle>
            <a:lvl1pPr marL="0" indent="0" algn="l">
              <a:lnSpc>
                <a:spcPct val="100000"/>
              </a:lnSpc>
              <a:buNone/>
              <a:defRPr sz="1890" b="1">
                <a:solidFill>
                  <a:schemeClr val="accent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a:t>
            </a:r>
            <a:r>
              <a:rPr lang="en-US" err="1"/>
              <a:t>subheadline</a:t>
            </a:r>
            <a:endParaRPr lang="en-US"/>
          </a:p>
        </p:txBody>
      </p:sp>
      <p:sp>
        <p:nvSpPr>
          <p:cNvPr id="2" name="Title 1">
            <a:extLst>
              <a:ext uri="{FF2B5EF4-FFF2-40B4-BE49-F238E27FC236}">
                <a16:creationId xmlns:a16="http://schemas.microsoft.com/office/drawing/2014/main" id="{D8E250B2-F80A-4990-9F94-2AB6B07D6852}"/>
              </a:ext>
            </a:extLst>
          </p:cNvPr>
          <p:cNvSpPr>
            <a:spLocks noGrp="1"/>
          </p:cNvSpPr>
          <p:nvPr>
            <p:ph type="ctrTitle" hasCustomPrompt="1"/>
          </p:nvPr>
        </p:nvSpPr>
        <p:spPr>
          <a:xfrm>
            <a:off x="504000" y="2052000"/>
            <a:ext cx="5076000" cy="1022400"/>
          </a:xfrm>
        </p:spPr>
        <p:txBody>
          <a:bodyPr anchor="t" anchorCtr="0">
            <a:noAutofit/>
          </a:bodyPr>
          <a:lstStyle>
            <a:lvl1pPr algn="l">
              <a:defRPr sz="3200"/>
            </a:lvl1pPr>
          </a:lstStyle>
          <a:p>
            <a:r>
              <a:rPr lang="en-US"/>
              <a:t>SKIM Proposal name</a:t>
            </a:r>
          </a:p>
        </p:txBody>
      </p:sp>
    </p:spTree>
    <p:extLst>
      <p:ext uri="{BB962C8B-B14F-4D97-AF65-F5344CB8AC3E}">
        <p14:creationId xmlns:p14="http://schemas.microsoft.com/office/powerpoint/2010/main" val="12666875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7E508154-7AB5-4B06-92EE-D9140AF27C87}"/>
              </a:ext>
            </a:extLst>
          </p:cNvPr>
          <p:cNvSpPr>
            <a:spLocks noGrp="1"/>
          </p:cNvSpPr>
          <p:nvPr>
            <p:ph type="pic" sz="quarter" idx="13" hasCustomPrompt="1"/>
          </p:nvPr>
        </p:nvSpPr>
        <p:spPr>
          <a:xfrm>
            <a:off x="0" y="-3600"/>
            <a:ext cx="6094412" cy="6865200"/>
          </a:xfrm>
          <a:solidFill>
            <a:srgbClr val="E6EFF1"/>
          </a:solidFill>
        </p:spPr>
        <p:txBody>
          <a:bodyPr lIns="504000"/>
          <a:lstStyle>
            <a:lvl1pPr marL="0" indent="0">
              <a:buNone/>
              <a:defRPr/>
            </a:lvl1pPr>
          </a:lstStyle>
          <a:p>
            <a:pPr marL="0" marR="0" lvl="0" indent="-288000" algn="l" defTabSz="914400" rtl="0" eaLnBrk="1" fontAlgn="auto" latinLnBrk="0" hangingPunct="1">
              <a:lnSpc>
                <a:spcPct val="150000"/>
              </a:lnSpc>
              <a:spcBef>
                <a:spcPts val="0"/>
              </a:spcBef>
              <a:spcAft>
                <a:spcPts val="0"/>
              </a:spcAft>
              <a:buClrTx/>
              <a:buSzTx/>
              <a:tabLst/>
              <a:defRPr/>
            </a:pPr>
            <a:br>
              <a:rPr lang="en-US"/>
            </a:br>
            <a:r>
              <a:rPr lang="en-US"/>
              <a:t>To add image:</a:t>
            </a:r>
            <a:br>
              <a:rPr lang="en-US"/>
            </a:br>
            <a:r>
              <a:rPr lang="en-US"/>
              <a:t>1. Click border of this box</a:t>
            </a:r>
            <a:br>
              <a:rPr lang="en-US"/>
            </a:br>
            <a:r>
              <a:rPr lang="en-US"/>
              <a:t>2. Select ‘Add image’ from SKIM buttons</a:t>
            </a:r>
            <a:br>
              <a:rPr lang="en-US"/>
            </a:br>
            <a:r>
              <a:rPr lang="en-US"/>
              <a:t>3. Add overlay and send backward as needed</a:t>
            </a:r>
            <a:br>
              <a:rPr lang="en-US"/>
            </a:br>
            <a:r>
              <a:rPr lang="en-US"/>
              <a:t>4. Add SKIM logo</a:t>
            </a:r>
          </a:p>
        </p:txBody>
      </p:sp>
      <p:sp>
        <p:nvSpPr>
          <p:cNvPr id="5" name="Text Placeholder 4">
            <a:extLst>
              <a:ext uri="{FF2B5EF4-FFF2-40B4-BE49-F238E27FC236}">
                <a16:creationId xmlns:a16="http://schemas.microsoft.com/office/drawing/2014/main" id="{3AE0A589-D084-4102-B91A-9A6DFC50EEDB}"/>
              </a:ext>
            </a:extLst>
          </p:cNvPr>
          <p:cNvSpPr>
            <a:spLocks noGrp="1"/>
          </p:cNvSpPr>
          <p:nvPr>
            <p:ph type="body" sz="quarter" idx="14" hasCustomPrompt="1"/>
          </p:nvPr>
        </p:nvSpPr>
        <p:spPr>
          <a:xfrm>
            <a:off x="7124180" y="503999"/>
            <a:ext cx="4064049" cy="5851525"/>
          </a:xfrm>
        </p:spPr>
        <p:txBody>
          <a:bodyPr anchor="ctr" anchorCtr="0">
            <a:noAutofit/>
          </a:bodyPr>
          <a:lstStyle>
            <a:lvl1pPr marL="0" indent="0">
              <a:buNone/>
              <a:defRPr sz="2400" b="1">
                <a:solidFill>
                  <a:schemeClr val="accent1"/>
                </a:solidFill>
              </a:defRPr>
            </a:lvl1pPr>
            <a:lvl2pPr>
              <a:defRPr sz="2000">
                <a:solidFill>
                  <a:schemeClr val="bg1"/>
                </a:solidFill>
              </a:defRPr>
            </a:lvl2pPr>
            <a:lvl3pPr>
              <a:defRPr sz="2000">
                <a:solidFill>
                  <a:schemeClr val="bg1"/>
                </a:solidFill>
              </a:defRPr>
            </a:lvl3pPr>
            <a:lvl4pPr>
              <a:defRPr sz="2000">
                <a:solidFill>
                  <a:schemeClr val="bg1"/>
                </a:solidFill>
              </a:defRPr>
            </a:lvl4pPr>
            <a:lvl5pPr>
              <a:defRPr sz="2000">
                <a:solidFill>
                  <a:schemeClr val="accent1"/>
                </a:solidFill>
              </a:defRPr>
            </a:lvl5pPr>
          </a:lstStyle>
          <a:p>
            <a:pPr lvl="0"/>
            <a:r>
              <a:rPr lang="en-US"/>
              <a:t>1 | First Topic</a:t>
            </a:r>
            <a:br>
              <a:rPr lang="en-US"/>
            </a:br>
            <a:r>
              <a:rPr lang="en-US"/>
              <a:t>2 | Second Topic</a:t>
            </a:r>
            <a:br>
              <a:rPr lang="en-US"/>
            </a:br>
            <a:r>
              <a:rPr lang="en-US"/>
              <a:t>3 | Third Topic</a:t>
            </a:r>
          </a:p>
        </p:txBody>
      </p:sp>
      <p:sp>
        <p:nvSpPr>
          <p:cNvPr id="2" name="Title 1">
            <a:extLst>
              <a:ext uri="{FF2B5EF4-FFF2-40B4-BE49-F238E27FC236}">
                <a16:creationId xmlns:a16="http://schemas.microsoft.com/office/drawing/2014/main" id="{D8E250B2-F80A-4990-9F94-2AB6B07D6852}"/>
              </a:ext>
            </a:extLst>
          </p:cNvPr>
          <p:cNvSpPr>
            <a:spLocks noGrp="1"/>
          </p:cNvSpPr>
          <p:nvPr>
            <p:ph type="ctrTitle" hasCustomPrompt="1"/>
          </p:nvPr>
        </p:nvSpPr>
        <p:spPr>
          <a:xfrm>
            <a:off x="504000" y="503999"/>
            <a:ext cx="5076000" cy="5850000"/>
          </a:xfrm>
        </p:spPr>
        <p:txBody>
          <a:bodyPr anchor="ctr" anchorCtr="0">
            <a:noAutofit/>
          </a:bodyPr>
          <a:lstStyle>
            <a:lvl1pPr algn="l">
              <a:defRPr sz="3800">
                <a:solidFill>
                  <a:schemeClr val="bg1"/>
                </a:solidFill>
              </a:defRPr>
            </a:lvl1pPr>
          </a:lstStyle>
          <a:p>
            <a:r>
              <a:rPr lang="en-US"/>
              <a:t>Click to add agenda name</a:t>
            </a:r>
          </a:p>
        </p:txBody>
      </p:sp>
      <p:sp>
        <p:nvSpPr>
          <p:cNvPr id="6" name="Tijdelijke aanduiding voor dianummer 3">
            <a:extLst>
              <a:ext uri="{FF2B5EF4-FFF2-40B4-BE49-F238E27FC236}">
                <a16:creationId xmlns:a16="http://schemas.microsoft.com/office/drawing/2014/main" id="{3BB5E9B9-5056-43CE-903C-40390D74B9D3}"/>
              </a:ext>
            </a:extLst>
          </p:cNvPr>
          <p:cNvSpPr>
            <a:spLocks noGrp="1"/>
          </p:cNvSpPr>
          <p:nvPr>
            <p:ph type="sldNum" sz="quarter" idx="4"/>
          </p:nvPr>
        </p:nvSpPr>
        <p:spPr>
          <a:xfrm>
            <a:off x="504000" y="6378472"/>
            <a:ext cx="2743200" cy="365125"/>
          </a:xfrm>
          <a:prstGeom prst="rect">
            <a:avLst/>
          </a:prstGeom>
        </p:spPr>
        <p:txBody>
          <a:bodyPr vert="horz" lIns="0" tIns="45720" rIns="91440" bIns="45720" rtlCol="0" anchor="ctr"/>
          <a:lstStyle>
            <a:lvl1pPr algn="l">
              <a:defRPr sz="800">
                <a:solidFill>
                  <a:schemeClr val="bg1"/>
                </a:solidFill>
              </a:defRPr>
            </a:lvl1pPr>
          </a:lstStyle>
          <a:p>
            <a:fld id="{B592C3DA-96A1-4E84-9171-AC4C91AB4FEA}" type="slidenum">
              <a:rPr lang="en-US" smtClean="0"/>
              <a:pPr/>
              <a:t>‹#›</a:t>
            </a:fld>
            <a:endParaRPr lang="en-US"/>
          </a:p>
        </p:txBody>
      </p:sp>
    </p:spTree>
    <p:extLst>
      <p:ext uri="{BB962C8B-B14F-4D97-AF65-F5344CB8AC3E}">
        <p14:creationId xmlns:p14="http://schemas.microsoft.com/office/powerpoint/2010/main" val="106154796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obj" preserve="1">
  <p:cSld name="Headline only">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362E8132-95EB-4F9A-BF24-2705D44A6CCC}"/>
              </a:ext>
            </a:extLst>
          </p:cNvPr>
          <p:cNvSpPr>
            <a:spLocks noGrp="1"/>
          </p:cNvSpPr>
          <p:nvPr>
            <p:ph idx="1" hasCustomPrompt="1"/>
          </p:nvPr>
        </p:nvSpPr>
        <p:spPr>
          <a:xfrm>
            <a:off x="504000" y="1697688"/>
            <a:ext cx="11084400" cy="4752000"/>
          </a:xfrm>
        </p:spPr>
        <p:txBody>
          <a:bodyPr>
            <a:noAutofit/>
          </a:bodyPr>
          <a:lstStyle>
            <a:lvl1pPr>
              <a:lnSpc>
                <a:spcPct val="120000"/>
              </a:lnSpc>
              <a:spcAft>
                <a:spcPts val="1000"/>
              </a:spcAft>
              <a:defRPr/>
            </a:lvl1pPr>
            <a:lvl2pPr marL="576000" indent="-288000">
              <a:lnSpc>
                <a:spcPct val="120000"/>
              </a:lnSpc>
              <a:spcAft>
                <a:spcPts val="1000"/>
              </a:spcAft>
              <a:buClr>
                <a:schemeClr val="accent1"/>
              </a:buClr>
              <a:buFont typeface="Wingdings" panose="05000000000000000000" pitchFamily="2" charset="2"/>
              <a:buChar char="§"/>
              <a:defRPr/>
            </a:lvl2pPr>
            <a:lvl3pPr marL="864000" indent="-288000">
              <a:lnSpc>
                <a:spcPct val="120000"/>
              </a:lnSpc>
              <a:spcAft>
                <a:spcPts val="1000"/>
              </a:spcAft>
              <a:buClr>
                <a:schemeClr val="accent1"/>
              </a:buClr>
              <a:buFont typeface="Wingdings" panose="05000000000000000000" pitchFamily="2" charset="2"/>
              <a:buChar char="§"/>
              <a:defRPr/>
            </a:lvl3pPr>
            <a:lvl4pPr marL="1152000" indent="-288000">
              <a:lnSpc>
                <a:spcPct val="120000"/>
              </a:lnSpc>
              <a:spcAft>
                <a:spcPts val="1000"/>
              </a:spcAft>
              <a:buClr>
                <a:schemeClr val="accent1"/>
              </a:buClr>
              <a:buFont typeface="Wingdings" panose="05000000000000000000" pitchFamily="2" charset="2"/>
              <a:buChar char="§"/>
              <a:defRPr/>
            </a:lvl4pPr>
            <a:lvl5pPr marL="1152000" indent="-288000">
              <a:lnSpc>
                <a:spcPct val="120000"/>
              </a:lnSpc>
              <a:spcAft>
                <a:spcPts val="1000"/>
              </a:spcAft>
              <a:buClr>
                <a:schemeClr val="bg2"/>
              </a:buClr>
              <a:buFont typeface="Wingdings" panose="05000000000000000000" pitchFamily="2" charset="2"/>
              <a:buChar char="§"/>
              <a:defRPr/>
            </a:lvl5pPr>
            <a:lvl6pPr marL="1152000" indent="-288000">
              <a:buClr>
                <a:schemeClr val="bg2"/>
              </a:buClr>
              <a:buFont typeface="Wingdings" panose="05000000000000000000" pitchFamily="2" charset="2"/>
              <a:buChar char="§"/>
              <a:defRPr/>
            </a:lvl6pPr>
            <a:lvl7pPr marL="1152000" indent="-288000">
              <a:buClr>
                <a:schemeClr val="bg2"/>
              </a:buClr>
              <a:buFont typeface="Wingdings" panose="05000000000000000000" pitchFamily="2" charset="2"/>
              <a:buChar char="§"/>
              <a:defRPr/>
            </a:lvl7pPr>
            <a:lvl8pPr marL="1152000" indent="-288000">
              <a:buClr>
                <a:schemeClr val="bg2"/>
              </a:buClr>
              <a:buFont typeface="Wingdings" panose="05000000000000000000" pitchFamily="2" charset="2"/>
              <a:buChar char="§"/>
              <a:defRPr/>
            </a:lvl8pPr>
            <a:lvl9pPr marL="1152000" indent="-288000">
              <a:buClr>
                <a:schemeClr val="bg2"/>
              </a:buClr>
              <a:buFont typeface="Wingdings" panose="05000000000000000000" pitchFamily="2" charset="2"/>
              <a:buChar char="§"/>
              <a:defRPr/>
            </a:lvl9pPr>
          </a:lstStyle>
          <a:p>
            <a:pPr lvl="0"/>
            <a:r>
              <a:rPr lang="en-US"/>
              <a:t>Click to add text. Delete text box if not needed</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E6E0FA48-03C5-4B7A-972D-4A2221603CD0}"/>
              </a:ext>
            </a:extLst>
          </p:cNvPr>
          <p:cNvSpPr>
            <a:spLocks noGrp="1"/>
          </p:cNvSpPr>
          <p:nvPr>
            <p:ph type="title" hasCustomPrompt="1"/>
          </p:nvPr>
        </p:nvSpPr>
        <p:spPr>
          <a:xfrm>
            <a:off x="504000" y="403200"/>
            <a:ext cx="11082519" cy="972000"/>
          </a:xfrm>
        </p:spPr>
        <p:txBody>
          <a:bodyPr>
            <a:noAutofit/>
          </a:bodyPr>
          <a:lstStyle>
            <a:lvl1pPr>
              <a:defRPr/>
            </a:lvl1pPr>
          </a:lstStyle>
          <a:p>
            <a:r>
              <a:rPr lang="en-US"/>
              <a:t>Click to add headline</a:t>
            </a:r>
          </a:p>
        </p:txBody>
      </p:sp>
      <p:sp>
        <p:nvSpPr>
          <p:cNvPr id="4" name="Tijdelijke aanduiding voor dianummer 3">
            <a:extLst>
              <a:ext uri="{FF2B5EF4-FFF2-40B4-BE49-F238E27FC236}">
                <a16:creationId xmlns:a16="http://schemas.microsoft.com/office/drawing/2014/main" id="{72291602-76B8-4CEF-89D4-0ED9CBC9CAA0}"/>
              </a:ext>
            </a:extLst>
          </p:cNvPr>
          <p:cNvSpPr>
            <a:spLocks noGrp="1"/>
          </p:cNvSpPr>
          <p:nvPr>
            <p:ph type="sldNum" sz="quarter" idx="4"/>
          </p:nvPr>
        </p:nvSpPr>
        <p:spPr>
          <a:xfrm>
            <a:off x="504000" y="6378472"/>
            <a:ext cx="2743200" cy="365125"/>
          </a:xfrm>
          <a:prstGeom prst="rect">
            <a:avLst/>
          </a:prstGeom>
        </p:spPr>
        <p:txBody>
          <a:bodyPr vert="horz" lIns="0" tIns="45720" rIns="91440" bIns="45720" rtlCol="0" anchor="ctr"/>
          <a:lstStyle>
            <a:lvl1pPr algn="l">
              <a:defRPr sz="800">
                <a:solidFill>
                  <a:schemeClr val="bg2"/>
                </a:solidFill>
              </a:defRPr>
            </a:lvl1pPr>
          </a:lstStyle>
          <a:p>
            <a:fld id="{B592C3DA-96A1-4E84-9171-AC4C91AB4FEA}" type="slidenum">
              <a:rPr lang="en-US" smtClean="0"/>
              <a:pPr/>
              <a:t>‹#›</a:t>
            </a:fld>
            <a:endParaRPr lang="en-US"/>
          </a:p>
        </p:txBody>
      </p:sp>
    </p:spTree>
    <p:extLst>
      <p:ext uri="{BB962C8B-B14F-4D97-AF65-F5344CB8AC3E}">
        <p14:creationId xmlns:p14="http://schemas.microsoft.com/office/powerpoint/2010/main" val="222281341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Headling &amp; Subheadin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7309557-2B8E-490F-8547-975C069159A6}"/>
              </a:ext>
            </a:extLst>
          </p:cNvPr>
          <p:cNvSpPr>
            <a:spLocks noGrp="1"/>
          </p:cNvSpPr>
          <p:nvPr>
            <p:ph type="body" idx="1" hasCustomPrompt="1"/>
          </p:nvPr>
        </p:nvSpPr>
        <p:spPr>
          <a:xfrm>
            <a:off x="504000" y="943200"/>
            <a:ext cx="11084400" cy="276999"/>
          </a:xfrm>
        </p:spPr>
        <p:txBody>
          <a:bodyPr anchor="t" anchorCtr="0">
            <a:spAutoFit/>
          </a:bodyPr>
          <a:lstStyle>
            <a:lvl1pPr marL="0" indent="0">
              <a:lnSpc>
                <a:spcPct val="100000"/>
              </a:lnSpc>
              <a:buNone/>
              <a:defRPr sz="18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add subheading</a:t>
            </a:r>
          </a:p>
        </p:txBody>
      </p:sp>
      <p:sp>
        <p:nvSpPr>
          <p:cNvPr id="2" name="Title 1">
            <a:extLst>
              <a:ext uri="{FF2B5EF4-FFF2-40B4-BE49-F238E27FC236}">
                <a16:creationId xmlns:a16="http://schemas.microsoft.com/office/drawing/2014/main" id="{66EC978F-9F5A-4C6F-BF4A-C3DA5CCEA79C}"/>
              </a:ext>
            </a:extLst>
          </p:cNvPr>
          <p:cNvSpPr>
            <a:spLocks noGrp="1"/>
          </p:cNvSpPr>
          <p:nvPr>
            <p:ph type="title" hasCustomPrompt="1"/>
          </p:nvPr>
        </p:nvSpPr>
        <p:spPr>
          <a:xfrm>
            <a:off x="504000" y="403200"/>
            <a:ext cx="11084400" cy="493200"/>
          </a:xfrm>
        </p:spPr>
        <p:txBody>
          <a:bodyPr>
            <a:noAutofit/>
          </a:bodyPr>
          <a:lstStyle>
            <a:lvl1pPr>
              <a:defRPr/>
            </a:lvl1pPr>
          </a:lstStyle>
          <a:p>
            <a:r>
              <a:rPr lang="en-US"/>
              <a:t>Click to add headline</a:t>
            </a:r>
          </a:p>
        </p:txBody>
      </p:sp>
      <p:sp>
        <p:nvSpPr>
          <p:cNvPr id="5" name="Tijdelijke aanduiding voor dianummer 3">
            <a:extLst>
              <a:ext uri="{FF2B5EF4-FFF2-40B4-BE49-F238E27FC236}">
                <a16:creationId xmlns:a16="http://schemas.microsoft.com/office/drawing/2014/main" id="{C4ECB8D3-D114-4CD2-9BA8-3E3A769778B6}"/>
              </a:ext>
            </a:extLst>
          </p:cNvPr>
          <p:cNvSpPr>
            <a:spLocks noGrp="1"/>
          </p:cNvSpPr>
          <p:nvPr>
            <p:ph type="sldNum" sz="quarter" idx="4"/>
          </p:nvPr>
        </p:nvSpPr>
        <p:spPr>
          <a:xfrm>
            <a:off x="504000" y="6378472"/>
            <a:ext cx="2743200" cy="365125"/>
          </a:xfrm>
          <a:prstGeom prst="rect">
            <a:avLst/>
          </a:prstGeom>
        </p:spPr>
        <p:txBody>
          <a:bodyPr vert="horz" lIns="0" tIns="45720" rIns="91440" bIns="45720" rtlCol="0" anchor="ctr"/>
          <a:lstStyle>
            <a:lvl1pPr algn="l">
              <a:defRPr sz="800">
                <a:solidFill>
                  <a:schemeClr val="bg2"/>
                </a:solidFill>
              </a:defRPr>
            </a:lvl1pPr>
          </a:lstStyle>
          <a:p>
            <a:fld id="{B592C3DA-96A1-4E84-9171-AC4C91AB4FEA}" type="slidenum">
              <a:rPr lang="en-US" smtClean="0"/>
              <a:pPr/>
              <a:t>‹#›</a:t>
            </a:fld>
            <a:endParaRPr lang="en-US"/>
          </a:p>
        </p:txBody>
      </p:sp>
      <p:sp>
        <p:nvSpPr>
          <p:cNvPr id="6" name="Content Placeholder 2">
            <a:extLst>
              <a:ext uri="{FF2B5EF4-FFF2-40B4-BE49-F238E27FC236}">
                <a16:creationId xmlns:a16="http://schemas.microsoft.com/office/drawing/2014/main" id="{6D6B4947-61B7-4A5F-A37B-83482599F100}"/>
              </a:ext>
            </a:extLst>
          </p:cNvPr>
          <p:cNvSpPr>
            <a:spLocks noGrp="1"/>
          </p:cNvSpPr>
          <p:nvPr>
            <p:ph idx="10" hasCustomPrompt="1"/>
          </p:nvPr>
        </p:nvSpPr>
        <p:spPr>
          <a:xfrm>
            <a:off x="504000" y="1697688"/>
            <a:ext cx="11084400" cy="4752000"/>
          </a:xfrm>
        </p:spPr>
        <p:txBody>
          <a:bodyPr>
            <a:noAutofit/>
          </a:bodyPr>
          <a:lstStyle>
            <a:lvl1pPr>
              <a:lnSpc>
                <a:spcPct val="120000"/>
              </a:lnSpc>
              <a:spcAft>
                <a:spcPts val="1000"/>
              </a:spcAft>
              <a:defRPr/>
            </a:lvl1pPr>
            <a:lvl2pPr marL="576000" indent="-288000">
              <a:lnSpc>
                <a:spcPct val="120000"/>
              </a:lnSpc>
              <a:spcAft>
                <a:spcPts val="1000"/>
              </a:spcAft>
              <a:buClr>
                <a:schemeClr val="accent1"/>
              </a:buClr>
              <a:buFont typeface="Wingdings" panose="05000000000000000000" pitchFamily="2" charset="2"/>
              <a:buChar char="§"/>
              <a:defRPr/>
            </a:lvl2pPr>
            <a:lvl3pPr marL="864000" indent="-288000">
              <a:lnSpc>
                <a:spcPct val="120000"/>
              </a:lnSpc>
              <a:spcAft>
                <a:spcPts val="1000"/>
              </a:spcAft>
              <a:buClr>
                <a:schemeClr val="accent1"/>
              </a:buClr>
              <a:buFont typeface="Wingdings" panose="05000000000000000000" pitchFamily="2" charset="2"/>
              <a:buChar char="§"/>
              <a:defRPr/>
            </a:lvl3pPr>
            <a:lvl4pPr marL="1152000" indent="-288000">
              <a:lnSpc>
                <a:spcPct val="120000"/>
              </a:lnSpc>
              <a:spcAft>
                <a:spcPts val="1000"/>
              </a:spcAft>
              <a:buClr>
                <a:schemeClr val="accent1"/>
              </a:buClr>
              <a:buFont typeface="Wingdings" panose="05000000000000000000" pitchFamily="2" charset="2"/>
              <a:buChar char="§"/>
              <a:defRPr/>
            </a:lvl4pPr>
            <a:lvl5pPr marL="1152000" indent="-288000">
              <a:lnSpc>
                <a:spcPct val="120000"/>
              </a:lnSpc>
              <a:spcAft>
                <a:spcPts val="1000"/>
              </a:spcAft>
              <a:buClr>
                <a:schemeClr val="bg2"/>
              </a:buClr>
              <a:buFont typeface="Wingdings" panose="05000000000000000000" pitchFamily="2" charset="2"/>
              <a:buChar char="§"/>
              <a:defRPr/>
            </a:lvl5pPr>
            <a:lvl6pPr marL="1152000" indent="-288000">
              <a:buClr>
                <a:schemeClr val="bg2"/>
              </a:buClr>
              <a:buFont typeface="Wingdings" panose="05000000000000000000" pitchFamily="2" charset="2"/>
              <a:buChar char="§"/>
              <a:defRPr/>
            </a:lvl6pPr>
            <a:lvl7pPr marL="1152000" indent="-288000">
              <a:buClr>
                <a:schemeClr val="bg2"/>
              </a:buClr>
              <a:buFont typeface="Wingdings" panose="05000000000000000000" pitchFamily="2" charset="2"/>
              <a:buChar char="§"/>
              <a:defRPr/>
            </a:lvl7pPr>
            <a:lvl8pPr marL="1152000" indent="-288000">
              <a:buClr>
                <a:schemeClr val="bg2"/>
              </a:buClr>
              <a:buFont typeface="Wingdings" panose="05000000000000000000" pitchFamily="2" charset="2"/>
              <a:buChar char="§"/>
              <a:defRPr/>
            </a:lvl8pPr>
            <a:lvl9pPr marL="1152000" indent="-288000">
              <a:buClr>
                <a:schemeClr val="bg2"/>
              </a:buClr>
              <a:buFont typeface="Wingdings" panose="05000000000000000000" pitchFamily="2" charset="2"/>
              <a:buChar char="§"/>
              <a:defRPr/>
            </a:lvl9pPr>
          </a:lstStyle>
          <a:p>
            <a:pPr lvl="0"/>
            <a:r>
              <a:rPr lang="en-US"/>
              <a:t>Click to add text. Delete text box if not needed</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7036537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3 Image R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EC978F-9F5A-4C6F-BF4A-C3DA5CCEA79C}"/>
              </a:ext>
            </a:extLst>
          </p:cNvPr>
          <p:cNvSpPr>
            <a:spLocks noGrp="1"/>
          </p:cNvSpPr>
          <p:nvPr>
            <p:ph type="title" hasCustomPrompt="1"/>
          </p:nvPr>
        </p:nvSpPr>
        <p:spPr>
          <a:xfrm>
            <a:off x="504000" y="403200"/>
            <a:ext cx="7166838" cy="972000"/>
          </a:xfrm>
        </p:spPr>
        <p:txBody>
          <a:bodyPr>
            <a:noAutofit/>
          </a:bodyPr>
          <a:lstStyle>
            <a:lvl1pPr>
              <a:defRPr/>
            </a:lvl1pPr>
          </a:lstStyle>
          <a:p>
            <a:r>
              <a:rPr lang="en-US"/>
              <a:t>Click to add headline</a:t>
            </a:r>
          </a:p>
        </p:txBody>
      </p:sp>
      <p:sp>
        <p:nvSpPr>
          <p:cNvPr id="4" name="Picture Placeholder 3">
            <a:extLst>
              <a:ext uri="{FF2B5EF4-FFF2-40B4-BE49-F238E27FC236}">
                <a16:creationId xmlns:a16="http://schemas.microsoft.com/office/drawing/2014/main" id="{5870ACFA-C15B-4322-ADDC-AA6CDA39A098}"/>
              </a:ext>
            </a:extLst>
          </p:cNvPr>
          <p:cNvSpPr>
            <a:spLocks noGrp="1"/>
          </p:cNvSpPr>
          <p:nvPr>
            <p:ph type="pic" sz="quarter" idx="22" hasCustomPrompt="1"/>
          </p:nvPr>
        </p:nvSpPr>
        <p:spPr>
          <a:xfrm>
            <a:off x="8127600" y="0"/>
            <a:ext cx="4064400" cy="6858000"/>
          </a:xfrm>
          <a:solidFill>
            <a:srgbClr val="E6EFF1"/>
          </a:solidFill>
        </p:spPr>
        <p:txBody>
          <a:bodyPr/>
          <a:lstStyle>
            <a:lvl1pPr marL="0" indent="0">
              <a:buNone/>
              <a:defRPr/>
            </a:lvl1pPr>
          </a:lstStyle>
          <a:p>
            <a:pPr marL="0" marR="0" lvl="0" indent="-288000" algn="l" defTabSz="914400" rtl="0" eaLnBrk="1" fontAlgn="auto" latinLnBrk="0" hangingPunct="1">
              <a:lnSpc>
                <a:spcPct val="150000"/>
              </a:lnSpc>
              <a:spcBef>
                <a:spcPts val="0"/>
              </a:spcBef>
              <a:spcAft>
                <a:spcPts val="0"/>
              </a:spcAft>
              <a:buClrTx/>
              <a:buSzTx/>
              <a:tabLst/>
              <a:defRPr/>
            </a:pPr>
            <a:br>
              <a:rPr lang="en-US"/>
            </a:br>
            <a:r>
              <a:rPr lang="en-US"/>
              <a:t>To add image:</a:t>
            </a:r>
            <a:br>
              <a:rPr lang="en-US"/>
            </a:br>
            <a:r>
              <a:rPr lang="en-US"/>
              <a:t>1. Click border of this box</a:t>
            </a:r>
            <a:br>
              <a:rPr lang="en-US"/>
            </a:br>
            <a:r>
              <a:rPr lang="en-US"/>
              <a:t>2. Select ‘Add image’ from SKIM buttons</a:t>
            </a:r>
            <a:br>
              <a:rPr lang="en-US"/>
            </a:br>
            <a:r>
              <a:rPr lang="en-US"/>
              <a:t>3. Add overlay and send backward as needed</a:t>
            </a:r>
            <a:br>
              <a:rPr lang="en-US"/>
            </a:br>
            <a:r>
              <a:rPr lang="en-US"/>
              <a:t>4. Add SKIM logo</a:t>
            </a:r>
          </a:p>
          <a:p>
            <a:pPr marL="0" marR="0" lvl="0" indent="-288000" algn="l" defTabSz="914400" rtl="0" eaLnBrk="1" fontAlgn="auto" latinLnBrk="0" hangingPunct="1">
              <a:lnSpc>
                <a:spcPct val="150000"/>
              </a:lnSpc>
              <a:spcBef>
                <a:spcPts val="0"/>
              </a:spcBef>
              <a:spcAft>
                <a:spcPts val="0"/>
              </a:spcAft>
              <a:buClrTx/>
              <a:buSzTx/>
              <a:buFontTx/>
              <a:buNone/>
              <a:tabLst/>
              <a:defRPr/>
            </a:pPr>
            <a:endParaRPr lang="en-US"/>
          </a:p>
        </p:txBody>
      </p:sp>
      <p:pic>
        <p:nvPicPr>
          <p:cNvPr id="8" name="doLogoGreen">
            <a:extLst>
              <a:ext uri="{FF2B5EF4-FFF2-40B4-BE49-F238E27FC236}">
                <a16:creationId xmlns:a16="http://schemas.microsoft.com/office/drawing/2014/main" id="{F1E7B36C-E466-4EF6-A598-4FBB3A60EE0F}"/>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559600" y="6364800"/>
            <a:ext cx="386197" cy="266266"/>
          </a:xfrm>
          <a:prstGeom prst="rect">
            <a:avLst/>
          </a:prstGeom>
        </p:spPr>
      </p:pic>
      <p:sp>
        <p:nvSpPr>
          <p:cNvPr id="6" name="Tijdelijke aanduiding voor dianummer 3">
            <a:extLst>
              <a:ext uri="{FF2B5EF4-FFF2-40B4-BE49-F238E27FC236}">
                <a16:creationId xmlns:a16="http://schemas.microsoft.com/office/drawing/2014/main" id="{E751A300-7BE1-4275-9CFC-B813572DDA85}"/>
              </a:ext>
            </a:extLst>
          </p:cNvPr>
          <p:cNvSpPr>
            <a:spLocks noGrp="1"/>
          </p:cNvSpPr>
          <p:nvPr>
            <p:ph type="sldNum" sz="quarter" idx="4"/>
          </p:nvPr>
        </p:nvSpPr>
        <p:spPr>
          <a:xfrm>
            <a:off x="504000" y="6378472"/>
            <a:ext cx="2743200" cy="365125"/>
          </a:xfrm>
          <a:prstGeom prst="rect">
            <a:avLst/>
          </a:prstGeom>
        </p:spPr>
        <p:txBody>
          <a:bodyPr vert="horz" lIns="0" tIns="45720" rIns="91440" bIns="45720" rtlCol="0" anchor="ctr"/>
          <a:lstStyle>
            <a:lvl1pPr algn="l">
              <a:defRPr sz="800">
                <a:solidFill>
                  <a:schemeClr val="bg2"/>
                </a:solidFill>
              </a:defRPr>
            </a:lvl1pPr>
          </a:lstStyle>
          <a:p>
            <a:fld id="{B592C3DA-96A1-4E84-9171-AC4C91AB4FEA}" type="slidenum">
              <a:rPr lang="en-US" smtClean="0"/>
              <a:pPr/>
              <a:t>‹#›</a:t>
            </a:fld>
            <a:endParaRPr lang="en-US"/>
          </a:p>
        </p:txBody>
      </p:sp>
      <p:sp>
        <p:nvSpPr>
          <p:cNvPr id="7" name="Content Placeholder 2">
            <a:extLst>
              <a:ext uri="{FF2B5EF4-FFF2-40B4-BE49-F238E27FC236}">
                <a16:creationId xmlns:a16="http://schemas.microsoft.com/office/drawing/2014/main" id="{58BDF109-A7F1-417F-9E32-99EAA996EEEE}"/>
              </a:ext>
            </a:extLst>
          </p:cNvPr>
          <p:cNvSpPr>
            <a:spLocks noGrp="1"/>
          </p:cNvSpPr>
          <p:nvPr>
            <p:ph idx="1" hasCustomPrompt="1"/>
          </p:nvPr>
        </p:nvSpPr>
        <p:spPr>
          <a:xfrm>
            <a:off x="504000" y="1697688"/>
            <a:ext cx="7166838" cy="4752000"/>
          </a:xfrm>
        </p:spPr>
        <p:txBody>
          <a:bodyPr>
            <a:noAutofit/>
          </a:bodyPr>
          <a:lstStyle>
            <a:lvl1pPr>
              <a:lnSpc>
                <a:spcPct val="120000"/>
              </a:lnSpc>
              <a:spcAft>
                <a:spcPts val="1000"/>
              </a:spcAft>
              <a:defRPr/>
            </a:lvl1pPr>
            <a:lvl2pPr marL="576000" indent="-288000">
              <a:lnSpc>
                <a:spcPct val="120000"/>
              </a:lnSpc>
              <a:spcAft>
                <a:spcPts val="1000"/>
              </a:spcAft>
              <a:buClr>
                <a:schemeClr val="accent1"/>
              </a:buClr>
              <a:buFont typeface="Wingdings" panose="05000000000000000000" pitchFamily="2" charset="2"/>
              <a:buChar char="§"/>
              <a:defRPr/>
            </a:lvl2pPr>
            <a:lvl3pPr marL="864000" indent="-288000">
              <a:lnSpc>
                <a:spcPct val="120000"/>
              </a:lnSpc>
              <a:spcAft>
                <a:spcPts val="1000"/>
              </a:spcAft>
              <a:buClr>
                <a:schemeClr val="accent1"/>
              </a:buClr>
              <a:buFont typeface="Wingdings" panose="05000000000000000000" pitchFamily="2" charset="2"/>
              <a:buChar char="§"/>
              <a:defRPr/>
            </a:lvl3pPr>
            <a:lvl4pPr marL="1152000" indent="-288000">
              <a:lnSpc>
                <a:spcPct val="120000"/>
              </a:lnSpc>
              <a:spcAft>
                <a:spcPts val="1000"/>
              </a:spcAft>
              <a:buClr>
                <a:schemeClr val="accent1"/>
              </a:buClr>
              <a:buFont typeface="Wingdings" panose="05000000000000000000" pitchFamily="2" charset="2"/>
              <a:buChar char="§"/>
              <a:defRPr/>
            </a:lvl4pPr>
            <a:lvl5pPr marL="1152000" indent="-288000">
              <a:lnSpc>
                <a:spcPct val="120000"/>
              </a:lnSpc>
              <a:spcAft>
                <a:spcPts val="1000"/>
              </a:spcAft>
              <a:buClr>
                <a:schemeClr val="bg2"/>
              </a:buClr>
              <a:buFont typeface="Wingdings" panose="05000000000000000000" pitchFamily="2" charset="2"/>
              <a:buChar char="§"/>
              <a:defRPr/>
            </a:lvl5pPr>
            <a:lvl6pPr marL="1152000" indent="-288000">
              <a:buClr>
                <a:schemeClr val="bg2"/>
              </a:buClr>
              <a:buFont typeface="Wingdings" panose="05000000000000000000" pitchFamily="2" charset="2"/>
              <a:buChar char="§"/>
              <a:defRPr/>
            </a:lvl6pPr>
            <a:lvl7pPr marL="1152000" indent="-288000">
              <a:buClr>
                <a:schemeClr val="bg2"/>
              </a:buClr>
              <a:buFont typeface="Wingdings" panose="05000000000000000000" pitchFamily="2" charset="2"/>
              <a:buChar char="§"/>
              <a:defRPr/>
            </a:lvl7pPr>
            <a:lvl8pPr marL="1152000" indent="-288000">
              <a:buClr>
                <a:schemeClr val="bg2"/>
              </a:buClr>
              <a:buFont typeface="Wingdings" panose="05000000000000000000" pitchFamily="2" charset="2"/>
              <a:buChar char="§"/>
              <a:defRPr/>
            </a:lvl8pPr>
            <a:lvl9pPr marL="1152000" indent="-288000">
              <a:buClr>
                <a:schemeClr val="bg2"/>
              </a:buClr>
              <a:buFont typeface="Wingdings" panose="05000000000000000000" pitchFamily="2" charset="2"/>
              <a:buChar char="§"/>
              <a:defRPr/>
            </a:lvl9pPr>
          </a:lstStyle>
          <a:p>
            <a:pPr lvl="0"/>
            <a:r>
              <a:rPr lang="en-US"/>
              <a:t>Click to add text. Delete text box if not needed</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3366032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3 Headline Lef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1C90470-4A67-4D34-ADF7-E406E413B0EC}"/>
              </a:ext>
            </a:extLst>
          </p:cNvPr>
          <p:cNvSpPr/>
          <p:nvPr userDrawn="1"/>
        </p:nvSpPr>
        <p:spPr>
          <a:xfrm>
            <a:off x="0" y="0"/>
            <a:ext cx="4077126" cy="6858000"/>
          </a:xfrm>
          <a:prstGeom prst="rect">
            <a:avLst/>
          </a:prstGeom>
          <a:solidFill>
            <a:srgbClr val="E6EFF1"/>
          </a:solidFill>
          <a:ln>
            <a:noFill/>
          </a:ln>
        </p:spPr>
        <p:style>
          <a:lnRef idx="2">
            <a:schemeClr val="accent1">
              <a:shade val="50000"/>
            </a:schemeClr>
          </a:lnRef>
          <a:fillRef idx="1">
            <a:schemeClr val="accent1"/>
          </a:fillRef>
          <a:effectRef idx="0">
            <a:schemeClr val="accent1"/>
          </a:effectRef>
          <a:fontRef idx="minor">
            <a:schemeClr val="lt1"/>
          </a:fontRef>
        </p:style>
        <p:txBody>
          <a:bodyPr tIns="54000" bIns="54000" rtlCol="0" anchor="t" anchorCtr="0">
            <a:noAutofit/>
          </a:bodyPr>
          <a:lstStyle/>
          <a:p>
            <a:pPr algn="l">
              <a:lnSpc>
                <a:spcPct val="110000"/>
              </a:lnSpc>
            </a:pPr>
            <a:endParaRPr lang="en-US" sz="1400">
              <a:solidFill>
                <a:schemeClr val="tx1"/>
              </a:solidFill>
            </a:endParaRPr>
          </a:p>
        </p:txBody>
      </p:sp>
      <p:sp>
        <p:nvSpPr>
          <p:cNvPr id="2" name="Title 1">
            <a:extLst>
              <a:ext uri="{FF2B5EF4-FFF2-40B4-BE49-F238E27FC236}">
                <a16:creationId xmlns:a16="http://schemas.microsoft.com/office/drawing/2014/main" id="{66EC978F-9F5A-4C6F-BF4A-C3DA5CCEA79C}"/>
              </a:ext>
            </a:extLst>
          </p:cNvPr>
          <p:cNvSpPr>
            <a:spLocks noGrp="1"/>
          </p:cNvSpPr>
          <p:nvPr>
            <p:ph type="title" hasCustomPrompt="1"/>
          </p:nvPr>
        </p:nvSpPr>
        <p:spPr>
          <a:xfrm>
            <a:off x="4561847" y="403200"/>
            <a:ext cx="6997753" cy="972000"/>
          </a:xfrm>
        </p:spPr>
        <p:txBody>
          <a:bodyPr>
            <a:noAutofit/>
          </a:bodyPr>
          <a:lstStyle>
            <a:lvl1pPr>
              <a:defRPr sz="2800"/>
            </a:lvl1pPr>
          </a:lstStyle>
          <a:p>
            <a:r>
              <a:rPr lang="en-US"/>
              <a:t>Click to add headline</a:t>
            </a:r>
          </a:p>
        </p:txBody>
      </p:sp>
      <p:pic>
        <p:nvPicPr>
          <p:cNvPr id="8" name="doLogoGreen">
            <a:extLst>
              <a:ext uri="{FF2B5EF4-FFF2-40B4-BE49-F238E27FC236}">
                <a16:creationId xmlns:a16="http://schemas.microsoft.com/office/drawing/2014/main" id="{F1E7B36C-E466-4EF6-A598-4FBB3A60EE0F}"/>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559600" y="6364800"/>
            <a:ext cx="386197" cy="266266"/>
          </a:xfrm>
          <a:prstGeom prst="rect">
            <a:avLst/>
          </a:prstGeom>
        </p:spPr>
      </p:pic>
      <p:sp>
        <p:nvSpPr>
          <p:cNvPr id="6" name="Tijdelijke aanduiding voor dianummer 3">
            <a:extLst>
              <a:ext uri="{FF2B5EF4-FFF2-40B4-BE49-F238E27FC236}">
                <a16:creationId xmlns:a16="http://schemas.microsoft.com/office/drawing/2014/main" id="{E751A300-7BE1-4275-9CFC-B813572DDA85}"/>
              </a:ext>
            </a:extLst>
          </p:cNvPr>
          <p:cNvSpPr>
            <a:spLocks noGrp="1"/>
          </p:cNvSpPr>
          <p:nvPr>
            <p:ph type="sldNum" sz="quarter" idx="4"/>
          </p:nvPr>
        </p:nvSpPr>
        <p:spPr>
          <a:xfrm>
            <a:off x="504000" y="6378472"/>
            <a:ext cx="2743200" cy="365125"/>
          </a:xfrm>
          <a:prstGeom prst="rect">
            <a:avLst/>
          </a:prstGeom>
        </p:spPr>
        <p:txBody>
          <a:bodyPr vert="horz" lIns="0" tIns="45720" rIns="91440" bIns="45720" rtlCol="0" anchor="ctr"/>
          <a:lstStyle>
            <a:lvl1pPr algn="l">
              <a:defRPr sz="800">
                <a:solidFill>
                  <a:schemeClr val="bg2"/>
                </a:solidFill>
              </a:defRPr>
            </a:lvl1pPr>
          </a:lstStyle>
          <a:p>
            <a:fld id="{B592C3DA-96A1-4E84-9171-AC4C91AB4FEA}" type="slidenum">
              <a:rPr lang="en-US" smtClean="0"/>
              <a:pPr/>
              <a:t>‹#›</a:t>
            </a:fld>
            <a:endParaRPr lang="en-US"/>
          </a:p>
        </p:txBody>
      </p:sp>
      <p:sp>
        <p:nvSpPr>
          <p:cNvPr id="16" name="Text Placeholder 15">
            <a:extLst>
              <a:ext uri="{FF2B5EF4-FFF2-40B4-BE49-F238E27FC236}">
                <a16:creationId xmlns:a16="http://schemas.microsoft.com/office/drawing/2014/main" id="{5C12AFE1-1ED1-442F-ADFC-27990CA3D707}"/>
              </a:ext>
            </a:extLst>
          </p:cNvPr>
          <p:cNvSpPr>
            <a:spLocks noGrp="1"/>
          </p:cNvSpPr>
          <p:nvPr>
            <p:ph type="body" sz="quarter" idx="26" hasCustomPrompt="1"/>
          </p:nvPr>
        </p:nvSpPr>
        <p:spPr>
          <a:xfrm>
            <a:off x="503238" y="403225"/>
            <a:ext cx="3125787" cy="971550"/>
          </a:xfrm>
        </p:spPr>
        <p:txBody>
          <a:bodyPr/>
          <a:lstStyle>
            <a:lvl1pPr marL="0" indent="0">
              <a:lnSpc>
                <a:spcPct val="100000"/>
              </a:lnSpc>
              <a:buNone/>
              <a:defRPr sz="2800" b="1">
                <a:solidFill>
                  <a:schemeClr val="accent1"/>
                </a:solidFill>
              </a:defRPr>
            </a:lvl1pPr>
          </a:lstStyle>
          <a:p>
            <a:pPr lvl="0"/>
            <a:r>
              <a:rPr lang="en-US"/>
              <a:t>Main message here</a:t>
            </a:r>
          </a:p>
        </p:txBody>
      </p:sp>
      <p:sp>
        <p:nvSpPr>
          <p:cNvPr id="5" name="Text Placeholder 4">
            <a:extLst>
              <a:ext uri="{FF2B5EF4-FFF2-40B4-BE49-F238E27FC236}">
                <a16:creationId xmlns:a16="http://schemas.microsoft.com/office/drawing/2014/main" id="{A82E980A-8CD1-465F-8280-BF1B61DCF11F}"/>
              </a:ext>
            </a:extLst>
          </p:cNvPr>
          <p:cNvSpPr>
            <a:spLocks noGrp="1"/>
          </p:cNvSpPr>
          <p:nvPr>
            <p:ph type="body" sz="quarter" idx="27" hasCustomPrompt="1"/>
          </p:nvPr>
        </p:nvSpPr>
        <p:spPr>
          <a:xfrm>
            <a:off x="503237" y="1697688"/>
            <a:ext cx="3125788" cy="4410075"/>
          </a:xfrm>
        </p:spPr>
        <p:txBody>
          <a:bodyPr/>
          <a:lstStyle>
            <a:lvl1pPr marL="0" indent="0">
              <a:lnSpc>
                <a:spcPct val="150000"/>
              </a:lnSpc>
              <a:buNone/>
              <a:defRPr>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a:t>Click to add text</a:t>
            </a:r>
          </a:p>
        </p:txBody>
      </p:sp>
      <p:sp>
        <p:nvSpPr>
          <p:cNvPr id="10" name="Text Placeholder 9">
            <a:extLst>
              <a:ext uri="{FF2B5EF4-FFF2-40B4-BE49-F238E27FC236}">
                <a16:creationId xmlns:a16="http://schemas.microsoft.com/office/drawing/2014/main" id="{CC9CF420-C680-4A0D-816A-B7627F126A01}"/>
              </a:ext>
            </a:extLst>
          </p:cNvPr>
          <p:cNvSpPr>
            <a:spLocks noGrp="1"/>
          </p:cNvSpPr>
          <p:nvPr>
            <p:ph type="body" sz="quarter" idx="28" hasCustomPrompt="1"/>
          </p:nvPr>
        </p:nvSpPr>
        <p:spPr>
          <a:xfrm>
            <a:off x="4561847" y="1697688"/>
            <a:ext cx="6997700" cy="4410075"/>
          </a:xfrm>
        </p:spPr>
        <p:txBody>
          <a:bodyPr/>
          <a:lstStyle>
            <a:lvl1pPr marL="288000">
              <a:defRPr/>
            </a:lvl1pPr>
          </a:lstStyle>
          <a:p>
            <a:pPr lvl="0"/>
            <a:r>
              <a:rPr lang="en-US"/>
              <a:t>Click to add text. Delete text box if not needed</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854904117"/>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image" Target="../media/image9.sv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33" Type="http://schemas.openxmlformats.org/officeDocument/2006/relationships/image" Target="../media/image8.pn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image" Target="../media/image4.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image" Target="../media/image7.sv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image" Target="../media/image3.svg"/><Relationship Id="rId36" Type="http://schemas.openxmlformats.org/officeDocument/2006/relationships/image" Target="../media/image11.svg"/><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image" Target="../media/image6.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image" Target="../media/image2.png"/><Relationship Id="rId30" Type="http://schemas.openxmlformats.org/officeDocument/2006/relationships/image" Target="../media/image5.svg"/><Relationship Id="rId35" Type="http://schemas.openxmlformats.org/officeDocument/2006/relationships/image" Target="../media/image10.png"/><Relationship Id="rId8" Type="http://schemas.openxmlformats.org/officeDocument/2006/relationships/slideLayout" Target="../slideLayouts/slideLayout8.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2.xml"/><Relationship Id="rId13" Type="http://schemas.openxmlformats.org/officeDocument/2006/relationships/slideLayout" Target="../slideLayouts/slideLayout37.xml"/><Relationship Id="rId18" Type="http://schemas.openxmlformats.org/officeDocument/2006/relationships/slideLayout" Target="../slideLayouts/slideLayout42.xml"/><Relationship Id="rId3" Type="http://schemas.openxmlformats.org/officeDocument/2006/relationships/slideLayout" Target="../slideLayouts/slideLayout27.xml"/><Relationship Id="rId21" Type="http://schemas.openxmlformats.org/officeDocument/2006/relationships/slideLayout" Target="../slideLayouts/slideLayout45.xml"/><Relationship Id="rId7" Type="http://schemas.openxmlformats.org/officeDocument/2006/relationships/slideLayout" Target="../slideLayouts/slideLayout31.xml"/><Relationship Id="rId12" Type="http://schemas.openxmlformats.org/officeDocument/2006/relationships/slideLayout" Target="../slideLayouts/slideLayout36.xml"/><Relationship Id="rId17" Type="http://schemas.openxmlformats.org/officeDocument/2006/relationships/slideLayout" Target="../slideLayouts/slideLayout41.xml"/><Relationship Id="rId2" Type="http://schemas.openxmlformats.org/officeDocument/2006/relationships/slideLayout" Target="../slideLayouts/slideLayout26.xml"/><Relationship Id="rId16" Type="http://schemas.openxmlformats.org/officeDocument/2006/relationships/slideLayout" Target="../slideLayouts/slideLayout40.xml"/><Relationship Id="rId20" Type="http://schemas.openxmlformats.org/officeDocument/2006/relationships/slideLayout" Target="../slideLayouts/slideLayout44.xml"/><Relationship Id="rId1" Type="http://schemas.openxmlformats.org/officeDocument/2006/relationships/slideLayout" Target="../slideLayouts/slideLayout25.xml"/><Relationship Id="rId6" Type="http://schemas.openxmlformats.org/officeDocument/2006/relationships/slideLayout" Target="../slideLayouts/slideLayout30.xml"/><Relationship Id="rId11" Type="http://schemas.openxmlformats.org/officeDocument/2006/relationships/slideLayout" Target="../slideLayouts/slideLayout35.xml"/><Relationship Id="rId24" Type="http://schemas.openxmlformats.org/officeDocument/2006/relationships/image" Target="../media/image1.emf"/><Relationship Id="rId5" Type="http://schemas.openxmlformats.org/officeDocument/2006/relationships/slideLayout" Target="../slideLayouts/slideLayout29.xml"/><Relationship Id="rId15" Type="http://schemas.openxmlformats.org/officeDocument/2006/relationships/slideLayout" Target="../slideLayouts/slideLayout39.xml"/><Relationship Id="rId23" Type="http://schemas.openxmlformats.org/officeDocument/2006/relationships/image" Target="../media/image18.png"/><Relationship Id="rId10" Type="http://schemas.openxmlformats.org/officeDocument/2006/relationships/slideLayout" Target="../slideLayouts/slideLayout34.xml"/><Relationship Id="rId19" Type="http://schemas.openxmlformats.org/officeDocument/2006/relationships/slideLayout" Target="../slideLayouts/slideLayout43.xml"/><Relationship Id="rId4" Type="http://schemas.openxmlformats.org/officeDocument/2006/relationships/slideLayout" Target="../slideLayouts/slideLayout28.xml"/><Relationship Id="rId9" Type="http://schemas.openxmlformats.org/officeDocument/2006/relationships/slideLayout" Target="../slideLayouts/slideLayout33.xml"/><Relationship Id="rId14" Type="http://schemas.openxmlformats.org/officeDocument/2006/relationships/slideLayout" Target="../slideLayouts/slideLayout38.xml"/><Relationship Id="rId22"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image" Target="../media/image6.png"/><Relationship Id="rId13" Type="http://schemas.openxmlformats.org/officeDocument/2006/relationships/image" Target="../media/image11.svg"/><Relationship Id="rId3" Type="http://schemas.openxmlformats.org/officeDocument/2006/relationships/image" Target="../media/image1.emf"/><Relationship Id="rId7" Type="http://schemas.openxmlformats.org/officeDocument/2006/relationships/image" Target="../media/image5.svg"/><Relationship Id="rId12" Type="http://schemas.openxmlformats.org/officeDocument/2006/relationships/image" Target="../media/image10.png"/><Relationship Id="rId2" Type="http://schemas.openxmlformats.org/officeDocument/2006/relationships/theme" Target="../theme/theme3.xml"/><Relationship Id="rId1" Type="http://schemas.openxmlformats.org/officeDocument/2006/relationships/slideLayout" Target="../slideLayouts/slideLayout46.xml"/><Relationship Id="rId6" Type="http://schemas.openxmlformats.org/officeDocument/2006/relationships/image" Target="../media/image4.png"/><Relationship Id="rId11" Type="http://schemas.openxmlformats.org/officeDocument/2006/relationships/image" Target="../media/image9.svg"/><Relationship Id="rId5" Type="http://schemas.openxmlformats.org/officeDocument/2006/relationships/image" Target="../media/image3.svg"/><Relationship Id="rId10" Type="http://schemas.openxmlformats.org/officeDocument/2006/relationships/image" Target="../media/image8.png"/><Relationship Id="rId4" Type="http://schemas.openxmlformats.org/officeDocument/2006/relationships/image" Target="../media/image2.png"/><Relationship Id="rId9" Type="http://schemas.openxmlformats.org/officeDocument/2006/relationships/image" Target="../media/image7.sv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10424C5F-A6F2-4B35-820D-8F2049056863}"/>
              </a:ext>
            </a:extLst>
          </p:cNvPr>
          <p:cNvSpPr>
            <a:spLocks noGrp="1"/>
          </p:cNvSpPr>
          <p:nvPr>
            <p:ph type="title"/>
          </p:nvPr>
        </p:nvSpPr>
        <p:spPr>
          <a:xfrm>
            <a:off x="504000" y="403200"/>
            <a:ext cx="11098800" cy="972000"/>
          </a:xfrm>
          <a:prstGeom prst="rect">
            <a:avLst/>
          </a:prstGeom>
        </p:spPr>
        <p:txBody>
          <a:bodyPr vert="horz" lIns="0" tIns="0" rIns="0" bIns="0" rtlCol="0" anchor="t" anchorCtr="0">
            <a:normAutofit/>
          </a:bodyPr>
          <a:lstStyle/>
          <a:p>
            <a:r>
              <a:rPr lang="en-US"/>
              <a:t>Click to edit Master title style</a:t>
            </a:r>
          </a:p>
        </p:txBody>
      </p:sp>
      <p:sp>
        <p:nvSpPr>
          <p:cNvPr id="3" name="Text Placeholder 2">
            <a:extLst>
              <a:ext uri="{FF2B5EF4-FFF2-40B4-BE49-F238E27FC236}">
                <a16:creationId xmlns:a16="http://schemas.microsoft.com/office/drawing/2014/main" id="{155BB074-DACF-4F95-91DD-63D8535E85A9}"/>
              </a:ext>
            </a:extLst>
          </p:cNvPr>
          <p:cNvSpPr>
            <a:spLocks noGrp="1"/>
          </p:cNvSpPr>
          <p:nvPr>
            <p:ph type="body" idx="1"/>
          </p:nvPr>
        </p:nvSpPr>
        <p:spPr>
          <a:xfrm>
            <a:off x="504000" y="1694208"/>
            <a:ext cx="11098800" cy="4753196"/>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0" name="doLogoGreen">
            <a:extLst>
              <a:ext uri="{FF2B5EF4-FFF2-40B4-BE49-F238E27FC236}">
                <a16:creationId xmlns:a16="http://schemas.microsoft.com/office/drawing/2014/main" id="{0D9A7B03-4461-437F-8AB5-C0751373678A}"/>
              </a:ext>
            </a:extLst>
          </p:cNvPr>
          <p:cNvPicPr>
            <a:picLocks noChangeAspect="1"/>
          </p:cNvPicPr>
          <p:nvPr userDrawn="1"/>
        </p:nvPicPr>
        <p:blipFill>
          <a:blip r:embed="rId26" cstate="print">
            <a:extLst>
              <a:ext uri="{28A0092B-C50C-407E-A947-70E740481C1C}">
                <a14:useLocalDpi xmlns:a14="http://schemas.microsoft.com/office/drawing/2010/main" val="0"/>
              </a:ext>
            </a:extLst>
          </a:blip>
          <a:stretch>
            <a:fillRect/>
          </a:stretch>
        </p:blipFill>
        <p:spPr>
          <a:xfrm>
            <a:off x="11559600" y="6364800"/>
            <a:ext cx="386197" cy="266266"/>
          </a:xfrm>
          <a:prstGeom prst="rect">
            <a:avLst/>
          </a:prstGeom>
        </p:spPr>
      </p:pic>
      <p:grpSp>
        <p:nvGrpSpPr>
          <p:cNvPr id="8" name="grpProc" hidden="1">
            <a:extLst>
              <a:ext uri="{FF2B5EF4-FFF2-40B4-BE49-F238E27FC236}">
                <a16:creationId xmlns:a16="http://schemas.microsoft.com/office/drawing/2014/main" id="{6124507D-9030-48E6-A9F8-D6E149160C88}"/>
              </a:ext>
            </a:extLst>
          </p:cNvPr>
          <p:cNvGrpSpPr>
            <a:grpSpLocks noUngrp="1" noRot="1" noChangeAspect="1" noMove="1" noResize="1"/>
          </p:cNvGrpSpPr>
          <p:nvPr userDrawn="1"/>
        </p:nvGrpSpPr>
        <p:grpSpPr>
          <a:xfrm>
            <a:off x="504000" y="6307200"/>
            <a:ext cx="2304000" cy="360000"/>
            <a:chOff x="504000" y="6307200"/>
            <a:chExt cx="2304000" cy="360000"/>
          </a:xfrm>
        </p:grpSpPr>
        <p:pic>
          <p:nvPicPr>
            <p:cNvPr id="9" name="proc2">
              <a:extLst>
                <a:ext uri="{FF2B5EF4-FFF2-40B4-BE49-F238E27FC236}">
                  <a16:creationId xmlns:a16="http://schemas.microsoft.com/office/drawing/2014/main" id="{429C76DA-812A-4374-9CEC-82EC8E045A92}"/>
                </a:ext>
              </a:extLst>
            </p:cNvPr>
            <p:cNvPicPr>
              <a:picLocks noRot="1" noChangeAspect="1" noMove="1" noResize="1" noChangeArrowheads="1" noCrop="1"/>
            </p:cNvPicPr>
            <p:nvPr userDrawn="1"/>
          </p:nvPicPr>
          <p:blipFill>
            <a:blip r:embed="rId27" cstate="print">
              <a:extLst>
                <a:ext uri="{28A0092B-C50C-407E-A947-70E740481C1C}">
                  <a14:useLocalDpi xmlns:a14="http://schemas.microsoft.com/office/drawing/2010/main" val="0"/>
                </a:ext>
                <a:ext uri="{96DAC541-7B7A-43D3-8B79-37D633B846F1}">
                  <asvg:svgBlip xmlns:asvg="http://schemas.microsoft.com/office/drawing/2016/SVG/main" r:embed="rId28"/>
                </a:ext>
              </a:extLst>
            </a:blip>
            <a:stretch>
              <a:fillRect/>
            </a:stretch>
          </p:blipFill>
          <p:spPr>
            <a:xfrm>
              <a:off x="946800" y="6364800"/>
              <a:ext cx="291600" cy="291600"/>
            </a:xfrm>
            <a:prstGeom prst="rect">
              <a:avLst/>
            </a:prstGeom>
          </p:spPr>
        </p:pic>
        <p:pic>
          <p:nvPicPr>
            <p:cNvPr id="11" name="proc3">
              <a:extLst>
                <a:ext uri="{FF2B5EF4-FFF2-40B4-BE49-F238E27FC236}">
                  <a16:creationId xmlns:a16="http://schemas.microsoft.com/office/drawing/2014/main" id="{E491514A-3F22-41CA-A0A8-1D367BE4A6AD}"/>
                </a:ext>
              </a:extLst>
            </p:cNvPr>
            <p:cNvPicPr>
              <a:picLocks noRot="1" noChangeAspect="1" noMove="1" noResize="1" noChangeArrowheads="1" noCrop="1"/>
            </p:cNvPicPr>
            <p:nvPr userDrawn="1"/>
          </p:nvPicPr>
          <p:blipFill>
            <a:blip r:embed="rId29" cstate="print">
              <a:extLst>
                <a:ext uri="{28A0092B-C50C-407E-A947-70E740481C1C}">
                  <a14:useLocalDpi xmlns:a14="http://schemas.microsoft.com/office/drawing/2010/main" val="0"/>
                </a:ext>
                <a:ext uri="{96DAC541-7B7A-43D3-8B79-37D633B846F1}">
                  <asvg:svgBlip xmlns:asvg="http://schemas.microsoft.com/office/drawing/2016/SVG/main" r:embed="rId30"/>
                </a:ext>
              </a:extLst>
            </a:blip>
            <a:stretch>
              <a:fillRect/>
            </a:stretch>
          </p:blipFill>
          <p:spPr>
            <a:xfrm>
              <a:off x="1447200" y="6364800"/>
              <a:ext cx="291600" cy="291600"/>
            </a:xfrm>
            <a:prstGeom prst="rect">
              <a:avLst/>
            </a:prstGeom>
          </p:spPr>
        </p:pic>
        <p:pic>
          <p:nvPicPr>
            <p:cNvPr id="12" name="proc4">
              <a:extLst>
                <a:ext uri="{FF2B5EF4-FFF2-40B4-BE49-F238E27FC236}">
                  <a16:creationId xmlns:a16="http://schemas.microsoft.com/office/drawing/2014/main" id="{EC681E88-E4A9-4EE5-9B12-067BB9470801}"/>
                </a:ext>
              </a:extLst>
            </p:cNvPr>
            <p:cNvPicPr>
              <a:picLocks noRot="1" noChangeAspect="1" noMove="1" noResize="1" noChangeArrowheads="1" noCrop="1"/>
            </p:cNvPicPr>
            <p:nvPr userDrawn="1"/>
          </p:nvPicPr>
          <p:blipFill>
            <a:blip r:embed="rId31" cstate="print">
              <a:extLst>
                <a:ext uri="{28A0092B-C50C-407E-A947-70E740481C1C}">
                  <a14:useLocalDpi xmlns:a14="http://schemas.microsoft.com/office/drawing/2010/main" val="0"/>
                </a:ext>
                <a:ext uri="{96DAC541-7B7A-43D3-8B79-37D633B846F1}">
                  <asvg:svgBlip xmlns:asvg="http://schemas.microsoft.com/office/drawing/2016/SVG/main" r:embed="rId32"/>
                </a:ext>
              </a:extLst>
            </a:blip>
            <a:stretch>
              <a:fillRect/>
            </a:stretch>
          </p:blipFill>
          <p:spPr>
            <a:xfrm>
              <a:off x="1947600" y="6364800"/>
              <a:ext cx="252000" cy="252000"/>
            </a:xfrm>
            <a:prstGeom prst="rect">
              <a:avLst/>
            </a:prstGeom>
          </p:spPr>
        </p:pic>
        <p:pic>
          <p:nvPicPr>
            <p:cNvPr id="13" name="proc5">
              <a:extLst>
                <a:ext uri="{FF2B5EF4-FFF2-40B4-BE49-F238E27FC236}">
                  <a16:creationId xmlns:a16="http://schemas.microsoft.com/office/drawing/2014/main" id="{AD34A620-7666-4F0F-9298-2FE75B6732D5}"/>
                </a:ext>
              </a:extLst>
            </p:cNvPr>
            <p:cNvPicPr>
              <a:picLocks noRot="1" noChangeAspect="1" noMove="1" noResize="1" noChangeArrowheads="1" noCrop="1"/>
            </p:cNvPicPr>
            <p:nvPr userDrawn="1"/>
          </p:nvPicPr>
          <p:blipFill>
            <a:blip r:embed="rId33" cstate="print">
              <a:extLst>
                <a:ext uri="{28A0092B-C50C-407E-A947-70E740481C1C}">
                  <a14:useLocalDpi xmlns:a14="http://schemas.microsoft.com/office/drawing/2010/main" val="0"/>
                </a:ext>
                <a:ext uri="{96DAC541-7B7A-43D3-8B79-37D633B846F1}">
                  <asvg:svgBlip xmlns:asvg="http://schemas.microsoft.com/office/drawing/2016/SVG/main" r:embed="rId34"/>
                </a:ext>
              </a:extLst>
            </a:blip>
            <a:stretch>
              <a:fillRect/>
            </a:stretch>
          </p:blipFill>
          <p:spPr>
            <a:xfrm rot="2700000">
              <a:off x="2448000" y="6307200"/>
              <a:ext cx="360000" cy="360000"/>
            </a:xfrm>
            <a:prstGeom prst="rect">
              <a:avLst/>
            </a:prstGeom>
          </p:spPr>
        </p:pic>
        <p:pic>
          <p:nvPicPr>
            <p:cNvPr id="14" name="proc1">
              <a:extLst>
                <a:ext uri="{FF2B5EF4-FFF2-40B4-BE49-F238E27FC236}">
                  <a16:creationId xmlns:a16="http://schemas.microsoft.com/office/drawing/2014/main" id="{5D0D8AD6-8E31-45A4-9F9B-414CB494DAA7}"/>
                </a:ext>
              </a:extLst>
            </p:cNvPr>
            <p:cNvPicPr>
              <a:picLocks noRot="1" noChangeAspect="1" noMove="1" noResize="1" noChangeArrowheads="1" noCrop="1"/>
            </p:cNvPicPr>
            <p:nvPr userDrawn="1"/>
          </p:nvPicPr>
          <p:blipFill>
            <a:blip r:embed="rId35" cstate="print">
              <a:extLst>
                <a:ext uri="{28A0092B-C50C-407E-A947-70E740481C1C}">
                  <a14:useLocalDpi xmlns:a14="http://schemas.microsoft.com/office/drawing/2010/main" val="0"/>
                </a:ext>
                <a:ext uri="{96DAC541-7B7A-43D3-8B79-37D633B846F1}">
                  <asvg:svgBlip xmlns:asvg="http://schemas.microsoft.com/office/drawing/2016/SVG/main" r:embed="rId36"/>
                </a:ext>
              </a:extLst>
            </a:blip>
            <a:stretch>
              <a:fillRect/>
            </a:stretch>
          </p:blipFill>
          <p:spPr>
            <a:xfrm>
              <a:off x="504000" y="6364800"/>
              <a:ext cx="252000" cy="252000"/>
            </a:xfrm>
            <a:prstGeom prst="rect">
              <a:avLst/>
            </a:prstGeom>
          </p:spPr>
        </p:pic>
      </p:grpSp>
      <p:sp>
        <p:nvSpPr>
          <p:cNvPr id="15" name="Tijdelijke aanduiding voor dianummer 3">
            <a:extLst>
              <a:ext uri="{FF2B5EF4-FFF2-40B4-BE49-F238E27FC236}">
                <a16:creationId xmlns:a16="http://schemas.microsoft.com/office/drawing/2014/main" id="{545EB4FA-C86E-4A4F-81E0-815EFF588AB3}"/>
              </a:ext>
            </a:extLst>
          </p:cNvPr>
          <p:cNvSpPr>
            <a:spLocks noGrp="1"/>
          </p:cNvSpPr>
          <p:nvPr>
            <p:ph type="sldNum" sz="quarter" idx="4"/>
          </p:nvPr>
        </p:nvSpPr>
        <p:spPr>
          <a:xfrm>
            <a:off x="504000" y="6378472"/>
            <a:ext cx="2743200" cy="365125"/>
          </a:xfrm>
          <a:prstGeom prst="rect">
            <a:avLst/>
          </a:prstGeom>
        </p:spPr>
        <p:txBody>
          <a:bodyPr vert="horz" lIns="0" tIns="45720" rIns="91440" bIns="45720" rtlCol="0" anchor="ctr"/>
          <a:lstStyle>
            <a:lvl1pPr algn="l">
              <a:defRPr sz="800">
                <a:solidFill>
                  <a:schemeClr val="bg2"/>
                </a:solidFill>
              </a:defRPr>
            </a:lvl1pPr>
          </a:lstStyle>
          <a:p>
            <a:fld id="{B592C3DA-96A1-4E84-9171-AC4C91AB4FEA}" type="slidenum">
              <a:rPr lang="en-US" smtClean="0"/>
              <a:pPr/>
              <a:t>‹#›</a:t>
            </a:fld>
            <a:endParaRPr lang="en-US"/>
          </a:p>
        </p:txBody>
      </p:sp>
    </p:spTree>
    <p:extLst>
      <p:ext uri="{BB962C8B-B14F-4D97-AF65-F5344CB8AC3E}">
        <p14:creationId xmlns:p14="http://schemas.microsoft.com/office/powerpoint/2010/main" val="3393723567"/>
      </p:ext>
    </p:extLst>
  </p:cSld>
  <p:clrMap bg1="lt1" tx1="dk1" bg2="lt2" tx2="dk2" accent1="accent1" accent2="accent2" accent3="accent3" accent4="accent4" accent5="accent5" accent6="accent6" hlink="hlink" folHlink="folHlink"/>
  <p:sldLayoutIdLst>
    <p:sldLayoutId id="2147483846" r:id="rId1"/>
    <p:sldLayoutId id="2147483850" r:id="rId2"/>
    <p:sldLayoutId id="2147483688" r:id="rId3"/>
    <p:sldLayoutId id="2147483851" r:id="rId4"/>
    <p:sldLayoutId id="2147483852" r:id="rId5"/>
    <p:sldLayoutId id="2147483847" r:id="rId6"/>
    <p:sldLayoutId id="2147483853" r:id="rId7"/>
    <p:sldLayoutId id="2147483671" r:id="rId8"/>
    <p:sldLayoutId id="2147483689" r:id="rId9"/>
    <p:sldLayoutId id="2147483675" r:id="rId10"/>
    <p:sldLayoutId id="2147483848" r:id="rId11"/>
    <p:sldLayoutId id="2147483686" r:id="rId12"/>
    <p:sldLayoutId id="2147483693" r:id="rId13"/>
    <p:sldLayoutId id="2147483854" r:id="rId14"/>
    <p:sldLayoutId id="2147483855" r:id="rId15"/>
    <p:sldLayoutId id="2147483672" r:id="rId16"/>
    <p:sldLayoutId id="2147483673" r:id="rId17"/>
    <p:sldLayoutId id="2147483674" r:id="rId18"/>
    <p:sldLayoutId id="2147483691" r:id="rId19"/>
    <p:sldLayoutId id="2147483680" r:id="rId20"/>
    <p:sldLayoutId id="2147483849" r:id="rId21"/>
    <p:sldLayoutId id="2147483843" r:id="rId22"/>
    <p:sldLayoutId id="2147483856" r:id="rId23"/>
    <p:sldLayoutId id="2147483857" r:id="rId24"/>
  </p:sldLayoutIdLst>
  <p:hf sldNum="0" hdr="0" ftr="0" dt="0"/>
  <p:txStyles>
    <p:titleStyle>
      <a:lvl1pPr algn="l" defTabSz="914400" rtl="0" eaLnBrk="1" latinLnBrk="0" hangingPunct="1">
        <a:lnSpc>
          <a:spcPct val="100000"/>
        </a:lnSpc>
        <a:spcBef>
          <a:spcPct val="0"/>
        </a:spcBef>
        <a:buNone/>
        <a:defRPr sz="2800" b="1" kern="1200">
          <a:solidFill>
            <a:schemeClr val="accent1"/>
          </a:solidFill>
          <a:latin typeface="+mj-lt"/>
          <a:ea typeface="+mj-ea"/>
          <a:cs typeface="+mj-cs"/>
        </a:defRPr>
      </a:lvl1pPr>
    </p:titleStyle>
    <p:bodyStyle>
      <a:lvl1pPr marL="288000" indent="-288000" algn="l" defTabSz="914400" rtl="0" eaLnBrk="1" latinLnBrk="0" hangingPunct="1">
        <a:lnSpc>
          <a:spcPct val="120000"/>
        </a:lnSpc>
        <a:spcBef>
          <a:spcPts val="0"/>
        </a:spcBef>
        <a:spcAft>
          <a:spcPts val="1000"/>
        </a:spcAft>
        <a:buClr>
          <a:schemeClr val="bg2"/>
        </a:buClr>
        <a:buFont typeface="Courier New" panose="02070309020205020404" pitchFamily="49" charset="0"/>
        <a:buChar char="o"/>
        <a:defRPr sz="1600" kern="1200">
          <a:solidFill>
            <a:schemeClr val="tx1"/>
          </a:solidFill>
          <a:latin typeface="+mn-lt"/>
          <a:ea typeface="+mn-ea"/>
          <a:cs typeface="+mn-cs"/>
        </a:defRPr>
      </a:lvl1pPr>
      <a:lvl2pPr marL="576000" indent="-288000" algn="l" defTabSz="914400" rtl="0" eaLnBrk="1" latinLnBrk="0" hangingPunct="1">
        <a:lnSpc>
          <a:spcPct val="120000"/>
        </a:lnSpc>
        <a:spcBef>
          <a:spcPts val="0"/>
        </a:spcBef>
        <a:spcAft>
          <a:spcPts val="1000"/>
        </a:spcAft>
        <a:buClr>
          <a:schemeClr val="bg2"/>
        </a:buClr>
        <a:buFont typeface="Wingdings" panose="05000000000000000000" pitchFamily="2" charset="2"/>
        <a:buChar char="§"/>
        <a:defRPr sz="1400" kern="1200">
          <a:solidFill>
            <a:schemeClr val="tx1"/>
          </a:solidFill>
          <a:latin typeface="+mn-lt"/>
          <a:ea typeface="+mn-ea"/>
          <a:cs typeface="+mn-cs"/>
        </a:defRPr>
      </a:lvl2pPr>
      <a:lvl3pPr marL="864000" indent="-288000" algn="l" defTabSz="914400" rtl="0" eaLnBrk="1" latinLnBrk="0" hangingPunct="1">
        <a:lnSpc>
          <a:spcPct val="120000"/>
        </a:lnSpc>
        <a:spcBef>
          <a:spcPts val="0"/>
        </a:spcBef>
        <a:spcAft>
          <a:spcPts val="1000"/>
        </a:spcAft>
        <a:buClr>
          <a:schemeClr val="bg2"/>
        </a:buClr>
        <a:buFont typeface="Wingdings" panose="05000000000000000000" pitchFamily="2" charset="2"/>
        <a:buChar char="§"/>
        <a:defRPr sz="1200" kern="1200">
          <a:solidFill>
            <a:schemeClr val="tx1"/>
          </a:solidFill>
          <a:latin typeface="+mn-lt"/>
          <a:ea typeface="+mn-ea"/>
          <a:cs typeface="+mn-cs"/>
        </a:defRPr>
      </a:lvl3pPr>
      <a:lvl4pPr marL="1152000" indent="-288000" algn="l" defTabSz="914400" rtl="0" eaLnBrk="1" latinLnBrk="0" hangingPunct="1">
        <a:lnSpc>
          <a:spcPct val="120000"/>
        </a:lnSpc>
        <a:spcBef>
          <a:spcPts val="0"/>
        </a:spcBef>
        <a:spcAft>
          <a:spcPts val="1000"/>
        </a:spcAft>
        <a:buClr>
          <a:schemeClr val="bg2"/>
        </a:buClr>
        <a:buSzPct val="100000"/>
        <a:buFont typeface="Wingdings" panose="05000000000000000000" pitchFamily="2" charset="2"/>
        <a:buChar char="§"/>
        <a:defRPr sz="1200" kern="1200">
          <a:solidFill>
            <a:schemeClr val="tx1"/>
          </a:solidFill>
          <a:latin typeface="+mn-lt"/>
          <a:ea typeface="+mn-ea"/>
          <a:cs typeface="+mn-cs"/>
        </a:defRPr>
      </a:lvl4pPr>
      <a:lvl5pPr marL="1152000" indent="-288000" algn="l" defTabSz="914400" rtl="0" eaLnBrk="1" latinLnBrk="0" hangingPunct="1">
        <a:lnSpc>
          <a:spcPct val="120000"/>
        </a:lnSpc>
        <a:spcBef>
          <a:spcPts val="0"/>
        </a:spcBef>
        <a:spcAft>
          <a:spcPts val="1000"/>
        </a:spcAft>
        <a:buClr>
          <a:schemeClr val="bg2"/>
        </a:buClr>
        <a:buFont typeface="Wingdings" panose="05000000000000000000" pitchFamily="2" charset="2"/>
        <a:buChar char="§"/>
        <a:defRPr sz="1200" kern="1200">
          <a:solidFill>
            <a:schemeClr val="tx1"/>
          </a:solidFill>
          <a:latin typeface="+mn-lt"/>
          <a:ea typeface="+mn-ea"/>
          <a:cs typeface="+mn-cs"/>
        </a:defRPr>
      </a:lvl5pPr>
      <a:lvl6pPr marL="1152000" indent="-288000" algn="l" defTabSz="914400" rtl="0" eaLnBrk="1" latinLnBrk="0" hangingPunct="1">
        <a:lnSpc>
          <a:spcPct val="120000"/>
        </a:lnSpc>
        <a:spcBef>
          <a:spcPts val="0"/>
        </a:spcBef>
        <a:spcAft>
          <a:spcPts val="1000"/>
        </a:spcAft>
        <a:buClr>
          <a:schemeClr val="bg2"/>
        </a:buClr>
        <a:buFont typeface="Wingdings" panose="05000000000000000000" pitchFamily="2" charset="2"/>
        <a:buChar char="§"/>
        <a:defRPr sz="1200" kern="1200">
          <a:solidFill>
            <a:schemeClr val="tx1"/>
          </a:solidFill>
          <a:latin typeface="+mn-lt"/>
          <a:ea typeface="+mn-ea"/>
          <a:cs typeface="+mn-cs"/>
        </a:defRPr>
      </a:lvl6pPr>
      <a:lvl7pPr marL="1728000" indent="-288000" algn="l" defTabSz="914400" rtl="0" eaLnBrk="1" latinLnBrk="0" hangingPunct="1">
        <a:lnSpc>
          <a:spcPct val="120000"/>
        </a:lnSpc>
        <a:spcBef>
          <a:spcPts val="0"/>
        </a:spcBef>
        <a:spcAft>
          <a:spcPts val="1000"/>
        </a:spcAft>
        <a:buClr>
          <a:schemeClr val="tx1"/>
        </a:buClr>
        <a:buFont typeface="Wingdings" panose="05000000000000000000" pitchFamily="2" charset="2"/>
        <a:buChar char="§"/>
        <a:defRPr sz="1200" kern="1200">
          <a:solidFill>
            <a:schemeClr val="tx1"/>
          </a:solidFill>
          <a:latin typeface="+mn-lt"/>
          <a:ea typeface="+mn-ea"/>
          <a:cs typeface="+mn-cs"/>
        </a:defRPr>
      </a:lvl7pPr>
      <a:lvl8pPr marL="2016000" indent="-288000" algn="l" defTabSz="914400" rtl="0" eaLnBrk="1" latinLnBrk="0" hangingPunct="1">
        <a:lnSpc>
          <a:spcPct val="120000"/>
        </a:lnSpc>
        <a:spcBef>
          <a:spcPts val="0"/>
        </a:spcBef>
        <a:spcAft>
          <a:spcPts val="1000"/>
        </a:spcAft>
        <a:buClr>
          <a:schemeClr val="tx1"/>
        </a:buClr>
        <a:buFont typeface="Wingdings" panose="05000000000000000000" pitchFamily="2" charset="2"/>
        <a:buChar char="§"/>
        <a:defRPr sz="1200" kern="1200">
          <a:solidFill>
            <a:schemeClr val="tx1"/>
          </a:solidFill>
          <a:latin typeface="+mn-lt"/>
          <a:ea typeface="+mn-ea"/>
          <a:cs typeface="+mn-cs"/>
        </a:defRPr>
      </a:lvl8pPr>
      <a:lvl9pPr marL="2304000" indent="-288000" algn="l" defTabSz="914400" rtl="0" eaLnBrk="1" latinLnBrk="0" hangingPunct="1">
        <a:lnSpc>
          <a:spcPct val="120000"/>
        </a:lnSpc>
        <a:spcBef>
          <a:spcPts val="0"/>
        </a:spcBef>
        <a:spcAft>
          <a:spcPts val="1000"/>
        </a:spcAft>
        <a:buClr>
          <a:schemeClr val="tx1"/>
        </a:buClr>
        <a:buFont typeface="Wingdings" panose="05000000000000000000" pitchFamily="2" charset="2"/>
        <a:buChar char="§"/>
        <a:defRPr sz="1200" kern="1200">
          <a:solidFill>
            <a:schemeClr val="tx1"/>
          </a:solidFill>
          <a:latin typeface="+mn-lt"/>
          <a:ea typeface="+mn-ea"/>
          <a:cs typeface="+mn-cs"/>
        </a:defRPr>
      </a:lvl9pPr>
    </p:bodyStyle>
    <p:otherStyle>
      <a:defPPr>
        <a:defRPr lang="en-US"/>
      </a:defPPr>
      <a:lvl1pPr marL="0" algn="l" defTabSz="914400" rtl="0" eaLnBrk="1" latinLnBrk="0" hangingPunct="1">
        <a:defRPr sz="16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03200" y="403200"/>
            <a:ext cx="11375136" cy="457739"/>
          </a:xfrm>
          <a:prstGeom prst="rect">
            <a:avLst/>
          </a:prstGeom>
          <a:blipFill>
            <a:blip r:embed="rId23" cstate="print">
              <a:extLst>
                <a:ext uri="{28A0092B-C50C-407E-A947-70E740481C1C}">
                  <a14:useLocalDpi xmlns:a14="http://schemas.microsoft.com/office/drawing/2010/main"/>
                </a:ext>
              </a:extLst>
            </a:blip>
            <a:stretch>
              <a:fillRect/>
            </a:stretch>
          </a:blipFill>
        </p:spPr>
        <p:txBody>
          <a:bodyPr vert="horz" wrap="square" lIns="216000" tIns="10800" rIns="0" bIns="0" rtlCol="0" anchor="t">
            <a:spAutoFit/>
          </a:bodyPr>
          <a:lstStyle/>
          <a:p>
            <a:r>
              <a:rPr lang="en-US" noProof="0"/>
              <a:t>Title</a:t>
            </a:r>
          </a:p>
        </p:txBody>
      </p:sp>
      <p:sp>
        <p:nvSpPr>
          <p:cNvPr id="3" name="Text Placeholder 2"/>
          <p:cNvSpPr>
            <a:spLocks noGrp="1"/>
          </p:cNvSpPr>
          <p:nvPr>
            <p:ph type="body" idx="1"/>
          </p:nvPr>
        </p:nvSpPr>
        <p:spPr>
          <a:xfrm>
            <a:off x="403200" y="1584000"/>
            <a:ext cx="11375136" cy="4224000"/>
          </a:xfrm>
          <a:prstGeom prst="rect">
            <a:avLst/>
          </a:prstGeom>
        </p:spPr>
        <p:txBody>
          <a:bodyPr vert="horz" lIns="0" tIns="0" rIns="0" bIns="0" rtlCol="0">
            <a:noAutofit/>
          </a:bodyPr>
          <a:lstStyle/>
          <a:p>
            <a:pPr lvl="0"/>
            <a:r>
              <a:rPr lang="en-US" noProof="0"/>
              <a:t>Click to add text</a:t>
            </a:r>
          </a:p>
          <a:p>
            <a:pPr lvl="1"/>
            <a:r>
              <a:rPr lang="en-US" noProof="0"/>
              <a:t>Second level</a:t>
            </a:r>
          </a:p>
          <a:p>
            <a:pPr lvl="2"/>
            <a:r>
              <a:rPr lang="en-US" noProof="0"/>
              <a:t>Third level</a:t>
            </a:r>
          </a:p>
          <a:p>
            <a:pPr lvl="3"/>
            <a:r>
              <a:rPr lang="en-US" noProof="0"/>
              <a:t>Fourth level</a:t>
            </a:r>
          </a:p>
          <a:p>
            <a:pPr lvl="4"/>
            <a:r>
              <a:rPr lang="en-US" noProof="0"/>
              <a:t>Fifth level</a:t>
            </a:r>
          </a:p>
          <a:p>
            <a:pPr lvl="5"/>
            <a:r>
              <a:rPr lang="en-US" noProof="0"/>
              <a:t>6</a:t>
            </a:r>
          </a:p>
          <a:p>
            <a:pPr lvl="6"/>
            <a:r>
              <a:rPr lang="en-US" noProof="0"/>
              <a:t>7</a:t>
            </a:r>
          </a:p>
          <a:p>
            <a:pPr lvl="7"/>
            <a:r>
              <a:rPr lang="en-US" noProof="0"/>
              <a:t>8</a:t>
            </a:r>
          </a:p>
          <a:p>
            <a:pPr lvl="8"/>
            <a:r>
              <a:rPr lang="en-US" noProof="0"/>
              <a:t>9</a:t>
            </a:r>
          </a:p>
        </p:txBody>
      </p:sp>
      <p:sp>
        <p:nvSpPr>
          <p:cNvPr id="6" name="Slide Number Placeholder 5"/>
          <p:cNvSpPr>
            <a:spLocks noGrp="1"/>
          </p:cNvSpPr>
          <p:nvPr>
            <p:ph type="sldNum" sz="quarter" idx="4"/>
          </p:nvPr>
        </p:nvSpPr>
        <p:spPr>
          <a:xfrm>
            <a:off x="403200" y="6139124"/>
            <a:ext cx="619200" cy="365125"/>
          </a:xfrm>
          <a:prstGeom prst="rect">
            <a:avLst/>
          </a:prstGeom>
        </p:spPr>
        <p:txBody>
          <a:bodyPr vert="horz" lIns="0" tIns="0" rIns="0" bIns="0" rtlCol="0" anchor="b"/>
          <a:lstStyle>
            <a:lvl1pPr algn="l">
              <a:defRPr sz="1333">
                <a:solidFill>
                  <a:srgbClr val="1C6D7D"/>
                </a:solidFill>
              </a:defRPr>
            </a:lvl1pPr>
          </a:lstStyle>
          <a:p>
            <a:fld id="{AD794642-CA53-41FB-9828-DCB7B578655C}" type="slidenum">
              <a:rPr lang="en-US" smtClean="0"/>
              <a:pPr/>
              <a:t>‹#›</a:t>
            </a:fld>
            <a:endParaRPr lang="en-US"/>
          </a:p>
        </p:txBody>
      </p:sp>
      <p:pic>
        <p:nvPicPr>
          <p:cNvPr id="11" name="Picture 10"/>
          <p:cNvPicPr>
            <a:picLocks noChangeAspect="1"/>
          </p:cNvPicPr>
          <p:nvPr userDrawn="1"/>
        </p:nvPicPr>
        <p:blipFill>
          <a:blip r:embed="rId24" cstate="print">
            <a:extLst>
              <a:ext uri="{28A0092B-C50C-407E-A947-70E740481C1C}">
                <a14:useLocalDpi xmlns:a14="http://schemas.microsoft.com/office/drawing/2010/main"/>
              </a:ext>
            </a:extLst>
          </a:blip>
          <a:stretch>
            <a:fillRect/>
          </a:stretch>
        </p:blipFill>
        <p:spPr>
          <a:xfrm>
            <a:off x="10986432" y="5911392"/>
            <a:ext cx="814555" cy="561600"/>
          </a:xfrm>
          <a:prstGeom prst="rect">
            <a:avLst/>
          </a:prstGeom>
        </p:spPr>
      </p:pic>
    </p:spTree>
    <p:extLst>
      <p:ext uri="{BB962C8B-B14F-4D97-AF65-F5344CB8AC3E}">
        <p14:creationId xmlns:p14="http://schemas.microsoft.com/office/powerpoint/2010/main" val="1180645426"/>
      </p:ext>
    </p:extLst>
  </p:cSld>
  <p:clrMap bg1="lt1" tx1="dk1" bg2="lt2" tx2="dk2" accent1="accent1" accent2="accent2" accent3="accent3" accent4="accent4" accent5="accent5" accent6="accent6" hlink="hlink" folHlink="folHlink"/>
  <p:sldLayoutIdLst>
    <p:sldLayoutId id="2147483822" r:id="rId1"/>
    <p:sldLayoutId id="2147483823" r:id="rId2"/>
    <p:sldLayoutId id="2147483824" r:id="rId3"/>
    <p:sldLayoutId id="2147483825" r:id="rId4"/>
    <p:sldLayoutId id="2147483826" r:id="rId5"/>
    <p:sldLayoutId id="2147483827" r:id="rId6"/>
    <p:sldLayoutId id="2147483828" r:id="rId7"/>
    <p:sldLayoutId id="2147483829" r:id="rId8"/>
    <p:sldLayoutId id="2147483830" r:id="rId9"/>
    <p:sldLayoutId id="2147483831" r:id="rId10"/>
    <p:sldLayoutId id="2147483832" r:id="rId11"/>
    <p:sldLayoutId id="2147483833" r:id="rId12"/>
    <p:sldLayoutId id="2147483834" r:id="rId13"/>
    <p:sldLayoutId id="2147483835" r:id="rId14"/>
    <p:sldLayoutId id="2147483836" r:id="rId15"/>
    <p:sldLayoutId id="2147483837" r:id="rId16"/>
    <p:sldLayoutId id="2147483838" r:id="rId17"/>
    <p:sldLayoutId id="2147483839" r:id="rId18"/>
    <p:sldLayoutId id="2147483840" r:id="rId19"/>
    <p:sldLayoutId id="2147483841" r:id="rId20"/>
    <p:sldLayoutId id="2147483842" r:id="rId21"/>
  </p:sldLayoutIdLst>
  <p:hf sldNum="0" hdr="0" ftr="0" dt="0"/>
  <p:txStyles>
    <p:titleStyle>
      <a:lvl1pPr algn="l" defTabSz="914377" rtl="0" eaLnBrk="1" latinLnBrk="0" hangingPunct="1">
        <a:lnSpc>
          <a:spcPct val="90000"/>
        </a:lnSpc>
        <a:spcBef>
          <a:spcPct val="0"/>
        </a:spcBef>
        <a:buNone/>
        <a:defRPr sz="3200" kern="1200">
          <a:solidFill>
            <a:srgbClr val="1C6D7D"/>
          </a:solidFill>
          <a:latin typeface="+mj-lt"/>
          <a:ea typeface="+mj-ea"/>
          <a:cs typeface="+mj-cs"/>
        </a:defRPr>
      </a:lvl1pPr>
    </p:titleStyle>
    <p:bodyStyle>
      <a:lvl1pPr marL="287993" indent="-287993" algn="l" defTabSz="914377" rtl="0" eaLnBrk="1" latinLnBrk="0" hangingPunct="1">
        <a:lnSpc>
          <a:spcPct val="120000"/>
        </a:lnSpc>
        <a:spcBef>
          <a:spcPts val="0"/>
        </a:spcBef>
        <a:spcAft>
          <a:spcPts val="0"/>
        </a:spcAft>
        <a:buClr>
          <a:srgbClr val="1C6D7D"/>
        </a:buClr>
        <a:buSzPct val="100000"/>
        <a:buFont typeface="Courier New" panose="02070309020205020404" pitchFamily="49" charset="0"/>
        <a:buChar char="o"/>
        <a:defRPr sz="1867" kern="1200" baseline="0">
          <a:solidFill>
            <a:schemeClr val="tx1"/>
          </a:solidFill>
          <a:latin typeface="+mn-lt"/>
          <a:ea typeface="+mn-ea"/>
          <a:cs typeface="+mn-cs"/>
        </a:defRPr>
      </a:lvl1pPr>
      <a:lvl2pPr marL="575986" indent="-287993" algn="l" defTabSz="914377" rtl="0" eaLnBrk="1" latinLnBrk="0" hangingPunct="1">
        <a:lnSpc>
          <a:spcPct val="120000"/>
        </a:lnSpc>
        <a:spcBef>
          <a:spcPts val="0"/>
        </a:spcBef>
        <a:spcAft>
          <a:spcPts val="0"/>
        </a:spcAft>
        <a:buClr>
          <a:srgbClr val="1C6D7D"/>
        </a:buClr>
        <a:buSzPct val="100000"/>
        <a:buFont typeface="Courier New" panose="02070309020205020404" pitchFamily="49" charset="0"/>
        <a:buChar char="o"/>
        <a:defRPr sz="1600" kern="1200" baseline="0">
          <a:solidFill>
            <a:schemeClr val="tx1"/>
          </a:solidFill>
          <a:latin typeface="+mn-lt"/>
          <a:ea typeface="+mn-ea"/>
          <a:cs typeface="+mn-cs"/>
        </a:defRPr>
      </a:lvl2pPr>
      <a:lvl3pPr marL="863978" indent="-287993" algn="l" defTabSz="914377" rtl="0" eaLnBrk="1" latinLnBrk="0" hangingPunct="1">
        <a:lnSpc>
          <a:spcPct val="120000"/>
        </a:lnSpc>
        <a:spcBef>
          <a:spcPts val="0"/>
        </a:spcBef>
        <a:spcAft>
          <a:spcPts val="0"/>
        </a:spcAft>
        <a:buClr>
          <a:srgbClr val="1C6D7D"/>
        </a:buClr>
        <a:buSzPct val="140000"/>
        <a:buFont typeface="Arial" panose="020B0604020202020204" pitchFamily="34" charset="0"/>
        <a:buChar char="•"/>
        <a:defRPr lang="en-US" sz="1600" kern="1200" noProof="0" dirty="0" smtClean="0">
          <a:solidFill>
            <a:schemeClr val="tx1"/>
          </a:solidFill>
          <a:latin typeface="+mn-lt"/>
          <a:ea typeface="+mn-ea"/>
          <a:cs typeface="+mn-cs"/>
        </a:defRPr>
      </a:lvl3pPr>
      <a:lvl4pPr marL="863978" indent="-287993" algn="l" defTabSz="914377" rtl="0" eaLnBrk="1" latinLnBrk="0" hangingPunct="1">
        <a:lnSpc>
          <a:spcPct val="120000"/>
        </a:lnSpc>
        <a:spcBef>
          <a:spcPts val="0"/>
        </a:spcBef>
        <a:spcAft>
          <a:spcPts val="0"/>
        </a:spcAft>
        <a:buClr>
          <a:srgbClr val="1C6D7D"/>
        </a:buClr>
        <a:buSzPct val="140000"/>
        <a:buFont typeface="Arial" panose="020B0604020202020204" pitchFamily="34" charset="0"/>
        <a:buChar char="•"/>
        <a:defRPr sz="1600" kern="1200" baseline="0">
          <a:solidFill>
            <a:schemeClr val="tx1"/>
          </a:solidFill>
          <a:latin typeface="+mn-lt"/>
          <a:ea typeface="+mn-ea"/>
          <a:cs typeface="+mn-cs"/>
        </a:defRPr>
      </a:lvl4pPr>
      <a:lvl5pPr marL="863978" indent="-287993" algn="l" defTabSz="914377" rtl="0" eaLnBrk="1" latinLnBrk="0" hangingPunct="1">
        <a:lnSpc>
          <a:spcPct val="120000"/>
        </a:lnSpc>
        <a:spcBef>
          <a:spcPts val="0"/>
        </a:spcBef>
        <a:spcAft>
          <a:spcPts val="0"/>
        </a:spcAft>
        <a:buClr>
          <a:srgbClr val="1C6D7D"/>
        </a:buClr>
        <a:buSzPct val="140000"/>
        <a:buFont typeface="Arial" panose="020B0604020202020204" pitchFamily="34" charset="0"/>
        <a:buChar char="•"/>
        <a:defRPr sz="1600" kern="1200">
          <a:solidFill>
            <a:schemeClr val="tx1"/>
          </a:solidFill>
          <a:latin typeface="+mn-lt"/>
          <a:ea typeface="+mn-ea"/>
          <a:cs typeface="+mn-cs"/>
        </a:defRPr>
      </a:lvl5pPr>
      <a:lvl6pPr marL="863978" indent="-287993" algn="l" defTabSz="914377" rtl="0" eaLnBrk="1" latinLnBrk="0" hangingPunct="1">
        <a:lnSpc>
          <a:spcPct val="120000"/>
        </a:lnSpc>
        <a:spcBef>
          <a:spcPts val="0"/>
        </a:spcBef>
        <a:spcAft>
          <a:spcPts val="0"/>
        </a:spcAft>
        <a:buClr>
          <a:srgbClr val="1C6D7D"/>
        </a:buClr>
        <a:buSzPct val="140000"/>
        <a:buFont typeface="Arial" panose="020B0604020202020204" pitchFamily="34" charset="0"/>
        <a:buChar char="•"/>
        <a:defRPr sz="1600" kern="1200">
          <a:solidFill>
            <a:schemeClr val="tx1"/>
          </a:solidFill>
          <a:latin typeface="+mn-lt"/>
          <a:ea typeface="+mn-ea"/>
          <a:cs typeface="+mn-cs"/>
        </a:defRPr>
      </a:lvl6pPr>
      <a:lvl7pPr marL="863978" indent="-287993" algn="l" defTabSz="914377" rtl="0" eaLnBrk="1" latinLnBrk="0" hangingPunct="1">
        <a:lnSpc>
          <a:spcPct val="120000"/>
        </a:lnSpc>
        <a:spcBef>
          <a:spcPts val="0"/>
        </a:spcBef>
        <a:spcAft>
          <a:spcPts val="0"/>
        </a:spcAft>
        <a:buClr>
          <a:srgbClr val="1C6D7D"/>
        </a:buClr>
        <a:buSzPct val="140000"/>
        <a:buFont typeface="Arial" panose="020B0604020202020204" pitchFamily="34" charset="0"/>
        <a:buChar char="•"/>
        <a:defRPr sz="1600" kern="1200">
          <a:solidFill>
            <a:schemeClr val="tx1"/>
          </a:solidFill>
          <a:latin typeface="+mn-lt"/>
          <a:ea typeface="+mn-ea"/>
          <a:cs typeface="+mn-cs"/>
        </a:defRPr>
      </a:lvl7pPr>
      <a:lvl8pPr marL="863978" indent="-287993" algn="l" defTabSz="914377" rtl="0" eaLnBrk="1" latinLnBrk="0" hangingPunct="1">
        <a:lnSpc>
          <a:spcPct val="120000"/>
        </a:lnSpc>
        <a:spcBef>
          <a:spcPts val="0"/>
        </a:spcBef>
        <a:spcAft>
          <a:spcPts val="0"/>
        </a:spcAft>
        <a:buClr>
          <a:srgbClr val="1C6D7D"/>
        </a:buClr>
        <a:buSzPct val="140000"/>
        <a:buFont typeface="Arial" panose="020B0604020202020204" pitchFamily="34" charset="0"/>
        <a:buChar char="•"/>
        <a:defRPr sz="1600" kern="1200">
          <a:solidFill>
            <a:schemeClr val="tx1"/>
          </a:solidFill>
          <a:latin typeface="+mn-lt"/>
          <a:ea typeface="+mn-ea"/>
          <a:cs typeface="+mn-cs"/>
        </a:defRPr>
      </a:lvl8pPr>
      <a:lvl9pPr marL="863978" indent="-287993" algn="l" defTabSz="914377" rtl="0" eaLnBrk="1" latinLnBrk="0" hangingPunct="1">
        <a:lnSpc>
          <a:spcPct val="120000"/>
        </a:lnSpc>
        <a:spcBef>
          <a:spcPts val="0"/>
        </a:spcBef>
        <a:spcAft>
          <a:spcPts val="0"/>
        </a:spcAft>
        <a:buClr>
          <a:srgbClr val="1C6D7D"/>
        </a:buClr>
        <a:buSzPct val="140000"/>
        <a:buFont typeface="Arial" panose="020B0604020202020204" pitchFamily="34" charset="0"/>
        <a:buChar char="•"/>
        <a:defRPr sz="1600" kern="1200">
          <a:solidFill>
            <a:schemeClr val="tx1"/>
          </a:solidFill>
          <a:latin typeface="+mn-lt"/>
          <a:ea typeface="+mn-ea"/>
          <a:cs typeface="+mn-cs"/>
        </a:defRPr>
      </a:lvl9pPr>
    </p:bodyStyle>
    <p:otherStyle>
      <a:defPPr>
        <a:defRPr lang="en-US"/>
      </a:defPPr>
      <a:lvl1pPr marL="0" algn="l" defTabSz="914377" rtl="0" eaLnBrk="1" latinLnBrk="0" hangingPunct="1">
        <a:defRPr sz="1867" kern="1200">
          <a:solidFill>
            <a:schemeClr val="tx1"/>
          </a:solidFill>
          <a:latin typeface="+mn-lt"/>
          <a:ea typeface="+mn-ea"/>
          <a:cs typeface="+mn-cs"/>
        </a:defRPr>
      </a:lvl1pPr>
      <a:lvl2pPr marL="457189" algn="l" defTabSz="914377" rtl="0" eaLnBrk="1" latinLnBrk="0" hangingPunct="1">
        <a:defRPr sz="1867" kern="1200">
          <a:solidFill>
            <a:schemeClr val="tx1"/>
          </a:solidFill>
          <a:latin typeface="+mn-lt"/>
          <a:ea typeface="+mn-ea"/>
          <a:cs typeface="+mn-cs"/>
        </a:defRPr>
      </a:lvl2pPr>
      <a:lvl3pPr marL="914377" algn="l" defTabSz="914377" rtl="0" eaLnBrk="1" latinLnBrk="0" hangingPunct="1">
        <a:defRPr sz="1867" kern="1200">
          <a:solidFill>
            <a:schemeClr val="tx1"/>
          </a:solidFill>
          <a:latin typeface="+mn-lt"/>
          <a:ea typeface="+mn-ea"/>
          <a:cs typeface="+mn-cs"/>
        </a:defRPr>
      </a:lvl3pPr>
      <a:lvl4pPr marL="1371566" algn="l" defTabSz="914377" rtl="0" eaLnBrk="1" latinLnBrk="0" hangingPunct="1">
        <a:defRPr sz="1867" kern="1200">
          <a:solidFill>
            <a:schemeClr val="tx1"/>
          </a:solidFill>
          <a:latin typeface="+mn-lt"/>
          <a:ea typeface="+mn-ea"/>
          <a:cs typeface="+mn-cs"/>
        </a:defRPr>
      </a:lvl4pPr>
      <a:lvl5pPr marL="1828754" algn="l" defTabSz="914377" rtl="0" eaLnBrk="1" latinLnBrk="0" hangingPunct="1">
        <a:defRPr sz="1867" kern="1200">
          <a:solidFill>
            <a:schemeClr val="tx1"/>
          </a:solidFill>
          <a:latin typeface="+mn-lt"/>
          <a:ea typeface="+mn-ea"/>
          <a:cs typeface="+mn-cs"/>
        </a:defRPr>
      </a:lvl5pPr>
      <a:lvl6pPr marL="2285943" algn="l" defTabSz="914377" rtl="0" eaLnBrk="1" latinLnBrk="0" hangingPunct="1">
        <a:defRPr sz="1867" kern="1200">
          <a:solidFill>
            <a:schemeClr val="tx1"/>
          </a:solidFill>
          <a:latin typeface="+mn-lt"/>
          <a:ea typeface="+mn-ea"/>
          <a:cs typeface="+mn-cs"/>
        </a:defRPr>
      </a:lvl6pPr>
      <a:lvl7pPr marL="2743131" algn="l" defTabSz="914377" rtl="0" eaLnBrk="1" latinLnBrk="0" hangingPunct="1">
        <a:defRPr sz="1867" kern="1200">
          <a:solidFill>
            <a:schemeClr val="tx1"/>
          </a:solidFill>
          <a:latin typeface="+mn-lt"/>
          <a:ea typeface="+mn-ea"/>
          <a:cs typeface="+mn-cs"/>
        </a:defRPr>
      </a:lvl7pPr>
      <a:lvl8pPr marL="3200320" algn="l" defTabSz="914377" rtl="0" eaLnBrk="1" latinLnBrk="0" hangingPunct="1">
        <a:defRPr sz="1867" kern="1200">
          <a:solidFill>
            <a:schemeClr val="tx1"/>
          </a:solidFill>
          <a:latin typeface="+mn-lt"/>
          <a:ea typeface="+mn-ea"/>
          <a:cs typeface="+mn-cs"/>
        </a:defRPr>
      </a:lvl8pPr>
      <a:lvl9pPr marL="3657509" algn="l" defTabSz="914377" rtl="0" eaLnBrk="1" latinLnBrk="0" hangingPunct="1">
        <a:defRPr sz="1867"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10424C5F-A6F2-4B35-820D-8F2049056863}"/>
              </a:ext>
            </a:extLst>
          </p:cNvPr>
          <p:cNvSpPr>
            <a:spLocks noGrp="1"/>
          </p:cNvSpPr>
          <p:nvPr>
            <p:ph type="title"/>
          </p:nvPr>
        </p:nvSpPr>
        <p:spPr>
          <a:xfrm>
            <a:off x="504000" y="403200"/>
            <a:ext cx="11098800" cy="972000"/>
          </a:xfrm>
          <a:prstGeom prst="rect">
            <a:avLst/>
          </a:prstGeom>
        </p:spPr>
        <p:txBody>
          <a:bodyPr vert="horz" lIns="0" tIns="0" rIns="0" bIns="0" rtlCol="0" anchor="t" anchorCtr="0">
            <a:normAutofit/>
          </a:bodyPr>
          <a:lstStyle/>
          <a:p>
            <a:r>
              <a:rPr lang="en-US"/>
              <a:t>Click to edit Master title style</a:t>
            </a:r>
          </a:p>
        </p:txBody>
      </p:sp>
      <p:sp>
        <p:nvSpPr>
          <p:cNvPr id="3" name="Text Placeholder 2">
            <a:extLst>
              <a:ext uri="{FF2B5EF4-FFF2-40B4-BE49-F238E27FC236}">
                <a16:creationId xmlns:a16="http://schemas.microsoft.com/office/drawing/2014/main" id="{155BB074-DACF-4F95-91DD-63D8535E85A9}"/>
              </a:ext>
            </a:extLst>
          </p:cNvPr>
          <p:cNvSpPr>
            <a:spLocks noGrp="1"/>
          </p:cNvSpPr>
          <p:nvPr>
            <p:ph type="body" idx="1"/>
          </p:nvPr>
        </p:nvSpPr>
        <p:spPr>
          <a:xfrm>
            <a:off x="504000" y="1694208"/>
            <a:ext cx="11098800" cy="4753196"/>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4"/>
            <a:r>
              <a:rPr lang="en-US"/>
              <a:t>6</a:t>
            </a:r>
          </a:p>
          <a:p>
            <a:pPr lvl="4"/>
            <a:r>
              <a:rPr lang="en-US"/>
              <a:t>7</a:t>
            </a:r>
          </a:p>
          <a:p>
            <a:pPr lvl="4"/>
            <a:r>
              <a:rPr lang="en-US"/>
              <a:t>8</a:t>
            </a:r>
          </a:p>
          <a:p>
            <a:pPr lvl="5"/>
            <a:r>
              <a:rPr lang="en-US"/>
              <a:t>9</a:t>
            </a:r>
          </a:p>
        </p:txBody>
      </p:sp>
      <p:pic>
        <p:nvPicPr>
          <p:cNvPr id="10" name="doLogoGreen">
            <a:extLst>
              <a:ext uri="{FF2B5EF4-FFF2-40B4-BE49-F238E27FC236}">
                <a16:creationId xmlns:a16="http://schemas.microsoft.com/office/drawing/2014/main" id="{0D9A7B03-4461-437F-8AB5-C0751373678A}"/>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1559600" y="6364800"/>
            <a:ext cx="386197" cy="266266"/>
          </a:xfrm>
          <a:prstGeom prst="rect">
            <a:avLst/>
          </a:prstGeom>
        </p:spPr>
      </p:pic>
      <p:grpSp>
        <p:nvGrpSpPr>
          <p:cNvPr id="8" name="grpProc" hidden="1">
            <a:extLst>
              <a:ext uri="{FF2B5EF4-FFF2-40B4-BE49-F238E27FC236}">
                <a16:creationId xmlns:a16="http://schemas.microsoft.com/office/drawing/2014/main" id="{6124507D-9030-48E6-A9F8-D6E149160C88}"/>
              </a:ext>
            </a:extLst>
          </p:cNvPr>
          <p:cNvGrpSpPr>
            <a:grpSpLocks noUngrp="1" noRot="1" noChangeAspect="1" noMove="1" noResize="1"/>
          </p:cNvGrpSpPr>
          <p:nvPr userDrawn="1"/>
        </p:nvGrpSpPr>
        <p:grpSpPr>
          <a:xfrm>
            <a:off x="504000" y="6307200"/>
            <a:ext cx="2304000" cy="360000"/>
            <a:chOff x="504000" y="6307200"/>
            <a:chExt cx="2304000" cy="360000"/>
          </a:xfrm>
        </p:grpSpPr>
        <p:pic>
          <p:nvPicPr>
            <p:cNvPr id="9" name="proc2">
              <a:extLst>
                <a:ext uri="{FF2B5EF4-FFF2-40B4-BE49-F238E27FC236}">
                  <a16:creationId xmlns:a16="http://schemas.microsoft.com/office/drawing/2014/main" id="{429C76DA-812A-4374-9CEC-82EC8E045A92}"/>
                </a:ext>
              </a:extLst>
            </p:cNvPr>
            <p:cNvPicPr>
              <a:picLocks noRot="1" noChangeAspect="1" noMove="1" noResize="1" noChangeArrowheads="1" noCrop="1"/>
            </p:cNvPicPr>
            <p:nvPr userDrawn="1"/>
          </p:nvPicPr>
          <p:blipFill>
            <a:blip r:embed="rId4" cstate="email">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946800" y="6364800"/>
              <a:ext cx="291600" cy="291600"/>
            </a:xfrm>
            <a:prstGeom prst="rect">
              <a:avLst/>
            </a:prstGeom>
          </p:spPr>
        </p:pic>
        <p:pic>
          <p:nvPicPr>
            <p:cNvPr id="11" name="proc3">
              <a:extLst>
                <a:ext uri="{FF2B5EF4-FFF2-40B4-BE49-F238E27FC236}">
                  <a16:creationId xmlns:a16="http://schemas.microsoft.com/office/drawing/2014/main" id="{E491514A-3F22-41CA-A0A8-1D367BE4A6AD}"/>
                </a:ext>
              </a:extLst>
            </p:cNvPr>
            <p:cNvPicPr>
              <a:picLocks noRot="1" noChangeAspect="1" noMove="1" noResize="1" noChangeArrowheads="1" noCrop="1"/>
            </p:cNvPicPr>
            <p:nvPr userDrawn="1"/>
          </p:nvPicPr>
          <p: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447200" y="6364800"/>
              <a:ext cx="291600" cy="291600"/>
            </a:xfrm>
            <a:prstGeom prst="rect">
              <a:avLst/>
            </a:prstGeom>
          </p:spPr>
        </p:pic>
        <p:pic>
          <p:nvPicPr>
            <p:cNvPr id="12" name="proc4">
              <a:extLst>
                <a:ext uri="{FF2B5EF4-FFF2-40B4-BE49-F238E27FC236}">
                  <a16:creationId xmlns:a16="http://schemas.microsoft.com/office/drawing/2014/main" id="{EC681E88-E4A9-4EE5-9B12-067BB9470801}"/>
                </a:ext>
              </a:extLst>
            </p:cNvPr>
            <p:cNvPicPr>
              <a:picLocks noRot="1" noChangeAspect="1" noMove="1" noResize="1" noChangeArrowheads="1" noCrop="1"/>
            </p:cNvPicPr>
            <p:nvPr userDrawn="1"/>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1947600" y="6364800"/>
              <a:ext cx="252000" cy="252000"/>
            </a:xfrm>
            <a:prstGeom prst="rect">
              <a:avLst/>
            </a:prstGeom>
          </p:spPr>
        </p:pic>
        <p:pic>
          <p:nvPicPr>
            <p:cNvPr id="13" name="proc5">
              <a:extLst>
                <a:ext uri="{FF2B5EF4-FFF2-40B4-BE49-F238E27FC236}">
                  <a16:creationId xmlns:a16="http://schemas.microsoft.com/office/drawing/2014/main" id="{AD34A620-7666-4F0F-9298-2FE75B6732D5}"/>
                </a:ext>
              </a:extLst>
            </p:cNvPr>
            <p:cNvPicPr>
              <a:picLocks noRot="1" noChangeAspect="1" noMove="1" noResize="1" noChangeArrowheads="1" noCrop="1"/>
            </p:cNvPicPr>
            <p:nvPr userDrawn="1"/>
          </p:nvPicPr>
          <p:blipFill>
            <a:blip r:embed="rId10" cstate="email">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rot="2700000">
              <a:off x="2448000" y="6307200"/>
              <a:ext cx="360000" cy="360000"/>
            </a:xfrm>
            <a:prstGeom prst="rect">
              <a:avLst/>
            </a:prstGeom>
          </p:spPr>
        </p:pic>
        <p:pic>
          <p:nvPicPr>
            <p:cNvPr id="14" name="proc1">
              <a:extLst>
                <a:ext uri="{FF2B5EF4-FFF2-40B4-BE49-F238E27FC236}">
                  <a16:creationId xmlns:a16="http://schemas.microsoft.com/office/drawing/2014/main" id="{5D0D8AD6-8E31-45A4-9F9B-414CB494DAA7}"/>
                </a:ext>
              </a:extLst>
            </p:cNvPr>
            <p:cNvPicPr>
              <a:picLocks noRot="1" noChangeAspect="1" noMove="1" noResize="1" noChangeArrowheads="1" noCrop="1"/>
            </p:cNvPicPr>
            <p:nvPr userDrawn="1"/>
          </p:nvPicPr>
          <p:blipFill>
            <a:blip r:embed="rId12" cstate="email">
              <a:extLst>
                <a:ext uri="{28A0092B-C50C-407E-A947-70E740481C1C}">
                  <a14:useLocalDpi xmlns:a14="http://schemas.microsoft.com/office/drawing/2010/main"/>
                </a:ext>
                <a:ext uri="{96DAC541-7B7A-43D3-8B79-37D633B846F1}">
                  <asvg:svgBlip xmlns:asvg="http://schemas.microsoft.com/office/drawing/2016/SVG/main" r:embed="rId13"/>
                </a:ext>
              </a:extLst>
            </a:blip>
            <a:stretch>
              <a:fillRect/>
            </a:stretch>
          </p:blipFill>
          <p:spPr>
            <a:xfrm>
              <a:off x="504000" y="6364800"/>
              <a:ext cx="252000" cy="252000"/>
            </a:xfrm>
            <a:prstGeom prst="rect">
              <a:avLst/>
            </a:prstGeom>
          </p:spPr>
        </p:pic>
      </p:grpSp>
      <p:sp>
        <p:nvSpPr>
          <p:cNvPr id="15" name="Tijdelijke aanduiding voor dianummer 3">
            <a:extLst>
              <a:ext uri="{FF2B5EF4-FFF2-40B4-BE49-F238E27FC236}">
                <a16:creationId xmlns:a16="http://schemas.microsoft.com/office/drawing/2014/main" id="{545EB4FA-C86E-4A4F-81E0-815EFF588AB3}"/>
              </a:ext>
            </a:extLst>
          </p:cNvPr>
          <p:cNvSpPr>
            <a:spLocks noGrp="1"/>
          </p:cNvSpPr>
          <p:nvPr>
            <p:ph type="sldNum" sz="quarter" idx="4"/>
          </p:nvPr>
        </p:nvSpPr>
        <p:spPr>
          <a:xfrm>
            <a:off x="504000" y="6378472"/>
            <a:ext cx="2743200" cy="365125"/>
          </a:xfrm>
          <a:prstGeom prst="rect">
            <a:avLst/>
          </a:prstGeom>
        </p:spPr>
        <p:txBody>
          <a:bodyPr vert="horz" lIns="0" tIns="45720" rIns="91440" bIns="45720" rtlCol="0" anchor="ctr"/>
          <a:lstStyle>
            <a:lvl1pPr algn="l">
              <a:defRPr sz="800">
                <a:solidFill>
                  <a:schemeClr val="bg2"/>
                </a:solidFill>
                <a:latin typeface="Segoe UI Semilight" panose="020B0402040204020203" pitchFamily="34" charset="0"/>
              </a:defRPr>
            </a:lvl1pPr>
          </a:lstStyle>
          <a:p>
            <a:fld id="{B592C3DA-96A1-4E84-9171-AC4C91AB4FEA}" type="slidenum">
              <a:rPr lang="en-US" smtClean="0"/>
              <a:pPr/>
              <a:t>‹#›</a:t>
            </a:fld>
            <a:endParaRPr lang="en-US"/>
          </a:p>
        </p:txBody>
      </p:sp>
    </p:spTree>
    <p:extLst>
      <p:ext uri="{BB962C8B-B14F-4D97-AF65-F5344CB8AC3E}">
        <p14:creationId xmlns:p14="http://schemas.microsoft.com/office/powerpoint/2010/main" val="3393723567"/>
      </p:ext>
    </p:extLst>
  </p:cSld>
  <p:clrMap bg1="lt1" tx1="dk1" bg2="lt2" tx2="dk2" accent1="accent1" accent2="accent2" accent3="accent3" accent4="accent4" accent5="accent5" accent6="accent6" hlink="hlink" folHlink="folHlink"/>
  <p:sldLayoutIdLst>
    <p:sldLayoutId id="2147483649" r:id="rId1"/>
  </p:sldLayoutIdLst>
  <p:txStyles>
    <p:titleStyle>
      <a:lvl1pPr algn="l" defTabSz="914400" rtl="0" eaLnBrk="1" latinLnBrk="0" hangingPunct="1">
        <a:lnSpc>
          <a:spcPct val="100000"/>
        </a:lnSpc>
        <a:spcBef>
          <a:spcPct val="0"/>
        </a:spcBef>
        <a:buNone/>
        <a:defRPr sz="2400" b="1" kern="1200">
          <a:solidFill>
            <a:schemeClr val="accent1"/>
          </a:solidFill>
          <a:latin typeface="Segoe UI Semilight" panose="020B0402040204020203" pitchFamily="34" charset="0"/>
          <a:ea typeface="+mj-ea"/>
          <a:cs typeface="+mj-cs"/>
        </a:defRPr>
      </a:lvl1pPr>
    </p:titleStyle>
    <p:bodyStyle>
      <a:lvl1pPr marL="288000" indent="-288000" algn="l" defTabSz="914400" rtl="0" eaLnBrk="1" latinLnBrk="0" hangingPunct="1">
        <a:lnSpc>
          <a:spcPct val="120000"/>
        </a:lnSpc>
        <a:spcBef>
          <a:spcPts val="0"/>
        </a:spcBef>
        <a:spcAft>
          <a:spcPts val="1000"/>
        </a:spcAft>
        <a:buClr>
          <a:schemeClr val="bg2"/>
        </a:buClr>
        <a:buFont typeface="Courier New" panose="02070309020205020404" pitchFamily="49" charset="0"/>
        <a:buChar char="o"/>
        <a:defRPr sz="1600" kern="1200">
          <a:solidFill>
            <a:schemeClr val="tx1"/>
          </a:solidFill>
          <a:latin typeface="Segoe UI Semilight" panose="020B0402040204020203" pitchFamily="34" charset="0"/>
          <a:ea typeface="+mn-ea"/>
          <a:cs typeface="+mn-cs"/>
        </a:defRPr>
      </a:lvl1pPr>
      <a:lvl2pPr marL="576000" indent="-288000" algn="l" defTabSz="914400" rtl="0" eaLnBrk="1" latinLnBrk="0" hangingPunct="1">
        <a:lnSpc>
          <a:spcPct val="120000"/>
        </a:lnSpc>
        <a:spcBef>
          <a:spcPts val="0"/>
        </a:spcBef>
        <a:spcAft>
          <a:spcPts val="1000"/>
        </a:spcAft>
        <a:buClr>
          <a:schemeClr val="bg2"/>
        </a:buClr>
        <a:buFont typeface="Wingdings" panose="05000000000000000000" pitchFamily="2" charset="2"/>
        <a:buChar char="§"/>
        <a:defRPr sz="1400" kern="1200">
          <a:solidFill>
            <a:schemeClr val="tx1"/>
          </a:solidFill>
          <a:latin typeface="Segoe UI Semilight" panose="020B0402040204020203" pitchFamily="34" charset="0"/>
          <a:ea typeface="+mn-ea"/>
          <a:cs typeface="+mn-cs"/>
        </a:defRPr>
      </a:lvl2pPr>
      <a:lvl3pPr marL="864000" indent="-288000" algn="l" defTabSz="914400" rtl="0" eaLnBrk="1" latinLnBrk="0" hangingPunct="1">
        <a:lnSpc>
          <a:spcPct val="120000"/>
        </a:lnSpc>
        <a:spcBef>
          <a:spcPts val="0"/>
        </a:spcBef>
        <a:spcAft>
          <a:spcPts val="1000"/>
        </a:spcAft>
        <a:buClr>
          <a:schemeClr val="bg2"/>
        </a:buClr>
        <a:buFont typeface="Wingdings" panose="05000000000000000000" pitchFamily="2" charset="2"/>
        <a:buChar char="§"/>
        <a:defRPr sz="1200" kern="1200">
          <a:solidFill>
            <a:schemeClr val="tx1"/>
          </a:solidFill>
          <a:latin typeface="Segoe UI Semilight" panose="020B0402040204020203" pitchFamily="34" charset="0"/>
          <a:ea typeface="+mn-ea"/>
          <a:cs typeface="+mn-cs"/>
        </a:defRPr>
      </a:lvl3pPr>
      <a:lvl4pPr marL="1152000" indent="-288000" algn="l" defTabSz="914400" rtl="0" eaLnBrk="1" latinLnBrk="0" hangingPunct="1">
        <a:lnSpc>
          <a:spcPct val="120000"/>
        </a:lnSpc>
        <a:spcBef>
          <a:spcPts val="0"/>
        </a:spcBef>
        <a:spcAft>
          <a:spcPts val="1000"/>
        </a:spcAft>
        <a:buClr>
          <a:schemeClr val="bg2"/>
        </a:buClr>
        <a:buSzPct val="100000"/>
        <a:buFont typeface="Wingdings" panose="05000000000000000000" pitchFamily="2" charset="2"/>
        <a:buChar char="§"/>
        <a:defRPr sz="1200" kern="1200">
          <a:solidFill>
            <a:schemeClr val="tx1"/>
          </a:solidFill>
          <a:latin typeface="Segoe UI Semilight" panose="020B0402040204020203" pitchFamily="34" charset="0"/>
          <a:ea typeface="+mn-ea"/>
          <a:cs typeface="+mn-cs"/>
        </a:defRPr>
      </a:lvl4pPr>
      <a:lvl5pPr marL="1152000" indent="-288000" algn="l" defTabSz="914400" rtl="0" eaLnBrk="1" latinLnBrk="0" hangingPunct="1">
        <a:lnSpc>
          <a:spcPct val="120000"/>
        </a:lnSpc>
        <a:spcBef>
          <a:spcPts val="0"/>
        </a:spcBef>
        <a:spcAft>
          <a:spcPts val="1000"/>
        </a:spcAft>
        <a:buClr>
          <a:schemeClr val="bg2"/>
        </a:buClr>
        <a:buFont typeface="Wingdings" panose="05000000000000000000" pitchFamily="2" charset="2"/>
        <a:buChar char="§"/>
        <a:defRPr sz="1200" kern="1200">
          <a:solidFill>
            <a:schemeClr val="tx1"/>
          </a:solidFill>
          <a:latin typeface="Segoe UI Semilight" panose="020B0402040204020203" pitchFamily="34" charset="0"/>
          <a:ea typeface="+mn-ea"/>
          <a:cs typeface="+mn-cs"/>
        </a:defRPr>
      </a:lvl5pPr>
      <a:lvl6pPr marL="1152000" indent="-288000" algn="l" defTabSz="914400" rtl="0" eaLnBrk="1" latinLnBrk="0" hangingPunct="1">
        <a:lnSpc>
          <a:spcPct val="120000"/>
        </a:lnSpc>
        <a:spcBef>
          <a:spcPts val="0"/>
        </a:spcBef>
        <a:spcAft>
          <a:spcPts val="1000"/>
        </a:spcAft>
        <a:buClr>
          <a:schemeClr val="bg2"/>
        </a:buClr>
        <a:buFont typeface="Wingdings" panose="05000000000000000000" pitchFamily="2" charset="2"/>
        <a:buChar char="§"/>
        <a:defRPr sz="1200" kern="1200">
          <a:solidFill>
            <a:schemeClr val="tx1"/>
          </a:solidFill>
          <a:latin typeface="Segoe UI Semilight" panose="020B0402040204020203" pitchFamily="34" charset="0"/>
          <a:ea typeface="+mn-ea"/>
          <a:cs typeface="+mn-cs"/>
        </a:defRPr>
      </a:lvl6pPr>
      <a:lvl7pPr marL="1728000" indent="-288000" algn="l" defTabSz="914400" rtl="0" eaLnBrk="1" latinLnBrk="0" hangingPunct="1">
        <a:lnSpc>
          <a:spcPct val="120000"/>
        </a:lnSpc>
        <a:spcBef>
          <a:spcPts val="0"/>
        </a:spcBef>
        <a:spcAft>
          <a:spcPts val="1000"/>
        </a:spcAft>
        <a:buClr>
          <a:schemeClr val="tx1"/>
        </a:buClr>
        <a:buFont typeface="Wingdings" panose="05000000000000000000" pitchFamily="2" charset="2"/>
        <a:buChar char="§"/>
        <a:defRPr sz="1200" kern="1200">
          <a:solidFill>
            <a:schemeClr val="tx1"/>
          </a:solidFill>
          <a:latin typeface="+mn-lt"/>
          <a:ea typeface="+mn-ea"/>
          <a:cs typeface="+mn-cs"/>
        </a:defRPr>
      </a:lvl7pPr>
      <a:lvl8pPr marL="2016000" indent="-288000" algn="l" defTabSz="914400" rtl="0" eaLnBrk="1" latinLnBrk="0" hangingPunct="1">
        <a:lnSpc>
          <a:spcPct val="120000"/>
        </a:lnSpc>
        <a:spcBef>
          <a:spcPts val="0"/>
        </a:spcBef>
        <a:spcAft>
          <a:spcPts val="1000"/>
        </a:spcAft>
        <a:buClr>
          <a:schemeClr val="tx1"/>
        </a:buClr>
        <a:buFont typeface="Wingdings" panose="05000000000000000000" pitchFamily="2" charset="2"/>
        <a:buChar char="§"/>
        <a:defRPr sz="1200" kern="1200">
          <a:solidFill>
            <a:schemeClr val="tx1"/>
          </a:solidFill>
          <a:latin typeface="+mn-lt"/>
          <a:ea typeface="+mn-ea"/>
          <a:cs typeface="+mn-cs"/>
        </a:defRPr>
      </a:lvl8pPr>
      <a:lvl9pPr marL="2304000" indent="-288000" algn="l" defTabSz="914400" rtl="0" eaLnBrk="1" latinLnBrk="0" hangingPunct="1">
        <a:lnSpc>
          <a:spcPct val="120000"/>
        </a:lnSpc>
        <a:spcBef>
          <a:spcPts val="0"/>
        </a:spcBef>
        <a:spcAft>
          <a:spcPts val="1000"/>
        </a:spcAft>
        <a:buClr>
          <a:schemeClr val="tx1"/>
        </a:buClr>
        <a:buFont typeface="Wingdings" panose="05000000000000000000" pitchFamily="2" charset="2"/>
        <a:buChar char="§"/>
        <a:defRPr sz="1200" kern="1200">
          <a:solidFill>
            <a:schemeClr val="tx1"/>
          </a:solidFill>
          <a:latin typeface="+mn-lt"/>
          <a:ea typeface="+mn-ea"/>
          <a:cs typeface="+mn-cs"/>
        </a:defRPr>
      </a:lvl9pPr>
    </p:bodyStyle>
    <p:otherStyle>
      <a:defPPr>
        <a:defRPr lang="en-US"/>
      </a:defPPr>
      <a:lvl1pPr marL="0" algn="l" defTabSz="914400" rtl="0" eaLnBrk="1" latinLnBrk="0" hangingPunct="1">
        <a:defRPr sz="16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1.xml"/><Relationship Id="rId1" Type="http://schemas.openxmlformats.org/officeDocument/2006/relationships/slideLayout" Target="../slideLayouts/slideLayout46.xml"/><Relationship Id="rId5" Type="http://schemas.openxmlformats.org/officeDocument/2006/relationships/image" Target="../media/image35.png"/><Relationship Id="rId4" Type="http://schemas.openxmlformats.org/officeDocument/2006/relationships/image" Target="../media/image33.png"/></Relationships>
</file>

<file path=ppt/slides/_rels/slide10.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Layout" Target="../slideLayouts/slideLayout9.xml"/><Relationship Id="rId5" Type="http://schemas.openxmlformats.org/officeDocument/2006/relationships/image" Target="../media/image37.emf"/><Relationship Id="rId4" Type="http://schemas.openxmlformats.org/officeDocument/2006/relationships/image" Target="../media/image51.png"/></Relationships>
</file>

<file path=ppt/slides/_rels/slide11.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6.xml"/><Relationship Id="rId1" Type="http://schemas.openxmlformats.org/officeDocument/2006/relationships/slideLayout" Target="../slideLayouts/slideLayout23.xml"/><Relationship Id="rId6" Type="http://schemas.openxmlformats.org/officeDocument/2006/relationships/image" Target="../media/image55.svg"/><Relationship Id="rId5" Type="http://schemas.openxmlformats.org/officeDocument/2006/relationships/image" Target="../media/image54.png"/><Relationship Id="rId4" Type="http://schemas.openxmlformats.org/officeDocument/2006/relationships/image" Target="../media/image53.svg"/></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3" Type="http://schemas.openxmlformats.org/officeDocument/2006/relationships/image" Target="../media/image37.emf"/><Relationship Id="rId2" Type="http://schemas.openxmlformats.org/officeDocument/2006/relationships/image" Target="../media/image56.pn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image" Target="../media/image57.jpeg"/><Relationship Id="rId2" Type="http://schemas.openxmlformats.org/officeDocument/2006/relationships/notesSlide" Target="../notesSlides/notesSlide7.xml"/><Relationship Id="rId1" Type="http://schemas.openxmlformats.org/officeDocument/2006/relationships/slideLayout" Target="../slideLayouts/slideLayout8.xml"/><Relationship Id="rId4" Type="http://schemas.openxmlformats.org/officeDocument/2006/relationships/image" Target="../media/image37.emf"/></Relationships>
</file>

<file path=ppt/slides/_rels/slide15.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8.xml"/><Relationship Id="rId1" Type="http://schemas.openxmlformats.org/officeDocument/2006/relationships/slideLayout" Target="../slideLayouts/slideLayout6.xml"/><Relationship Id="rId5" Type="http://schemas.openxmlformats.org/officeDocument/2006/relationships/image" Target="../media/image60.png"/><Relationship Id="rId4" Type="http://schemas.openxmlformats.org/officeDocument/2006/relationships/image" Target="../media/image59.png"/></Relationships>
</file>

<file path=ppt/slides/_rels/slide16.xml.rels><?xml version="1.0" encoding="UTF-8" standalone="yes"?>
<Relationships xmlns="http://schemas.openxmlformats.org/package/2006/relationships"><Relationship Id="rId3" Type="http://schemas.openxmlformats.org/officeDocument/2006/relationships/image" Target="../media/image37.emf"/><Relationship Id="rId2" Type="http://schemas.openxmlformats.org/officeDocument/2006/relationships/image" Target="../media/image61.png"/><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image" Target="../media/image62.png"/><Relationship Id="rId1" Type="http://schemas.openxmlformats.org/officeDocument/2006/relationships/slideLayout" Target="../slideLayouts/slideLayout9.xml"/></Relationships>
</file>

<file path=ppt/slides/_rels/slide18.xml.rels><?xml version="1.0" encoding="UTF-8" standalone="yes"?>
<Relationships xmlns="http://schemas.openxmlformats.org/package/2006/relationships"><Relationship Id="rId3" Type="http://schemas.openxmlformats.org/officeDocument/2006/relationships/diagramLayout" Target="../diagrams/layout1.xml"/><Relationship Id="rId7" Type="http://schemas.openxmlformats.org/officeDocument/2006/relationships/image" Target="../media/image64.png"/><Relationship Id="rId2" Type="http://schemas.openxmlformats.org/officeDocument/2006/relationships/diagramData" Target="../diagrams/data1.xml"/><Relationship Id="rId1" Type="http://schemas.openxmlformats.org/officeDocument/2006/relationships/slideLayout" Target="../slideLayouts/slideLayout7.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19.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image" Target="../media/image65.png"/><Relationship Id="rId1" Type="http://schemas.openxmlformats.org/officeDocument/2006/relationships/slideLayout" Target="../slideLayouts/slideLayout10.xml"/><Relationship Id="rId6" Type="http://schemas.openxmlformats.org/officeDocument/2006/relationships/image" Target="../media/image68.png"/><Relationship Id="rId5" Type="http://schemas.openxmlformats.org/officeDocument/2006/relationships/image" Target="../media/image60.png"/><Relationship Id="rId4" Type="http://schemas.openxmlformats.org/officeDocument/2006/relationships/image" Target="../media/image67.png"/></Relationships>
</file>

<file path=ppt/slides/_rels/slide2.xml.rels><?xml version="1.0" encoding="UTF-8" standalone="yes"?>
<Relationships xmlns="http://schemas.openxmlformats.org/package/2006/relationships"><Relationship Id="rId3" Type="http://schemas.openxmlformats.org/officeDocument/2006/relationships/image" Target="../media/image36.jpeg"/><Relationship Id="rId2" Type="http://schemas.openxmlformats.org/officeDocument/2006/relationships/notesSlide" Target="../notesSlides/notesSlide2.xml"/><Relationship Id="rId1" Type="http://schemas.openxmlformats.org/officeDocument/2006/relationships/slideLayout" Target="../slideLayouts/slideLayout4.xml"/><Relationship Id="rId4" Type="http://schemas.openxmlformats.org/officeDocument/2006/relationships/image" Target="../media/image37.emf"/></Relationships>
</file>

<file path=ppt/slides/_rels/slide20.xml.rels><?xml version="1.0" encoding="UTF-8" standalone="yes"?>
<Relationships xmlns="http://schemas.openxmlformats.org/package/2006/relationships"><Relationship Id="rId8" Type="http://schemas.openxmlformats.org/officeDocument/2006/relationships/image" Target="../media/image74.svg"/><Relationship Id="rId3" Type="http://schemas.openxmlformats.org/officeDocument/2006/relationships/image" Target="../media/image69.png"/><Relationship Id="rId7" Type="http://schemas.openxmlformats.org/officeDocument/2006/relationships/image" Target="../media/image73.png"/><Relationship Id="rId2" Type="http://schemas.openxmlformats.org/officeDocument/2006/relationships/notesSlide" Target="../notesSlides/notesSlide9.xml"/><Relationship Id="rId1" Type="http://schemas.openxmlformats.org/officeDocument/2006/relationships/slideLayout" Target="../slideLayouts/slideLayout9.xml"/><Relationship Id="rId6" Type="http://schemas.openxmlformats.org/officeDocument/2006/relationships/image" Target="../media/image72.svg"/><Relationship Id="rId5" Type="http://schemas.openxmlformats.org/officeDocument/2006/relationships/image" Target="../media/image71.png"/><Relationship Id="rId10" Type="http://schemas.openxmlformats.org/officeDocument/2006/relationships/image" Target="../media/image76.svg"/><Relationship Id="rId4" Type="http://schemas.openxmlformats.org/officeDocument/2006/relationships/image" Target="../media/image70.svg"/><Relationship Id="rId9" Type="http://schemas.openxmlformats.org/officeDocument/2006/relationships/image" Target="../media/image75.png"/></Relationships>
</file>

<file path=ppt/slides/_rels/slide21.xml.rels><?xml version="1.0" encoding="UTF-8" standalone="yes"?>
<Relationships xmlns="http://schemas.openxmlformats.org/package/2006/relationships"><Relationship Id="rId3" Type="http://schemas.openxmlformats.org/officeDocument/2006/relationships/image" Target="../media/image37.emf"/><Relationship Id="rId2" Type="http://schemas.openxmlformats.org/officeDocument/2006/relationships/image" Target="../media/image61.png"/><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notesSlide" Target="../notesSlides/notesSlide10.xml"/><Relationship Id="rId1" Type="http://schemas.openxmlformats.org/officeDocument/2006/relationships/slideLayout" Target="../slideLayouts/slideLayout24.xml"/><Relationship Id="rId5" Type="http://schemas.openxmlformats.org/officeDocument/2006/relationships/image" Target="../media/image59.png"/><Relationship Id="rId4" Type="http://schemas.openxmlformats.org/officeDocument/2006/relationships/image" Target="../media/image78.svg"/></Relationships>
</file>

<file path=ppt/slides/_rels/slide23.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11.xml"/><Relationship Id="rId1" Type="http://schemas.openxmlformats.org/officeDocument/2006/relationships/slideLayout" Target="../slideLayouts/slideLayout24.xml"/><Relationship Id="rId5" Type="http://schemas.openxmlformats.org/officeDocument/2006/relationships/image" Target="../media/image78.svg"/><Relationship Id="rId4" Type="http://schemas.openxmlformats.org/officeDocument/2006/relationships/image" Target="../media/image77.png"/></Relationships>
</file>

<file path=ppt/slides/_rels/slide24.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Layout" Target="../slideLayouts/slideLayout24.xml"/><Relationship Id="rId1" Type="http://schemas.openxmlformats.org/officeDocument/2006/relationships/tags" Target="../tags/tag1.xml"/><Relationship Id="rId5" Type="http://schemas.openxmlformats.org/officeDocument/2006/relationships/image" Target="../media/image59.png"/><Relationship Id="rId4" Type="http://schemas.openxmlformats.org/officeDocument/2006/relationships/image" Target="../media/image79.emf"/></Relationships>
</file>

<file path=ppt/slides/_rels/slide25.xml.rels><?xml version="1.0" encoding="UTF-8" standalone="yes"?>
<Relationships xmlns="http://schemas.openxmlformats.org/package/2006/relationships"><Relationship Id="rId8" Type="http://schemas.openxmlformats.org/officeDocument/2006/relationships/image" Target="../media/image86.png"/><Relationship Id="rId3" Type="http://schemas.openxmlformats.org/officeDocument/2006/relationships/image" Target="../media/image81.svg"/><Relationship Id="rId7" Type="http://schemas.openxmlformats.org/officeDocument/2006/relationships/image" Target="../media/image85.svg"/><Relationship Id="rId2" Type="http://schemas.openxmlformats.org/officeDocument/2006/relationships/image" Target="../media/image80.png"/><Relationship Id="rId1" Type="http://schemas.openxmlformats.org/officeDocument/2006/relationships/slideLayout" Target="../slideLayouts/slideLayout6.xml"/><Relationship Id="rId6" Type="http://schemas.openxmlformats.org/officeDocument/2006/relationships/image" Target="../media/image84.png"/><Relationship Id="rId5" Type="http://schemas.openxmlformats.org/officeDocument/2006/relationships/image" Target="../media/image83.svg"/><Relationship Id="rId4" Type="http://schemas.openxmlformats.org/officeDocument/2006/relationships/image" Target="../media/image82.png"/><Relationship Id="rId9" Type="http://schemas.openxmlformats.org/officeDocument/2006/relationships/image" Target="../media/image87.svg"/></Relationships>
</file>

<file path=ppt/slides/_rels/slide26.xml.rels><?xml version="1.0" encoding="UTF-8" standalone="yes"?>
<Relationships xmlns="http://schemas.openxmlformats.org/package/2006/relationships"><Relationship Id="rId2" Type="http://schemas.openxmlformats.org/officeDocument/2006/relationships/image" Target="../media/image88.jpeg"/><Relationship Id="rId1" Type="http://schemas.openxmlformats.org/officeDocument/2006/relationships/slideLayout" Target="../slideLayouts/slideLayout8.xml"/></Relationships>
</file>

<file path=ppt/slides/_rels/slide27.xml.rels><?xml version="1.0" encoding="UTF-8" standalone="yes"?>
<Relationships xmlns="http://schemas.openxmlformats.org/package/2006/relationships"><Relationship Id="rId3" Type="http://schemas.openxmlformats.org/officeDocument/2006/relationships/image" Target="../media/image37.emf"/><Relationship Id="rId2" Type="http://schemas.openxmlformats.org/officeDocument/2006/relationships/image" Target="../media/image61.png"/><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3" Type="http://schemas.openxmlformats.org/officeDocument/2006/relationships/image" Target="../media/image90.png"/><Relationship Id="rId7" Type="http://schemas.openxmlformats.org/officeDocument/2006/relationships/hyperlink" Target="http://www.skimgroup.com/unspoken-demo" TargetMode="External"/><Relationship Id="rId2" Type="http://schemas.openxmlformats.org/officeDocument/2006/relationships/image" Target="../media/image89.png"/><Relationship Id="rId1" Type="http://schemas.openxmlformats.org/officeDocument/2006/relationships/slideLayout" Target="../slideLayouts/slideLayout6.xml"/><Relationship Id="rId6" Type="http://schemas.openxmlformats.org/officeDocument/2006/relationships/hyperlink" Target="https://skimgroup.com/events/mobile-research-consumer-preferences-growth-markets/" TargetMode="External"/><Relationship Id="rId5" Type="http://schemas.openxmlformats.org/officeDocument/2006/relationships/image" Target="../media/image92.jpeg"/><Relationship Id="rId4" Type="http://schemas.openxmlformats.org/officeDocument/2006/relationships/image" Target="../media/image91.png"/></Relationships>
</file>

<file path=ppt/slides/_rels/slide29.xml.rels><?xml version="1.0" encoding="UTF-8" standalone="yes"?>
<Relationships xmlns="http://schemas.openxmlformats.org/package/2006/relationships"><Relationship Id="rId8" Type="http://schemas.openxmlformats.org/officeDocument/2006/relationships/image" Target="../media/image98.png"/><Relationship Id="rId3" Type="http://schemas.openxmlformats.org/officeDocument/2006/relationships/image" Target="../media/image93.png"/><Relationship Id="rId7" Type="http://schemas.openxmlformats.org/officeDocument/2006/relationships/image" Target="../media/image97.svg"/><Relationship Id="rId2" Type="http://schemas.openxmlformats.org/officeDocument/2006/relationships/notesSlide" Target="../notesSlides/notesSlide12.xml"/><Relationship Id="rId1" Type="http://schemas.openxmlformats.org/officeDocument/2006/relationships/slideLayout" Target="../slideLayouts/slideLayout7.xml"/><Relationship Id="rId6" Type="http://schemas.openxmlformats.org/officeDocument/2006/relationships/image" Target="../media/image96.png"/><Relationship Id="rId5" Type="http://schemas.openxmlformats.org/officeDocument/2006/relationships/image" Target="../media/image95.png"/><Relationship Id="rId4" Type="http://schemas.openxmlformats.org/officeDocument/2006/relationships/image" Target="../media/image94.png"/><Relationship Id="rId9" Type="http://schemas.openxmlformats.org/officeDocument/2006/relationships/image" Target="../media/image99.svg"/></Relationships>
</file>

<file path=ppt/slides/_rels/slide3.xml.rels><?xml version="1.0" encoding="UTF-8" standalone="yes"?>
<Relationships xmlns="http://schemas.openxmlformats.org/package/2006/relationships"><Relationship Id="rId8" Type="http://schemas.openxmlformats.org/officeDocument/2006/relationships/image" Target="../media/image43.png"/><Relationship Id="rId3" Type="http://schemas.openxmlformats.org/officeDocument/2006/relationships/image" Target="../media/image38.emf"/><Relationship Id="rId7" Type="http://schemas.openxmlformats.org/officeDocument/2006/relationships/image" Target="../media/image42.svg"/><Relationship Id="rId2" Type="http://schemas.openxmlformats.org/officeDocument/2006/relationships/notesSlide" Target="../notesSlides/notesSlide3.xml"/><Relationship Id="rId1" Type="http://schemas.openxmlformats.org/officeDocument/2006/relationships/slideLayout" Target="../slideLayouts/slideLayout14.xml"/><Relationship Id="rId6" Type="http://schemas.openxmlformats.org/officeDocument/2006/relationships/image" Target="../media/image41.png"/><Relationship Id="rId5" Type="http://schemas.openxmlformats.org/officeDocument/2006/relationships/image" Target="../media/image40.svg"/><Relationship Id="rId4" Type="http://schemas.openxmlformats.org/officeDocument/2006/relationships/image" Target="../media/image39.png"/><Relationship Id="rId9" Type="http://schemas.openxmlformats.org/officeDocument/2006/relationships/image" Target="../media/image44.svg"/></Relationships>
</file>

<file path=ppt/slides/_rels/slide30.xml.rels><?xml version="1.0" encoding="UTF-8" standalone="yes"?>
<Relationships xmlns="http://schemas.openxmlformats.org/package/2006/relationships"><Relationship Id="rId3" Type="http://schemas.openxmlformats.org/officeDocument/2006/relationships/hyperlink" Target="https://skimgroup.sharepoint.com/Accounts/Danone/F7465%20Danone%20Yoghurt%20Occasions%20RtBs/1.%20Proposal/Client/F7465%20SKIM%20Proposal%20-%20Danone%20Yoghurt%20Occasions%20RtBs%20FR%20ES%20US%20MX%20-%2001APR2022.pptx?web=1" TargetMode="External"/><Relationship Id="rId2" Type="http://schemas.openxmlformats.org/officeDocument/2006/relationships/notesSlide" Target="../notesSlides/notesSlide13.xml"/><Relationship Id="rId1" Type="http://schemas.openxmlformats.org/officeDocument/2006/relationships/slideLayout" Target="../slideLayouts/slideLayout9.xml"/><Relationship Id="rId4" Type="http://schemas.openxmlformats.org/officeDocument/2006/relationships/image" Target="../media/image100.png"/></Relationships>
</file>

<file path=ppt/slides/_rels/slide31.xml.rels><?xml version="1.0" encoding="UTF-8" standalone="yes"?>
<Relationships xmlns="http://schemas.openxmlformats.org/package/2006/relationships"><Relationship Id="rId2" Type="http://schemas.openxmlformats.org/officeDocument/2006/relationships/image" Target="../media/image100.png"/><Relationship Id="rId1" Type="http://schemas.openxmlformats.org/officeDocument/2006/relationships/slideLayout" Target="../slideLayouts/slideLayout9.xml"/></Relationships>
</file>

<file path=ppt/slides/_rels/slide32.xml.rels><?xml version="1.0" encoding="UTF-8" standalone="yes"?>
<Relationships xmlns="http://schemas.openxmlformats.org/package/2006/relationships"><Relationship Id="rId2" Type="http://schemas.openxmlformats.org/officeDocument/2006/relationships/image" Target="../media/image100.png"/><Relationship Id="rId1" Type="http://schemas.openxmlformats.org/officeDocument/2006/relationships/slideLayout" Target="../slideLayouts/slideLayout9.xml"/></Relationships>
</file>

<file path=ppt/slides/_rels/slide33.xml.rels><?xml version="1.0" encoding="UTF-8" standalone="yes"?>
<Relationships xmlns="http://schemas.openxmlformats.org/package/2006/relationships"><Relationship Id="rId2" Type="http://schemas.openxmlformats.org/officeDocument/2006/relationships/image" Target="../media/image100.png"/><Relationship Id="rId1" Type="http://schemas.openxmlformats.org/officeDocument/2006/relationships/slideLayout" Target="../slideLayouts/slideLayout9.xml"/></Relationships>
</file>

<file path=ppt/slides/_rels/slide34.xml.rels><?xml version="1.0" encoding="UTF-8" standalone="yes"?>
<Relationships xmlns="http://schemas.openxmlformats.org/package/2006/relationships"><Relationship Id="rId2" Type="http://schemas.openxmlformats.org/officeDocument/2006/relationships/image" Target="../media/image100.png"/><Relationship Id="rId1" Type="http://schemas.openxmlformats.org/officeDocument/2006/relationships/slideLayout" Target="../slideLayouts/slideLayout9.xml"/></Relationships>
</file>

<file path=ppt/slides/_rels/slide35.xml.rels><?xml version="1.0" encoding="UTF-8" standalone="yes"?>
<Relationships xmlns="http://schemas.openxmlformats.org/package/2006/relationships"><Relationship Id="rId3" Type="http://schemas.openxmlformats.org/officeDocument/2006/relationships/hyperlink" Target="https://skimgroup.sharepoint.com/Accounts/Danone/F7465%20Danone%20Yoghurt%20Occasions%20RtBs/1.%20Proposal/Client/F7465%20SKIM%20Proposal%20-%20Danone%20Yoghurt%20Occasions%20RtBs%20FR%20ES%20US%20MX%20-%2001APR2022.pptx?web=1" TargetMode="External"/><Relationship Id="rId2" Type="http://schemas.openxmlformats.org/officeDocument/2006/relationships/image" Target="../media/image100.png"/><Relationship Id="rId1" Type="http://schemas.openxmlformats.org/officeDocument/2006/relationships/slideLayout" Target="../slideLayouts/slideLayout9.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37.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14.xml"/><Relationship Id="rId1" Type="http://schemas.openxmlformats.org/officeDocument/2006/relationships/slideLayout" Target="../slideLayouts/slideLayout12.xml"/><Relationship Id="rId4" Type="http://schemas.openxmlformats.org/officeDocument/2006/relationships/image" Target="../media/image101.png"/></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9.xml.rels><?xml version="1.0" encoding="UTF-8" standalone="yes"?>
<Relationships xmlns="http://schemas.openxmlformats.org/package/2006/relationships"><Relationship Id="rId8" Type="http://schemas.openxmlformats.org/officeDocument/2006/relationships/image" Target="../media/image74.svg"/><Relationship Id="rId3" Type="http://schemas.openxmlformats.org/officeDocument/2006/relationships/image" Target="../media/image69.png"/><Relationship Id="rId7" Type="http://schemas.openxmlformats.org/officeDocument/2006/relationships/image" Target="../media/image73.png"/><Relationship Id="rId2" Type="http://schemas.openxmlformats.org/officeDocument/2006/relationships/notesSlide" Target="../notesSlides/notesSlide15.xml"/><Relationship Id="rId1" Type="http://schemas.openxmlformats.org/officeDocument/2006/relationships/slideLayout" Target="../slideLayouts/slideLayout9.xml"/><Relationship Id="rId6" Type="http://schemas.openxmlformats.org/officeDocument/2006/relationships/image" Target="../media/image72.svg"/><Relationship Id="rId5" Type="http://schemas.openxmlformats.org/officeDocument/2006/relationships/image" Target="../media/image71.png"/><Relationship Id="rId10" Type="http://schemas.openxmlformats.org/officeDocument/2006/relationships/image" Target="../media/image76.svg"/><Relationship Id="rId4" Type="http://schemas.openxmlformats.org/officeDocument/2006/relationships/image" Target="../media/image70.svg"/><Relationship Id="rId9" Type="http://schemas.openxmlformats.org/officeDocument/2006/relationships/image" Target="../media/image75.png"/></Relationships>
</file>

<file path=ppt/slides/_rels/slide4.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4.xml"/><Relationship Id="rId1" Type="http://schemas.openxmlformats.org/officeDocument/2006/relationships/slideLayout" Target="../slideLayouts/slideLayout5.xml"/><Relationship Id="rId4" Type="http://schemas.openxmlformats.org/officeDocument/2006/relationships/image" Target="../media/image46.png"/></Relationships>
</file>

<file path=ppt/slides/_rels/slide40.xml.rels><?xml version="1.0" encoding="UTF-8" standalone="yes"?>
<Relationships xmlns="http://schemas.openxmlformats.org/package/2006/relationships"><Relationship Id="rId3" Type="http://schemas.openxmlformats.org/officeDocument/2006/relationships/image" Target="../media/image103.png"/><Relationship Id="rId2" Type="http://schemas.openxmlformats.org/officeDocument/2006/relationships/image" Target="../media/image102.jpeg"/><Relationship Id="rId1" Type="http://schemas.openxmlformats.org/officeDocument/2006/relationships/slideLayout" Target="../slideLayouts/slideLayout22.xml"/><Relationship Id="rId4" Type="http://schemas.openxmlformats.org/officeDocument/2006/relationships/image" Target="../media/image104.png"/></Relationships>
</file>

<file path=ppt/slides/_rels/slide41.xml.rels><?xml version="1.0" encoding="UTF-8" standalone="yes"?>
<Relationships xmlns="http://schemas.openxmlformats.org/package/2006/relationships"><Relationship Id="rId8" Type="http://schemas.openxmlformats.org/officeDocument/2006/relationships/hyperlink" Target="https://skimgroup.sharepoint.com/Accounts/Danone/F7465%20Danone%20Yoghurt%20Occasions%20RtBs/1.%20Proposal/Client/F7465%20SKIM%20Proposal%20-%20Danone%20Yoghurt%20Occasions%20RtBs%20FR%20ES%20US%20MX%20-%2001APR2022.pptx?web=1" TargetMode="External"/><Relationship Id="rId3" Type="http://schemas.openxmlformats.org/officeDocument/2006/relationships/image" Target="../media/image105.png"/><Relationship Id="rId7" Type="http://schemas.openxmlformats.org/officeDocument/2006/relationships/image" Target="../media/image100.png"/><Relationship Id="rId2" Type="http://schemas.openxmlformats.org/officeDocument/2006/relationships/notesSlide" Target="../notesSlides/notesSlide16.xml"/><Relationship Id="rId1" Type="http://schemas.openxmlformats.org/officeDocument/2006/relationships/slideLayout" Target="../slideLayouts/slideLayout7.xml"/><Relationship Id="rId6" Type="http://schemas.openxmlformats.org/officeDocument/2006/relationships/chart" Target="../charts/chart2.xml"/><Relationship Id="rId5" Type="http://schemas.openxmlformats.org/officeDocument/2006/relationships/image" Target="../media/image107.png"/><Relationship Id="rId4" Type="http://schemas.openxmlformats.org/officeDocument/2006/relationships/image" Target="../media/image106.png"/></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6.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6.xml"/></Relationships>
</file>

<file path=ppt/slides/_rels/slide44.xml.rels><?xml version="1.0" encoding="UTF-8" standalone="yes"?>
<Relationships xmlns="http://schemas.openxmlformats.org/package/2006/relationships"><Relationship Id="rId3" Type="http://schemas.openxmlformats.org/officeDocument/2006/relationships/image" Target="../media/image108.png"/><Relationship Id="rId2" Type="http://schemas.openxmlformats.org/officeDocument/2006/relationships/notesSlide" Target="../notesSlides/notesSlide19.xml"/><Relationship Id="rId1" Type="http://schemas.openxmlformats.org/officeDocument/2006/relationships/slideLayout" Target="../slideLayouts/slideLayout2.xml"/><Relationship Id="rId4" Type="http://schemas.openxmlformats.org/officeDocument/2006/relationships/image" Target="../media/image37.emf"/></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7.xml"/></Relationships>
</file>

<file path=ppt/slides/_rels/slide46.xml.rels><?xml version="1.0" encoding="UTF-8" standalone="yes"?>
<Relationships xmlns="http://schemas.openxmlformats.org/package/2006/relationships"><Relationship Id="rId3" Type="http://schemas.openxmlformats.org/officeDocument/2006/relationships/image" Target="../media/image37.emf"/><Relationship Id="rId2" Type="http://schemas.openxmlformats.org/officeDocument/2006/relationships/image" Target="../media/image109.jpeg"/><Relationship Id="rId1" Type="http://schemas.openxmlformats.org/officeDocument/2006/relationships/slideLayout" Target="../slideLayouts/slideLayout8.xml"/></Relationships>
</file>

<file path=ppt/slides/_rels/slide47.xml.rels><?xml version="1.0" encoding="UTF-8" standalone="yes"?>
<Relationships xmlns="http://schemas.openxmlformats.org/package/2006/relationships"><Relationship Id="rId8" Type="http://schemas.openxmlformats.org/officeDocument/2006/relationships/image" Target="../media/image43.png"/><Relationship Id="rId3" Type="http://schemas.openxmlformats.org/officeDocument/2006/relationships/image" Target="../media/image110.jpeg"/><Relationship Id="rId7" Type="http://schemas.openxmlformats.org/officeDocument/2006/relationships/image" Target="../media/image42.svg"/><Relationship Id="rId2" Type="http://schemas.openxmlformats.org/officeDocument/2006/relationships/image" Target="../media/image38.emf"/><Relationship Id="rId1" Type="http://schemas.openxmlformats.org/officeDocument/2006/relationships/slideLayout" Target="../slideLayouts/slideLayout7.xml"/><Relationship Id="rId6" Type="http://schemas.openxmlformats.org/officeDocument/2006/relationships/image" Target="../media/image41.png"/><Relationship Id="rId5" Type="http://schemas.openxmlformats.org/officeDocument/2006/relationships/image" Target="../media/image40.svg"/><Relationship Id="rId4" Type="http://schemas.openxmlformats.org/officeDocument/2006/relationships/image" Target="../media/image39.png"/><Relationship Id="rId9" Type="http://schemas.openxmlformats.org/officeDocument/2006/relationships/image" Target="../media/image44.svg"/></Relationships>
</file>

<file path=ppt/slides/_rels/slide48.xml.rels><?xml version="1.0" encoding="UTF-8" standalone="yes"?>
<Relationships xmlns="http://schemas.openxmlformats.org/package/2006/relationships"><Relationship Id="rId8" Type="http://schemas.openxmlformats.org/officeDocument/2006/relationships/hyperlink" Target="https://www.youtube.com/user/SKIMvideos?__hstc=167070049.2779d317215ee98225febbbca3f21529.1491763688814.1491763688814.1491763688814.1&amp;__hsfp=40310509&amp;__hssc=167070049.1.1491763688814" TargetMode="External"/><Relationship Id="rId13" Type="http://schemas.openxmlformats.org/officeDocument/2006/relationships/image" Target="../media/image16.png"/><Relationship Id="rId3" Type="http://schemas.openxmlformats.org/officeDocument/2006/relationships/hyperlink" Target="mailto:i.vanloon@skimgroup.com" TargetMode="External"/><Relationship Id="rId7" Type="http://schemas.openxmlformats.org/officeDocument/2006/relationships/image" Target="../media/image13.png"/><Relationship Id="rId12" Type="http://schemas.openxmlformats.org/officeDocument/2006/relationships/hyperlink" Target="https://www.facebook.com/SKIMgroup/" TargetMode="External"/><Relationship Id="rId2" Type="http://schemas.openxmlformats.org/officeDocument/2006/relationships/image" Target="../media/image111.jpeg"/><Relationship Id="rId16" Type="http://schemas.openxmlformats.org/officeDocument/2006/relationships/image" Target="../media/image12.png"/><Relationship Id="rId1" Type="http://schemas.openxmlformats.org/officeDocument/2006/relationships/slideLayout" Target="../slideLayouts/slideLayout20.xml"/><Relationship Id="rId6" Type="http://schemas.openxmlformats.org/officeDocument/2006/relationships/hyperlink" Target="https://www.linkedin.com/company/skim?__hstc=167070049.2779d317215ee98225febbbca3f21529.1491763688814.1491763688814.1491763688814.1&amp;__hssc=167070049.1.1491763688814&amp;__hsfp=40310509" TargetMode="External"/><Relationship Id="rId11" Type="http://schemas.openxmlformats.org/officeDocument/2006/relationships/image" Target="../media/image15.png"/><Relationship Id="rId5" Type="http://schemas.openxmlformats.org/officeDocument/2006/relationships/hyperlink" Target="mailto:c.newman@@skimgroup.com" TargetMode="External"/><Relationship Id="rId15" Type="http://schemas.openxmlformats.org/officeDocument/2006/relationships/image" Target="../media/image17.png"/><Relationship Id="rId10" Type="http://schemas.openxmlformats.org/officeDocument/2006/relationships/hyperlink" Target="https://twitter.com/skimgroup?__hstc=167070049.2779d317215ee98225febbbca3f21529.1491763688814.1491763688814.1491763688814.1&amp;__hssc=167070049.1.1491763688814&amp;__hsfp=40310509" TargetMode="External"/><Relationship Id="rId4" Type="http://schemas.openxmlformats.org/officeDocument/2006/relationships/hyperlink" Target="mailto:e.legouic@skimgroup.com" TargetMode="External"/><Relationship Id="rId9" Type="http://schemas.openxmlformats.org/officeDocument/2006/relationships/image" Target="../media/image14.png"/><Relationship Id="rId14" Type="http://schemas.openxmlformats.org/officeDocument/2006/relationships/hyperlink" Target="https://www.instagram.com/skimgroup/?__hstc=167070049.2779d317215ee98225febbbca3f21529.1491763688814.1491763688814.1491763688814.1&amp;__hssc=167070049.1.1491763688814&amp;__hsfp=40310509" TargetMode="External"/></Relationships>
</file>

<file path=ppt/slides/_rels/slide5.xml.rels><?xml version="1.0" encoding="UTF-8" standalone="yes"?>
<Relationships xmlns="http://schemas.openxmlformats.org/package/2006/relationships"><Relationship Id="rId3" Type="http://schemas.openxmlformats.org/officeDocument/2006/relationships/image" Target="../media/image37.emf"/><Relationship Id="rId2" Type="http://schemas.openxmlformats.org/officeDocument/2006/relationships/image" Target="../media/image47.png"/><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8.xml.rels><?xml version="1.0" encoding="UTF-8" standalone="yes"?>
<Relationships xmlns="http://schemas.openxmlformats.org/package/2006/relationships"><Relationship Id="rId3" Type="http://schemas.openxmlformats.org/officeDocument/2006/relationships/image" Target="../media/image37.emf"/><Relationship Id="rId2" Type="http://schemas.openxmlformats.org/officeDocument/2006/relationships/image" Target="../media/image48.jpeg"/><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38.emf"/><Relationship Id="rId2" Type="http://schemas.openxmlformats.org/officeDocument/2006/relationships/notesSlide" Target="../notesSlides/notesSlide5.xml"/><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Placeholder 9" descr="A picture containing food, cheese&#10;&#10;Description automatically generated">
            <a:extLst>
              <a:ext uri="{FF2B5EF4-FFF2-40B4-BE49-F238E27FC236}">
                <a16:creationId xmlns:a16="http://schemas.microsoft.com/office/drawing/2014/main" id="{59B2CDD9-2AF6-2E9D-D563-DCDCF6EE934F}"/>
              </a:ext>
            </a:extLst>
          </p:cNvPr>
          <p:cNvPicPr>
            <a:picLocks noGrp="1" noChangeAspect="1"/>
          </p:cNvPicPr>
          <p:nvPr>
            <p:ph type="pic" sz="quarter" idx="13"/>
          </p:nvPr>
        </p:nvPicPr>
        <p:blipFill>
          <a:blip r:embed="rId3" cstate="email">
            <a:extLst>
              <a:ext uri="{28A0092B-C50C-407E-A947-70E740481C1C}">
                <a14:useLocalDpi xmlns:a14="http://schemas.microsoft.com/office/drawing/2010/main"/>
              </a:ext>
            </a:extLst>
          </a:blip>
          <a:srcRect/>
          <a:stretch>
            <a:fillRect/>
          </a:stretch>
        </p:blipFill>
        <p:spPr bwMode="auto">
          <a:prstGeom prst="rect">
            <a:avLst/>
          </a:prstGeom>
          <a:noFill/>
          <a:extLst>
            <a:ext uri="{909E8E84-426E-40DD-AFC4-6F175D3DCCD1}">
              <a14:hiddenFill xmlns:a14="http://schemas.microsoft.com/office/drawing/2010/main">
                <a:solidFill>
                  <a:srgbClr val="FFFFFF"/>
                </a:solidFill>
              </a14:hiddenFill>
            </a:ext>
          </a:extLst>
        </p:spPr>
      </p:pic>
      <p:sp>
        <p:nvSpPr>
          <p:cNvPr id="6" name="Subtitle 5">
            <a:extLst>
              <a:ext uri="{FF2B5EF4-FFF2-40B4-BE49-F238E27FC236}">
                <a16:creationId xmlns:a16="http://schemas.microsoft.com/office/drawing/2014/main" id="{8FB30E78-9308-4BE3-BEB5-CB54808DCF10}"/>
              </a:ext>
            </a:extLst>
          </p:cNvPr>
          <p:cNvSpPr>
            <a:spLocks noGrp="1"/>
          </p:cNvSpPr>
          <p:nvPr>
            <p:ph type="subTitle" idx="1"/>
          </p:nvPr>
        </p:nvSpPr>
        <p:spPr/>
        <p:txBody>
          <a:bodyPr/>
          <a:lstStyle/>
          <a:p>
            <a:r>
              <a:rPr lang="en-US">
                <a:latin typeface="+mj-lt"/>
              </a:rPr>
              <a:t>SKIM Proposal</a:t>
            </a:r>
          </a:p>
        </p:txBody>
      </p:sp>
      <p:sp>
        <p:nvSpPr>
          <p:cNvPr id="5" name="Text Placeholder 4">
            <a:extLst>
              <a:ext uri="{FF2B5EF4-FFF2-40B4-BE49-F238E27FC236}">
                <a16:creationId xmlns:a16="http://schemas.microsoft.com/office/drawing/2014/main" id="{846AB01A-95CB-4531-8DAA-E4624C78F842}"/>
              </a:ext>
            </a:extLst>
          </p:cNvPr>
          <p:cNvSpPr>
            <a:spLocks noGrp="1"/>
          </p:cNvSpPr>
          <p:nvPr>
            <p:ph type="body" sz="quarter" idx="16"/>
          </p:nvPr>
        </p:nvSpPr>
        <p:spPr/>
        <p:txBody>
          <a:bodyPr/>
          <a:lstStyle/>
          <a:p>
            <a:r>
              <a:rPr lang="en-US">
                <a:latin typeface="+mj-lt"/>
              </a:rPr>
              <a:t>June 2023   |   F9097</a:t>
            </a:r>
          </a:p>
        </p:txBody>
      </p:sp>
      <p:pic>
        <p:nvPicPr>
          <p:cNvPr id="11" name="doLogoLarge" descr="Logo&#10;&#10;Description automatically generated">
            <a:extLst>
              <a:ext uri="{FF2B5EF4-FFF2-40B4-BE49-F238E27FC236}">
                <a16:creationId xmlns:a16="http://schemas.microsoft.com/office/drawing/2014/main" id="{B81D113E-75A6-4639-BF61-9C2D4059FCB7}"/>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9506775" y="5032103"/>
            <a:ext cx="2268245" cy="1420488"/>
          </a:xfrm>
          <a:prstGeom prst="rect">
            <a:avLst/>
          </a:prstGeom>
        </p:spPr>
      </p:pic>
      <p:pic>
        <p:nvPicPr>
          <p:cNvPr id="1026" name="Picture 2" descr="Alpro logo transparent PNG - StickPNG">
            <a:extLst>
              <a:ext uri="{FF2B5EF4-FFF2-40B4-BE49-F238E27FC236}">
                <a16:creationId xmlns:a16="http://schemas.microsoft.com/office/drawing/2014/main" id="{6D4B3B6E-BF1D-AA08-896E-D90BF5194EEA}"/>
              </a:ext>
            </a:extLst>
          </p:cNvPr>
          <p:cNvPicPr>
            <a:picLocks noGrp="1" noChangeAspect="1" noChangeArrowheads="1"/>
          </p:cNvPicPr>
          <p:nvPr>
            <p:ph sz="quarter" idx="14"/>
          </p:nvPr>
        </p:nvPicPr>
        <p:blipFill rotWithShape="1">
          <a:blip r:embed="rId5" cstate="email">
            <a:extLst>
              <a:ext uri="{28A0092B-C50C-407E-A947-70E740481C1C}">
                <a14:useLocalDpi xmlns:a14="http://schemas.microsoft.com/office/drawing/2010/main"/>
              </a:ext>
            </a:extLst>
          </a:blip>
          <a:srcRect l="49" t="9654" r="-49" b="5156"/>
          <a:stretch/>
        </p:blipFill>
        <p:spPr bwMode="auto">
          <a:xfrm>
            <a:off x="504000" y="503238"/>
            <a:ext cx="1542914" cy="1314398"/>
          </a:xfrm>
          <a:prstGeom prst="rect">
            <a:avLst/>
          </a:prstGeom>
          <a:noFill/>
          <a:extLst>
            <a:ext uri="{909E8E84-426E-40DD-AFC4-6F175D3DCCD1}">
              <a14:hiddenFill xmlns:a14="http://schemas.microsoft.com/office/drawing/2010/main">
                <a:solidFill>
                  <a:srgbClr val="FFFFFF"/>
                </a:solidFill>
              </a14:hiddenFill>
            </a:ext>
          </a:extLst>
        </p:spPr>
      </p:pic>
      <p:sp>
        <p:nvSpPr>
          <p:cNvPr id="18" name="doOverlay">
            <a:extLst>
              <a:ext uri="{FF2B5EF4-FFF2-40B4-BE49-F238E27FC236}">
                <a16:creationId xmlns:a16="http://schemas.microsoft.com/office/drawing/2014/main" id="{02327031-8F44-494F-9874-E61C7D8A7547}"/>
              </a:ext>
            </a:extLst>
          </p:cNvPr>
          <p:cNvSpPr/>
          <p:nvPr/>
        </p:nvSpPr>
        <p:spPr>
          <a:xfrm>
            <a:off x="6092686" y="0"/>
            <a:ext cx="6094411" cy="6865200"/>
          </a:xfrm>
          <a:prstGeom prst="rect">
            <a:avLst/>
          </a:prstGeom>
          <a:solidFill>
            <a:schemeClr val="accent1">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72000" rIns="108000" bIns="108000" rtlCol="0" anchor="t" anchorCtr="0">
            <a:noAutofit/>
          </a:bodyPr>
          <a:lstStyle/>
          <a:p>
            <a:pPr indent="0" algn="l">
              <a:lnSpc>
                <a:spcPct val="120000"/>
              </a:lnSpc>
            </a:pPr>
            <a:endParaRPr lang="en-US" sz="1400">
              <a:solidFill>
                <a:schemeClr val="bg2"/>
              </a:solidFill>
              <a:latin typeface="Segoe UI Semilight" panose="020B0402040204020203" pitchFamily="34" charset="0"/>
            </a:endParaRPr>
          </a:p>
        </p:txBody>
      </p:sp>
      <p:sp>
        <p:nvSpPr>
          <p:cNvPr id="14" name="Text Placeholder 3">
            <a:extLst>
              <a:ext uri="{FF2B5EF4-FFF2-40B4-BE49-F238E27FC236}">
                <a16:creationId xmlns:a16="http://schemas.microsoft.com/office/drawing/2014/main" id="{425C3EB4-1BEE-FFE0-125E-9DFA8B68BE24}"/>
              </a:ext>
            </a:extLst>
          </p:cNvPr>
          <p:cNvSpPr>
            <a:spLocks noGrp="1"/>
          </p:cNvSpPr>
          <p:nvPr>
            <p:ph type="body" sz="quarter" idx="15"/>
          </p:nvPr>
        </p:nvSpPr>
        <p:spPr>
          <a:xfrm>
            <a:off x="503238" y="5868000"/>
            <a:ext cx="5075237" cy="259200"/>
          </a:xfrm>
        </p:spPr>
        <p:txBody>
          <a:bodyPr/>
          <a:lstStyle/>
          <a:p>
            <a:r>
              <a:rPr lang="en-US">
                <a:latin typeface="+mj-lt"/>
              </a:rPr>
              <a:t>Prepared for Alyssa Martin and team</a:t>
            </a:r>
          </a:p>
        </p:txBody>
      </p:sp>
      <p:sp>
        <p:nvSpPr>
          <p:cNvPr id="15" name="Title 6">
            <a:extLst>
              <a:ext uri="{FF2B5EF4-FFF2-40B4-BE49-F238E27FC236}">
                <a16:creationId xmlns:a16="http://schemas.microsoft.com/office/drawing/2014/main" id="{6CA89E21-B9EF-FE5D-7573-8C7378D151A9}"/>
              </a:ext>
            </a:extLst>
          </p:cNvPr>
          <p:cNvSpPr>
            <a:spLocks noGrp="1"/>
          </p:cNvSpPr>
          <p:nvPr>
            <p:ph type="ctrTitle"/>
          </p:nvPr>
        </p:nvSpPr>
        <p:spPr>
          <a:xfrm>
            <a:off x="509664" y="2374446"/>
            <a:ext cx="5076000" cy="1022400"/>
          </a:xfrm>
        </p:spPr>
        <p:txBody>
          <a:bodyPr/>
          <a:lstStyle/>
          <a:p>
            <a:r>
              <a:rPr lang="en-US" sz="2800">
                <a:latin typeface="+mj-lt"/>
              </a:rPr>
              <a:t>Alpro Sustainability Claims</a:t>
            </a:r>
          </a:p>
        </p:txBody>
      </p:sp>
      <p:sp>
        <p:nvSpPr>
          <p:cNvPr id="2" name="Rectangle 1">
            <a:extLst>
              <a:ext uri="{FF2B5EF4-FFF2-40B4-BE49-F238E27FC236}">
                <a16:creationId xmlns:a16="http://schemas.microsoft.com/office/drawing/2014/main" id="{B70EA5BA-7C6A-24A8-BF10-0CD8F9CF14C2}"/>
              </a:ext>
            </a:extLst>
          </p:cNvPr>
          <p:cNvSpPr/>
          <p:nvPr/>
        </p:nvSpPr>
        <p:spPr>
          <a:xfrm>
            <a:off x="5388" y="6457333"/>
            <a:ext cx="6082395" cy="406800"/>
          </a:xfrm>
          <a:prstGeom prst="rect">
            <a:avLst/>
          </a:prstGeom>
          <a:solidFill>
            <a:srgbClr val="E6EFF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82880" tIns="45720" rIns="182880" bIns="45720" rtlCol="0" anchor="ctr" anchorCtr="0">
            <a:noAutofit/>
          </a:bodyPr>
          <a:lstStyle/>
          <a:p>
            <a:pPr indent="0" algn="l">
              <a:lnSpc>
                <a:spcPct val="120000"/>
              </a:lnSpc>
            </a:pPr>
            <a:r>
              <a:rPr lang="en-US" sz="900">
                <a:solidFill>
                  <a:schemeClr val="bg2"/>
                </a:solidFill>
              </a:rPr>
              <a:t>For this proposal, the conditions apply that are defined in the Master Service Agreement between DANTRADE B.V. and SKIM group B.V.</a:t>
            </a:r>
          </a:p>
        </p:txBody>
      </p:sp>
    </p:spTree>
    <p:extLst>
      <p:ext uri="{BB962C8B-B14F-4D97-AF65-F5344CB8AC3E}">
        <p14:creationId xmlns:p14="http://schemas.microsoft.com/office/powerpoint/2010/main" val="349478037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 name="Rectangle 54">
            <a:extLst>
              <a:ext uri="{FF2B5EF4-FFF2-40B4-BE49-F238E27FC236}">
                <a16:creationId xmlns:a16="http://schemas.microsoft.com/office/drawing/2014/main" id="{2EBE6FB0-39BF-4792-934E-EE590CC1013C}"/>
              </a:ext>
            </a:extLst>
          </p:cNvPr>
          <p:cNvSpPr/>
          <p:nvPr/>
        </p:nvSpPr>
        <p:spPr>
          <a:xfrm>
            <a:off x="3600284" y="0"/>
            <a:ext cx="8591715"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72000" rIns="108000" bIns="108000" rtlCol="0" anchor="t" anchorCtr="0">
            <a:noAutofit/>
          </a:bodyPr>
          <a:lstStyle/>
          <a:p>
            <a:pPr indent="0" algn="l">
              <a:lnSpc>
                <a:spcPct val="120000"/>
              </a:lnSpc>
            </a:pPr>
            <a:endParaRPr lang="en-US" sz="1400" err="1">
              <a:solidFill>
                <a:schemeClr val="bg2"/>
              </a:solidFill>
            </a:endParaRPr>
          </a:p>
        </p:txBody>
      </p:sp>
      <p:pic>
        <p:nvPicPr>
          <p:cNvPr id="31" name="Picture 30">
            <a:extLst>
              <a:ext uri="{FF2B5EF4-FFF2-40B4-BE49-F238E27FC236}">
                <a16:creationId xmlns:a16="http://schemas.microsoft.com/office/drawing/2014/main" id="{2596A21F-A516-496C-B5AC-FC2237F4AB3C}"/>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t="7815" r="9725" b="7447"/>
          <a:stretch/>
        </p:blipFill>
        <p:spPr>
          <a:xfrm flipH="1">
            <a:off x="0" y="4180896"/>
            <a:ext cx="1396520" cy="1616116"/>
          </a:xfrm>
          <a:prstGeom prst="rect">
            <a:avLst/>
          </a:prstGeom>
        </p:spPr>
      </p:pic>
      <p:sp>
        <p:nvSpPr>
          <p:cNvPr id="32" name="TextBox 31">
            <a:extLst>
              <a:ext uri="{FF2B5EF4-FFF2-40B4-BE49-F238E27FC236}">
                <a16:creationId xmlns:a16="http://schemas.microsoft.com/office/drawing/2014/main" id="{22BBD290-B545-4BBA-8160-C3B3E8853908}"/>
              </a:ext>
            </a:extLst>
          </p:cNvPr>
          <p:cNvSpPr txBox="1"/>
          <p:nvPr/>
        </p:nvSpPr>
        <p:spPr>
          <a:xfrm>
            <a:off x="4026709" y="2048087"/>
            <a:ext cx="3406930" cy="2146742"/>
          </a:xfrm>
          <a:prstGeom prst="rect">
            <a:avLst/>
          </a:prstGeom>
          <a:noFill/>
          <a:ln>
            <a:noFill/>
          </a:ln>
        </p:spPr>
        <p:txBody>
          <a:bodyPr wrap="square" lIns="108000" bIns="0">
            <a:spAutoFit/>
          </a:bodyPr>
          <a:lstStyle/>
          <a:p>
            <a:pPr marL="0" lvl="1" indent="0" defTabSz="685800">
              <a:lnSpc>
                <a:spcPct val="100000"/>
              </a:lnSpc>
              <a:spcAft>
                <a:spcPts val="0"/>
              </a:spcAft>
              <a:buClrTx/>
              <a:buFontTx/>
              <a:buNone/>
              <a:defRPr/>
            </a:pPr>
            <a:r>
              <a:rPr lang="en-US" sz="1050" b="1">
                <a:solidFill>
                  <a:srgbClr val="FFBC42"/>
                </a:solidFill>
                <a:latin typeface="Rawline" panose="00000500000000000000" pitchFamily="2" charset="0"/>
              </a:rPr>
              <a:t>1. Be specific - </a:t>
            </a:r>
            <a:r>
              <a:rPr lang="en-US" sz="1050">
                <a:solidFill>
                  <a:prstClr val="white"/>
                </a:solidFill>
                <a:latin typeface="Rawline" panose="00000500000000000000" pitchFamily="2" charset="0"/>
              </a:rPr>
              <a:t>Being specific in describing what benefits are being offered helps create a vivid picture of the brand promise in the consumer’s mind. This decreases psychological distance and creates a concrete mental representation about the product and its benefits.</a:t>
            </a:r>
          </a:p>
          <a:p>
            <a:pPr marL="0" lvl="1" indent="0" defTabSz="685800">
              <a:lnSpc>
                <a:spcPct val="100000"/>
              </a:lnSpc>
              <a:spcAft>
                <a:spcPts val="0"/>
              </a:spcAft>
              <a:buClrTx/>
              <a:buFontTx/>
              <a:buNone/>
              <a:defRPr/>
            </a:pPr>
            <a:endParaRPr lang="en-US" sz="1050">
              <a:solidFill>
                <a:srgbClr val="FFBC42"/>
              </a:solidFill>
              <a:latin typeface="Rawline" panose="00000500000000000000" pitchFamily="2" charset="0"/>
            </a:endParaRPr>
          </a:p>
          <a:p>
            <a:pPr indent="0" defTabSz="685800">
              <a:lnSpc>
                <a:spcPct val="100000"/>
              </a:lnSpc>
              <a:defRPr/>
            </a:pPr>
            <a:r>
              <a:rPr lang="en-US" sz="1050" b="1">
                <a:solidFill>
                  <a:srgbClr val="FFBC42"/>
                </a:solidFill>
                <a:latin typeface="Rawline" panose="00000500000000000000" pitchFamily="2" charset="0"/>
              </a:rPr>
              <a:t>2. Use simple language  - </a:t>
            </a:r>
            <a:r>
              <a:rPr lang="en-US" sz="1050">
                <a:solidFill>
                  <a:prstClr val="white"/>
                </a:solidFill>
                <a:latin typeface="Rawline" panose="00000500000000000000" pitchFamily="2" charset="0"/>
              </a:rPr>
              <a:t>Avoid jargon and complex or ambiguous language to ensure consumers understand what is being said. Without comprehension, there is no meaning and without meaning the probability to successfully project a tangible brand promise is limited.</a:t>
            </a:r>
          </a:p>
        </p:txBody>
      </p:sp>
      <p:pic>
        <p:nvPicPr>
          <p:cNvPr id="34" name="Picture 33" descr="A picture containing vector graphics, toy&#10;&#10;Description automatically generated">
            <a:extLst>
              <a:ext uri="{FF2B5EF4-FFF2-40B4-BE49-F238E27FC236}">
                <a16:creationId xmlns:a16="http://schemas.microsoft.com/office/drawing/2014/main" id="{6DB47077-291F-4775-B164-EA75619F3C74}"/>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11522" t="5530" r="2999" b="9137"/>
          <a:stretch/>
        </p:blipFill>
        <p:spPr>
          <a:xfrm>
            <a:off x="160729" y="319347"/>
            <a:ext cx="1403911" cy="1727891"/>
          </a:xfrm>
          <a:prstGeom prst="rect">
            <a:avLst/>
          </a:prstGeom>
        </p:spPr>
      </p:pic>
      <p:pic>
        <p:nvPicPr>
          <p:cNvPr id="35" name="Picture 34" descr="A close up of a logo&#10;&#10;Description automatically generated">
            <a:extLst>
              <a:ext uri="{FF2B5EF4-FFF2-40B4-BE49-F238E27FC236}">
                <a16:creationId xmlns:a16="http://schemas.microsoft.com/office/drawing/2014/main" id="{439985EC-6F32-4C83-8E06-4A2FD11CF3C9}"/>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flipH="1">
            <a:off x="1938552" y="2209624"/>
            <a:ext cx="1529233" cy="1885355"/>
          </a:xfrm>
          <a:prstGeom prst="rect">
            <a:avLst/>
          </a:prstGeom>
        </p:spPr>
      </p:pic>
      <p:sp>
        <p:nvSpPr>
          <p:cNvPr id="36" name="TextBox 35">
            <a:extLst>
              <a:ext uri="{FF2B5EF4-FFF2-40B4-BE49-F238E27FC236}">
                <a16:creationId xmlns:a16="http://schemas.microsoft.com/office/drawing/2014/main" id="{877C69B4-09A7-4B45-9020-E2B701F5F1A8}"/>
              </a:ext>
            </a:extLst>
          </p:cNvPr>
          <p:cNvSpPr txBox="1"/>
          <p:nvPr/>
        </p:nvSpPr>
        <p:spPr>
          <a:xfrm>
            <a:off x="1212841" y="970885"/>
            <a:ext cx="1921103" cy="1107996"/>
          </a:xfrm>
          <a:prstGeom prst="rect">
            <a:avLst/>
          </a:prstGeom>
          <a:noFill/>
        </p:spPr>
        <p:txBody>
          <a:bodyPr wrap="square" lIns="45720" tIns="45720" rIns="45720" bIns="45720" rtlCol="0">
            <a:spAutoFit/>
          </a:bodyPr>
          <a:lstStyle/>
          <a:p>
            <a:pPr indent="0" defTabSz="685800">
              <a:lnSpc>
                <a:spcPct val="100000"/>
              </a:lnSpc>
              <a:defRPr/>
            </a:pPr>
            <a:r>
              <a:rPr lang="en-US" sz="1100" b="1">
                <a:solidFill>
                  <a:srgbClr val="FFBC42"/>
                </a:solidFill>
                <a:latin typeface="Rawline" panose="00000500000000000000" pitchFamily="2" charset="0"/>
                <a:cs typeface="MV Boli" panose="02000500030200090000" pitchFamily="2" charset="0"/>
              </a:rPr>
              <a:t>Consumers</a:t>
            </a:r>
          </a:p>
          <a:p>
            <a:pPr indent="0" defTabSz="685800">
              <a:lnSpc>
                <a:spcPct val="100000"/>
              </a:lnSpc>
              <a:defRPr/>
            </a:pPr>
            <a:r>
              <a:rPr lang="en-US" sz="1100">
                <a:solidFill>
                  <a:srgbClr val="1C6D7D"/>
                </a:solidFill>
                <a:latin typeface="Rawline" panose="00000500000000000000" pitchFamily="2" charset="0"/>
                <a:cs typeface="MV Boli" panose="02000500030200090000" pitchFamily="2" charset="0"/>
              </a:rPr>
              <a:t>When deciding what brand to choose, people often form a </a:t>
            </a:r>
            <a:r>
              <a:rPr lang="en-US" sz="1100" b="1">
                <a:solidFill>
                  <a:srgbClr val="1C6D7D"/>
                </a:solidFill>
                <a:latin typeface="Rawline" panose="00000500000000000000" pitchFamily="2" charset="0"/>
                <a:cs typeface="MV Boli" panose="02000500030200090000" pitchFamily="2" charset="0"/>
              </a:rPr>
              <a:t>mental image </a:t>
            </a:r>
            <a:r>
              <a:rPr lang="en-US" sz="1100">
                <a:solidFill>
                  <a:srgbClr val="1C6D7D"/>
                </a:solidFill>
                <a:latin typeface="Rawline" panose="00000500000000000000" pitchFamily="2" charset="0"/>
                <a:cs typeface="MV Boli" panose="02000500030200090000" pitchFamily="2" charset="0"/>
              </a:rPr>
              <a:t>of the </a:t>
            </a:r>
            <a:r>
              <a:rPr lang="en-US" sz="1100" b="1">
                <a:solidFill>
                  <a:srgbClr val="1C6D7D"/>
                </a:solidFill>
                <a:latin typeface="Rawline" panose="00000500000000000000" pitchFamily="2" charset="0"/>
                <a:cs typeface="MV Boli" panose="02000500030200090000" pitchFamily="2" charset="0"/>
              </a:rPr>
              <a:t>product</a:t>
            </a:r>
            <a:r>
              <a:rPr lang="en-US" sz="1100">
                <a:solidFill>
                  <a:srgbClr val="1C6D7D"/>
                </a:solidFill>
                <a:latin typeface="Rawline" panose="00000500000000000000" pitchFamily="2" charset="0"/>
                <a:cs typeface="MV Boli" panose="02000500030200090000" pitchFamily="2" charset="0"/>
              </a:rPr>
              <a:t> </a:t>
            </a:r>
            <a:r>
              <a:rPr lang="en-US" sz="1100" b="1">
                <a:solidFill>
                  <a:srgbClr val="1C6D7D"/>
                </a:solidFill>
                <a:latin typeface="Rawline" panose="00000500000000000000" pitchFamily="2" charset="0"/>
                <a:cs typeface="MV Boli" panose="02000500030200090000" pitchFamily="2" charset="0"/>
              </a:rPr>
              <a:t>experience</a:t>
            </a:r>
            <a:r>
              <a:rPr lang="en-US" sz="1100">
                <a:solidFill>
                  <a:srgbClr val="1C6D7D"/>
                </a:solidFill>
                <a:latin typeface="Rawline" panose="00000500000000000000" pitchFamily="2" charset="0"/>
                <a:cs typeface="MV Boli" panose="02000500030200090000" pitchFamily="2" charset="0"/>
              </a:rPr>
              <a:t> and emotional state they desire</a:t>
            </a:r>
          </a:p>
        </p:txBody>
      </p:sp>
      <p:sp>
        <p:nvSpPr>
          <p:cNvPr id="37" name="TextBox 36">
            <a:extLst>
              <a:ext uri="{FF2B5EF4-FFF2-40B4-BE49-F238E27FC236}">
                <a16:creationId xmlns:a16="http://schemas.microsoft.com/office/drawing/2014/main" id="{96B0A7EC-D8A7-4E31-BDE8-8B1A681A391D}"/>
              </a:ext>
            </a:extLst>
          </p:cNvPr>
          <p:cNvSpPr txBox="1"/>
          <p:nvPr/>
        </p:nvSpPr>
        <p:spPr>
          <a:xfrm>
            <a:off x="177199" y="2814042"/>
            <a:ext cx="2357657" cy="1107996"/>
          </a:xfrm>
          <a:prstGeom prst="rect">
            <a:avLst/>
          </a:prstGeom>
          <a:noFill/>
        </p:spPr>
        <p:txBody>
          <a:bodyPr wrap="square" lIns="45720" tIns="45720" rIns="45720" bIns="45720" rtlCol="0">
            <a:spAutoFit/>
          </a:bodyPr>
          <a:lstStyle/>
          <a:p>
            <a:pPr indent="0" defTabSz="685800">
              <a:lnSpc>
                <a:spcPct val="100000"/>
              </a:lnSpc>
              <a:defRPr/>
            </a:pPr>
            <a:r>
              <a:rPr lang="en-US" sz="1100" b="1">
                <a:solidFill>
                  <a:srgbClr val="FFBC42"/>
                </a:solidFill>
                <a:latin typeface="Rawline" panose="00000500000000000000" pitchFamily="2" charset="0"/>
                <a:cs typeface="MV Boli" panose="02000500030200090000" pitchFamily="2" charset="0"/>
              </a:rPr>
              <a:t>Brands</a:t>
            </a:r>
            <a:endParaRPr lang="en-US" sz="1100">
              <a:solidFill>
                <a:srgbClr val="FFBC42"/>
              </a:solidFill>
              <a:latin typeface="Rawline" panose="00000500000000000000" pitchFamily="2" charset="0"/>
              <a:cs typeface="MV Boli" panose="02000500030200090000" pitchFamily="2" charset="0"/>
            </a:endParaRPr>
          </a:p>
          <a:p>
            <a:pPr indent="0" defTabSz="685800">
              <a:lnSpc>
                <a:spcPct val="100000"/>
              </a:lnSpc>
              <a:defRPr/>
            </a:pPr>
            <a:r>
              <a:rPr lang="en-US" sz="1100">
                <a:solidFill>
                  <a:srgbClr val="1C6D7D"/>
                </a:solidFill>
                <a:latin typeface="Rawline" panose="00000500000000000000" pitchFamily="2" charset="0"/>
                <a:cs typeface="MV Boli" panose="02000500030200090000" pitchFamily="2" charset="0"/>
              </a:rPr>
              <a:t>To trigger consumers to choose your brand over competition, it should project a promise through its words that </a:t>
            </a:r>
            <a:r>
              <a:rPr lang="en-US" sz="1100" b="1">
                <a:solidFill>
                  <a:srgbClr val="1C6D7D"/>
                </a:solidFill>
                <a:latin typeface="Rawline" panose="00000500000000000000" pitchFamily="2" charset="0"/>
                <a:cs typeface="MV Boli" panose="02000500030200090000" pitchFamily="2" charset="0"/>
              </a:rPr>
              <a:t>matches</a:t>
            </a:r>
            <a:r>
              <a:rPr lang="en-US" sz="1100">
                <a:solidFill>
                  <a:srgbClr val="1C6D7D"/>
                </a:solidFill>
                <a:latin typeface="Rawline" panose="00000500000000000000" pitchFamily="2" charset="0"/>
                <a:cs typeface="MV Boli" panose="02000500030200090000" pitchFamily="2" charset="0"/>
              </a:rPr>
              <a:t> the mental image consumers have in mind</a:t>
            </a:r>
          </a:p>
        </p:txBody>
      </p:sp>
      <p:sp>
        <p:nvSpPr>
          <p:cNvPr id="38" name="TextBox 37">
            <a:extLst>
              <a:ext uri="{FF2B5EF4-FFF2-40B4-BE49-F238E27FC236}">
                <a16:creationId xmlns:a16="http://schemas.microsoft.com/office/drawing/2014/main" id="{4BB2AF07-C10B-4CDF-BFAD-5A1599094E9B}"/>
              </a:ext>
            </a:extLst>
          </p:cNvPr>
          <p:cNvSpPr txBox="1"/>
          <p:nvPr/>
        </p:nvSpPr>
        <p:spPr>
          <a:xfrm>
            <a:off x="1328801" y="4350462"/>
            <a:ext cx="2200980" cy="1446550"/>
          </a:xfrm>
          <a:prstGeom prst="rect">
            <a:avLst/>
          </a:prstGeom>
          <a:noFill/>
        </p:spPr>
        <p:txBody>
          <a:bodyPr wrap="square" lIns="45720" tIns="45720" rIns="45720" bIns="45720" rtlCol="0">
            <a:spAutoFit/>
          </a:bodyPr>
          <a:lstStyle/>
          <a:p>
            <a:pPr indent="0" defTabSz="685800">
              <a:lnSpc>
                <a:spcPct val="100000"/>
              </a:lnSpc>
              <a:defRPr/>
            </a:pPr>
            <a:r>
              <a:rPr lang="en-US" sz="1100" b="1">
                <a:solidFill>
                  <a:srgbClr val="FFBC42"/>
                </a:solidFill>
                <a:latin typeface="Rawline" panose="00000500000000000000" pitchFamily="2" charset="0"/>
                <a:cs typeface="MV Boli" panose="02000500030200090000" pitchFamily="2" charset="0"/>
              </a:rPr>
              <a:t>Match       Connect       </a:t>
            </a:r>
            <a:br>
              <a:rPr lang="en-US" sz="1100" b="1">
                <a:solidFill>
                  <a:srgbClr val="FFBC42"/>
                </a:solidFill>
                <a:latin typeface="Rawline" panose="00000500000000000000" pitchFamily="2" charset="0"/>
                <a:cs typeface="MV Boli" panose="02000500030200090000" pitchFamily="2" charset="0"/>
              </a:rPr>
            </a:br>
            <a:r>
              <a:rPr lang="en-US" sz="1100" b="1">
                <a:solidFill>
                  <a:srgbClr val="FFBC42"/>
                </a:solidFill>
                <a:latin typeface="Rawline" panose="00000500000000000000" pitchFamily="2" charset="0"/>
                <a:cs typeface="MV Boli" panose="02000500030200090000" pitchFamily="2" charset="0"/>
              </a:rPr>
              <a:t>     Trigger Action</a:t>
            </a:r>
            <a:endParaRPr lang="en-US" sz="1100">
              <a:solidFill>
                <a:srgbClr val="FFBC42"/>
              </a:solidFill>
              <a:latin typeface="Rawline" panose="00000500000000000000" pitchFamily="2" charset="0"/>
              <a:cs typeface="MV Boli" panose="02000500030200090000" pitchFamily="2" charset="0"/>
            </a:endParaRPr>
          </a:p>
          <a:p>
            <a:pPr indent="0" defTabSz="685800">
              <a:lnSpc>
                <a:spcPct val="100000"/>
              </a:lnSpc>
              <a:defRPr/>
            </a:pPr>
            <a:r>
              <a:rPr lang="en-US" sz="1100" b="1">
                <a:solidFill>
                  <a:srgbClr val="1C6D7D"/>
                </a:solidFill>
                <a:latin typeface="Rawline" panose="00000500000000000000" pitchFamily="2" charset="0"/>
                <a:cs typeface="MV Boli" panose="02000500030200090000" pitchFamily="2" charset="0"/>
              </a:rPr>
              <a:t>Reducing</a:t>
            </a:r>
            <a:r>
              <a:rPr lang="en-US" sz="1100">
                <a:solidFill>
                  <a:srgbClr val="1C6D7D"/>
                </a:solidFill>
                <a:latin typeface="Rawline" panose="00000500000000000000" pitchFamily="2" charset="0"/>
                <a:cs typeface="MV Boli" panose="02000500030200090000" pitchFamily="2" charset="0"/>
              </a:rPr>
              <a:t> psychological distance helps </a:t>
            </a:r>
            <a:r>
              <a:rPr lang="en-US" sz="1100" b="1">
                <a:solidFill>
                  <a:srgbClr val="1C6D7D"/>
                </a:solidFill>
                <a:latin typeface="Rawline" panose="00000500000000000000" pitchFamily="2" charset="0"/>
                <a:cs typeface="MV Boli" panose="02000500030200090000" pitchFamily="2" charset="0"/>
              </a:rPr>
              <a:t>close the gap </a:t>
            </a:r>
            <a:r>
              <a:rPr lang="en-US" sz="1100">
                <a:solidFill>
                  <a:srgbClr val="1C6D7D"/>
                </a:solidFill>
                <a:latin typeface="Rawline" panose="00000500000000000000" pitchFamily="2" charset="0"/>
                <a:cs typeface="MV Boli" panose="02000500030200090000" pitchFamily="2" charset="0"/>
              </a:rPr>
              <a:t>between what the brand offers (projected product experience) and what the consumer wants (desired product experience). </a:t>
            </a:r>
          </a:p>
        </p:txBody>
      </p:sp>
      <p:sp>
        <p:nvSpPr>
          <p:cNvPr id="39" name="Arrow: Right 38">
            <a:extLst>
              <a:ext uri="{FF2B5EF4-FFF2-40B4-BE49-F238E27FC236}">
                <a16:creationId xmlns:a16="http://schemas.microsoft.com/office/drawing/2014/main" id="{3FB9F663-730D-4DBF-92CF-6FFE1AD5DFA2}"/>
              </a:ext>
            </a:extLst>
          </p:cNvPr>
          <p:cNvSpPr/>
          <p:nvPr/>
        </p:nvSpPr>
        <p:spPr>
          <a:xfrm>
            <a:off x="1862860" y="4429197"/>
            <a:ext cx="113174" cy="114717"/>
          </a:xfrm>
          <a:prstGeom prst="rightArrow">
            <a:avLst/>
          </a:prstGeom>
          <a:solidFill>
            <a:srgbClr val="FFBC42"/>
          </a:solidFill>
          <a:ln w="1905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black"/>
              </a:solidFill>
              <a:effectLst/>
              <a:uLnTx/>
              <a:uFillTx/>
              <a:latin typeface="Arial"/>
              <a:ea typeface="+mn-ea"/>
              <a:cs typeface="MV Boli" panose="02000500030200090000" pitchFamily="2" charset="0"/>
            </a:endParaRPr>
          </a:p>
        </p:txBody>
      </p:sp>
      <p:sp>
        <p:nvSpPr>
          <p:cNvPr id="40" name="Arrow: Right 39">
            <a:extLst>
              <a:ext uri="{FF2B5EF4-FFF2-40B4-BE49-F238E27FC236}">
                <a16:creationId xmlns:a16="http://schemas.microsoft.com/office/drawing/2014/main" id="{430B3397-4815-4BBE-B379-26096CCD4936}"/>
              </a:ext>
            </a:extLst>
          </p:cNvPr>
          <p:cNvSpPr/>
          <p:nvPr/>
        </p:nvSpPr>
        <p:spPr>
          <a:xfrm>
            <a:off x="1374771" y="4592906"/>
            <a:ext cx="113174" cy="114717"/>
          </a:xfrm>
          <a:prstGeom prst="rightArrow">
            <a:avLst/>
          </a:prstGeom>
          <a:solidFill>
            <a:srgbClr val="FFBC42"/>
          </a:solidFill>
          <a:ln w="1905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black"/>
              </a:solidFill>
              <a:effectLst/>
              <a:uLnTx/>
              <a:uFillTx/>
              <a:latin typeface="Arial"/>
              <a:ea typeface="+mn-ea"/>
              <a:cs typeface="MV Boli" panose="02000500030200090000" pitchFamily="2" charset="0"/>
            </a:endParaRPr>
          </a:p>
        </p:txBody>
      </p:sp>
      <p:cxnSp>
        <p:nvCxnSpPr>
          <p:cNvPr id="42" name="Straight Connector 41">
            <a:extLst>
              <a:ext uri="{FF2B5EF4-FFF2-40B4-BE49-F238E27FC236}">
                <a16:creationId xmlns:a16="http://schemas.microsoft.com/office/drawing/2014/main" id="{2BB1450C-405F-41E4-85FB-FB3C5B02BDB1}"/>
              </a:ext>
            </a:extLst>
          </p:cNvPr>
          <p:cNvCxnSpPr>
            <a:cxnSpLocks/>
          </p:cNvCxnSpPr>
          <p:nvPr/>
        </p:nvCxnSpPr>
        <p:spPr>
          <a:xfrm>
            <a:off x="4123762" y="1157513"/>
            <a:ext cx="7435838" cy="0"/>
          </a:xfrm>
          <a:prstGeom prst="line">
            <a:avLst/>
          </a:prstGeom>
          <a:noFill/>
          <a:ln w="15875" cap="flat" cmpd="sng" algn="ctr">
            <a:solidFill>
              <a:sysClr val="window" lastClr="FFFFFF"/>
            </a:solidFill>
            <a:prstDash val="solid"/>
            <a:miter lim="800000"/>
            <a:tailEnd type="none" w="lg" len="med"/>
          </a:ln>
          <a:effectLst/>
        </p:spPr>
      </p:cxnSp>
      <p:sp>
        <p:nvSpPr>
          <p:cNvPr id="43" name="TextBox 42">
            <a:extLst>
              <a:ext uri="{FF2B5EF4-FFF2-40B4-BE49-F238E27FC236}">
                <a16:creationId xmlns:a16="http://schemas.microsoft.com/office/drawing/2014/main" id="{F8B8B0D2-7AEF-45E3-A303-38876153C5E4}"/>
              </a:ext>
            </a:extLst>
          </p:cNvPr>
          <p:cNvSpPr txBox="1"/>
          <p:nvPr/>
        </p:nvSpPr>
        <p:spPr>
          <a:xfrm>
            <a:off x="111350" y="5887115"/>
            <a:ext cx="3418431" cy="769441"/>
          </a:xfrm>
          <a:prstGeom prst="rect">
            <a:avLst/>
          </a:prstGeom>
          <a:noFill/>
          <a:ln>
            <a:noFill/>
          </a:ln>
        </p:spPr>
        <p:txBody>
          <a:bodyPr wrap="square">
            <a:spAutoFit/>
          </a:bodyPr>
          <a:lstStyle/>
          <a:p>
            <a:pPr indent="0" defTabSz="685800">
              <a:lnSpc>
                <a:spcPct val="100000"/>
              </a:lnSpc>
            </a:pPr>
            <a:r>
              <a:rPr lang="en-US" sz="1100">
                <a:solidFill>
                  <a:srgbClr val="1C6D7D"/>
                </a:solidFill>
                <a:latin typeface="Rawline" panose="00000500000000000000" pitchFamily="2" charset="0"/>
                <a:cs typeface="MV Boli" panose="02000500030200090000" pitchFamily="2" charset="0"/>
              </a:rPr>
              <a:t>Strong claims contribute to lowering the distance and creating a meaningful </a:t>
            </a:r>
            <a:r>
              <a:rPr lang="en-US" sz="1100" b="1">
                <a:solidFill>
                  <a:srgbClr val="1C6D7D"/>
                </a:solidFill>
                <a:latin typeface="Rawline" panose="00000500000000000000" pitchFamily="2" charset="0"/>
                <a:cs typeface="MV Boli" panose="02000500030200090000" pitchFamily="2" charset="0"/>
              </a:rPr>
              <a:t>connection</a:t>
            </a:r>
            <a:r>
              <a:rPr lang="en-US" sz="1100">
                <a:solidFill>
                  <a:srgbClr val="1C6D7D"/>
                </a:solidFill>
                <a:latin typeface="Rawline" panose="00000500000000000000" pitchFamily="2" charset="0"/>
                <a:cs typeface="MV Boli" panose="02000500030200090000" pitchFamily="2" charset="0"/>
              </a:rPr>
              <a:t> between brand and consumer that </a:t>
            </a:r>
            <a:r>
              <a:rPr lang="en-US" sz="1100" b="1">
                <a:solidFill>
                  <a:srgbClr val="1C6D7D"/>
                </a:solidFill>
                <a:latin typeface="Rawline" panose="00000500000000000000" pitchFamily="2" charset="0"/>
                <a:cs typeface="MV Boli" panose="02000500030200090000" pitchFamily="2" charset="0"/>
              </a:rPr>
              <a:t>triggers</a:t>
            </a:r>
            <a:r>
              <a:rPr lang="en-US" sz="1100">
                <a:solidFill>
                  <a:srgbClr val="1C6D7D"/>
                </a:solidFill>
                <a:latin typeface="Rawline" panose="00000500000000000000" pitchFamily="2" charset="0"/>
                <a:cs typeface="MV Boli" panose="02000500030200090000" pitchFamily="2" charset="0"/>
              </a:rPr>
              <a:t> the consumer to choose your brand over competition</a:t>
            </a:r>
            <a:endParaRPr lang="en-SG" sz="1100">
              <a:solidFill>
                <a:srgbClr val="1C6D7D"/>
              </a:solidFill>
              <a:latin typeface="Arial"/>
            </a:endParaRPr>
          </a:p>
        </p:txBody>
      </p:sp>
      <p:sp>
        <p:nvSpPr>
          <p:cNvPr id="44" name="TextBox 43">
            <a:extLst>
              <a:ext uri="{FF2B5EF4-FFF2-40B4-BE49-F238E27FC236}">
                <a16:creationId xmlns:a16="http://schemas.microsoft.com/office/drawing/2014/main" id="{6127D557-A1FF-46C3-85D9-DDB54D178706}"/>
              </a:ext>
            </a:extLst>
          </p:cNvPr>
          <p:cNvSpPr txBox="1"/>
          <p:nvPr/>
        </p:nvSpPr>
        <p:spPr>
          <a:xfrm>
            <a:off x="7814698" y="2020503"/>
            <a:ext cx="3741054" cy="1985159"/>
          </a:xfrm>
          <a:prstGeom prst="rect">
            <a:avLst/>
          </a:prstGeom>
          <a:noFill/>
          <a:ln>
            <a:noFill/>
          </a:ln>
        </p:spPr>
        <p:txBody>
          <a:bodyPr wrap="square" lIns="108000" bIns="0">
            <a:spAutoFit/>
          </a:bodyPr>
          <a:lstStyle/>
          <a:p>
            <a:pPr marL="0" lvl="1" indent="0" defTabSz="685800">
              <a:lnSpc>
                <a:spcPct val="100000"/>
              </a:lnSpc>
              <a:spcAft>
                <a:spcPts val="0"/>
              </a:spcAft>
              <a:buClrTx/>
              <a:buFontTx/>
              <a:buNone/>
              <a:defRPr/>
            </a:pPr>
            <a:r>
              <a:rPr lang="en-US" sz="1050" b="1">
                <a:solidFill>
                  <a:srgbClr val="FFBC42"/>
                </a:solidFill>
                <a:latin typeface="Rawline" panose="00000500000000000000" pitchFamily="2" charset="0"/>
              </a:rPr>
              <a:t>3. Be positive  - </a:t>
            </a:r>
            <a:r>
              <a:rPr lang="en-US" sz="1050">
                <a:solidFill>
                  <a:prstClr val="white"/>
                </a:solidFill>
                <a:latin typeface="Rawline" panose="00000500000000000000" pitchFamily="2" charset="0"/>
              </a:rPr>
              <a:t>A consumer’s desired product experience and end state is always positive, so using a positive tone of voice is key. A negative tonality could create a distortion between the positive image people have in mind and the promise projected by the brand.</a:t>
            </a:r>
          </a:p>
          <a:p>
            <a:pPr marL="0" lvl="1" indent="0" defTabSz="685800">
              <a:lnSpc>
                <a:spcPct val="100000"/>
              </a:lnSpc>
              <a:spcAft>
                <a:spcPts val="0"/>
              </a:spcAft>
              <a:buClrTx/>
              <a:buFontTx/>
              <a:buNone/>
              <a:defRPr/>
            </a:pPr>
            <a:endParaRPr lang="en-US" sz="1050">
              <a:solidFill>
                <a:prstClr val="white"/>
              </a:solidFill>
              <a:latin typeface="Rawline" panose="00000500000000000000" pitchFamily="2" charset="0"/>
            </a:endParaRPr>
          </a:p>
          <a:p>
            <a:pPr marL="0" lvl="1" indent="0" defTabSz="685800">
              <a:lnSpc>
                <a:spcPct val="100000"/>
              </a:lnSpc>
              <a:spcAft>
                <a:spcPts val="0"/>
              </a:spcAft>
              <a:buClrTx/>
              <a:buFontTx/>
              <a:buNone/>
              <a:defRPr/>
            </a:pPr>
            <a:endParaRPr lang="en-US" sz="1050">
              <a:solidFill>
                <a:prstClr val="white"/>
              </a:solidFill>
              <a:latin typeface="Rawline" panose="00000500000000000000" pitchFamily="2" charset="0"/>
            </a:endParaRPr>
          </a:p>
          <a:p>
            <a:pPr marL="0" lvl="1" indent="0" defTabSz="685800">
              <a:lnSpc>
                <a:spcPct val="100000"/>
              </a:lnSpc>
              <a:spcAft>
                <a:spcPts val="0"/>
              </a:spcAft>
              <a:buClrTx/>
              <a:buFontTx/>
              <a:buNone/>
              <a:defRPr/>
            </a:pPr>
            <a:r>
              <a:rPr lang="en-US" sz="1050" b="1">
                <a:solidFill>
                  <a:srgbClr val="FFBC42"/>
                </a:solidFill>
                <a:latin typeface="Rawline" panose="00000500000000000000" pitchFamily="2" charset="0"/>
              </a:rPr>
              <a:t>4. Cue senses - </a:t>
            </a:r>
            <a:r>
              <a:rPr lang="en-US" sz="1050">
                <a:solidFill>
                  <a:prstClr val="white"/>
                </a:solidFill>
                <a:latin typeface="Rawline" panose="00000500000000000000" pitchFamily="2" charset="0"/>
              </a:rPr>
              <a:t>Use words that encourage mental imagery by triggering memories, emotions and reactions linked to sensorial cues stored in memory. Examples are words like ‘taste’, ‘touch’, ‘enjoy’ or direct references like ‘creamy’, ‘silky’ or ‘melts in your mouth’.</a:t>
            </a:r>
          </a:p>
        </p:txBody>
      </p:sp>
      <p:sp>
        <p:nvSpPr>
          <p:cNvPr id="45" name="TextBox 44">
            <a:extLst>
              <a:ext uri="{FF2B5EF4-FFF2-40B4-BE49-F238E27FC236}">
                <a16:creationId xmlns:a16="http://schemas.microsoft.com/office/drawing/2014/main" id="{77081A59-C1D8-4834-A796-B89C6E619045}"/>
              </a:ext>
            </a:extLst>
          </p:cNvPr>
          <p:cNvSpPr txBox="1"/>
          <p:nvPr/>
        </p:nvSpPr>
        <p:spPr>
          <a:xfrm>
            <a:off x="4011678" y="4586480"/>
            <a:ext cx="2843756" cy="276999"/>
          </a:xfrm>
          <a:prstGeom prst="rect">
            <a:avLst/>
          </a:prstGeom>
          <a:noFill/>
          <a:ln>
            <a:noFill/>
          </a:ln>
        </p:spPr>
        <p:txBody>
          <a:bodyPr wrap="square">
            <a:spAutoFit/>
          </a:bodyPr>
          <a:lstStyle/>
          <a:p>
            <a:pPr indent="0" defTabSz="685800">
              <a:lnSpc>
                <a:spcPct val="100000"/>
              </a:lnSpc>
              <a:defRPr/>
            </a:pPr>
            <a:r>
              <a:rPr lang="en-US" sz="1200" b="1">
                <a:solidFill>
                  <a:srgbClr val="FFBC42"/>
                </a:solidFill>
                <a:latin typeface="Rawline" panose="00000500000000000000" pitchFamily="2" charset="0"/>
              </a:rPr>
              <a:t>WHAT ELSE TO KEEP IN MIND?</a:t>
            </a:r>
            <a:endParaRPr lang="en-SG" sz="1200">
              <a:solidFill>
                <a:srgbClr val="FFBC42"/>
              </a:solidFill>
              <a:latin typeface="Arial"/>
            </a:endParaRPr>
          </a:p>
        </p:txBody>
      </p:sp>
      <p:sp>
        <p:nvSpPr>
          <p:cNvPr id="47" name="TextBox 46">
            <a:extLst>
              <a:ext uri="{FF2B5EF4-FFF2-40B4-BE49-F238E27FC236}">
                <a16:creationId xmlns:a16="http://schemas.microsoft.com/office/drawing/2014/main" id="{65744336-5FF8-4762-981D-1AD6288CB24E}"/>
              </a:ext>
            </a:extLst>
          </p:cNvPr>
          <p:cNvSpPr txBox="1"/>
          <p:nvPr/>
        </p:nvSpPr>
        <p:spPr>
          <a:xfrm>
            <a:off x="4026708" y="5007293"/>
            <a:ext cx="3406930" cy="692497"/>
          </a:xfrm>
          <a:prstGeom prst="rect">
            <a:avLst/>
          </a:prstGeom>
          <a:noFill/>
          <a:ln>
            <a:noFill/>
          </a:ln>
        </p:spPr>
        <p:txBody>
          <a:bodyPr wrap="square" lIns="108000" bIns="0">
            <a:spAutoFit/>
          </a:bodyPr>
          <a:lstStyle/>
          <a:p>
            <a:pPr marL="0" lvl="1" indent="0" defTabSz="685800">
              <a:lnSpc>
                <a:spcPct val="100000"/>
              </a:lnSpc>
              <a:spcAft>
                <a:spcPts val="0"/>
              </a:spcAft>
              <a:buClrTx/>
              <a:buFontTx/>
              <a:buNone/>
              <a:defRPr/>
            </a:pPr>
            <a:r>
              <a:rPr lang="en-US" sz="1050" b="1">
                <a:solidFill>
                  <a:srgbClr val="FFBC42"/>
                </a:solidFill>
                <a:latin typeface="Rawline" panose="00000500000000000000" pitchFamily="2" charset="0"/>
              </a:rPr>
              <a:t>5. Be respectful – </a:t>
            </a:r>
            <a:r>
              <a:rPr lang="en-US" sz="1050">
                <a:solidFill>
                  <a:prstClr val="white"/>
                </a:solidFill>
                <a:latin typeface="Rawline" panose="00000500000000000000" pitchFamily="2" charset="0"/>
              </a:rPr>
              <a:t>Avoid being condescending, presumptuous or offending. It is not unusual to unintentionally make judgmental assumptions about consumers in claims, so be careful not to.</a:t>
            </a:r>
          </a:p>
        </p:txBody>
      </p:sp>
      <p:sp>
        <p:nvSpPr>
          <p:cNvPr id="48" name="TextBox 47">
            <a:extLst>
              <a:ext uri="{FF2B5EF4-FFF2-40B4-BE49-F238E27FC236}">
                <a16:creationId xmlns:a16="http://schemas.microsoft.com/office/drawing/2014/main" id="{A0383C60-4963-4FB7-9BBB-F0DA433861B1}"/>
              </a:ext>
            </a:extLst>
          </p:cNvPr>
          <p:cNvSpPr txBox="1"/>
          <p:nvPr/>
        </p:nvSpPr>
        <p:spPr>
          <a:xfrm>
            <a:off x="4026708" y="1246288"/>
            <a:ext cx="7529044" cy="646331"/>
          </a:xfrm>
          <a:prstGeom prst="rect">
            <a:avLst/>
          </a:prstGeom>
          <a:noFill/>
          <a:ln>
            <a:noFill/>
          </a:ln>
        </p:spPr>
        <p:txBody>
          <a:bodyPr wrap="square">
            <a:spAutoFit/>
          </a:bodyPr>
          <a:lstStyle/>
          <a:p>
            <a:pPr indent="0" defTabSz="685800">
              <a:lnSpc>
                <a:spcPct val="100000"/>
              </a:lnSpc>
              <a:defRPr/>
            </a:pPr>
            <a:r>
              <a:rPr lang="en-US" sz="1200" b="1">
                <a:solidFill>
                  <a:srgbClr val="FFBC42"/>
                </a:solidFill>
                <a:latin typeface="Rawline" panose="00000500000000000000" pitchFamily="2" charset="0"/>
                <a:cs typeface="MV Boli" panose="02000500030200090000" pitchFamily="2" charset="0"/>
              </a:rPr>
              <a:t>PSYCHOLOGICAL DISTANCE </a:t>
            </a:r>
            <a:r>
              <a:rPr lang="en-US" sz="1200">
                <a:solidFill>
                  <a:prstClr val="white"/>
                </a:solidFill>
                <a:latin typeface="Rawline" panose="00000500000000000000" pitchFamily="2" charset="0"/>
                <a:cs typeface="MV Boli" panose="02000500030200090000" pitchFamily="2" charset="0"/>
              </a:rPr>
              <a:t>is a concept in human psychology that describes how concrete an object or event feels. Strong claims drive short-term consumer behavior by lowering the distance between what a brand promises and a consumer desires – </a:t>
            </a:r>
            <a:r>
              <a:rPr lang="en-US" sz="1200" b="1">
                <a:solidFill>
                  <a:srgbClr val="FFBC42"/>
                </a:solidFill>
                <a:latin typeface="Rawline" panose="00000500000000000000" pitchFamily="2" charset="0"/>
              </a:rPr>
              <a:t>SO HOW CAN WE REDUCE IT?</a:t>
            </a:r>
            <a:endParaRPr lang="en-SG" sz="1200">
              <a:solidFill>
                <a:srgbClr val="FFBC42"/>
              </a:solidFill>
              <a:latin typeface="Arial"/>
            </a:endParaRPr>
          </a:p>
        </p:txBody>
      </p:sp>
      <p:cxnSp>
        <p:nvCxnSpPr>
          <p:cNvPr id="50" name="Straight Connector 49">
            <a:extLst>
              <a:ext uri="{FF2B5EF4-FFF2-40B4-BE49-F238E27FC236}">
                <a16:creationId xmlns:a16="http://schemas.microsoft.com/office/drawing/2014/main" id="{C4624241-9EC4-444B-B104-DF9C5AFA3841}"/>
              </a:ext>
            </a:extLst>
          </p:cNvPr>
          <p:cNvCxnSpPr>
            <a:cxnSpLocks/>
          </p:cNvCxnSpPr>
          <p:nvPr/>
        </p:nvCxnSpPr>
        <p:spPr>
          <a:xfrm>
            <a:off x="4123762" y="4430846"/>
            <a:ext cx="7435838" cy="0"/>
          </a:xfrm>
          <a:prstGeom prst="line">
            <a:avLst/>
          </a:prstGeom>
          <a:noFill/>
          <a:ln w="15875" cap="flat" cmpd="sng" algn="ctr">
            <a:solidFill>
              <a:sysClr val="window" lastClr="FFFFFF"/>
            </a:solidFill>
            <a:prstDash val="solid"/>
            <a:miter lim="800000"/>
            <a:tailEnd type="none" w="lg" len="med"/>
          </a:ln>
          <a:effectLst/>
        </p:spPr>
      </p:cxnSp>
      <p:sp>
        <p:nvSpPr>
          <p:cNvPr id="51" name="Title 50">
            <a:extLst>
              <a:ext uri="{FF2B5EF4-FFF2-40B4-BE49-F238E27FC236}">
                <a16:creationId xmlns:a16="http://schemas.microsoft.com/office/drawing/2014/main" id="{41BB2032-0481-49BD-B8E0-919D6F93564E}"/>
              </a:ext>
            </a:extLst>
          </p:cNvPr>
          <p:cNvSpPr>
            <a:spLocks noGrp="1"/>
          </p:cNvSpPr>
          <p:nvPr>
            <p:ph type="title"/>
          </p:nvPr>
        </p:nvSpPr>
        <p:spPr>
          <a:xfrm>
            <a:off x="4123762" y="403225"/>
            <a:ext cx="6997753" cy="972000"/>
          </a:xfrm>
        </p:spPr>
        <p:txBody>
          <a:bodyPr/>
          <a:lstStyle/>
          <a:p>
            <a:pPr marL="0" marR="0" lvl="0" indent="0" defTabSz="685800" rtl="0" eaLnBrk="1" fontAlgn="auto" latinLnBrk="0" hangingPunct="1">
              <a:lnSpc>
                <a:spcPct val="100000"/>
              </a:lnSpc>
              <a:spcBef>
                <a:spcPts val="0"/>
              </a:spcBef>
              <a:spcAft>
                <a:spcPts val="0"/>
              </a:spcAft>
              <a:tabLst/>
              <a:defRPr/>
            </a:pPr>
            <a:r>
              <a:rPr kumimoji="0" lang="en-US" sz="3200" b="1" i="0" u="none" strike="noStrike" kern="1200" cap="none" spc="0" normalizeH="0" baseline="0" noProof="0">
                <a:ln>
                  <a:noFill/>
                </a:ln>
                <a:solidFill>
                  <a:schemeClr val="bg1"/>
                </a:solidFill>
                <a:effectLst/>
                <a:uLnTx/>
                <a:uFillTx/>
                <a:latin typeface="Rawline" panose="00000500000000000000" pitchFamily="2" charset="0"/>
                <a:ea typeface="+mn-ea"/>
                <a:cs typeface="MV Boli" panose="02000500030200090000" pitchFamily="2" charset="0"/>
              </a:rPr>
              <a:t>SKIM Claim Creation Guidelines</a:t>
            </a:r>
            <a:br>
              <a:rPr kumimoji="0" lang="en-US" sz="7200" b="1" i="0" u="none" strike="noStrike" kern="1200" cap="none" spc="0" normalizeH="0" baseline="0" noProof="0">
                <a:ln>
                  <a:noFill/>
                </a:ln>
                <a:solidFill>
                  <a:schemeClr val="bg1"/>
                </a:solidFill>
                <a:effectLst/>
                <a:uLnTx/>
                <a:uFillTx/>
                <a:latin typeface="Rawline" panose="00000500000000000000" pitchFamily="2" charset="0"/>
                <a:ea typeface="+mn-ea"/>
                <a:cs typeface="MV Boli" panose="02000500030200090000" pitchFamily="2" charset="0"/>
              </a:rPr>
            </a:br>
            <a:r>
              <a:rPr kumimoji="0" lang="en-US" sz="1000" b="0" i="0" u="none" strike="noStrike" kern="1200" cap="none" spc="0" normalizeH="0" baseline="0" noProof="0">
                <a:ln>
                  <a:noFill/>
                </a:ln>
                <a:solidFill>
                  <a:schemeClr val="bg1"/>
                </a:solidFill>
                <a:effectLst/>
                <a:uLnTx/>
                <a:uFillTx/>
                <a:latin typeface="Rawline" panose="00000500000000000000" pitchFamily="2" charset="0"/>
                <a:ea typeface="+mn-ea"/>
                <a:cs typeface="MV Boli" panose="02000500030200090000" pitchFamily="2" charset="0"/>
              </a:rPr>
              <a:t> </a:t>
            </a:r>
            <a:endParaRPr kumimoji="0" lang="en-US" sz="7200" b="0" i="0" u="none" strike="noStrike" kern="1200" cap="none" spc="0" normalizeH="0" baseline="0" noProof="0">
              <a:ln>
                <a:noFill/>
              </a:ln>
              <a:solidFill>
                <a:schemeClr val="bg1"/>
              </a:solidFill>
              <a:effectLst/>
              <a:uLnTx/>
              <a:uFillTx/>
              <a:latin typeface="Rawline" panose="00000500000000000000" pitchFamily="2" charset="0"/>
              <a:ea typeface="+mn-ea"/>
              <a:cs typeface="MV Boli" panose="02000500030200090000" pitchFamily="2" charset="0"/>
            </a:endParaRPr>
          </a:p>
        </p:txBody>
      </p:sp>
      <p:pic>
        <p:nvPicPr>
          <p:cNvPr id="59" name="doLogoWhite">
            <a:extLst>
              <a:ext uri="{FF2B5EF4-FFF2-40B4-BE49-F238E27FC236}">
                <a16:creationId xmlns:a16="http://schemas.microsoft.com/office/drawing/2014/main" id="{CAFC2622-61FF-4B85-AAE0-595FE1FEE6CA}"/>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1559600" y="6364799"/>
            <a:ext cx="386197" cy="266610"/>
          </a:xfrm>
          <a:prstGeom prst="rect">
            <a:avLst/>
          </a:prstGeom>
        </p:spPr>
      </p:pic>
      <p:sp>
        <p:nvSpPr>
          <p:cNvPr id="23" name="TextBox 22">
            <a:extLst>
              <a:ext uri="{FF2B5EF4-FFF2-40B4-BE49-F238E27FC236}">
                <a16:creationId xmlns:a16="http://schemas.microsoft.com/office/drawing/2014/main" id="{684F0646-31E6-DF0F-A01D-93C9920B68E7}"/>
              </a:ext>
            </a:extLst>
          </p:cNvPr>
          <p:cNvSpPr txBox="1"/>
          <p:nvPr/>
        </p:nvSpPr>
        <p:spPr>
          <a:xfrm>
            <a:off x="7896141" y="5007293"/>
            <a:ext cx="3406930" cy="692497"/>
          </a:xfrm>
          <a:prstGeom prst="rect">
            <a:avLst/>
          </a:prstGeom>
          <a:noFill/>
          <a:ln>
            <a:noFill/>
          </a:ln>
        </p:spPr>
        <p:txBody>
          <a:bodyPr wrap="square" lIns="108000" bIns="0">
            <a:spAutoFit/>
          </a:bodyPr>
          <a:lstStyle/>
          <a:p>
            <a:pPr indent="0" defTabSz="685800">
              <a:lnSpc>
                <a:spcPct val="100000"/>
              </a:lnSpc>
              <a:defRPr/>
            </a:pPr>
            <a:r>
              <a:rPr lang="en-US" sz="1050" b="1">
                <a:solidFill>
                  <a:srgbClr val="FFBC42"/>
                </a:solidFill>
                <a:latin typeface="Rawline" panose="00000500000000000000" pitchFamily="2" charset="0"/>
              </a:rPr>
              <a:t>6. Put the key benefit first - </a:t>
            </a:r>
            <a:r>
              <a:rPr lang="en-US" sz="1050">
                <a:solidFill>
                  <a:prstClr val="white"/>
                </a:solidFill>
                <a:latin typeface="Rawline" panose="00000500000000000000" pitchFamily="2" charset="0"/>
              </a:rPr>
              <a:t>You only have a split second to capture a consumer’s attention, so it is critical to open your message with what matters to them most.</a:t>
            </a:r>
          </a:p>
        </p:txBody>
      </p:sp>
    </p:spTree>
    <p:extLst>
      <p:ext uri="{BB962C8B-B14F-4D97-AF65-F5344CB8AC3E}">
        <p14:creationId xmlns:p14="http://schemas.microsoft.com/office/powerpoint/2010/main" val="367619606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5" name="Rectangle: Rounded Corners 104">
            <a:extLst>
              <a:ext uri="{FF2B5EF4-FFF2-40B4-BE49-F238E27FC236}">
                <a16:creationId xmlns:a16="http://schemas.microsoft.com/office/drawing/2014/main" id="{A2B002CB-C4FC-4A12-BF9A-7CA1D98EAE5A}"/>
              </a:ext>
            </a:extLst>
          </p:cNvPr>
          <p:cNvSpPr/>
          <p:nvPr/>
        </p:nvSpPr>
        <p:spPr>
          <a:xfrm>
            <a:off x="2991586" y="5309491"/>
            <a:ext cx="6508164" cy="729675"/>
          </a:xfrm>
          <a:prstGeom prst="roundRect">
            <a:avLst/>
          </a:prstGeom>
          <a:solidFill>
            <a:schemeClr val="tx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624000" tIns="48000" rIns="48000" bIns="48000" numCol="1" spcCol="0" rtlCol="0" fromWordArt="0" anchor="ctr" anchorCtr="0" forceAA="0" compatLnSpc="1">
            <a:prstTxWarp prst="textNoShape">
              <a:avLst/>
            </a:prstTxWarp>
            <a:noAutofit/>
          </a:bodyPr>
          <a:lstStyle/>
          <a:p>
            <a:pPr indent="0" defTabSz="914377">
              <a:lnSpc>
                <a:spcPct val="100000"/>
              </a:lnSpc>
              <a:defRPr/>
            </a:pPr>
            <a:r>
              <a:rPr lang="en-US" sz="2133" b="1">
                <a:solidFill>
                  <a:prstClr val="white"/>
                </a:solidFill>
                <a:latin typeface="Raleway" panose="020B0604020202020204"/>
                <a:sym typeface="Arial"/>
              </a:rPr>
              <a:t> Show tangible impact that is relevant</a:t>
            </a:r>
          </a:p>
        </p:txBody>
      </p:sp>
      <p:sp>
        <p:nvSpPr>
          <p:cNvPr id="104" name="Rectangle: Rounded Corners 103">
            <a:extLst>
              <a:ext uri="{FF2B5EF4-FFF2-40B4-BE49-F238E27FC236}">
                <a16:creationId xmlns:a16="http://schemas.microsoft.com/office/drawing/2014/main" id="{6C219AE6-E7FB-4721-8E1D-FD8FE2C9B09A}"/>
              </a:ext>
            </a:extLst>
          </p:cNvPr>
          <p:cNvSpPr/>
          <p:nvPr/>
        </p:nvSpPr>
        <p:spPr>
          <a:xfrm>
            <a:off x="2991586" y="4420245"/>
            <a:ext cx="6508164" cy="729675"/>
          </a:xfrm>
          <a:prstGeom prst="roundRect">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624000" tIns="48000" rIns="48000" bIns="48000" numCol="1" spcCol="0" rtlCol="0" fromWordArt="0" anchor="ctr" anchorCtr="0" forceAA="0" compatLnSpc="1">
            <a:prstTxWarp prst="textNoShape">
              <a:avLst/>
            </a:prstTxWarp>
            <a:noAutofit/>
          </a:bodyPr>
          <a:lstStyle/>
          <a:p>
            <a:pPr indent="0" defTabSz="914377">
              <a:lnSpc>
                <a:spcPct val="100000"/>
              </a:lnSpc>
              <a:defRPr/>
            </a:pPr>
            <a:r>
              <a:rPr lang="en-US" sz="2133" b="1">
                <a:solidFill>
                  <a:prstClr val="white"/>
                </a:solidFill>
                <a:latin typeface="Raleway" panose="020B0604020202020204"/>
                <a:sym typeface="Arial"/>
              </a:rPr>
              <a:t> Focus on the positive and be clear &amp; simple</a:t>
            </a:r>
          </a:p>
        </p:txBody>
      </p:sp>
      <p:sp>
        <p:nvSpPr>
          <p:cNvPr id="103" name="Rectangle: Rounded Corners 102">
            <a:extLst>
              <a:ext uri="{FF2B5EF4-FFF2-40B4-BE49-F238E27FC236}">
                <a16:creationId xmlns:a16="http://schemas.microsoft.com/office/drawing/2014/main" id="{A6DD5F5A-FC1C-4CB7-B4BD-C3BE2BB4EA77}"/>
              </a:ext>
            </a:extLst>
          </p:cNvPr>
          <p:cNvSpPr/>
          <p:nvPr/>
        </p:nvSpPr>
        <p:spPr>
          <a:xfrm>
            <a:off x="2991586" y="3467073"/>
            <a:ext cx="6508164" cy="729675"/>
          </a:xfrm>
          <a:prstGeom prst="round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624000" tIns="48000" rIns="48000" bIns="48000" numCol="1" spcCol="0" rtlCol="0" fromWordArt="0" anchor="ctr" anchorCtr="0" forceAA="0" compatLnSpc="1">
            <a:prstTxWarp prst="textNoShape">
              <a:avLst/>
            </a:prstTxWarp>
            <a:noAutofit/>
          </a:bodyPr>
          <a:lstStyle/>
          <a:p>
            <a:pPr indent="0" defTabSz="914377">
              <a:lnSpc>
                <a:spcPct val="100000"/>
              </a:lnSpc>
              <a:defRPr/>
            </a:pPr>
            <a:r>
              <a:rPr lang="en-US" sz="2133" b="1">
                <a:solidFill>
                  <a:prstClr val="white"/>
                </a:solidFill>
                <a:latin typeface="Raleway" panose="020B0604020202020204"/>
                <a:sym typeface="Arial"/>
              </a:rPr>
              <a:t> State 100% whenever possible</a:t>
            </a:r>
          </a:p>
        </p:txBody>
      </p:sp>
      <p:sp>
        <p:nvSpPr>
          <p:cNvPr id="102" name="Rectangle: Rounded Corners 101">
            <a:extLst>
              <a:ext uri="{FF2B5EF4-FFF2-40B4-BE49-F238E27FC236}">
                <a16:creationId xmlns:a16="http://schemas.microsoft.com/office/drawing/2014/main" id="{E70D5575-27E6-4CFB-B51F-A95FBBEF0946}"/>
              </a:ext>
            </a:extLst>
          </p:cNvPr>
          <p:cNvSpPr/>
          <p:nvPr/>
        </p:nvSpPr>
        <p:spPr>
          <a:xfrm>
            <a:off x="2991586" y="2585687"/>
            <a:ext cx="6508164" cy="729675"/>
          </a:xfrm>
          <a:prstGeom prst="round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624000" tIns="48000" rIns="48000" bIns="48000" numCol="1" spcCol="0" rtlCol="0" fromWordArt="0" anchor="ctr" anchorCtr="0" forceAA="0" compatLnSpc="1">
            <a:prstTxWarp prst="textNoShape">
              <a:avLst/>
            </a:prstTxWarp>
            <a:noAutofit/>
          </a:bodyPr>
          <a:lstStyle/>
          <a:p>
            <a:pPr indent="0" defTabSz="914377">
              <a:lnSpc>
                <a:spcPct val="100000"/>
              </a:lnSpc>
              <a:defRPr/>
            </a:pPr>
            <a:r>
              <a:rPr lang="en-US" sz="2133" b="1">
                <a:solidFill>
                  <a:prstClr val="white"/>
                </a:solidFill>
                <a:latin typeface="Raleway" panose="020B0604020202020204"/>
                <a:sym typeface="Arial"/>
              </a:rPr>
              <a:t> Including sustainability drives uniqueness</a:t>
            </a:r>
          </a:p>
        </p:txBody>
      </p:sp>
      <p:sp>
        <p:nvSpPr>
          <p:cNvPr id="44" name="Rectangle: Rounded Corners 43">
            <a:extLst>
              <a:ext uri="{FF2B5EF4-FFF2-40B4-BE49-F238E27FC236}">
                <a16:creationId xmlns:a16="http://schemas.microsoft.com/office/drawing/2014/main" id="{8B319EC5-628F-4B41-8DE2-B8EE60A9A79A}"/>
              </a:ext>
            </a:extLst>
          </p:cNvPr>
          <p:cNvSpPr/>
          <p:nvPr/>
        </p:nvSpPr>
        <p:spPr>
          <a:xfrm>
            <a:off x="2991586" y="1707997"/>
            <a:ext cx="6508164" cy="729675"/>
          </a:xfrm>
          <a:prstGeom prst="roundRect">
            <a:avLst/>
          </a:prstGeom>
          <a:solidFill>
            <a:schemeClr val="accent4"/>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24000" tIns="48000" rIns="48000" bIns="48000" numCol="1" spcCol="0" rtlCol="0" fromWordArt="0" anchor="ctr" anchorCtr="0" forceAA="0" compatLnSpc="1">
            <a:prstTxWarp prst="textNoShape">
              <a:avLst/>
            </a:prstTxWarp>
            <a:noAutofit/>
          </a:bodyPr>
          <a:lstStyle/>
          <a:p>
            <a:pPr indent="0" defTabSz="914377">
              <a:lnSpc>
                <a:spcPct val="100000"/>
              </a:lnSpc>
              <a:defRPr/>
            </a:pPr>
            <a:r>
              <a:rPr lang="en-US" sz="2133" b="1">
                <a:solidFill>
                  <a:prstClr val="white"/>
                </a:solidFill>
                <a:latin typeface="Raleway" panose="020B0604020202020204"/>
                <a:sym typeface="Arial"/>
              </a:rPr>
              <a:t> Don’t try to replace primary benefits</a:t>
            </a:r>
          </a:p>
        </p:txBody>
      </p:sp>
      <p:sp>
        <p:nvSpPr>
          <p:cNvPr id="66" name="Rectangle: Rounded Corners 65">
            <a:extLst>
              <a:ext uri="{FF2B5EF4-FFF2-40B4-BE49-F238E27FC236}">
                <a16:creationId xmlns:a16="http://schemas.microsoft.com/office/drawing/2014/main" id="{20B0F56B-E2BA-4AC2-AFA5-FBEC6A83AB47}"/>
              </a:ext>
            </a:extLst>
          </p:cNvPr>
          <p:cNvSpPr/>
          <p:nvPr/>
        </p:nvSpPr>
        <p:spPr>
          <a:xfrm>
            <a:off x="6766945" y="3478170"/>
            <a:ext cx="2433471" cy="592071"/>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indent="0" defTabSz="914377">
              <a:lnSpc>
                <a:spcPct val="100000"/>
              </a:lnSpc>
              <a:defRPr/>
            </a:pPr>
            <a:endParaRPr lang="en-US" sz="1467" b="1">
              <a:solidFill>
                <a:prstClr val="white"/>
              </a:solidFill>
              <a:latin typeface="Arial"/>
              <a:sym typeface="Arial"/>
            </a:endParaRPr>
          </a:p>
        </p:txBody>
      </p:sp>
      <p:sp>
        <p:nvSpPr>
          <p:cNvPr id="45" name="Oval 44">
            <a:extLst>
              <a:ext uri="{FF2B5EF4-FFF2-40B4-BE49-F238E27FC236}">
                <a16:creationId xmlns:a16="http://schemas.microsoft.com/office/drawing/2014/main" id="{750682DD-2180-4E2E-BC07-4B72ED141081}"/>
              </a:ext>
            </a:extLst>
          </p:cNvPr>
          <p:cNvSpPr/>
          <p:nvPr/>
        </p:nvSpPr>
        <p:spPr>
          <a:xfrm>
            <a:off x="2592951" y="1592544"/>
            <a:ext cx="960581" cy="960581"/>
          </a:xfrm>
          <a:prstGeom prst="ellipse">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indent="0" algn="ctr" defTabSz="914377">
              <a:lnSpc>
                <a:spcPct val="100000"/>
              </a:lnSpc>
              <a:defRPr/>
            </a:pPr>
            <a:endParaRPr lang="en-US" err="1">
              <a:solidFill>
                <a:prstClr val="black"/>
              </a:solidFill>
              <a:latin typeface="Segoe Print" panose="02000600000000000000" pitchFamily="2" charset="0"/>
              <a:cs typeface="MV Boli" panose="02000500030200090000" pitchFamily="2" charset="0"/>
              <a:sym typeface="Arial"/>
            </a:endParaRPr>
          </a:p>
        </p:txBody>
      </p:sp>
      <p:grpSp>
        <p:nvGrpSpPr>
          <p:cNvPr id="46" name="Group 45">
            <a:extLst>
              <a:ext uri="{FF2B5EF4-FFF2-40B4-BE49-F238E27FC236}">
                <a16:creationId xmlns:a16="http://schemas.microsoft.com/office/drawing/2014/main" id="{33B9A683-E17F-4C44-BE3E-E7ED73F1096F}"/>
              </a:ext>
            </a:extLst>
          </p:cNvPr>
          <p:cNvGrpSpPr>
            <a:grpSpLocks noChangeAspect="1"/>
          </p:cNvGrpSpPr>
          <p:nvPr/>
        </p:nvGrpSpPr>
        <p:grpSpPr>
          <a:xfrm>
            <a:off x="2675453" y="1674742"/>
            <a:ext cx="795580" cy="796188"/>
            <a:chOff x="5382636" y="1013708"/>
            <a:chExt cx="5603795" cy="5608077"/>
          </a:xfrm>
          <a:solidFill>
            <a:schemeClr val="accent4"/>
          </a:solidFill>
        </p:grpSpPr>
        <p:sp>
          <p:nvSpPr>
            <p:cNvPr id="47" name="Donut 4">
              <a:extLst>
                <a:ext uri="{FF2B5EF4-FFF2-40B4-BE49-F238E27FC236}">
                  <a16:creationId xmlns:a16="http://schemas.microsoft.com/office/drawing/2014/main" id="{BA714F01-C2A2-4130-8FFB-C846EADAD6E4}"/>
                </a:ext>
              </a:extLst>
            </p:cNvPr>
            <p:cNvSpPr/>
            <p:nvPr userDrawn="1"/>
          </p:nvSpPr>
          <p:spPr>
            <a:xfrm rot="1153329">
              <a:off x="5382636" y="1291018"/>
              <a:ext cx="5591555" cy="5033101"/>
            </a:xfrm>
            <a:custGeom>
              <a:avLst/>
              <a:gdLst/>
              <a:ahLst/>
              <a:cxnLst/>
              <a:rect l="l" t="t" r="r" b="b"/>
              <a:pathLst>
                <a:path w="2445036" h="2235686">
                  <a:moveTo>
                    <a:pt x="994325" y="46990"/>
                  </a:moveTo>
                  <a:cubicBezTo>
                    <a:pt x="877453" y="68858"/>
                    <a:pt x="766785" y="106302"/>
                    <a:pt x="665030" y="156846"/>
                  </a:cubicBezTo>
                  <a:lnTo>
                    <a:pt x="658622" y="160405"/>
                  </a:lnTo>
                  <a:lnTo>
                    <a:pt x="654574" y="162184"/>
                  </a:lnTo>
                  <a:cubicBezTo>
                    <a:pt x="283151" y="346228"/>
                    <a:pt x="31009" y="705177"/>
                    <a:pt x="31009" y="1117843"/>
                  </a:cubicBezTo>
                  <a:cubicBezTo>
                    <a:pt x="31009" y="1455479"/>
                    <a:pt x="199798" y="1757156"/>
                    <a:pt x="464608" y="1956497"/>
                  </a:cubicBezTo>
                  <a:lnTo>
                    <a:pt x="469950" y="1960141"/>
                  </a:lnTo>
                  <a:lnTo>
                    <a:pt x="474204" y="1963676"/>
                  </a:lnTo>
                  <a:cubicBezTo>
                    <a:pt x="681098" y="2119801"/>
                    <a:pt x="946342" y="2213588"/>
                    <a:pt x="1235542" y="2213588"/>
                  </a:cubicBezTo>
                  <a:cubicBezTo>
                    <a:pt x="1896570" y="2213588"/>
                    <a:pt x="2432439" y="1723601"/>
                    <a:pt x="2432439" y="1119172"/>
                  </a:cubicBezTo>
                  <a:cubicBezTo>
                    <a:pt x="2432439" y="514743"/>
                    <a:pt x="1896570" y="24756"/>
                    <a:pt x="1235542" y="24756"/>
                  </a:cubicBezTo>
                  <a:cubicBezTo>
                    <a:pt x="1152914" y="24756"/>
                    <a:pt x="1072241" y="32412"/>
                    <a:pt x="994325" y="46990"/>
                  </a:cubicBezTo>
                  <a:close/>
                  <a:moveTo>
                    <a:pt x="976138" y="22711"/>
                  </a:moveTo>
                  <a:cubicBezTo>
                    <a:pt x="1055721" y="7820"/>
                    <a:pt x="1138121" y="0"/>
                    <a:pt x="1222518" y="0"/>
                  </a:cubicBezTo>
                  <a:cubicBezTo>
                    <a:pt x="1897696" y="0"/>
                    <a:pt x="2445036" y="500475"/>
                    <a:pt x="2445036" y="1117843"/>
                  </a:cubicBezTo>
                  <a:cubicBezTo>
                    <a:pt x="2445036" y="1735211"/>
                    <a:pt x="1897696" y="2235686"/>
                    <a:pt x="1222518" y="2235686"/>
                  </a:cubicBezTo>
                  <a:cubicBezTo>
                    <a:pt x="547340" y="2235686"/>
                    <a:pt x="0" y="1735211"/>
                    <a:pt x="0" y="1117843"/>
                  </a:cubicBezTo>
                  <a:cubicBezTo>
                    <a:pt x="0" y="577646"/>
                    <a:pt x="419057" y="126945"/>
                    <a:pt x="976138" y="22711"/>
                  </a:cubicBezTo>
                  <a:close/>
                </a:path>
              </a:pathLst>
            </a:cu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indent="0" algn="ctr" defTabSz="914377">
                <a:lnSpc>
                  <a:spcPct val="100000"/>
                </a:lnSpc>
                <a:defRPr/>
              </a:pPr>
              <a:endParaRPr lang="en-US" sz="1800">
                <a:solidFill>
                  <a:prstClr val="white"/>
                </a:solidFill>
                <a:latin typeface="Arial"/>
                <a:sym typeface="Arial"/>
              </a:endParaRPr>
            </a:p>
          </p:txBody>
        </p:sp>
        <p:sp>
          <p:nvSpPr>
            <p:cNvPr id="48" name="Donut 83">
              <a:extLst>
                <a:ext uri="{FF2B5EF4-FFF2-40B4-BE49-F238E27FC236}">
                  <a16:creationId xmlns:a16="http://schemas.microsoft.com/office/drawing/2014/main" id="{DAD13FC5-C103-4BAE-93AD-DC228AD5F12C}"/>
                </a:ext>
              </a:extLst>
            </p:cNvPr>
            <p:cNvSpPr/>
            <p:nvPr userDrawn="1"/>
          </p:nvSpPr>
          <p:spPr>
            <a:xfrm rot="20856452">
              <a:off x="5416562" y="1288231"/>
              <a:ext cx="5569869" cy="5039014"/>
            </a:xfrm>
            <a:custGeom>
              <a:avLst/>
              <a:gdLst/>
              <a:ahLst/>
              <a:cxnLst/>
              <a:rect l="l" t="t" r="r" b="b"/>
              <a:pathLst>
                <a:path w="2476464" h="2240436">
                  <a:moveTo>
                    <a:pt x="1481665" y="52478"/>
                  </a:moveTo>
                  <a:cubicBezTo>
                    <a:pt x="1403034" y="37960"/>
                    <a:pt x="1321619" y="30336"/>
                    <a:pt x="1238232" y="30336"/>
                  </a:cubicBezTo>
                  <a:cubicBezTo>
                    <a:pt x="862986" y="30336"/>
                    <a:pt x="527706" y="184729"/>
                    <a:pt x="306160" y="426952"/>
                  </a:cubicBezTo>
                  <a:lnTo>
                    <a:pt x="305452" y="427806"/>
                  </a:lnTo>
                  <a:lnTo>
                    <a:pt x="302828" y="430389"/>
                  </a:lnTo>
                  <a:cubicBezTo>
                    <a:pt x="128717" y="619149"/>
                    <a:pt x="24126" y="861144"/>
                    <a:pt x="24126" y="1124996"/>
                  </a:cubicBezTo>
                  <a:cubicBezTo>
                    <a:pt x="24126" y="1728085"/>
                    <a:pt x="570561" y="2216986"/>
                    <a:pt x="1244622" y="2216986"/>
                  </a:cubicBezTo>
                  <a:cubicBezTo>
                    <a:pt x="1918683" y="2216986"/>
                    <a:pt x="2465118" y="1728085"/>
                    <a:pt x="2465118" y="1124996"/>
                  </a:cubicBezTo>
                  <a:cubicBezTo>
                    <a:pt x="2465118" y="634986"/>
                    <a:pt x="2104386" y="220358"/>
                    <a:pt x="1607560" y="82100"/>
                  </a:cubicBezTo>
                  <a:lnTo>
                    <a:pt x="1601741" y="80761"/>
                  </a:lnTo>
                  <a:lnTo>
                    <a:pt x="1597423" y="79335"/>
                  </a:lnTo>
                  <a:cubicBezTo>
                    <a:pt x="1559600" y="68720"/>
                    <a:pt x="1520981" y="59738"/>
                    <a:pt x="1481665" y="52478"/>
                  </a:cubicBezTo>
                  <a:close/>
                  <a:moveTo>
                    <a:pt x="1487779" y="22759"/>
                  </a:moveTo>
                  <a:cubicBezTo>
                    <a:pt x="2052020" y="127215"/>
                    <a:pt x="2476464" y="578874"/>
                    <a:pt x="2476464" y="1120218"/>
                  </a:cubicBezTo>
                  <a:cubicBezTo>
                    <a:pt x="2476464" y="1738897"/>
                    <a:pt x="1922089" y="2240436"/>
                    <a:pt x="1238232" y="2240436"/>
                  </a:cubicBezTo>
                  <a:cubicBezTo>
                    <a:pt x="554375" y="2240436"/>
                    <a:pt x="0" y="1738897"/>
                    <a:pt x="0" y="1120218"/>
                  </a:cubicBezTo>
                  <a:cubicBezTo>
                    <a:pt x="-1" y="501539"/>
                    <a:pt x="554375" y="0"/>
                    <a:pt x="1238232" y="0"/>
                  </a:cubicBezTo>
                  <a:cubicBezTo>
                    <a:pt x="1323714" y="0"/>
                    <a:pt x="1407173" y="7836"/>
                    <a:pt x="1487779" y="22759"/>
                  </a:cubicBezTo>
                  <a:close/>
                </a:path>
              </a:pathLst>
            </a:cu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indent="0" algn="ctr" defTabSz="914377">
                <a:lnSpc>
                  <a:spcPct val="100000"/>
                </a:lnSpc>
                <a:defRPr/>
              </a:pPr>
              <a:endParaRPr lang="en-US" sz="1800">
                <a:solidFill>
                  <a:prstClr val="white"/>
                </a:solidFill>
                <a:latin typeface="Arial"/>
                <a:sym typeface="Arial"/>
              </a:endParaRPr>
            </a:p>
          </p:txBody>
        </p:sp>
        <p:sp>
          <p:nvSpPr>
            <p:cNvPr id="49" name="Donut 83">
              <a:extLst>
                <a:ext uri="{FF2B5EF4-FFF2-40B4-BE49-F238E27FC236}">
                  <a16:creationId xmlns:a16="http://schemas.microsoft.com/office/drawing/2014/main" id="{EA3EB592-760C-415F-BCF7-F395B66334D6}"/>
                </a:ext>
              </a:extLst>
            </p:cNvPr>
            <p:cNvSpPr/>
            <p:nvPr userDrawn="1"/>
          </p:nvSpPr>
          <p:spPr>
            <a:xfrm rot="2565230" flipH="1">
              <a:off x="5757391" y="1013708"/>
              <a:ext cx="4980215" cy="5608077"/>
            </a:xfrm>
            <a:custGeom>
              <a:avLst/>
              <a:gdLst/>
              <a:ahLst/>
              <a:cxnLst/>
              <a:rect l="l" t="t" r="r" b="b"/>
              <a:pathLst>
                <a:path w="2476464" h="2240436">
                  <a:moveTo>
                    <a:pt x="1481665" y="52478"/>
                  </a:moveTo>
                  <a:cubicBezTo>
                    <a:pt x="1403034" y="37960"/>
                    <a:pt x="1321619" y="30336"/>
                    <a:pt x="1238232" y="30336"/>
                  </a:cubicBezTo>
                  <a:cubicBezTo>
                    <a:pt x="862986" y="30336"/>
                    <a:pt x="527706" y="184729"/>
                    <a:pt x="306160" y="426952"/>
                  </a:cubicBezTo>
                  <a:lnTo>
                    <a:pt x="305452" y="427806"/>
                  </a:lnTo>
                  <a:lnTo>
                    <a:pt x="302828" y="430389"/>
                  </a:lnTo>
                  <a:cubicBezTo>
                    <a:pt x="128717" y="619149"/>
                    <a:pt x="24126" y="861144"/>
                    <a:pt x="24126" y="1124996"/>
                  </a:cubicBezTo>
                  <a:cubicBezTo>
                    <a:pt x="24126" y="1728085"/>
                    <a:pt x="570561" y="2216986"/>
                    <a:pt x="1244622" y="2216986"/>
                  </a:cubicBezTo>
                  <a:cubicBezTo>
                    <a:pt x="1918683" y="2216986"/>
                    <a:pt x="2465118" y="1728085"/>
                    <a:pt x="2465118" y="1124996"/>
                  </a:cubicBezTo>
                  <a:cubicBezTo>
                    <a:pt x="2465118" y="634986"/>
                    <a:pt x="2104386" y="220358"/>
                    <a:pt x="1607560" y="82100"/>
                  </a:cubicBezTo>
                  <a:lnTo>
                    <a:pt x="1601741" y="80761"/>
                  </a:lnTo>
                  <a:lnTo>
                    <a:pt x="1597423" y="79335"/>
                  </a:lnTo>
                  <a:cubicBezTo>
                    <a:pt x="1559600" y="68720"/>
                    <a:pt x="1520981" y="59738"/>
                    <a:pt x="1481665" y="52478"/>
                  </a:cubicBezTo>
                  <a:close/>
                  <a:moveTo>
                    <a:pt x="1487779" y="22759"/>
                  </a:moveTo>
                  <a:cubicBezTo>
                    <a:pt x="2052020" y="127215"/>
                    <a:pt x="2476464" y="578874"/>
                    <a:pt x="2476464" y="1120218"/>
                  </a:cubicBezTo>
                  <a:cubicBezTo>
                    <a:pt x="2476464" y="1738897"/>
                    <a:pt x="1922089" y="2240436"/>
                    <a:pt x="1238232" y="2240436"/>
                  </a:cubicBezTo>
                  <a:cubicBezTo>
                    <a:pt x="554375" y="2240436"/>
                    <a:pt x="0" y="1738897"/>
                    <a:pt x="0" y="1120218"/>
                  </a:cubicBezTo>
                  <a:cubicBezTo>
                    <a:pt x="-1" y="501539"/>
                    <a:pt x="554375" y="0"/>
                    <a:pt x="1238232" y="0"/>
                  </a:cubicBezTo>
                  <a:cubicBezTo>
                    <a:pt x="1323714" y="0"/>
                    <a:pt x="1407173" y="7836"/>
                    <a:pt x="1487779" y="22759"/>
                  </a:cubicBezTo>
                  <a:close/>
                </a:path>
              </a:pathLst>
            </a:cu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indent="0" algn="ctr" defTabSz="914377">
                <a:lnSpc>
                  <a:spcPct val="100000"/>
                </a:lnSpc>
                <a:defRPr/>
              </a:pPr>
              <a:endParaRPr lang="en-US" sz="1800">
                <a:solidFill>
                  <a:prstClr val="white"/>
                </a:solidFill>
                <a:latin typeface="Arial"/>
                <a:sym typeface="Arial"/>
              </a:endParaRPr>
            </a:p>
          </p:txBody>
        </p:sp>
      </p:grpSp>
      <p:grpSp>
        <p:nvGrpSpPr>
          <p:cNvPr id="71" name="Group 6">
            <a:extLst>
              <a:ext uri="{FF2B5EF4-FFF2-40B4-BE49-F238E27FC236}">
                <a16:creationId xmlns:a16="http://schemas.microsoft.com/office/drawing/2014/main" id="{5F8C8496-FA0F-4BAB-B0C2-3EDB33AA8CFC}"/>
              </a:ext>
            </a:extLst>
          </p:cNvPr>
          <p:cNvGrpSpPr>
            <a:grpSpLocks noChangeAspect="1"/>
          </p:cNvGrpSpPr>
          <p:nvPr/>
        </p:nvGrpSpPr>
        <p:grpSpPr bwMode="auto">
          <a:xfrm>
            <a:off x="2862529" y="1852973"/>
            <a:ext cx="421428" cy="426084"/>
            <a:chOff x="5726112" y="4062413"/>
            <a:chExt cx="287338" cy="290512"/>
          </a:xfrm>
          <a:solidFill>
            <a:schemeClr val="accent4"/>
          </a:solidFill>
        </p:grpSpPr>
        <p:sp>
          <p:nvSpPr>
            <p:cNvPr id="72" name="Freeform 397">
              <a:extLst>
                <a:ext uri="{FF2B5EF4-FFF2-40B4-BE49-F238E27FC236}">
                  <a16:creationId xmlns:a16="http://schemas.microsoft.com/office/drawing/2014/main" id="{F997BF97-B8CC-429A-9A79-E17D091229D0}"/>
                </a:ext>
              </a:extLst>
            </p:cNvPr>
            <p:cNvSpPr>
              <a:spLocks noChangeArrowheads="1"/>
            </p:cNvSpPr>
            <p:nvPr/>
          </p:nvSpPr>
          <p:spPr bwMode="auto">
            <a:xfrm rot="10800000">
              <a:off x="5726112" y="4062413"/>
              <a:ext cx="117475" cy="119062"/>
            </a:xfrm>
            <a:custGeom>
              <a:avLst/>
              <a:gdLst>
                <a:gd name="T0" fmla="*/ 86389 w 325"/>
                <a:gd name="T1" fmla="*/ 118700 h 329"/>
                <a:gd name="T2" fmla="*/ 117114 w 325"/>
                <a:gd name="T3" fmla="*/ 88301 h 329"/>
                <a:gd name="T4" fmla="*/ 63979 w 325"/>
                <a:gd name="T5" fmla="*/ 33656 h 329"/>
                <a:gd name="T6" fmla="*/ 97595 w 325"/>
                <a:gd name="T7" fmla="*/ 0 h 329"/>
                <a:gd name="T8" fmla="*/ 0 w 325"/>
                <a:gd name="T9" fmla="*/ 0 h 329"/>
                <a:gd name="T10" fmla="*/ 0 w 325"/>
                <a:gd name="T11" fmla="*/ 97710 h 329"/>
                <a:gd name="T12" fmla="*/ 33616 w 325"/>
                <a:gd name="T13" fmla="*/ 64055 h 329"/>
                <a:gd name="T14" fmla="*/ 86389 w 325"/>
                <a:gd name="T15" fmla="*/ 118700 h 329"/>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325" h="329">
                  <a:moveTo>
                    <a:pt x="239" y="328"/>
                  </a:moveTo>
                  <a:lnTo>
                    <a:pt x="324" y="244"/>
                  </a:lnTo>
                  <a:lnTo>
                    <a:pt x="177" y="93"/>
                  </a:lnTo>
                  <a:lnTo>
                    <a:pt x="270" y="0"/>
                  </a:lnTo>
                  <a:lnTo>
                    <a:pt x="0" y="0"/>
                  </a:lnTo>
                  <a:lnTo>
                    <a:pt x="0" y="270"/>
                  </a:lnTo>
                  <a:lnTo>
                    <a:pt x="93" y="177"/>
                  </a:lnTo>
                  <a:lnTo>
                    <a:pt x="239" y="328"/>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pPr indent="0" defTabSz="914377">
                <a:lnSpc>
                  <a:spcPct val="93000"/>
                </a:lnSpc>
                <a:buClr>
                  <a:srgbClr val="000000"/>
                </a:buClr>
                <a:buSzPct val="100000"/>
                <a:defRPr/>
              </a:pPr>
              <a:endParaRPr lang="en-US" sz="1800">
                <a:solidFill>
                  <a:prstClr val="black"/>
                </a:solidFill>
                <a:latin typeface="Arial"/>
                <a:ea typeface="ＭＳ Ｐゴシック" panose="020B0600070205080204" pitchFamily="34" charset="-128"/>
                <a:cs typeface="Arial"/>
                <a:sym typeface="Arial"/>
              </a:endParaRPr>
            </a:p>
          </p:txBody>
        </p:sp>
        <p:sp>
          <p:nvSpPr>
            <p:cNvPr id="73" name="Freeform 398">
              <a:extLst>
                <a:ext uri="{FF2B5EF4-FFF2-40B4-BE49-F238E27FC236}">
                  <a16:creationId xmlns:a16="http://schemas.microsoft.com/office/drawing/2014/main" id="{506AEAD6-AD6E-4137-B222-95418A7EDEA9}"/>
                </a:ext>
              </a:extLst>
            </p:cNvPr>
            <p:cNvSpPr>
              <a:spLocks noChangeArrowheads="1"/>
            </p:cNvSpPr>
            <p:nvPr/>
          </p:nvSpPr>
          <p:spPr bwMode="auto">
            <a:xfrm rot="10800000">
              <a:off x="5895975" y="4233863"/>
              <a:ext cx="117475" cy="119062"/>
            </a:xfrm>
            <a:custGeom>
              <a:avLst/>
              <a:gdLst>
                <a:gd name="T0" fmla="*/ 85305 w 325"/>
                <a:gd name="T1" fmla="*/ 54480 h 330"/>
                <a:gd name="T2" fmla="*/ 30724 w 325"/>
                <a:gd name="T3" fmla="*/ 0 h 330"/>
                <a:gd name="T4" fmla="*/ 0 w 325"/>
                <a:gd name="T5" fmla="*/ 30667 h 330"/>
                <a:gd name="T6" fmla="*/ 53135 w 325"/>
                <a:gd name="T7" fmla="*/ 85147 h 330"/>
                <a:gd name="T8" fmla="*/ 19519 w 325"/>
                <a:gd name="T9" fmla="*/ 118701 h 330"/>
                <a:gd name="T10" fmla="*/ 117114 w 325"/>
                <a:gd name="T11" fmla="*/ 118701 h 330"/>
                <a:gd name="T12" fmla="*/ 117114 w 325"/>
                <a:gd name="T13" fmla="*/ 20926 h 330"/>
                <a:gd name="T14" fmla="*/ 85305 w 325"/>
                <a:gd name="T15" fmla="*/ 54480 h 330"/>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325" h="330">
                  <a:moveTo>
                    <a:pt x="236" y="151"/>
                  </a:moveTo>
                  <a:lnTo>
                    <a:pt x="85" y="0"/>
                  </a:lnTo>
                  <a:lnTo>
                    <a:pt x="0" y="85"/>
                  </a:lnTo>
                  <a:lnTo>
                    <a:pt x="147" y="236"/>
                  </a:lnTo>
                  <a:lnTo>
                    <a:pt x="54" y="329"/>
                  </a:lnTo>
                  <a:lnTo>
                    <a:pt x="324" y="329"/>
                  </a:lnTo>
                  <a:lnTo>
                    <a:pt x="324" y="58"/>
                  </a:lnTo>
                  <a:lnTo>
                    <a:pt x="236" y="151"/>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pPr indent="0" defTabSz="914377">
                <a:lnSpc>
                  <a:spcPct val="93000"/>
                </a:lnSpc>
                <a:buClr>
                  <a:srgbClr val="000000"/>
                </a:buClr>
                <a:buSzPct val="100000"/>
                <a:defRPr/>
              </a:pPr>
              <a:endParaRPr lang="en-US" sz="1800">
                <a:solidFill>
                  <a:prstClr val="black"/>
                </a:solidFill>
                <a:latin typeface="Arial"/>
                <a:ea typeface="ＭＳ Ｐゴシック" panose="020B0600070205080204" pitchFamily="34" charset="-128"/>
                <a:cs typeface="Arial"/>
                <a:sym typeface="Arial"/>
              </a:endParaRPr>
            </a:p>
          </p:txBody>
        </p:sp>
        <p:sp>
          <p:nvSpPr>
            <p:cNvPr id="74" name="Freeform 399">
              <a:extLst>
                <a:ext uri="{FF2B5EF4-FFF2-40B4-BE49-F238E27FC236}">
                  <a16:creationId xmlns:a16="http://schemas.microsoft.com/office/drawing/2014/main" id="{D7DBD056-8143-49D1-B671-50DC5FE9E265}"/>
                </a:ext>
              </a:extLst>
            </p:cNvPr>
            <p:cNvSpPr>
              <a:spLocks noChangeArrowheads="1"/>
            </p:cNvSpPr>
            <p:nvPr/>
          </p:nvSpPr>
          <p:spPr bwMode="auto">
            <a:xfrm rot="10800000">
              <a:off x="5895975" y="4062413"/>
              <a:ext cx="117475" cy="119062"/>
            </a:xfrm>
            <a:custGeom>
              <a:avLst/>
              <a:gdLst>
                <a:gd name="T0" fmla="*/ 30724 w 325"/>
                <a:gd name="T1" fmla="*/ 118700 h 329"/>
                <a:gd name="T2" fmla="*/ 83498 w 325"/>
                <a:gd name="T3" fmla="*/ 64055 h 329"/>
                <a:gd name="T4" fmla="*/ 117114 w 325"/>
                <a:gd name="T5" fmla="*/ 97710 h 329"/>
                <a:gd name="T6" fmla="*/ 117114 w 325"/>
                <a:gd name="T7" fmla="*/ 0 h 329"/>
                <a:gd name="T8" fmla="*/ 19519 w 325"/>
                <a:gd name="T9" fmla="*/ 0 h 329"/>
                <a:gd name="T10" fmla="*/ 53135 w 325"/>
                <a:gd name="T11" fmla="*/ 33656 h 329"/>
                <a:gd name="T12" fmla="*/ 0 w 325"/>
                <a:gd name="T13" fmla="*/ 88301 h 329"/>
                <a:gd name="T14" fmla="*/ 30724 w 325"/>
                <a:gd name="T15" fmla="*/ 118700 h 329"/>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325" h="329">
                  <a:moveTo>
                    <a:pt x="85" y="328"/>
                  </a:moveTo>
                  <a:lnTo>
                    <a:pt x="231" y="177"/>
                  </a:lnTo>
                  <a:lnTo>
                    <a:pt x="324" y="270"/>
                  </a:lnTo>
                  <a:lnTo>
                    <a:pt x="324" y="0"/>
                  </a:lnTo>
                  <a:lnTo>
                    <a:pt x="54" y="0"/>
                  </a:lnTo>
                  <a:lnTo>
                    <a:pt x="147" y="93"/>
                  </a:lnTo>
                  <a:lnTo>
                    <a:pt x="0" y="244"/>
                  </a:lnTo>
                  <a:lnTo>
                    <a:pt x="85" y="328"/>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pPr indent="0" defTabSz="914377">
                <a:lnSpc>
                  <a:spcPct val="93000"/>
                </a:lnSpc>
                <a:buClr>
                  <a:srgbClr val="000000"/>
                </a:buClr>
                <a:buSzPct val="100000"/>
                <a:defRPr/>
              </a:pPr>
              <a:endParaRPr lang="en-US" sz="1800">
                <a:solidFill>
                  <a:prstClr val="black"/>
                </a:solidFill>
                <a:latin typeface="Arial"/>
                <a:ea typeface="ＭＳ Ｐゴシック" panose="020B0600070205080204" pitchFamily="34" charset="-128"/>
                <a:cs typeface="Arial"/>
                <a:sym typeface="Arial"/>
              </a:endParaRPr>
            </a:p>
          </p:txBody>
        </p:sp>
        <p:sp>
          <p:nvSpPr>
            <p:cNvPr id="75" name="Freeform 400">
              <a:extLst>
                <a:ext uri="{FF2B5EF4-FFF2-40B4-BE49-F238E27FC236}">
                  <a16:creationId xmlns:a16="http://schemas.microsoft.com/office/drawing/2014/main" id="{2E1B9302-E4C1-43B0-B598-FC78BE17968A}"/>
                </a:ext>
              </a:extLst>
            </p:cNvPr>
            <p:cNvSpPr>
              <a:spLocks noChangeArrowheads="1"/>
            </p:cNvSpPr>
            <p:nvPr/>
          </p:nvSpPr>
          <p:spPr bwMode="auto">
            <a:xfrm rot="10800000">
              <a:off x="5726112" y="4233863"/>
              <a:ext cx="117475" cy="119062"/>
            </a:xfrm>
            <a:custGeom>
              <a:avLst/>
              <a:gdLst>
                <a:gd name="T0" fmla="*/ 86389 w 325"/>
                <a:gd name="T1" fmla="*/ 0 h 330"/>
                <a:gd name="T2" fmla="*/ 33616 w 325"/>
                <a:gd name="T3" fmla="*/ 54480 h 330"/>
                <a:gd name="T4" fmla="*/ 0 w 325"/>
                <a:gd name="T5" fmla="*/ 20926 h 330"/>
                <a:gd name="T6" fmla="*/ 0 w 325"/>
                <a:gd name="T7" fmla="*/ 118701 h 330"/>
                <a:gd name="T8" fmla="*/ 97595 w 325"/>
                <a:gd name="T9" fmla="*/ 118701 h 330"/>
                <a:gd name="T10" fmla="*/ 63979 w 325"/>
                <a:gd name="T11" fmla="*/ 85147 h 330"/>
                <a:gd name="T12" fmla="*/ 117114 w 325"/>
                <a:gd name="T13" fmla="*/ 30667 h 330"/>
                <a:gd name="T14" fmla="*/ 86389 w 325"/>
                <a:gd name="T15" fmla="*/ 0 h 330"/>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325" h="330">
                  <a:moveTo>
                    <a:pt x="239" y="0"/>
                  </a:moveTo>
                  <a:lnTo>
                    <a:pt x="93" y="151"/>
                  </a:lnTo>
                  <a:lnTo>
                    <a:pt x="0" y="58"/>
                  </a:lnTo>
                  <a:lnTo>
                    <a:pt x="0" y="329"/>
                  </a:lnTo>
                  <a:lnTo>
                    <a:pt x="270" y="329"/>
                  </a:lnTo>
                  <a:lnTo>
                    <a:pt x="177" y="236"/>
                  </a:lnTo>
                  <a:lnTo>
                    <a:pt x="324" y="85"/>
                  </a:lnTo>
                  <a:lnTo>
                    <a:pt x="239"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pPr indent="0" defTabSz="914377">
                <a:lnSpc>
                  <a:spcPct val="93000"/>
                </a:lnSpc>
                <a:buClr>
                  <a:srgbClr val="000000"/>
                </a:buClr>
                <a:buSzPct val="100000"/>
                <a:defRPr/>
              </a:pPr>
              <a:endParaRPr lang="en-US" sz="1800">
                <a:solidFill>
                  <a:prstClr val="black"/>
                </a:solidFill>
                <a:latin typeface="Arial"/>
                <a:ea typeface="ＭＳ Ｐゴシック" panose="020B0600070205080204" pitchFamily="34" charset="-128"/>
                <a:cs typeface="Arial"/>
                <a:sym typeface="Arial"/>
              </a:endParaRPr>
            </a:p>
          </p:txBody>
        </p:sp>
      </p:grpSp>
      <p:sp>
        <p:nvSpPr>
          <p:cNvPr id="40" name="Oval 39">
            <a:extLst>
              <a:ext uri="{FF2B5EF4-FFF2-40B4-BE49-F238E27FC236}">
                <a16:creationId xmlns:a16="http://schemas.microsoft.com/office/drawing/2014/main" id="{85E9ED3C-E737-45EE-964F-F20D0376FD8E}"/>
              </a:ext>
            </a:extLst>
          </p:cNvPr>
          <p:cNvSpPr/>
          <p:nvPr/>
        </p:nvSpPr>
        <p:spPr>
          <a:xfrm>
            <a:off x="2592951" y="2457176"/>
            <a:ext cx="960581" cy="960581"/>
          </a:xfrm>
          <a:prstGeom prst="ellipse">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indent="0" algn="ctr" defTabSz="914377">
              <a:lnSpc>
                <a:spcPct val="100000"/>
              </a:lnSpc>
              <a:defRPr/>
            </a:pPr>
            <a:endParaRPr lang="en-US" err="1">
              <a:solidFill>
                <a:prstClr val="black"/>
              </a:solidFill>
              <a:latin typeface="Segoe Print" panose="02000600000000000000" pitchFamily="2" charset="0"/>
              <a:cs typeface="MV Boli" panose="02000500030200090000" pitchFamily="2" charset="0"/>
              <a:sym typeface="Arial"/>
            </a:endParaRPr>
          </a:p>
        </p:txBody>
      </p:sp>
      <p:grpSp>
        <p:nvGrpSpPr>
          <p:cNvPr id="50" name="Group 49">
            <a:extLst>
              <a:ext uri="{FF2B5EF4-FFF2-40B4-BE49-F238E27FC236}">
                <a16:creationId xmlns:a16="http://schemas.microsoft.com/office/drawing/2014/main" id="{8EEEF7BE-283A-4736-9CEF-40C2543501DB}"/>
              </a:ext>
            </a:extLst>
          </p:cNvPr>
          <p:cNvGrpSpPr>
            <a:grpSpLocks noChangeAspect="1"/>
          </p:cNvGrpSpPr>
          <p:nvPr/>
        </p:nvGrpSpPr>
        <p:grpSpPr>
          <a:xfrm>
            <a:off x="2675452" y="2539374"/>
            <a:ext cx="795579" cy="796188"/>
            <a:chOff x="5382636" y="1013708"/>
            <a:chExt cx="5603795" cy="5608077"/>
          </a:xfrm>
          <a:solidFill>
            <a:schemeClr val="accent2"/>
          </a:solidFill>
        </p:grpSpPr>
        <p:sp>
          <p:nvSpPr>
            <p:cNvPr id="51" name="Donut 4">
              <a:extLst>
                <a:ext uri="{FF2B5EF4-FFF2-40B4-BE49-F238E27FC236}">
                  <a16:creationId xmlns:a16="http://schemas.microsoft.com/office/drawing/2014/main" id="{CCCF37CF-0D27-4D9A-A2F8-D6A7E04E5338}"/>
                </a:ext>
              </a:extLst>
            </p:cNvPr>
            <p:cNvSpPr/>
            <p:nvPr userDrawn="1"/>
          </p:nvSpPr>
          <p:spPr>
            <a:xfrm rot="1153329">
              <a:off x="5382636" y="1291018"/>
              <a:ext cx="5591555" cy="5033101"/>
            </a:xfrm>
            <a:custGeom>
              <a:avLst/>
              <a:gdLst/>
              <a:ahLst/>
              <a:cxnLst/>
              <a:rect l="l" t="t" r="r" b="b"/>
              <a:pathLst>
                <a:path w="2445036" h="2235686">
                  <a:moveTo>
                    <a:pt x="994325" y="46990"/>
                  </a:moveTo>
                  <a:cubicBezTo>
                    <a:pt x="877453" y="68858"/>
                    <a:pt x="766785" y="106302"/>
                    <a:pt x="665030" y="156846"/>
                  </a:cubicBezTo>
                  <a:lnTo>
                    <a:pt x="658622" y="160405"/>
                  </a:lnTo>
                  <a:lnTo>
                    <a:pt x="654574" y="162184"/>
                  </a:lnTo>
                  <a:cubicBezTo>
                    <a:pt x="283151" y="346228"/>
                    <a:pt x="31009" y="705177"/>
                    <a:pt x="31009" y="1117843"/>
                  </a:cubicBezTo>
                  <a:cubicBezTo>
                    <a:pt x="31009" y="1455479"/>
                    <a:pt x="199798" y="1757156"/>
                    <a:pt x="464608" y="1956497"/>
                  </a:cubicBezTo>
                  <a:lnTo>
                    <a:pt x="469950" y="1960141"/>
                  </a:lnTo>
                  <a:lnTo>
                    <a:pt x="474204" y="1963676"/>
                  </a:lnTo>
                  <a:cubicBezTo>
                    <a:pt x="681098" y="2119801"/>
                    <a:pt x="946342" y="2213588"/>
                    <a:pt x="1235542" y="2213588"/>
                  </a:cubicBezTo>
                  <a:cubicBezTo>
                    <a:pt x="1896570" y="2213588"/>
                    <a:pt x="2432439" y="1723601"/>
                    <a:pt x="2432439" y="1119172"/>
                  </a:cubicBezTo>
                  <a:cubicBezTo>
                    <a:pt x="2432439" y="514743"/>
                    <a:pt x="1896570" y="24756"/>
                    <a:pt x="1235542" y="24756"/>
                  </a:cubicBezTo>
                  <a:cubicBezTo>
                    <a:pt x="1152914" y="24756"/>
                    <a:pt x="1072241" y="32412"/>
                    <a:pt x="994325" y="46990"/>
                  </a:cubicBezTo>
                  <a:close/>
                  <a:moveTo>
                    <a:pt x="976138" y="22711"/>
                  </a:moveTo>
                  <a:cubicBezTo>
                    <a:pt x="1055721" y="7820"/>
                    <a:pt x="1138121" y="0"/>
                    <a:pt x="1222518" y="0"/>
                  </a:cubicBezTo>
                  <a:cubicBezTo>
                    <a:pt x="1897696" y="0"/>
                    <a:pt x="2445036" y="500475"/>
                    <a:pt x="2445036" y="1117843"/>
                  </a:cubicBezTo>
                  <a:cubicBezTo>
                    <a:pt x="2445036" y="1735211"/>
                    <a:pt x="1897696" y="2235686"/>
                    <a:pt x="1222518" y="2235686"/>
                  </a:cubicBezTo>
                  <a:cubicBezTo>
                    <a:pt x="547340" y="2235686"/>
                    <a:pt x="0" y="1735211"/>
                    <a:pt x="0" y="1117843"/>
                  </a:cubicBezTo>
                  <a:cubicBezTo>
                    <a:pt x="0" y="577646"/>
                    <a:pt x="419057" y="126945"/>
                    <a:pt x="976138" y="22711"/>
                  </a:cubicBezTo>
                  <a:close/>
                </a:path>
              </a:pathLst>
            </a:cu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indent="0" algn="ctr" defTabSz="914377">
                <a:lnSpc>
                  <a:spcPct val="100000"/>
                </a:lnSpc>
                <a:defRPr/>
              </a:pPr>
              <a:endParaRPr lang="en-US" sz="1800">
                <a:solidFill>
                  <a:prstClr val="white"/>
                </a:solidFill>
                <a:latin typeface="Arial"/>
                <a:sym typeface="Arial"/>
              </a:endParaRPr>
            </a:p>
          </p:txBody>
        </p:sp>
        <p:sp>
          <p:nvSpPr>
            <p:cNvPr id="52" name="Donut 83">
              <a:extLst>
                <a:ext uri="{FF2B5EF4-FFF2-40B4-BE49-F238E27FC236}">
                  <a16:creationId xmlns:a16="http://schemas.microsoft.com/office/drawing/2014/main" id="{B9F881C0-B238-48EE-97B9-048F38E53F8A}"/>
                </a:ext>
              </a:extLst>
            </p:cNvPr>
            <p:cNvSpPr/>
            <p:nvPr userDrawn="1"/>
          </p:nvSpPr>
          <p:spPr>
            <a:xfrm rot="20856452">
              <a:off x="5416562" y="1288231"/>
              <a:ext cx="5569869" cy="5039014"/>
            </a:xfrm>
            <a:custGeom>
              <a:avLst/>
              <a:gdLst/>
              <a:ahLst/>
              <a:cxnLst/>
              <a:rect l="l" t="t" r="r" b="b"/>
              <a:pathLst>
                <a:path w="2476464" h="2240436">
                  <a:moveTo>
                    <a:pt x="1481665" y="52478"/>
                  </a:moveTo>
                  <a:cubicBezTo>
                    <a:pt x="1403034" y="37960"/>
                    <a:pt x="1321619" y="30336"/>
                    <a:pt x="1238232" y="30336"/>
                  </a:cubicBezTo>
                  <a:cubicBezTo>
                    <a:pt x="862986" y="30336"/>
                    <a:pt x="527706" y="184729"/>
                    <a:pt x="306160" y="426952"/>
                  </a:cubicBezTo>
                  <a:lnTo>
                    <a:pt x="305452" y="427806"/>
                  </a:lnTo>
                  <a:lnTo>
                    <a:pt x="302828" y="430389"/>
                  </a:lnTo>
                  <a:cubicBezTo>
                    <a:pt x="128717" y="619149"/>
                    <a:pt x="24126" y="861144"/>
                    <a:pt x="24126" y="1124996"/>
                  </a:cubicBezTo>
                  <a:cubicBezTo>
                    <a:pt x="24126" y="1728085"/>
                    <a:pt x="570561" y="2216986"/>
                    <a:pt x="1244622" y="2216986"/>
                  </a:cubicBezTo>
                  <a:cubicBezTo>
                    <a:pt x="1918683" y="2216986"/>
                    <a:pt x="2465118" y="1728085"/>
                    <a:pt x="2465118" y="1124996"/>
                  </a:cubicBezTo>
                  <a:cubicBezTo>
                    <a:pt x="2465118" y="634986"/>
                    <a:pt x="2104386" y="220358"/>
                    <a:pt x="1607560" y="82100"/>
                  </a:cubicBezTo>
                  <a:lnTo>
                    <a:pt x="1601741" y="80761"/>
                  </a:lnTo>
                  <a:lnTo>
                    <a:pt x="1597423" y="79335"/>
                  </a:lnTo>
                  <a:cubicBezTo>
                    <a:pt x="1559600" y="68720"/>
                    <a:pt x="1520981" y="59738"/>
                    <a:pt x="1481665" y="52478"/>
                  </a:cubicBezTo>
                  <a:close/>
                  <a:moveTo>
                    <a:pt x="1487779" y="22759"/>
                  </a:moveTo>
                  <a:cubicBezTo>
                    <a:pt x="2052020" y="127215"/>
                    <a:pt x="2476464" y="578874"/>
                    <a:pt x="2476464" y="1120218"/>
                  </a:cubicBezTo>
                  <a:cubicBezTo>
                    <a:pt x="2476464" y="1738897"/>
                    <a:pt x="1922089" y="2240436"/>
                    <a:pt x="1238232" y="2240436"/>
                  </a:cubicBezTo>
                  <a:cubicBezTo>
                    <a:pt x="554375" y="2240436"/>
                    <a:pt x="0" y="1738897"/>
                    <a:pt x="0" y="1120218"/>
                  </a:cubicBezTo>
                  <a:cubicBezTo>
                    <a:pt x="-1" y="501539"/>
                    <a:pt x="554375" y="0"/>
                    <a:pt x="1238232" y="0"/>
                  </a:cubicBezTo>
                  <a:cubicBezTo>
                    <a:pt x="1323714" y="0"/>
                    <a:pt x="1407173" y="7836"/>
                    <a:pt x="1487779" y="22759"/>
                  </a:cubicBezTo>
                  <a:close/>
                </a:path>
              </a:pathLst>
            </a:cu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indent="0" algn="ctr" defTabSz="914377">
                <a:lnSpc>
                  <a:spcPct val="100000"/>
                </a:lnSpc>
                <a:defRPr/>
              </a:pPr>
              <a:endParaRPr lang="en-US" sz="1800">
                <a:solidFill>
                  <a:prstClr val="white"/>
                </a:solidFill>
                <a:latin typeface="Arial"/>
                <a:sym typeface="Arial"/>
              </a:endParaRPr>
            </a:p>
          </p:txBody>
        </p:sp>
        <p:sp>
          <p:nvSpPr>
            <p:cNvPr id="53" name="Donut 83">
              <a:extLst>
                <a:ext uri="{FF2B5EF4-FFF2-40B4-BE49-F238E27FC236}">
                  <a16:creationId xmlns:a16="http://schemas.microsoft.com/office/drawing/2014/main" id="{414DAA6F-3DD0-4726-84C0-EFCA822B7B42}"/>
                </a:ext>
              </a:extLst>
            </p:cNvPr>
            <p:cNvSpPr/>
            <p:nvPr userDrawn="1"/>
          </p:nvSpPr>
          <p:spPr>
            <a:xfrm rot="2565230" flipH="1">
              <a:off x="5757391" y="1013708"/>
              <a:ext cx="4980215" cy="5608077"/>
            </a:xfrm>
            <a:custGeom>
              <a:avLst/>
              <a:gdLst/>
              <a:ahLst/>
              <a:cxnLst/>
              <a:rect l="l" t="t" r="r" b="b"/>
              <a:pathLst>
                <a:path w="2476464" h="2240436">
                  <a:moveTo>
                    <a:pt x="1481665" y="52478"/>
                  </a:moveTo>
                  <a:cubicBezTo>
                    <a:pt x="1403034" y="37960"/>
                    <a:pt x="1321619" y="30336"/>
                    <a:pt x="1238232" y="30336"/>
                  </a:cubicBezTo>
                  <a:cubicBezTo>
                    <a:pt x="862986" y="30336"/>
                    <a:pt x="527706" y="184729"/>
                    <a:pt x="306160" y="426952"/>
                  </a:cubicBezTo>
                  <a:lnTo>
                    <a:pt x="305452" y="427806"/>
                  </a:lnTo>
                  <a:lnTo>
                    <a:pt x="302828" y="430389"/>
                  </a:lnTo>
                  <a:cubicBezTo>
                    <a:pt x="128717" y="619149"/>
                    <a:pt x="24126" y="861144"/>
                    <a:pt x="24126" y="1124996"/>
                  </a:cubicBezTo>
                  <a:cubicBezTo>
                    <a:pt x="24126" y="1728085"/>
                    <a:pt x="570561" y="2216986"/>
                    <a:pt x="1244622" y="2216986"/>
                  </a:cubicBezTo>
                  <a:cubicBezTo>
                    <a:pt x="1918683" y="2216986"/>
                    <a:pt x="2465118" y="1728085"/>
                    <a:pt x="2465118" y="1124996"/>
                  </a:cubicBezTo>
                  <a:cubicBezTo>
                    <a:pt x="2465118" y="634986"/>
                    <a:pt x="2104386" y="220358"/>
                    <a:pt x="1607560" y="82100"/>
                  </a:cubicBezTo>
                  <a:lnTo>
                    <a:pt x="1601741" y="80761"/>
                  </a:lnTo>
                  <a:lnTo>
                    <a:pt x="1597423" y="79335"/>
                  </a:lnTo>
                  <a:cubicBezTo>
                    <a:pt x="1559600" y="68720"/>
                    <a:pt x="1520981" y="59738"/>
                    <a:pt x="1481665" y="52478"/>
                  </a:cubicBezTo>
                  <a:close/>
                  <a:moveTo>
                    <a:pt x="1487779" y="22759"/>
                  </a:moveTo>
                  <a:cubicBezTo>
                    <a:pt x="2052020" y="127215"/>
                    <a:pt x="2476464" y="578874"/>
                    <a:pt x="2476464" y="1120218"/>
                  </a:cubicBezTo>
                  <a:cubicBezTo>
                    <a:pt x="2476464" y="1738897"/>
                    <a:pt x="1922089" y="2240436"/>
                    <a:pt x="1238232" y="2240436"/>
                  </a:cubicBezTo>
                  <a:cubicBezTo>
                    <a:pt x="554375" y="2240436"/>
                    <a:pt x="0" y="1738897"/>
                    <a:pt x="0" y="1120218"/>
                  </a:cubicBezTo>
                  <a:cubicBezTo>
                    <a:pt x="-1" y="501539"/>
                    <a:pt x="554375" y="0"/>
                    <a:pt x="1238232" y="0"/>
                  </a:cubicBezTo>
                  <a:cubicBezTo>
                    <a:pt x="1323714" y="0"/>
                    <a:pt x="1407173" y="7836"/>
                    <a:pt x="1487779" y="22759"/>
                  </a:cubicBezTo>
                  <a:close/>
                </a:path>
              </a:pathLst>
            </a:cu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indent="0" algn="ctr" defTabSz="914377">
                <a:lnSpc>
                  <a:spcPct val="100000"/>
                </a:lnSpc>
                <a:defRPr/>
              </a:pPr>
              <a:endParaRPr lang="en-US" sz="1800">
                <a:solidFill>
                  <a:prstClr val="white"/>
                </a:solidFill>
                <a:latin typeface="Arial"/>
                <a:sym typeface="Arial"/>
              </a:endParaRPr>
            </a:p>
          </p:txBody>
        </p:sp>
      </p:grpSp>
      <p:sp>
        <p:nvSpPr>
          <p:cNvPr id="41" name="Oval 40">
            <a:extLst>
              <a:ext uri="{FF2B5EF4-FFF2-40B4-BE49-F238E27FC236}">
                <a16:creationId xmlns:a16="http://schemas.microsoft.com/office/drawing/2014/main" id="{4AFE2499-D501-4CE7-8A8F-CCBF9DD4E256}"/>
              </a:ext>
            </a:extLst>
          </p:cNvPr>
          <p:cNvSpPr/>
          <p:nvPr/>
        </p:nvSpPr>
        <p:spPr>
          <a:xfrm>
            <a:off x="2592951" y="3316818"/>
            <a:ext cx="960581" cy="960581"/>
          </a:xfrm>
          <a:prstGeom prst="ellipse">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indent="0" algn="ctr" defTabSz="914377">
              <a:lnSpc>
                <a:spcPct val="100000"/>
              </a:lnSpc>
              <a:defRPr/>
            </a:pPr>
            <a:endParaRPr lang="en-US" err="1">
              <a:solidFill>
                <a:prstClr val="black"/>
              </a:solidFill>
              <a:latin typeface="Segoe Print" panose="02000600000000000000" pitchFamily="2" charset="0"/>
              <a:cs typeface="MV Boli" panose="02000500030200090000" pitchFamily="2" charset="0"/>
              <a:sym typeface="Arial"/>
            </a:endParaRPr>
          </a:p>
        </p:txBody>
      </p:sp>
      <p:grpSp>
        <p:nvGrpSpPr>
          <p:cNvPr id="54" name="Group 53">
            <a:extLst>
              <a:ext uri="{FF2B5EF4-FFF2-40B4-BE49-F238E27FC236}">
                <a16:creationId xmlns:a16="http://schemas.microsoft.com/office/drawing/2014/main" id="{9CBD230A-50E6-4A4E-B51C-6F057E12EF70}"/>
              </a:ext>
            </a:extLst>
          </p:cNvPr>
          <p:cNvGrpSpPr>
            <a:grpSpLocks noChangeAspect="1"/>
          </p:cNvGrpSpPr>
          <p:nvPr/>
        </p:nvGrpSpPr>
        <p:grpSpPr>
          <a:xfrm>
            <a:off x="2675453" y="3416831"/>
            <a:ext cx="795580" cy="796188"/>
            <a:chOff x="5382636" y="1013708"/>
            <a:chExt cx="5603795" cy="5608077"/>
          </a:xfrm>
          <a:solidFill>
            <a:schemeClr val="accent1"/>
          </a:solidFill>
        </p:grpSpPr>
        <p:sp>
          <p:nvSpPr>
            <p:cNvPr id="55" name="Donut 4">
              <a:extLst>
                <a:ext uri="{FF2B5EF4-FFF2-40B4-BE49-F238E27FC236}">
                  <a16:creationId xmlns:a16="http://schemas.microsoft.com/office/drawing/2014/main" id="{10D8BB16-C858-4F8E-A63B-7E739BFF0823}"/>
                </a:ext>
              </a:extLst>
            </p:cNvPr>
            <p:cNvSpPr/>
            <p:nvPr userDrawn="1"/>
          </p:nvSpPr>
          <p:spPr>
            <a:xfrm rot="1153329">
              <a:off x="5382636" y="1291018"/>
              <a:ext cx="5591555" cy="5033101"/>
            </a:xfrm>
            <a:custGeom>
              <a:avLst/>
              <a:gdLst/>
              <a:ahLst/>
              <a:cxnLst/>
              <a:rect l="l" t="t" r="r" b="b"/>
              <a:pathLst>
                <a:path w="2445036" h="2235686">
                  <a:moveTo>
                    <a:pt x="994325" y="46990"/>
                  </a:moveTo>
                  <a:cubicBezTo>
                    <a:pt x="877453" y="68858"/>
                    <a:pt x="766785" y="106302"/>
                    <a:pt x="665030" y="156846"/>
                  </a:cubicBezTo>
                  <a:lnTo>
                    <a:pt x="658622" y="160405"/>
                  </a:lnTo>
                  <a:lnTo>
                    <a:pt x="654574" y="162184"/>
                  </a:lnTo>
                  <a:cubicBezTo>
                    <a:pt x="283151" y="346228"/>
                    <a:pt x="31009" y="705177"/>
                    <a:pt x="31009" y="1117843"/>
                  </a:cubicBezTo>
                  <a:cubicBezTo>
                    <a:pt x="31009" y="1455479"/>
                    <a:pt x="199798" y="1757156"/>
                    <a:pt x="464608" y="1956497"/>
                  </a:cubicBezTo>
                  <a:lnTo>
                    <a:pt x="469950" y="1960141"/>
                  </a:lnTo>
                  <a:lnTo>
                    <a:pt x="474204" y="1963676"/>
                  </a:lnTo>
                  <a:cubicBezTo>
                    <a:pt x="681098" y="2119801"/>
                    <a:pt x="946342" y="2213588"/>
                    <a:pt x="1235542" y="2213588"/>
                  </a:cubicBezTo>
                  <a:cubicBezTo>
                    <a:pt x="1896570" y="2213588"/>
                    <a:pt x="2432439" y="1723601"/>
                    <a:pt x="2432439" y="1119172"/>
                  </a:cubicBezTo>
                  <a:cubicBezTo>
                    <a:pt x="2432439" y="514743"/>
                    <a:pt x="1896570" y="24756"/>
                    <a:pt x="1235542" y="24756"/>
                  </a:cubicBezTo>
                  <a:cubicBezTo>
                    <a:pt x="1152914" y="24756"/>
                    <a:pt x="1072241" y="32412"/>
                    <a:pt x="994325" y="46990"/>
                  </a:cubicBezTo>
                  <a:close/>
                  <a:moveTo>
                    <a:pt x="976138" y="22711"/>
                  </a:moveTo>
                  <a:cubicBezTo>
                    <a:pt x="1055721" y="7820"/>
                    <a:pt x="1138121" y="0"/>
                    <a:pt x="1222518" y="0"/>
                  </a:cubicBezTo>
                  <a:cubicBezTo>
                    <a:pt x="1897696" y="0"/>
                    <a:pt x="2445036" y="500475"/>
                    <a:pt x="2445036" y="1117843"/>
                  </a:cubicBezTo>
                  <a:cubicBezTo>
                    <a:pt x="2445036" y="1735211"/>
                    <a:pt x="1897696" y="2235686"/>
                    <a:pt x="1222518" y="2235686"/>
                  </a:cubicBezTo>
                  <a:cubicBezTo>
                    <a:pt x="547340" y="2235686"/>
                    <a:pt x="0" y="1735211"/>
                    <a:pt x="0" y="1117843"/>
                  </a:cubicBezTo>
                  <a:cubicBezTo>
                    <a:pt x="0" y="577646"/>
                    <a:pt x="419057" y="126945"/>
                    <a:pt x="976138" y="22711"/>
                  </a:cubicBezTo>
                  <a:close/>
                </a:path>
              </a:pathLst>
            </a:cu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indent="0" algn="ctr" defTabSz="914377">
                <a:lnSpc>
                  <a:spcPct val="100000"/>
                </a:lnSpc>
                <a:defRPr/>
              </a:pPr>
              <a:endParaRPr lang="en-US" sz="1800">
                <a:solidFill>
                  <a:prstClr val="white"/>
                </a:solidFill>
                <a:latin typeface="Arial"/>
                <a:sym typeface="Arial"/>
              </a:endParaRPr>
            </a:p>
          </p:txBody>
        </p:sp>
        <p:sp>
          <p:nvSpPr>
            <p:cNvPr id="56" name="Donut 83">
              <a:extLst>
                <a:ext uri="{FF2B5EF4-FFF2-40B4-BE49-F238E27FC236}">
                  <a16:creationId xmlns:a16="http://schemas.microsoft.com/office/drawing/2014/main" id="{E3747392-EB00-409D-980D-1764918D5848}"/>
                </a:ext>
              </a:extLst>
            </p:cNvPr>
            <p:cNvSpPr/>
            <p:nvPr userDrawn="1"/>
          </p:nvSpPr>
          <p:spPr>
            <a:xfrm rot="20856452">
              <a:off x="5416562" y="1288231"/>
              <a:ext cx="5569869" cy="5039014"/>
            </a:xfrm>
            <a:custGeom>
              <a:avLst/>
              <a:gdLst/>
              <a:ahLst/>
              <a:cxnLst/>
              <a:rect l="l" t="t" r="r" b="b"/>
              <a:pathLst>
                <a:path w="2476464" h="2240436">
                  <a:moveTo>
                    <a:pt x="1481665" y="52478"/>
                  </a:moveTo>
                  <a:cubicBezTo>
                    <a:pt x="1403034" y="37960"/>
                    <a:pt x="1321619" y="30336"/>
                    <a:pt x="1238232" y="30336"/>
                  </a:cubicBezTo>
                  <a:cubicBezTo>
                    <a:pt x="862986" y="30336"/>
                    <a:pt x="527706" y="184729"/>
                    <a:pt x="306160" y="426952"/>
                  </a:cubicBezTo>
                  <a:lnTo>
                    <a:pt x="305452" y="427806"/>
                  </a:lnTo>
                  <a:lnTo>
                    <a:pt x="302828" y="430389"/>
                  </a:lnTo>
                  <a:cubicBezTo>
                    <a:pt x="128717" y="619149"/>
                    <a:pt x="24126" y="861144"/>
                    <a:pt x="24126" y="1124996"/>
                  </a:cubicBezTo>
                  <a:cubicBezTo>
                    <a:pt x="24126" y="1728085"/>
                    <a:pt x="570561" y="2216986"/>
                    <a:pt x="1244622" y="2216986"/>
                  </a:cubicBezTo>
                  <a:cubicBezTo>
                    <a:pt x="1918683" y="2216986"/>
                    <a:pt x="2465118" y="1728085"/>
                    <a:pt x="2465118" y="1124996"/>
                  </a:cubicBezTo>
                  <a:cubicBezTo>
                    <a:pt x="2465118" y="634986"/>
                    <a:pt x="2104386" y="220358"/>
                    <a:pt x="1607560" y="82100"/>
                  </a:cubicBezTo>
                  <a:lnTo>
                    <a:pt x="1601741" y="80761"/>
                  </a:lnTo>
                  <a:lnTo>
                    <a:pt x="1597423" y="79335"/>
                  </a:lnTo>
                  <a:cubicBezTo>
                    <a:pt x="1559600" y="68720"/>
                    <a:pt x="1520981" y="59738"/>
                    <a:pt x="1481665" y="52478"/>
                  </a:cubicBezTo>
                  <a:close/>
                  <a:moveTo>
                    <a:pt x="1487779" y="22759"/>
                  </a:moveTo>
                  <a:cubicBezTo>
                    <a:pt x="2052020" y="127215"/>
                    <a:pt x="2476464" y="578874"/>
                    <a:pt x="2476464" y="1120218"/>
                  </a:cubicBezTo>
                  <a:cubicBezTo>
                    <a:pt x="2476464" y="1738897"/>
                    <a:pt x="1922089" y="2240436"/>
                    <a:pt x="1238232" y="2240436"/>
                  </a:cubicBezTo>
                  <a:cubicBezTo>
                    <a:pt x="554375" y="2240436"/>
                    <a:pt x="0" y="1738897"/>
                    <a:pt x="0" y="1120218"/>
                  </a:cubicBezTo>
                  <a:cubicBezTo>
                    <a:pt x="-1" y="501539"/>
                    <a:pt x="554375" y="0"/>
                    <a:pt x="1238232" y="0"/>
                  </a:cubicBezTo>
                  <a:cubicBezTo>
                    <a:pt x="1323714" y="0"/>
                    <a:pt x="1407173" y="7836"/>
                    <a:pt x="1487779" y="22759"/>
                  </a:cubicBezTo>
                  <a:close/>
                </a:path>
              </a:pathLst>
            </a:cu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indent="0" algn="ctr" defTabSz="914377">
                <a:lnSpc>
                  <a:spcPct val="100000"/>
                </a:lnSpc>
                <a:defRPr/>
              </a:pPr>
              <a:endParaRPr lang="en-US" sz="1800">
                <a:solidFill>
                  <a:prstClr val="white"/>
                </a:solidFill>
                <a:latin typeface="Arial"/>
                <a:sym typeface="Arial"/>
              </a:endParaRPr>
            </a:p>
          </p:txBody>
        </p:sp>
        <p:sp>
          <p:nvSpPr>
            <p:cNvPr id="57" name="Donut 83">
              <a:extLst>
                <a:ext uri="{FF2B5EF4-FFF2-40B4-BE49-F238E27FC236}">
                  <a16:creationId xmlns:a16="http://schemas.microsoft.com/office/drawing/2014/main" id="{A8E3FE2C-1A22-467D-9ACE-21763183C0EB}"/>
                </a:ext>
              </a:extLst>
            </p:cNvPr>
            <p:cNvSpPr/>
            <p:nvPr userDrawn="1"/>
          </p:nvSpPr>
          <p:spPr>
            <a:xfrm rot="2565230" flipH="1">
              <a:off x="5936296" y="1013708"/>
              <a:ext cx="4980215" cy="5608077"/>
            </a:xfrm>
            <a:custGeom>
              <a:avLst/>
              <a:gdLst/>
              <a:ahLst/>
              <a:cxnLst/>
              <a:rect l="l" t="t" r="r" b="b"/>
              <a:pathLst>
                <a:path w="2476464" h="2240436">
                  <a:moveTo>
                    <a:pt x="1481665" y="52478"/>
                  </a:moveTo>
                  <a:cubicBezTo>
                    <a:pt x="1403034" y="37960"/>
                    <a:pt x="1321619" y="30336"/>
                    <a:pt x="1238232" y="30336"/>
                  </a:cubicBezTo>
                  <a:cubicBezTo>
                    <a:pt x="862986" y="30336"/>
                    <a:pt x="527706" y="184729"/>
                    <a:pt x="306160" y="426952"/>
                  </a:cubicBezTo>
                  <a:lnTo>
                    <a:pt x="305452" y="427806"/>
                  </a:lnTo>
                  <a:lnTo>
                    <a:pt x="302828" y="430389"/>
                  </a:lnTo>
                  <a:cubicBezTo>
                    <a:pt x="128717" y="619149"/>
                    <a:pt x="24126" y="861144"/>
                    <a:pt x="24126" y="1124996"/>
                  </a:cubicBezTo>
                  <a:cubicBezTo>
                    <a:pt x="24126" y="1728085"/>
                    <a:pt x="570561" y="2216986"/>
                    <a:pt x="1244622" y="2216986"/>
                  </a:cubicBezTo>
                  <a:cubicBezTo>
                    <a:pt x="1918683" y="2216986"/>
                    <a:pt x="2465118" y="1728085"/>
                    <a:pt x="2465118" y="1124996"/>
                  </a:cubicBezTo>
                  <a:cubicBezTo>
                    <a:pt x="2465118" y="634986"/>
                    <a:pt x="2104386" y="220358"/>
                    <a:pt x="1607560" y="82100"/>
                  </a:cubicBezTo>
                  <a:lnTo>
                    <a:pt x="1601741" y="80761"/>
                  </a:lnTo>
                  <a:lnTo>
                    <a:pt x="1597423" y="79335"/>
                  </a:lnTo>
                  <a:cubicBezTo>
                    <a:pt x="1559600" y="68720"/>
                    <a:pt x="1520981" y="59738"/>
                    <a:pt x="1481665" y="52478"/>
                  </a:cubicBezTo>
                  <a:close/>
                  <a:moveTo>
                    <a:pt x="1487779" y="22759"/>
                  </a:moveTo>
                  <a:cubicBezTo>
                    <a:pt x="2052020" y="127215"/>
                    <a:pt x="2476464" y="578874"/>
                    <a:pt x="2476464" y="1120218"/>
                  </a:cubicBezTo>
                  <a:cubicBezTo>
                    <a:pt x="2476464" y="1738897"/>
                    <a:pt x="1922089" y="2240436"/>
                    <a:pt x="1238232" y="2240436"/>
                  </a:cubicBezTo>
                  <a:cubicBezTo>
                    <a:pt x="554375" y="2240436"/>
                    <a:pt x="0" y="1738897"/>
                    <a:pt x="0" y="1120218"/>
                  </a:cubicBezTo>
                  <a:cubicBezTo>
                    <a:pt x="-1" y="501539"/>
                    <a:pt x="554375" y="0"/>
                    <a:pt x="1238232" y="0"/>
                  </a:cubicBezTo>
                  <a:cubicBezTo>
                    <a:pt x="1323714" y="0"/>
                    <a:pt x="1407173" y="7836"/>
                    <a:pt x="1487779" y="22759"/>
                  </a:cubicBezTo>
                  <a:close/>
                </a:path>
              </a:pathLst>
            </a:cu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indent="0" algn="ctr" defTabSz="914377">
                <a:lnSpc>
                  <a:spcPct val="100000"/>
                </a:lnSpc>
                <a:defRPr/>
              </a:pPr>
              <a:endParaRPr lang="en-US" sz="1800">
                <a:solidFill>
                  <a:prstClr val="white"/>
                </a:solidFill>
                <a:latin typeface="Arial"/>
                <a:sym typeface="Arial"/>
              </a:endParaRPr>
            </a:p>
          </p:txBody>
        </p:sp>
      </p:grpSp>
      <p:sp>
        <p:nvSpPr>
          <p:cNvPr id="80" name="TextBox 79">
            <a:extLst>
              <a:ext uri="{FF2B5EF4-FFF2-40B4-BE49-F238E27FC236}">
                <a16:creationId xmlns:a16="http://schemas.microsoft.com/office/drawing/2014/main" id="{B9D2F190-94E3-454E-8884-D443800DC82D}"/>
              </a:ext>
            </a:extLst>
          </p:cNvPr>
          <p:cNvSpPr txBox="1"/>
          <p:nvPr/>
        </p:nvSpPr>
        <p:spPr>
          <a:xfrm>
            <a:off x="2809517" y="3454034"/>
            <a:ext cx="527452" cy="553212"/>
          </a:xfrm>
          <a:prstGeom prst="rect">
            <a:avLst/>
          </a:prstGeom>
          <a:noFill/>
          <a:ln>
            <a:noFill/>
          </a:ln>
        </p:spPr>
        <p:txBody>
          <a:bodyPr wrap="none" lIns="0" tIns="0" rIns="0" bIns="0" rtlCol="0">
            <a:noAutofit/>
          </a:bodyPr>
          <a:lstStyle/>
          <a:p>
            <a:pPr indent="0" algn="ctr" defTabSz="914377">
              <a:lnSpc>
                <a:spcPct val="100000"/>
              </a:lnSpc>
              <a:defRPr/>
            </a:pPr>
            <a:r>
              <a:rPr lang="en-US" sz="4800" b="1">
                <a:solidFill>
                  <a:srgbClr val="1C6D7D"/>
                </a:solidFill>
                <a:latin typeface="Arial"/>
                <a:cs typeface="MV Boli" panose="02000500030200090000" pitchFamily="2" charset="0"/>
                <a:sym typeface="Arial"/>
              </a:rPr>
              <a:t>#</a:t>
            </a:r>
          </a:p>
        </p:txBody>
      </p:sp>
      <p:sp>
        <p:nvSpPr>
          <p:cNvPr id="42" name="Oval 41">
            <a:extLst>
              <a:ext uri="{FF2B5EF4-FFF2-40B4-BE49-F238E27FC236}">
                <a16:creationId xmlns:a16="http://schemas.microsoft.com/office/drawing/2014/main" id="{BA4C543A-D33A-40F7-AF81-C97736488B50}"/>
              </a:ext>
            </a:extLst>
          </p:cNvPr>
          <p:cNvSpPr/>
          <p:nvPr/>
        </p:nvSpPr>
        <p:spPr>
          <a:xfrm>
            <a:off x="2592951" y="4268586"/>
            <a:ext cx="960581" cy="960581"/>
          </a:xfrm>
          <a:prstGeom prst="ellipse">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indent="0" algn="ctr" defTabSz="914377">
              <a:lnSpc>
                <a:spcPct val="100000"/>
              </a:lnSpc>
              <a:defRPr/>
            </a:pPr>
            <a:endParaRPr lang="en-US" err="1">
              <a:solidFill>
                <a:prstClr val="black"/>
              </a:solidFill>
              <a:latin typeface="Segoe Print" panose="02000600000000000000" pitchFamily="2" charset="0"/>
              <a:cs typeface="MV Boli" panose="02000500030200090000" pitchFamily="2" charset="0"/>
              <a:sym typeface="Arial"/>
            </a:endParaRPr>
          </a:p>
        </p:txBody>
      </p:sp>
      <p:sp>
        <p:nvSpPr>
          <p:cNvPr id="59" name="Donut 4">
            <a:extLst>
              <a:ext uri="{FF2B5EF4-FFF2-40B4-BE49-F238E27FC236}">
                <a16:creationId xmlns:a16="http://schemas.microsoft.com/office/drawing/2014/main" id="{F216580F-D0F9-41A8-96C6-370D5F1867B7}"/>
              </a:ext>
            </a:extLst>
          </p:cNvPr>
          <p:cNvSpPr/>
          <p:nvPr userDrawn="1"/>
        </p:nvSpPr>
        <p:spPr>
          <a:xfrm rot="1153329">
            <a:off x="2676320" y="4390154"/>
            <a:ext cx="793843" cy="714557"/>
          </a:xfrm>
          <a:custGeom>
            <a:avLst/>
            <a:gdLst/>
            <a:ahLst/>
            <a:cxnLst/>
            <a:rect l="l" t="t" r="r" b="b"/>
            <a:pathLst>
              <a:path w="2445036" h="2235686">
                <a:moveTo>
                  <a:pt x="994325" y="46990"/>
                </a:moveTo>
                <a:cubicBezTo>
                  <a:pt x="877453" y="68858"/>
                  <a:pt x="766785" y="106302"/>
                  <a:pt x="665030" y="156846"/>
                </a:cubicBezTo>
                <a:lnTo>
                  <a:pt x="658622" y="160405"/>
                </a:lnTo>
                <a:lnTo>
                  <a:pt x="654574" y="162184"/>
                </a:lnTo>
                <a:cubicBezTo>
                  <a:pt x="283151" y="346228"/>
                  <a:pt x="31009" y="705177"/>
                  <a:pt x="31009" y="1117843"/>
                </a:cubicBezTo>
                <a:cubicBezTo>
                  <a:pt x="31009" y="1455479"/>
                  <a:pt x="199798" y="1757156"/>
                  <a:pt x="464608" y="1956497"/>
                </a:cubicBezTo>
                <a:lnTo>
                  <a:pt x="469950" y="1960141"/>
                </a:lnTo>
                <a:lnTo>
                  <a:pt x="474204" y="1963676"/>
                </a:lnTo>
                <a:cubicBezTo>
                  <a:pt x="681098" y="2119801"/>
                  <a:pt x="946342" y="2213588"/>
                  <a:pt x="1235542" y="2213588"/>
                </a:cubicBezTo>
                <a:cubicBezTo>
                  <a:pt x="1896570" y="2213588"/>
                  <a:pt x="2432439" y="1723601"/>
                  <a:pt x="2432439" y="1119172"/>
                </a:cubicBezTo>
                <a:cubicBezTo>
                  <a:pt x="2432439" y="514743"/>
                  <a:pt x="1896570" y="24756"/>
                  <a:pt x="1235542" y="24756"/>
                </a:cubicBezTo>
                <a:cubicBezTo>
                  <a:pt x="1152914" y="24756"/>
                  <a:pt x="1072241" y="32412"/>
                  <a:pt x="994325" y="46990"/>
                </a:cubicBezTo>
                <a:close/>
                <a:moveTo>
                  <a:pt x="976138" y="22711"/>
                </a:moveTo>
                <a:cubicBezTo>
                  <a:pt x="1055721" y="7820"/>
                  <a:pt x="1138121" y="0"/>
                  <a:pt x="1222518" y="0"/>
                </a:cubicBezTo>
                <a:cubicBezTo>
                  <a:pt x="1897696" y="0"/>
                  <a:pt x="2445036" y="500475"/>
                  <a:pt x="2445036" y="1117843"/>
                </a:cubicBezTo>
                <a:cubicBezTo>
                  <a:pt x="2445036" y="1735211"/>
                  <a:pt x="1897696" y="2235686"/>
                  <a:pt x="1222518" y="2235686"/>
                </a:cubicBezTo>
                <a:cubicBezTo>
                  <a:pt x="547340" y="2235686"/>
                  <a:pt x="0" y="1735211"/>
                  <a:pt x="0" y="1117843"/>
                </a:cubicBezTo>
                <a:cubicBezTo>
                  <a:pt x="0" y="577646"/>
                  <a:pt x="419057" y="126945"/>
                  <a:pt x="976138" y="22711"/>
                </a:cubicBezTo>
                <a:close/>
              </a:path>
            </a:pathLst>
          </a:custGeom>
          <a:solidFill>
            <a:schemeClr val="accent6">
              <a:lumMod val="50000"/>
            </a:schemeClr>
          </a:solidFill>
          <a:ln>
            <a:solidFill>
              <a:schemeClr val="accent3"/>
            </a:solidFill>
          </a:ln>
          <a:effectLst/>
        </p:spPr>
        <p:style>
          <a:lnRef idx="1">
            <a:schemeClr val="accent1"/>
          </a:lnRef>
          <a:fillRef idx="3">
            <a:schemeClr val="accent1"/>
          </a:fillRef>
          <a:effectRef idx="2">
            <a:schemeClr val="accent1"/>
          </a:effectRef>
          <a:fontRef idx="minor">
            <a:schemeClr val="lt1"/>
          </a:fontRef>
        </p:style>
        <p:txBody>
          <a:bodyPr rtlCol="0" anchor="ctr"/>
          <a:lstStyle/>
          <a:p>
            <a:pPr indent="0" algn="ctr" defTabSz="914377">
              <a:lnSpc>
                <a:spcPct val="100000"/>
              </a:lnSpc>
              <a:defRPr/>
            </a:pPr>
            <a:endParaRPr lang="en-US" sz="1800">
              <a:solidFill>
                <a:prstClr val="white"/>
              </a:solidFill>
              <a:latin typeface="Arial"/>
              <a:sym typeface="Arial"/>
            </a:endParaRPr>
          </a:p>
        </p:txBody>
      </p:sp>
      <p:sp>
        <p:nvSpPr>
          <p:cNvPr id="60" name="Donut 83">
            <a:extLst>
              <a:ext uri="{FF2B5EF4-FFF2-40B4-BE49-F238E27FC236}">
                <a16:creationId xmlns:a16="http://schemas.microsoft.com/office/drawing/2014/main" id="{C5E4CA3E-AEFB-42A4-8A9D-B04223A7FAB8}"/>
              </a:ext>
            </a:extLst>
          </p:cNvPr>
          <p:cNvSpPr/>
          <p:nvPr userDrawn="1"/>
        </p:nvSpPr>
        <p:spPr>
          <a:xfrm rot="20856452">
            <a:off x="2677861" y="4389758"/>
            <a:ext cx="790764" cy="715397"/>
          </a:xfrm>
          <a:custGeom>
            <a:avLst/>
            <a:gdLst/>
            <a:ahLst/>
            <a:cxnLst/>
            <a:rect l="l" t="t" r="r" b="b"/>
            <a:pathLst>
              <a:path w="2476464" h="2240436">
                <a:moveTo>
                  <a:pt x="1481665" y="52478"/>
                </a:moveTo>
                <a:cubicBezTo>
                  <a:pt x="1403034" y="37960"/>
                  <a:pt x="1321619" y="30336"/>
                  <a:pt x="1238232" y="30336"/>
                </a:cubicBezTo>
                <a:cubicBezTo>
                  <a:pt x="862986" y="30336"/>
                  <a:pt x="527706" y="184729"/>
                  <a:pt x="306160" y="426952"/>
                </a:cubicBezTo>
                <a:lnTo>
                  <a:pt x="305452" y="427806"/>
                </a:lnTo>
                <a:lnTo>
                  <a:pt x="302828" y="430389"/>
                </a:lnTo>
                <a:cubicBezTo>
                  <a:pt x="128717" y="619149"/>
                  <a:pt x="24126" y="861144"/>
                  <a:pt x="24126" y="1124996"/>
                </a:cubicBezTo>
                <a:cubicBezTo>
                  <a:pt x="24126" y="1728085"/>
                  <a:pt x="570561" y="2216986"/>
                  <a:pt x="1244622" y="2216986"/>
                </a:cubicBezTo>
                <a:cubicBezTo>
                  <a:pt x="1918683" y="2216986"/>
                  <a:pt x="2465118" y="1728085"/>
                  <a:pt x="2465118" y="1124996"/>
                </a:cubicBezTo>
                <a:cubicBezTo>
                  <a:pt x="2465118" y="634986"/>
                  <a:pt x="2104386" y="220358"/>
                  <a:pt x="1607560" y="82100"/>
                </a:cubicBezTo>
                <a:lnTo>
                  <a:pt x="1601741" y="80761"/>
                </a:lnTo>
                <a:lnTo>
                  <a:pt x="1597423" y="79335"/>
                </a:lnTo>
                <a:cubicBezTo>
                  <a:pt x="1559600" y="68720"/>
                  <a:pt x="1520981" y="59738"/>
                  <a:pt x="1481665" y="52478"/>
                </a:cubicBezTo>
                <a:close/>
                <a:moveTo>
                  <a:pt x="1487779" y="22759"/>
                </a:moveTo>
                <a:cubicBezTo>
                  <a:pt x="2052020" y="127215"/>
                  <a:pt x="2476464" y="578874"/>
                  <a:pt x="2476464" y="1120218"/>
                </a:cubicBezTo>
                <a:cubicBezTo>
                  <a:pt x="2476464" y="1738897"/>
                  <a:pt x="1922089" y="2240436"/>
                  <a:pt x="1238232" y="2240436"/>
                </a:cubicBezTo>
                <a:cubicBezTo>
                  <a:pt x="554375" y="2240436"/>
                  <a:pt x="0" y="1738897"/>
                  <a:pt x="0" y="1120218"/>
                </a:cubicBezTo>
                <a:cubicBezTo>
                  <a:pt x="-1" y="501539"/>
                  <a:pt x="554375" y="0"/>
                  <a:pt x="1238232" y="0"/>
                </a:cubicBezTo>
                <a:cubicBezTo>
                  <a:pt x="1323714" y="0"/>
                  <a:pt x="1407173" y="7836"/>
                  <a:pt x="1487779" y="22759"/>
                </a:cubicBezTo>
                <a:close/>
              </a:path>
            </a:pathLst>
          </a:custGeom>
          <a:solidFill>
            <a:schemeClr val="accent6">
              <a:lumMod val="50000"/>
            </a:schemeClr>
          </a:solidFill>
          <a:ln>
            <a:solidFill>
              <a:schemeClr val="accent3"/>
            </a:solidFill>
          </a:ln>
          <a:effectLst/>
        </p:spPr>
        <p:style>
          <a:lnRef idx="1">
            <a:schemeClr val="accent1"/>
          </a:lnRef>
          <a:fillRef idx="3">
            <a:schemeClr val="accent1"/>
          </a:fillRef>
          <a:effectRef idx="2">
            <a:schemeClr val="accent1"/>
          </a:effectRef>
          <a:fontRef idx="minor">
            <a:schemeClr val="lt1"/>
          </a:fontRef>
        </p:style>
        <p:txBody>
          <a:bodyPr rtlCol="0" anchor="ctr"/>
          <a:lstStyle/>
          <a:p>
            <a:pPr indent="0" algn="ctr" defTabSz="914377">
              <a:lnSpc>
                <a:spcPct val="100000"/>
              </a:lnSpc>
              <a:defRPr/>
            </a:pPr>
            <a:endParaRPr lang="en-US" sz="1800">
              <a:solidFill>
                <a:prstClr val="white"/>
              </a:solidFill>
              <a:latin typeface="Arial"/>
              <a:sym typeface="Arial"/>
            </a:endParaRPr>
          </a:p>
        </p:txBody>
      </p:sp>
      <p:sp>
        <p:nvSpPr>
          <p:cNvPr id="61" name="Donut 83">
            <a:extLst>
              <a:ext uri="{FF2B5EF4-FFF2-40B4-BE49-F238E27FC236}">
                <a16:creationId xmlns:a16="http://schemas.microsoft.com/office/drawing/2014/main" id="{6719AF66-7DB7-4AB9-BA65-4957DA334C7A}"/>
              </a:ext>
            </a:extLst>
          </p:cNvPr>
          <p:cNvSpPr/>
          <p:nvPr userDrawn="1"/>
        </p:nvSpPr>
        <p:spPr>
          <a:xfrm rot="2565230" flipH="1">
            <a:off x="2719718" y="4350783"/>
            <a:ext cx="707049" cy="796188"/>
          </a:xfrm>
          <a:custGeom>
            <a:avLst/>
            <a:gdLst/>
            <a:ahLst/>
            <a:cxnLst/>
            <a:rect l="l" t="t" r="r" b="b"/>
            <a:pathLst>
              <a:path w="2476464" h="2240436">
                <a:moveTo>
                  <a:pt x="1481665" y="52478"/>
                </a:moveTo>
                <a:cubicBezTo>
                  <a:pt x="1403034" y="37960"/>
                  <a:pt x="1321619" y="30336"/>
                  <a:pt x="1238232" y="30336"/>
                </a:cubicBezTo>
                <a:cubicBezTo>
                  <a:pt x="862986" y="30336"/>
                  <a:pt x="527706" y="184729"/>
                  <a:pt x="306160" y="426952"/>
                </a:cubicBezTo>
                <a:lnTo>
                  <a:pt x="305452" y="427806"/>
                </a:lnTo>
                <a:lnTo>
                  <a:pt x="302828" y="430389"/>
                </a:lnTo>
                <a:cubicBezTo>
                  <a:pt x="128717" y="619149"/>
                  <a:pt x="24126" y="861144"/>
                  <a:pt x="24126" y="1124996"/>
                </a:cubicBezTo>
                <a:cubicBezTo>
                  <a:pt x="24126" y="1728085"/>
                  <a:pt x="570561" y="2216986"/>
                  <a:pt x="1244622" y="2216986"/>
                </a:cubicBezTo>
                <a:cubicBezTo>
                  <a:pt x="1918683" y="2216986"/>
                  <a:pt x="2465118" y="1728085"/>
                  <a:pt x="2465118" y="1124996"/>
                </a:cubicBezTo>
                <a:cubicBezTo>
                  <a:pt x="2465118" y="634986"/>
                  <a:pt x="2104386" y="220358"/>
                  <a:pt x="1607560" y="82100"/>
                </a:cubicBezTo>
                <a:lnTo>
                  <a:pt x="1601741" y="80761"/>
                </a:lnTo>
                <a:lnTo>
                  <a:pt x="1597423" y="79335"/>
                </a:lnTo>
                <a:cubicBezTo>
                  <a:pt x="1559600" y="68720"/>
                  <a:pt x="1520981" y="59738"/>
                  <a:pt x="1481665" y="52478"/>
                </a:cubicBezTo>
                <a:close/>
                <a:moveTo>
                  <a:pt x="1487779" y="22759"/>
                </a:moveTo>
                <a:cubicBezTo>
                  <a:pt x="2052020" y="127215"/>
                  <a:pt x="2476464" y="578874"/>
                  <a:pt x="2476464" y="1120218"/>
                </a:cubicBezTo>
                <a:cubicBezTo>
                  <a:pt x="2476464" y="1738897"/>
                  <a:pt x="1922089" y="2240436"/>
                  <a:pt x="1238232" y="2240436"/>
                </a:cubicBezTo>
                <a:cubicBezTo>
                  <a:pt x="554375" y="2240436"/>
                  <a:pt x="0" y="1738897"/>
                  <a:pt x="0" y="1120218"/>
                </a:cubicBezTo>
                <a:cubicBezTo>
                  <a:pt x="-1" y="501539"/>
                  <a:pt x="554375" y="0"/>
                  <a:pt x="1238232" y="0"/>
                </a:cubicBezTo>
                <a:cubicBezTo>
                  <a:pt x="1323714" y="0"/>
                  <a:pt x="1407173" y="7836"/>
                  <a:pt x="1487779" y="22759"/>
                </a:cubicBezTo>
                <a:close/>
              </a:path>
            </a:pathLst>
          </a:custGeom>
          <a:solidFill>
            <a:schemeClr val="accent6">
              <a:lumMod val="50000"/>
            </a:schemeClr>
          </a:solidFill>
          <a:ln>
            <a:solidFill>
              <a:schemeClr val="accent3"/>
            </a:solidFill>
          </a:ln>
          <a:effectLst/>
        </p:spPr>
        <p:style>
          <a:lnRef idx="1">
            <a:schemeClr val="accent1"/>
          </a:lnRef>
          <a:fillRef idx="3">
            <a:schemeClr val="accent1"/>
          </a:fillRef>
          <a:effectRef idx="2">
            <a:schemeClr val="accent1"/>
          </a:effectRef>
          <a:fontRef idx="minor">
            <a:schemeClr val="lt1"/>
          </a:fontRef>
        </p:style>
        <p:txBody>
          <a:bodyPr rtlCol="0" anchor="ctr"/>
          <a:lstStyle/>
          <a:p>
            <a:pPr indent="0" algn="ctr" defTabSz="914377">
              <a:lnSpc>
                <a:spcPct val="100000"/>
              </a:lnSpc>
              <a:defRPr/>
            </a:pPr>
            <a:endParaRPr lang="en-US" sz="1800">
              <a:solidFill>
                <a:prstClr val="white"/>
              </a:solidFill>
              <a:latin typeface="Arial"/>
              <a:sym typeface="Arial"/>
            </a:endParaRPr>
          </a:p>
        </p:txBody>
      </p:sp>
      <p:sp>
        <p:nvSpPr>
          <p:cNvPr id="43" name="Oval 42">
            <a:extLst>
              <a:ext uri="{FF2B5EF4-FFF2-40B4-BE49-F238E27FC236}">
                <a16:creationId xmlns:a16="http://schemas.microsoft.com/office/drawing/2014/main" id="{AD912A58-D4F1-409B-BF1E-B7AE235AE3E3}"/>
              </a:ext>
            </a:extLst>
          </p:cNvPr>
          <p:cNvSpPr/>
          <p:nvPr/>
        </p:nvSpPr>
        <p:spPr>
          <a:xfrm>
            <a:off x="2592951" y="5178543"/>
            <a:ext cx="960581" cy="960581"/>
          </a:xfrm>
          <a:prstGeom prst="ellipse">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indent="0" algn="ctr" defTabSz="914377">
              <a:lnSpc>
                <a:spcPct val="100000"/>
              </a:lnSpc>
              <a:defRPr/>
            </a:pPr>
            <a:endParaRPr lang="en-US" err="1">
              <a:solidFill>
                <a:prstClr val="black"/>
              </a:solidFill>
              <a:latin typeface="Segoe Print" panose="02000600000000000000" pitchFamily="2" charset="0"/>
              <a:cs typeface="MV Boli" panose="02000500030200090000" pitchFamily="2" charset="0"/>
              <a:sym typeface="Arial"/>
            </a:endParaRPr>
          </a:p>
        </p:txBody>
      </p:sp>
      <p:grpSp>
        <p:nvGrpSpPr>
          <p:cNvPr id="62" name="Group 61">
            <a:extLst>
              <a:ext uri="{FF2B5EF4-FFF2-40B4-BE49-F238E27FC236}">
                <a16:creationId xmlns:a16="http://schemas.microsoft.com/office/drawing/2014/main" id="{C9E45648-CF41-44D1-9661-9A3A92377D81}"/>
              </a:ext>
            </a:extLst>
          </p:cNvPr>
          <p:cNvGrpSpPr>
            <a:grpSpLocks noChangeAspect="1"/>
          </p:cNvGrpSpPr>
          <p:nvPr/>
        </p:nvGrpSpPr>
        <p:grpSpPr>
          <a:xfrm>
            <a:off x="2675453" y="5260741"/>
            <a:ext cx="795580" cy="796188"/>
            <a:chOff x="5382636" y="1013708"/>
            <a:chExt cx="5603795" cy="5608077"/>
          </a:xfrm>
          <a:solidFill>
            <a:schemeClr val="accent5"/>
          </a:solidFill>
        </p:grpSpPr>
        <p:sp>
          <p:nvSpPr>
            <p:cNvPr id="63" name="Donut 4">
              <a:extLst>
                <a:ext uri="{FF2B5EF4-FFF2-40B4-BE49-F238E27FC236}">
                  <a16:creationId xmlns:a16="http://schemas.microsoft.com/office/drawing/2014/main" id="{FFA290D4-3585-4FE1-8D3A-143C4DCB9CEA}"/>
                </a:ext>
              </a:extLst>
            </p:cNvPr>
            <p:cNvSpPr/>
            <p:nvPr userDrawn="1"/>
          </p:nvSpPr>
          <p:spPr>
            <a:xfrm rot="1153329">
              <a:off x="5382636" y="1291018"/>
              <a:ext cx="5591555" cy="5033101"/>
            </a:xfrm>
            <a:custGeom>
              <a:avLst/>
              <a:gdLst/>
              <a:ahLst/>
              <a:cxnLst/>
              <a:rect l="l" t="t" r="r" b="b"/>
              <a:pathLst>
                <a:path w="2445036" h="2235686">
                  <a:moveTo>
                    <a:pt x="994325" y="46990"/>
                  </a:moveTo>
                  <a:cubicBezTo>
                    <a:pt x="877453" y="68858"/>
                    <a:pt x="766785" y="106302"/>
                    <a:pt x="665030" y="156846"/>
                  </a:cubicBezTo>
                  <a:lnTo>
                    <a:pt x="658622" y="160405"/>
                  </a:lnTo>
                  <a:lnTo>
                    <a:pt x="654574" y="162184"/>
                  </a:lnTo>
                  <a:cubicBezTo>
                    <a:pt x="283151" y="346228"/>
                    <a:pt x="31009" y="705177"/>
                    <a:pt x="31009" y="1117843"/>
                  </a:cubicBezTo>
                  <a:cubicBezTo>
                    <a:pt x="31009" y="1455479"/>
                    <a:pt x="199798" y="1757156"/>
                    <a:pt x="464608" y="1956497"/>
                  </a:cubicBezTo>
                  <a:lnTo>
                    <a:pt x="469950" y="1960141"/>
                  </a:lnTo>
                  <a:lnTo>
                    <a:pt x="474204" y="1963676"/>
                  </a:lnTo>
                  <a:cubicBezTo>
                    <a:pt x="681098" y="2119801"/>
                    <a:pt x="946342" y="2213588"/>
                    <a:pt x="1235542" y="2213588"/>
                  </a:cubicBezTo>
                  <a:cubicBezTo>
                    <a:pt x="1896570" y="2213588"/>
                    <a:pt x="2432439" y="1723601"/>
                    <a:pt x="2432439" y="1119172"/>
                  </a:cubicBezTo>
                  <a:cubicBezTo>
                    <a:pt x="2432439" y="514743"/>
                    <a:pt x="1896570" y="24756"/>
                    <a:pt x="1235542" y="24756"/>
                  </a:cubicBezTo>
                  <a:cubicBezTo>
                    <a:pt x="1152914" y="24756"/>
                    <a:pt x="1072241" y="32412"/>
                    <a:pt x="994325" y="46990"/>
                  </a:cubicBezTo>
                  <a:close/>
                  <a:moveTo>
                    <a:pt x="976138" y="22711"/>
                  </a:moveTo>
                  <a:cubicBezTo>
                    <a:pt x="1055721" y="7820"/>
                    <a:pt x="1138121" y="0"/>
                    <a:pt x="1222518" y="0"/>
                  </a:cubicBezTo>
                  <a:cubicBezTo>
                    <a:pt x="1897696" y="0"/>
                    <a:pt x="2445036" y="500475"/>
                    <a:pt x="2445036" y="1117843"/>
                  </a:cubicBezTo>
                  <a:cubicBezTo>
                    <a:pt x="2445036" y="1735211"/>
                    <a:pt x="1897696" y="2235686"/>
                    <a:pt x="1222518" y="2235686"/>
                  </a:cubicBezTo>
                  <a:cubicBezTo>
                    <a:pt x="547340" y="2235686"/>
                    <a:pt x="0" y="1735211"/>
                    <a:pt x="0" y="1117843"/>
                  </a:cubicBezTo>
                  <a:cubicBezTo>
                    <a:pt x="0" y="577646"/>
                    <a:pt x="419057" y="126945"/>
                    <a:pt x="976138" y="22711"/>
                  </a:cubicBezTo>
                  <a:close/>
                </a:path>
              </a:pathLst>
            </a:cu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indent="0" algn="ctr" defTabSz="914377">
                <a:lnSpc>
                  <a:spcPct val="100000"/>
                </a:lnSpc>
                <a:defRPr/>
              </a:pPr>
              <a:endParaRPr lang="en-US" sz="1800">
                <a:solidFill>
                  <a:prstClr val="white"/>
                </a:solidFill>
                <a:latin typeface="Arial"/>
                <a:sym typeface="Arial"/>
              </a:endParaRPr>
            </a:p>
          </p:txBody>
        </p:sp>
        <p:sp>
          <p:nvSpPr>
            <p:cNvPr id="64" name="Donut 83">
              <a:extLst>
                <a:ext uri="{FF2B5EF4-FFF2-40B4-BE49-F238E27FC236}">
                  <a16:creationId xmlns:a16="http://schemas.microsoft.com/office/drawing/2014/main" id="{94DCFE87-F707-469B-BDF5-2E91ADA453B3}"/>
                </a:ext>
              </a:extLst>
            </p:cNvPr>
            <p:cNvSpPr/>
            <p:nvPr userDrawn="1"/>
          </p:nvSpPr>
          <p:spPr>
            <a:xfrm rot="20856452">
              <a:off x="5416562" y="1288231"/>
              <a:ext cx="5569869" cy="5039014"/>
            </a:xfrm>
            <a:custGeom>
              <a:avLst/>
              <a:gdLst/>
              <a:ahLst/>
              <a:cxnLst/>
              <a:rect l="l" t="t" r="r" b="b"/>
              <a:pathLst>
                <a:path w="2476464" h="2240436">
                  <a:moveTo>
                    <a:pt x="1481665" y="52478"/>
                  </a:moveTo>
                  <a:cubicBezTo>
                    <a:pt x="1403034" y="37960"/>
                    <a:pt x="1321619" y="30336"/>
                    <a:pt x="1238232" y="30336"/>
                  </a:cubicBezTo>
                  <a:cubicBezTo>
                    <a:pt x="862986" y="30336"/>
                    <a:pt x="527706" y="184729"/>
                    <a:pt x="306160" y="426952"/>
                  </a:cubicBezTo>
                  <a:lnTo>
                    <a:pt x="305452" y="427806"/>
                  </a:lnTo>
                  <a:lnTo>
                    <a:pt x="302828" y="430389"/>
                  </a:lnTo>
                  <a:cubicBezTo>
                    <a:pt x="128717" y="619149"/>
                    <a:pt x="24126" y="861144"/>
                    <a:pt x="24126" y="1124996"/>
                  </a:cubicBezTo>
                  <a:cubicBezTo>
                    <a:pt x="24126" y="1728085"/>
                    <a:pt x="570561" y="2216986"/>
                    <a:pt x="1244622" y="2216986"/>
                  </a:cubicBezTo>
                  <a:cubicBezTo>
                    <a:pt x="1918683" y="2216986"/>
                    <a:pt x="2465118" y="1728085"/>
                    <a:pt x="2465118" y="1124996"/>
                  </a:cubicBezTo>
                  <a:cubicBezTo>
                    <a:pt x="2465118" y="634986"/>
                    <a:pt x="2104386" y="220358"/>
                    <a:pt x="1607560" y="82100"/>
                  </a:cubicBezTo>
                  <a:lnTo>
                    <a:pt x="1601741" y="80761"/>
                  </a:lnTo>
                  <a:lnTo>
                    <a:pt x="1597423" y="79335"/>
                  </a:lnTo>
                  <a:cubicBezTo>
                    <a:pt x="1559600" y="68720"/>
                    <a:pt x="1520981" y="59738"/>
                    <a:pt x="1481665" y="52478"/>
                  </a:cubicBezTo>
                  <a:close/>
                  <a:moveTo>
                    <a:pt x="1487779" y="22759"/>
                  </a:moveTo>
                  <a:cubicBezTo>
                    <a:pt x="2052020" y="127215"/>
                    <a:pt x="2476464" y="578874"/>
                    <a:pt x="2476464" y="1120218"/>
                  </a:cubicBezTo>
                  <a:cubicBezTo>
                    <a:pt x="2476464" y="1738897"/>
                    <a:pt x="1922089" y="2240436"/>
                    <a:pt x="1238232" y="2240436"/>
                  </a:cubicBezTo>
                  <a:cubicBezTo>
                    <a:pt x="554375" y="2240436"/>
                    <a:pt x="0" y="1738897"/>
                    <a:pt x="0" y="1120218"/>
                  </a:cubicBezTo>
                  <a:cubicBezTo>
                    <a:pt x="-1" y="501539"/>
                    <a:pt x="554375" y="0"/>
                    <a:pt x="1238232" y="0"/>
                  </a:cubicBezTo>
                  <a:cubicBezTo>
                    <a:pt x="1323714" y="0"/>
                    <a:pt x="1407173" y="7836"/>
                    <a:pt x="1487779" y="22759"/>
                  </a:cubicBezTo>
                  <a:close/>
                </a:path>
              </a:pathLst>
            </a:cu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indent="0" algn="ctr" defTabSz="914377">
                <a:lnSpc>
                  <a:spcPct val="100000"/>
                </a:lnSpc>
                <a:defRPr/>
              </a:pPr>
              <a:endParaRPr lang="en-US" sz="1800">
                <a:solidFill>
                  <a:prstClr val="white"/>
                </a:solidFill>
                <a:latin typeface="Arial"/>
                <a:sym typeface="Arial"/>
              </a:endParaRPr>
            </a:p>
          </p:txBody>
        </p:sp>
        <p:sp>
          <p:nvSpPr>
            <p:cNvPr id="65" name="Donut 83">
              <a:extLst>
                <a:ext uri="{FF2B5EF4-FFF2-40B4-BE49-F238E27FC236}">
                  <a16:creationId xmlns:a16="http://schemas.microsoft.com/office/drawing/2014/main" id="{0128B348-0DBA-43B3-8BB5-C0EDE459941C}"/>
                </a:ext>
              </a:extLst>
            </p:cNvPr>
            <p:cNvSpPr/>
            <p:nvPr userDrawn="1"/>
          </p:nvSpPr>
          <p:spPr>
            <a:xfrm rot="2565230" flipH="1">
              <a:off x="5757391" y="1013708"/>
              <a:ext cx="4980215" cy="5608077"/>
            </a:xfrm>
            <a:custGeom>
              <a:avLst/>
              <a:gdLst/>
              <a:ahLst/>
              <a:cxnLst/>
              <a:rect l="l" t="t" r="r" b="b"/>
              <a:pathLst>
                <a:path w="2476464" h="2240436">
                  <a:moveTo>
                    <a:pt x="1481665" y="52478"/>
                  </a:moveTo>
                  <a:cubicBezTo>
                    <a:pt x="1403034" y="37960"/>
                    <a:pt x="1321619" y="30336"/>
                    <a:pt x="1238232" y="30336"/>
                  </a:cubicBezTo>
                  <a:cubicBezTo>
                    <a:pt x="862986" y="30336"/>
                    <a:pt x="527706" y="184729"/>
                    <a:pt x="306160" y="426952"/>
                  </a:cubicBezTo>
                  <a:lnTo>
                    <a:pt x="305452" y="427806"/>
                  </a:lnTo>
                  <a:lnTo>
                    <a:pt x="302828" y="430389"/>
                  </a:lnTo>
                  <a:cubicBezTo>
                    <a:pt x="128717" y="619149"/>
                    <a:pt x="24126" y="861144"/>
                    <a:pt x="24126" y="1124996"/>
                  </a:cubicBezTo>
                  <a:cubicBezTo>
                    <a:pt x="24126" y="1728085"/>
                    <a:pt x="570561" y="2216986"/>
                    <a:pt x="1244622" y="2216986"/>
                  </a:cubicBezTo>
                  <a:cubicBezTo>
                    <a:pt x="1918683" y="2216986"/>
                    <a:pt x="2465118" y="1728085"/>
                    <a:pt x="2465118" y="1124996"/>
                  </a:cubicBezTo>
                  <a:cubicBezTo>
                    <a:pt x="2465118" y="634986"/>
                    <a:pt x="2104386" y="220358"/>
                    <a:pt x="1607560" y="82100"/>
                  </a:cubicBezTo>
                  <a:lnTo>
                    <a:pt x="1601741" y="80761"/>
                  </a:lnTo>
                  <a:lnTo>
                    <a:pt x="1597423" y="79335"/>
                  </a:lnTo>
                  <a:cubicBezTo>
                    <a:pt x="1559600" y="68720"/>
                    <a:pt x="1520981" y="59738"/>
                    <a:pt x="1481665" y="52478"/>
                  </a:cubicBezTo>
                  <a:close/>
                  <a:moveTo>
                    <a:pt x="1487779" y="22759"/>
                  </a:moveTo>
                  <a:cubicBezTo>
                    <a:pt x="2052020" y="127215"/>
                    <a:pt x="2476464" y="578874"/>
                    <a:pt x="2476464" y="1120218"/>
                  </a:cubicBezTo>
                  <a:cubicBezTo>
                    <a:pt x="2476464" y="1738897"/>
                    <a:pt x="1922089" y="2240436"/>
                    <a:pt x="1238232" y="2240436"/>
                  </a:cubicBezTo>
                  <a:cubicBezTo>
                    <a:pt x="554375" y="2240436"/>
                    <a:pt x="0" y="1738897"/>
                    <a:pt x="0" y="1120218"/>
                  </a:cubicBezTo>
                  <a:cubicBezTo>
                    <a:pt x="-1" y="501539"/>
                    <a:pt x="554375" y="0"/>
                    <a:pt x="1238232" y="0"/>
                  </a:cubicBezTo>
                  <a:cubicBezTo>
                    <a:pt x="1323714" y="0"/>
                    <a:pt x="1407173" y="7836"/>
                    <a:pt x="1487779" y="22759"/>
                  </a:cubicBezTo>
                  <a:close/>
                </a:path>
              </a:pathLst>
            </a:cu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indent="0" algn="ctr" defTabSz="914377">
                <a:lnSpc>
                  <a:spcPct val="100000"/>
                </a:lnSpc>
                <a:defRPr/>
              </a:pPr>
              <a:endParaRPr lang="en-US" sz="1800">
                <a:solidFill>
                  <a:prstClr val="white"/>
                </a:solidFill>
                <a:latin typeface="Arial"/>
                <a:sym typeface="Arial"/>
              </a:endParaRPr>
            </a:p>
          </p:txBody>
        </p:sp>
      </p:grpSp>
      <p:sp>
        <p:nvSpPr>
          <p:cNvPr id="85" name="Freeform 5">
            <a:extLst>
              <a:ext uri="{FF2B5EF4-FFF2-40B4-BE49-F238E27FC236}">
                <a16:creationId xmlns:a16="http://schemas.microsoft.com/office/drawing/2014/main" id="{8780E48B-6572-4F6D-B915-4C67F81A9411}"/>
              </a:ext>
            </a:extLst>
          </p:cNvPr>
          <p:cNvSpPr>
            <a:spLocks noChangeAspect="1" noEditPoints="1"/>
          </p:cNvSpPr>
          <p:nvPr/>
        </p:nvSpPr>
        <p:spPr bwMode="auto">
          <a:xfrm>
            <a:off x="2842646" y="5433556"/>
            <a:ext cx="461193" cy="460000"/>
          </a:xfrm>
          <a:custGeom>
            <a:avLst/>
            <a:gdLst>
              <a:gd name="T0" fmla="*/ 2147483646 w 1317"/>
              <a:gd name="T1" fmla="*/ 2147483646 h 1317"/>
              <a:gd name="T2" fmla="*/ 2147483646 w 1317"/>
              <a:gd name="T3" fmla="*/ 2147483646 h 1317"/>
              <a:gd name="T4" fmla="*/ 2147483646 w 1317"/>
              <a:gd name="T5" fmla="*/ 2147483646 h 1317"/>
              <a:gd name="T6" fmla="*/ 2147483646 w 1317"/>
              <a:gd name="T7" fmla="*/ 2147483646 h 1317"/>
              <a:gd name="T8" fmla="*/ 2147483646 w 1317"/>
              <a:gd name="T9" fmla="*/ 2147483646 h 1317"/>
              <a:gd name="T10" fmla="*/ 2147483646 w 1317"/>
              <a:gd name="T11" fmla="*/ 2147483646 h 1317"/>
              <a:gd name="T12" fmla="*/ 2147483646 w 1317"/>
              <a:gd name="T13" fmla="*/ 2147483646 h 1317"/>
              <a:gd name="T14" fmla="*/ 2147483646 w 1317"/>
              <a:gd name="T15" fmla="*/ 2147483646 h 1317"/>
              <a:gd name="T16" fmla="*/ 2147483646 w 1317"/>
              <a:gd name="T17" fmla="*/ 2147483646 h 1317"/>
              <a:gd name="T18" fmla="*/ 2147483646 w 1317"/>
              <a:gd name="T19" fmla="*/ 2147483646 h 1317"/>
              <a:gd name="T20" fmla="*/ 2147483646 w 1317"/>
              <a:gd name="T21" fmla="*/ 2147483646 h 1317"/>
              <a:gd name="T22" fmla="*/ 2147483646 w 1317"/>
              <a:gd name="T23" fmla="*/ 2147483646 h 1317"/>
              <a:gd name="T24" fmla="*/ 2147483646 w 1317"/>
              <a:gd name="T25" fmla="*/ 2147483646 h 1317"/>
              <a:gd name="T26" fmla="*/ 2147483646 w 1317"/>
              <a:gd name="T27" fmla="*/ 2147483646 h 1317"/>
              <a:gd name="T28" fmla="*/ 0 w 1317"/>
              <a:gd name="T29" fmla="*/ 2147483646 h 1317"/>
              <a:gd name="T30" fmla="*/ 2147483646 w 1317"/>
              <a:gd name="T31" fmla="*/ 2147483646 h 1317"/>
              <a:gd name="T32" fmla="*/ 2147483646 w 1317"/>
              <a:gd name="T33" fmla="*/ 2147483646 h 1317"/>
              <a:gd name="T34" fmla="*/ 2147483646 w 1317"/>
              <a:gd name="T35" fmla="*/ 2147483646 h 1317"/>
              <a:gd name="T36" fmla="*/ 2147483646 w 1317"/>
              <a:gd name="T37" fmla="*/ 2147483646 h 1317"/>
              <a:gd name="T38" fmla="*/ 2147483646 w 1317"/>
              <a:gd name="T39" fmla="*/ 2147483646 h 1317"/>
              <a:gd name="T40" fmla="*/ 2147483646 w 1317"/>
              <a:gd name="T41" fmla="*/ 2147483646 h 1317"/>
              <a:gd name="T42" fmla="*/ 2147483646 w 1317"/>
              <a:gd name="T43" fmla="*/ 2147483646 h 1317"/>
              <a:gd name="T44" fmla="*/ 2147483646 w 1317"/>
              <a:gd name="T45" fmla="*/ 2147483646 h 1317"/>
              <a:gd name="T46" fmla="*/ 2147483646 w 1317"/>
              <a:gd name="T47" fmla="*/ 2147483646 h 1317"/>
              <a:gd name="T48" fmla="*/ 2147483646 w 1317"/>
              <a:gd name="T49" fmla="*/ 2147483646 h 1317"/>
              <a:gd name="T50" fmla="*/ 2147483646 w 1317"/>
              <a:gd name="T51" fmla="*/ 2147483646 h 1317"/>
              <a:gd name="T52" fmla="*/ 2147483646 w 1317"/>
              <a:gd name="T53" fmla="*/ 2147483646 h 1317"/>
              <a:gd name="T54" fmla="*/ 2147483646 w 1317"/>
              <a:gd name="T55" fmla="*/ 2147483646 h 1317"/>
              <a:gd name="T56" fmla="*/ 2147483646 w 1317"/>
              <a:gd name="T57" fmla="*/ 2147483646 h 1317"/>
              <a:gd name="T58" fmla="*/ 2147483646 w 1317"/>
              <a:gd name="T59" fmla="*/ 2147483646 h 1317"/>
              <a:gd name="T60" fmla="*/ 2147483646 w 1317"/>
              <a:gd name="T61" fmla="*/ 2147483646 h 1317"/>
              <a:gd name="T62" fmla="*/ 2147483646 w 1317"/>
              <a:gd name="T63" fmla="*/ 2147483646 h 1317"/>
              <a:gd name="T64" fmla="*/ 2147483646 w 1317"/>
              <a:gd name="T65" fmla="*/ 2147483646 h 1317"/>
              <a:gd name="T66" fmla="*/ 2147483646 w 1317"/>
              <a:gd name="T67" fmla="*/ 2147483646 h 1317"/>
              <a:gd name="T68" fmla="*/ 2147483646 w 1317"/>
              <a:gd name="T69" fmla="*/ 2147483646 h 1317"/>
              <a:gd name="T70" fmla="*/ 2147483646 w 1317"/>
              <a:gd name="T71" fmla="*/ 2147483646 h 1317"/>
              <a:gd name="T72" fmla="*/ 2147483646 w 1317"/>
              <a:gd name="T73" fmla="*/ 2147483646 h 1317"/>
              <a:gd name="T74" fmla="*/ 2147483646 w 1317"/>
              <a:gd name="T75" fmla="*/ 2147483646 h 1317"/>
              <a:gd name="T76" fmla="*/ 2147483646 w 1317"/>
              <a:gd name="T77" fmla="*/ 2147483646 h 1317"/>
              <a:gd name="T78" fmla="*/ 2147483646 w 1317"/>
              <a:gd name="T79" fmla="*/ 2147483646 h 1317"/>
              <a:gd name="T80" fmla="*/ 2147483646 w 1317"/>
              <a:gd name="T81" fmla="*/ 2147483646 h 1317"/>
              <a:gd name="T82" fmla="*/ 2147483646 w 1317"/>
              <a:gd name="T83" fmla="*/ 2147483646 h 1317"/>
              <a:gd name="T84" fmla="*/ 2147483646 w 1317"/>
              <a:gd name="T85" fmla="*/ 2147483646 h 1317"/>
              <a:gd name="T86" fmla="*/ 2147483646 w 1317"/>
              <a:gd name="T87" fmla="*/ 2147483646 h 1317"/>
              <a:gd name="T88" fmla="*/ 2147483646 w 1317"/>
              <a:gd name="T89" fmla="*/ 2147483646 h 1317"/>
              <a:gd name="T90" fmla="*/ 2147483646 w 1317"/>
              <a:gd name="T91" fmla="*/ 2147483646 h 1317"/>
              <a:gd name="T92" fmla="*/ 2147483646 w 1317"/>
              <a:gd name="T93" fmla="*/ 2147483646 h 1317"/>
              <a:gd name="T94" fmla="*/ 2147483646 w 1317"/>
              <a:gd name="T95" fmla="*/ 2147483646 h 1317"/>
              <a:gd name="T96" fmla="*/ 2147483646 w 1317"/>
              <a:gd name="T97" fmla="*/ 2147483646 h 1317"/>
              <a:gd name="T98" fmla="*/ 2147483646 w 1317"/>
              <a:gd name="T99" fmla="*/ 2147483646 h 1317"/>
              <a:gd name="T100" fmla="*/ 2147483646 w 1317"/>
              <a:gd name="T101" fmla="*/ 0 h 1317"/>
              <a:gd name="T102" fmla="*/ 2147483646 w 1317"/>
              <a:gd name="T103" fmla="*/ 2147483646 h 1317"/>
              <a:gd name="T104" fmla="*/ 2147483646 w 1317"/>
              <a:gd name="T105" fmla="*/ 2147483646 h 1317"/>
              <a:gd name="T106" fmla="*/ 2147483646 w 1317"/>
              <a:gd name="T107" fmla="*/ 2147483646 h 1317"/>
              <a:gd name="T108" fmla="*/ 2147483646 w 1317"/>
              <a:gd name="T109" fmla="*/ 2147483646 h 1317"/>
              <a:gd name="T110" fmla="*/ 2147483646 w 1317"/>
              <a:gd name="T111" fmla="*/ 2147483646 h 1317"/>
              <a:gd name="T112" fmla="*/ 2147483646 w 1317"/>
              <a:gd name="T113" fmla="*/ 2147483646 h 1317"/>
              <a:gd name="T114" fmla="*/ 2147483646 w 1317"/>
              <a:gd name="T115" fmla="*/ 2147483646 h 1317"/>
              <a:gd name="T116" fmla="*/ 2147483646 w 1317"/>
              <a:gd name="T117" fmla="*/ 2147483646 h 1317"/>
              <a:gd name="T118" fmla="*/ 2147483646 w 1317"/>
              <a:gd name="T119" fmla="*/ 2147483646 h 1317"/>
              <a:gd name="T120" fmla="*/ 2147483646 w 1317"/>
              <a:gd name="T121" fmla="*/ 2147483646 h 1317"/>
              <a:gd name="T122" fmla="*/ 2147483646 w 1317"/>
              <a:gd name="T123" fmla="*/ 2147483646 h 1317"/>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1317" h="1317">
                <a:moveTo>
                  <a:pt x="659" y="0"/>
                </a:moveTo>
                <a:cubicBezTo>
                  <a:pt x="659" y="0"/>
                  <a:pt x="659" y="0"/>
                  <a:pt x="659" y="0"/>
                </a:cubicBezTo>
                <a:cubicBezTo>
                  <a:pt x="659" y="0"/>
                  <a:pt x="659" y="0"/>
                  <a:pt x="659" y="0"/>
                </a:cubicBezTo>
                <a:cubicBezTo>
                  <a:pt x="659" y="0"/>
                  <a:pt x="659" y="0"/>
                  <a:pt x="659" y="0"/>
                </a:cubicBezTo>
                <a:cubicBezTo>
                  <a:pt x="659" y="0"/>
                  <a:pt x="659" y="0"/>
                  <a:pt x="659" y="0"/>
                </a:cubicBezTo>
                <a:cubicBezTo>
                  <a:pt x="477" y="0"/>
                  <a:pt x="312" y="74"/>
                  <a:pt x="193" y="193"/>
                </a:cubicBezTo>
                <a:cubicBezTo>
                  <a:pt x="157" y="229"/>
                  <a:pt x="126" y="269"/>
                  <a:pt x="99" y="312"/>
                </a:cubicBezTo>
                <a:cubicBezTo>
                  <a:pt x="127" y="317"/>
                  <a:pt x="127" y="317"/>
                  <a:pt x="127" y="317"/>
                </a:cubicBezTo>
                <a:cubicBezTo>
                  <a:pt x="143" y="317"/>
                  <a:pt x="150" y="298"/>
                  <a:pt x="166" y="295"/>
                </a:cubicBezTo>
                <a:cubicBezTo>
                  <a:pt x="169" y="293"/>
                  <a:pt x="172" y="290"/>
                  <a:pt x="173" y="287"/>
                </a:cubicBezTo>
                <a:cubicBezTo>
                  <a:pt x="182" y="281"/>
                  <a:pt x="191" y="275"/>
                  <a:pt x="200" y="268"/>
                </a:cubicBezTo>
                <a:cubicBezTo>
                  <a:pt x="201" y="264"/>
                  <a:pt x="202" y="259"/>
                  <a:pt x="203" y="255"/>
                </a:cubicBezTo>
                <a:cubicBezTo>
                  <a:pt x="255" y="224"/>
                  <a:pt x="308" y="192"/>
                  <a:pt x="360" y="162"/>
                </a:cubicBezTo>
                <a:cubicBezTo>
                  <a:pt x="372" y="162"/>
                  <a:pt x="372" y="162"/>
                  <a:pt x="423" y="165"/>
                </a:cubicBezTo>
                <a:cubicBezTo>
                  <a:pt x="422" y="168"/>
                  <a:pt x="421" y="170"/>
                  <a:pt x="420" y="172"/>
                </a:cubicBezTo>
                <a:cubicBezTo>
                  <a:pt x="432" y="172"/>
                  <a:pt x="446" y="167"/>
                  <a:pt x="460" y="164"/>
                </a:cubicBezTo>
                <a:cubicBezTo>
                  <a:pt x="508" y="155"/>
                  <a:pt x="564" y="147"/>
                  <a:pt x="581" y="143"/>
                </a:cubicBezTo>
                <a:cubicBezTo>
                  <a:pt x="583" y="143"/>
                  <a:pt x="586" y="143"/>
                  <a:pt x="588" y="143"/>
                </a:cubicBezTo>
                <a:cubicBezTo>
                  <a:pt x="589" y="146"/>
                  <a:pt x="597" y="146"/>
                  <a:pt x="602" y="146"/>
                </a:cubicBezTo>
                <a:cubicBezTo>
                  <a:pt x="602" y="146"/>
                  <a:pt x="602" y="147"/>
                  <a:pt x="602" y="147"/>
                </a:cubicBezTo>
                <a:cubicBezTo>
                  <a:pt x="604" y="169"/>
                  <a:pt x="550" y="179"/>
                  <a:pt x="537" y="198"/>
                </a:cubicBezTo>
                <a:cubicBezTo>
                  <a:pt x="537" y="199"/>
                  <a:pt x="537" y="199"/>
                  <a:pt x="537" y="200"/>
                </a:cubicBezTo>
                <a:cubicBezTo>
                  <a:pt x="516" y="204"/>
                  <a:pt x="496" y="213"/>
                  <a:pt x="477" y="217"/>
                </a:cubicBezTo>
                <a:cubicBezTo>
                  <a:pt x="451" y="227"/>
                  <a:pt x="450" y="238"/>
                  <a:pt x="431" y="255"/>
                </a:cubicBezTo>
                <a:cubicBezTo>
                  <a:pt x="431" y="256"/>
                  <a:pt x="431" y="257"/>
                  <a:pt x="431" y="259"/>
                </a:cubicBezTo>
                <a:cubicBezTo>
                  <a:pt x="423" y="262"/>
                  <a:pt x="402" y="264"/>
                  <a:pt x="395" y="263"/>
                </a:cubicBezTo>
                <a:cubicBezTo>
                  <a:pt x="393" y="252"/>
                  <a:pt x="391" y="240"/>
                  <a:pt x="389" y="228"/>
                </a:cubicBezTo>
                <a:cubicBezTo>
                  <a:pt x="390" y="216"/>
                  <a:pt x="401" y="196"/>
                  <a:pt x="410" y="188"/>
                </a:cubicBezTo>
                <a:cubicBezTo>
                  <a:pt x="397" y="175"/>
                  <a:pt x="344" y="199"/>
                  <a:pt x="331" y="204"/>
                </a:cubicBezTo>
                <a:cubicBezTo>
                  <a:pt x="331" y="207"/>
                  <a:pt x="337" y="210"/>
                  <a:pt x="342" y="213"/>
                </a:cubicBezTo>
                <a:cubicBezTo>
                  <a:pt x="357" y="227"/>
                  <a:pt x="357" y="227"/>
                  <a:pt x="361" y="229"/>
                </a:cubicBezTo>
                <a:cubicBezTo>
                  <a:pt x="355" y="231"/>
                  <a:pt x="354" y="231"/>
                  <a:pt x="351" y="236"/>
                </a:cubicBezTo>
                <a:cubicBezTo>
                  <a:pt x="342" y="239"/>
                  <a:pt x="332" y="250"/>
                  <a:pt x="323" y="255"/>
                </a:cubicBezTo>
                <a:cubicBezTo>
                  <a:pt x="316" y="263"/>
                  <a:pt x="283" y="270"/>
                  <a:pt x="271" y="267"/>
                </a:cubicBezTo>
                <a:cubicBezTo>
                  <a:pt x="272" y="267"/>
                  <a:pt x="273" y="266"/>
                  <a:pt x="273" y="266"/>
                </a:cubicBezTo>
                <a:cubicBezTo>
                  <a:pt x="276" y="258"/>
                  <a:pt x="285" y="255"/>
                  <a:pt x="287" y="248"/>
                </a:cubicBezTo>
                <a:cubicBezTo>
                  <a:pt x="292" y="246"/>
                  <a:pt x="293" y="243"/>
                  <a:pt x="298" y="240"/>
                </a:cubicBezTo>
                <a:cubicBezTo>
                  <a:pt x="283" y="240"/>
                  <a:pt x="255" y="267"/>
                  <a:pt x="253" y="281"/>
                </a:cubicBezTo>
                <a:cubicBezTo>
                  <a:pt x="244" y="285"/>
                  <a:pt x="236" y="284"/>
                  <a:pt x="228" y="288"/>
                </a:cubicBezTo>
                <a:cubicBezTo>
                  <a:pt x="221" y="288"/>
                  <a:pt x="221" y="289"/>
                  <a:pt x="217" y="292"/>
                </a:cubicBezTo>
                <a:cubicBezTo>
                  <a:pt x="209" y="308"/>
                  <a:pt x="183" y="315"/>
                  <a:pt x="185" y="335"/>
                </a:cubicBezTo>
                <a:cubicBezTo>
                  <a:pt x="191" y="336"/>
                  <a:pt x="196" y="338"/>
                  <a:pt x="202" y="339"/>
                </a:cubicBezTo>
                <a:cubicBezTo>
                  <a:pt x="203" y="348"/>
                  <a:pt x="205" y="363"/>
                  <a:pt x="204" y="374"/>
                </a:cubicBezTo>
                <a:cubicBezTo>
                  <a:pt x="205" y="374"/>
                  <a:pt x="205" y="374"/>
                  <a:pt x="206" y="374"/>
                </a:cubicBezTo>
                <a:cubicBezTo>
                  <a:pt x="207" y="369"/>
                  <a:pt x="208" y="369"/>
                  <a:pt x="211" y="366"/>
                </a:cubicBezTo>
                <a:cubicBezTo>
                  <a:pt x="219" y="339"/>
                  <a:pt x="243" y="314"/>
                  <a:pt x="254" y="287"/>
                </a:cubicBezTo>
                <a:cubicBezTo>
                  <a:pt x="263" y="286"/>
                  <a:pt x="273" y="284"/>
                  <a:pt x="282" y="283"/>
                </a:cubicBezTo>
                <a:cubicBezTo>
                  <a:pt x="282" y="283"/>
                  <a:pt x="282" y="284"/>
                  <a:pt x="283" y="284"/>
                </a:cubicBezTo>
                <a:cubicBezTo>
                  <a:pt x="291" y="283"/>
                  <a:pt x="300" y="282"/>
                  <a:pt x="310" y="281"/>
                </a:cubicBezTo>
                <a:cubicBezTo>
                  <a:pt x="310" y="290"/>
                  <a:pt x="314" y="302"/>
                  <a:pt x="316" y="313"/>
                </a:cubicBezTo>
                <a:cubicBezTo>
                  <a:pt x="318" y="319"/>
                  <a:pt x="321" y="332"/>
                  <a:pt x="322" y="335"/>
                </a:cubicBezTo>
                <a:cubicBezTo>
                  <a:pt x="323" y="338"/>
                  <a:pt x="328" y="350"/>
                  <a:pt x="327" y="357"/>
                </a:cubicBezTo>
                <a:cubicBezTo>
                  <a:pt x="322" y="359"/>
                  <a:pt x="304" y="372"/>
                  <a:pt x="303" y="376"/>
                </a:cubicBezTo>
                <a:cubicBezTo>
                  <a:pt x="293" y="383"/>
                  <a:pt x="284" y="390"/>
                  <a:pt x="275" y="397"/>
                </a:cubicBezTo>
                <a:cubicBezTo>
                  <a:pt x="275" y="397"/>
                  <a:pt x="265" y="406"/>
                  <a:pt x="263" y="406"/>
                </a:cubicBezTo>
                <a:cubicBezTo>
                  <a:pt x="263" y="407"/>
                  <a:pt x="263" y="408"/>
                  <a:pt x="263" y="408"/>
                </a:cubicBezTo>
                <a:cubicBezTo>
                  <a:pt x="258" y="410"/>
                  <a:pt x="254" y="417"/>
                  <a:pt x="249" y="418"/>
                </a:cubicBezTo>
                <a:cubicBezTo>
                  <a:pt x="249" y="420"/>
                  <a:pt x="233" y="433"/>
                  <a:pt x="231" y="437"/>
                </a:cubicBezTo>
                <a:cubicBezTo>
                  <a:pt x="227" y="440"/>
                  <a:pt x="224" y="443"/>
                  <a:pt x="221" y="446"/>
                </a:cubicBezTo>
                <a:cubicBezTo>
                  <a:pt x="220" y="458"/>
                  <a:pt x="214" y="469"/>
                  <a:pt x="213" y="482"/>
                </a:cubicBezTo>
                <a:cubicBezTo>
                  <a:pt x="211" y="485"/>
                  <a:pt x="211" y="485"/>
                  <a:pt x="211" y="488"/>
                </a:cubicBezTo>
                <a:cubicBezTo>
                  <a:pt x="207" y="488"/>
                  <a:pt x="203" y="488"/>
                  <a:pt x="199" y="488"/>
                </a:cubicBezTo>
                <a:cubicBezTo>
                  <a:pt x="183" y="505"/>
                  <a:pt x="177" y="525"/>
                  <a:pt x="179" y="549"/>
                </a:cubicBezTo>
                <a:cubicBezTo>
                  <a:pt x="174" y="560"/>
                  <a:pt x="153" y="596"/>
                  <a:pt x="145" y="601"/>
                </a:cubicBezTo>
                <a:cubicBezTo>
                  <a:pt x="139" y="620"/>
                  <a:pt x="145" y="649"/>
                  <a:pt x="149" y="668"/>
                </a:cubicBezTo>
                <a:cubicBezTo>
                  <a:pt x="144" y="668"/>
                  <a:pt x="139" y="668"/>
                  <a:pt x="135" y="668"/>
                </a:cubicBezTo>
                <a:cubicBezTo>
                  <a:pt x="130" y="654"/>
                  <a:pt x="128" y="641"/>
                  <a:pt x="125" y="628"/>
                </a:cubicBezTo>
                <a:cubicBezTo>
                  <a:pt x="113" y="629"/>
                  <a:pt x="102" y="630"/>
                  <a:pt x="90" y="631"/>
                </a:cubicBezTo>
                <a:cubicBezTo>
                  <a:pt x="86" y="667"/>
                  <a:pt x="66" y="692"/>
                  <a:pt x="92" y="727"/>
                </a:cubicBezTo>
                <a:cubicBezTo>
                  <a:pt x="93" y="727"/>
                  <a:pt x="94" y="727"/>
                  <a:pt x="95" y="727"/>
                </a:cubicBezTo>
                <a:cubicBezTo>
                  <a:pt x="100" y="722"/>
                  <a:pt x="106" y="713"/>
                  <a:pt x="107" y="707"/>
                </a:cubicBezTo>
                <a:cubicBezTo>
                  <a:pt x="107" y="707"/>
                  <a:pt x="114" y="712"/>
                  <a:pt x="117" y="719"/>
                </a:cubicBezTo>
                <a:cubicBezTo>
                  <a:pt x="118" y="728"/>
                  <a:pt x="115" y="739"/>
                  <a:pt x="118" y="749"/>
                </a:cubicBezTo>
                <a:cubicBezTo>
                  <a:pt x="118" y="754"/>
                  <a:pt x="116" y="762"/>
                  <a:pt x="119" y="770"/>
                </a:cubicBezTo>
                <a:cubicBezTo>
                  <a:pt x="123" y="770"/>
                  <a:pt x="128" y="771"/>
                  <a:pt x="133" y="775"/>
                </a:cubicBezTo>
                <a:cubicBezTo>
                  <a:pt x="134" y="785"/>
                  <a:pt x="138" y="797"/>
                  <a:pt x="140" y="810"/>
                </a:cubicBezTo>
                <a:cubicBezTo>
                  <a:pt x="143" y="817"/>
                  <a:pt x="144" y="823"/>
                  <a:pt x="146" y="826"/>
                </a:cubicBezTo>
                <a:cubicBezTo>
                  <a:pt x="155" y="827"/>
                  <a:pt x="164" y="829"/>
                  <a:pt x="174" y="830"/>
                </a:cubicBezTo>
                <a:cubicBezTo>
                  <a:pt x="174" y="825"/>
                  <a:pt x="191" y="816"/>
                  <a:pt x="195" y="809"/>
                </a:cubicBezTo>
                <a:cubicBezTo>
                  <a:pt x="197" y="810"/>
                  <a:pt x="201" y="812"/>
                  <a:pt x="205" y="817"/>
                </a:cubicBezTo>
                <a:cubicBezTo>
                  <a:pt x="215" y="822"/>
                  <a:pt x="216" y="829"/>
                  <a:pt x="232" y="830"/>
                </a:cubicBezTo>
                <a:cubicBezTo>
                  <a:pt x="244" y="836"/>
                  <a:pt x="256" y="832"/>
                  <a:pt x="266" y="839"/>
                </a:cubicBezTo>
                <a:cubicBezTo>
                  <a:pt x="272" y="852"/>
                  <a:pt x="278" y="877"/>
                  <a:pt x="280" y="892"/>
                </a:cubicBezTo>
                <a:cubicBezTo>
                  <a:pt x="288" y="894"/>
                  <a:pt x="288" y="894"/>
                  <a:pt x="320" y="898"/>
                </a:cubicBezTo>
                <a:cubicBezTo>
                  <a:pt x="325" y="911"/>
                  <a:pt x="330" y="950"/>
                  <a:pt x="342" y="958"/>
                </a:cubicBezTo>
                <a:cubicBezTo>
                  <a:pt x="350" y="959"/>
                  <a:pt x="358" y="960"/>
                  <a:pt x="365" y="961"/>
                </a:cubicBezTo>
                <a:cubicBezTo>
                  <a:pt x="386" y="973"/>
                  <a:pt x="438" y="1011"/>
                  <a:pt x="455" y="1031"/>
                </a:cubicBezTo>
                <a:cubicBezTo>
                  <a:pt x="456" y="1031"/>
                  <a:pt x="457" y="1031"/>
                  <a:pt x="458" y="1032"/>
                </a:cubicBezTo>
                <a:cubicBezTo>
                  <a:pt x="455" y="1038"/>
                  <a:pt x="451" y="1045"/>
                  <a:pt x="448" y="1052"/>
                </a:cubicBezTo>
                <a:cubicBezTo>
                  <a:pt x="447" y="1052"/>
                  <a:pt x="446" y="1053"/>
                  <a:pt x="445" y="1054"/>
                </a:cubicBezTo>
                <a:cubicBezTo>
                  <a:pt x="446" y="1065"/>
                  <a:pt x="448" y="1077"/>
                  <a:pt x="451" y="1091"/>
                </a:cubicBezTo>
                <a:cubicBezTo>
                  <a:pt x="452" y="1091"/>
                  <a:pt x="452" y="1091"/>
                  <a:pt x="453" y="1092"/>
                </a:cubicBezTo>
                <a:cubicBezTo>
                  <a:pt x="453" y="1095"/>
                  <a:pt x="453" y="1098"/>
                  <a:pt x="453" y="1102"/>
                </a:cubicBezTo>
                <a:cubicBezTo>
                  <a:pt x="447" y="1125"/>
                  <a:pt x="414" y="1149"/>
                  <a:pt x="398" y="1165"/>
                </a:cubicBezTo>
                <a:cubicBezTo>
                  <a:pt x="406" y="1168"/>
                  <a:pt x="412" y="1171"/>
                  <a:pt x="421" y="1175"/>
                </a:cubicBezTo>
                <a:cubicBezTo>
                  <a:pt x="423" y="1178"/>
                  <a:pt x="425" y="1182"/>
                  <a:pt x="427" y="1186"/>
                </a:cubicBezTo>
                <a:cubicBezTo>
                  <a:pt x="418" y="1202"/>
                  <a:pt x="418" y="1202"/>
                  <a:pt x="416" y="1204"/>
                </a:cubicBezTo>
                <a:cubicBezTo>
                  <a:pt x="409" y="1191"/>
                  <a:pt x="402" y="1179"/>
                  <a:pt x="395" y="1167"/>
                </a:cubicBezTo>
                <a:cubicBezTo>
                  <a:pt x="318" y="1142"/>
                  <a:pt x="304" y="1099"/>
                  <a:pt x="290" y="1068"/>
                </a:cubicBezTo>
                <a:cubicBezTo>
                  <a:pt x="290" y="1067"/>
                  <a:pt x="290" y="1066"/>
                  <a:pt x="290" y="1065"/>
                </a:cubicBezTo>
                <a:cubicBezTo>
                  <a:pt x="251" y="1044"/>
                  <a:pt x="196" y="978"/>
                  <a:pt x="182" y="934"/>
                </a:cubicBezTo>
                <a:cubicBezTo>
                  <a:pt x="181" y="933"/>
                  <a:pt x="180" y="932"/>
                  <a:pt x="180" y="931"/>
                </a:cubicBezTo>
                <a:cubicBezTo>
                  <a:pt x="180" y="919"/>
                  <a:pt x="181" y="906"/>
                  <a:pt x="180" y="897"/>
                </a:cubicBezTo>
                <a:cubicBezTo>
                  <a:pt x="174" y="885"/>
                  <a:pt x="172" y="872"/>
                  <a:pt x="170" y="864"/>
                </a:cubicBezTo>
                <a:cubicBezTo>
                  <a:pt x="161" y="862"/>
                  <a:pt x="152" y="860"/>
                  <a:pt x="143" y="859"/>
                </a:cubicBezTo>
                <a:cubicBezTo>
                  <a:pt x="140" y="847"/>
                  <a:pt x="135" y="839"/>
                  <a:pt x="131" y="831"/>
                </a:cubicBezTo>
                <a:cubicBezTo>
                  <a:pt x="128" y="823"/>
                  <a:pt x="126" y="816"/>
                  <a:pt x="123" y="808"/>
                </a:cubicBezTo>
                <a:cubicBezTo>
                  <a:pt x="118" y="808"/>
                  <a:pt x="115" y="808"/>
                  <a:pt x="110" y="808"/>
                </a:cubicBezTo>
                <a:cubicBezTo>
                  <a:pt x="110" y="806"/>
                  <a:pt x="66" y="744"/>
                  <a:pt x="60" y="739"/>
                </a:cubicBezTo>
                <a:cubicBezTo>
                  <a:pt x="57" y="724"/>
                  <a:pt x="52" y="708"/>
                  <a:pt x="47" y="694"/>
                </a:cubicBezTo>
                <a:cubicBezTo>
                  <a:pt x="42" y="693"/>
                  <a:pt x="38" y="692"/>
                  <a:pt x="34" y="692"/>
                </a:cubicBezTo>
                <a:cubicBezTo>
                  <a:pt x="25" y="640"/>
                  <a:pt x="16" y="590"/>
                  <a:pt x="21" y="536"/>
                </a:cubicBezTo>
                <a:cubicBezTo>
                  <a:pt x="30" y="510"/>
                  <a:pt x="46" y="474"/>
                  <a:pt x="46" y="447"/>
                </a:cubicBezTo>
                <a:cubicBezTo>
                  <a:pt x="45" y="446"/>
                  <a:pt x="44" y="446"/>
                  <a:pt x="43" y="446"/>
                </a:cubicBezTo>
                <a:cubicBezTo>
                  <a:pt x="44" y="438"/>
                  <a:pt x="49" y="431"/>
                  <a:pt x="49" y="425"/>
                </a:cubicBezTo>
                <a:cubicBezTo>
                  <a:pt x="58" y="423"/>
                  <a:pt x="56" y="411"/>
                  <a:pt x="62" y="402"/>
                </a:cubicBezTo>
                <a:cubicBezTo>
                  <a:pt x="62" y="400"/>
                  <a:pt x="62" y="398"/>
                  <a:pt x="62" y="397"/>
                </a:cubicBezTo>
                <a:cubicBezTo>
                  <a:pt x="55" y="397"/>
                  <a:pt x="53" y="403"/>
                  <a:pt x="50" y="408"/>
                </a:cubicBezTo>
                <a:cubicBezTo>
                  <a:pt x="50" y="408"/>
                  <a:pt x="50" y="408"/>
                  <a:pt x="50" y="408"/>
                </a:cubicBezTo>
                <a:cubicBezTo>
                  <a:pt x="18" y="485"/>
                  <a:pt x="0" y="570"/>
                  <a:pt x="0" y="659"/>
                </a:cubicBezTo>
                <a:cubicBezTo>
                  <a:pt x="0" y="659"/>
                  <a:pt x="0" y="659"/>
                  <a:pt x="0" y="659"/>
                </a:cubicBezTo>
                <a:cubicBezTo>
                  <a:pt x="0" y="659"/>
                  <a:pt x="0" y="659"/>
                  <a:pt x="0" y="659"/>
                </a:cubicBezTo>
                <a:cubicBezTo>
                  <a:pt x="0" y="659"/>
                  <a:pt x="0" y="659"/>
                  <a:pt x="0" y="659"/>
                </a:cubicBezTo>
                <a:cubicBezTo>
                  <a:pt x="0" y="659"/>
                  <a:pt x="0" y="659"/>
                  <a:pt x="0" y="659"/>
                </a:cubicBezTo>
                <a:cubicBezTo>
                  <a:pt x="0" y="771"/>
                  <a:pt x="28" y="877"/>
                  <a:pt x="78" y="969"/>
                </a:cubicBezTo>
                <a:cubicBezTo>
                  <a:pt x="80" y="966"/>
                  <a:pt x="86" y="952"/>
                  <a:pt x="87" y="952"/>
                </a:cubicBezTo>
                <a:cubicBezTo>
                  <a:pt x="87" y="953"/>
                  <a:pt x="119" y="1020"/>
                  <a:pt x="118" y="1022"/>
                </a:cubicBezTo>
                <a:cubicBezTo>
                  <a:pt x="115" y="1019"/>
                  <a:pt x="94" y="993"/>
                  <a:pt x="83" y="979"/>
                </a:cubicBezTo>
                <a:cubicBezTo>
                  <a:pt x="113" y="1032"/>
                  <a:pt x="150" y="1081"/>
                  <a:pt x="193" y="1124"/>
                </a:cubicBezTo>
                <a:cubicBezTo>
                  <a:pt x="312" y="1243"/>
                  <a:pt x="477" y="1317"/>
                  <a:pt x="659" y="1317"/>
                </a:cubicBezTo>
                <a:cubicBezTo>
                  <a:pt x="659" y="1317"/>
                  <a:pt x="659" y="1317"/>
                  <a:pt x="659" y="1317"/>
                </a:cubicBezTo>
                <a:cubicBezTo>
                  <a:pt x="659" y="1317"/>
                  <a:pt x="659" y="1317"/>
                  <a:pt x="659" y="1317"/>
                </a:cubicBezTo>
                <a:cubicBezTo>
                  <a:pt x="659" y="1317"/>
                  <a:pt x="659" y="1317"/>
                  <a:pt x="659" y="1317"/>
                </a:cubicBezTo>
                <a:cubicBezTo>
                  <a:pt x="659" y="1317"/>
                  <a:pt x="659" y="1317"/>
                  <a:pt x="659" y="1317"/>
                </a:cubicBezTo>
                <a:cubicBezTo>
                  <a:pt x="840" y="1317"/>
                  <a:pt x="1005" y="1243"/>
                  <a:pt x="1124" y="1124"/>
                </a:cubicBezTo>
                <a:cubicBezTo>
                  <a:pt x="1147" y="1101"/>
                  <a:pt x="1169" y="1076"/>
                  <a:pt x="1188" y="1050"/>
                </a:cubicBezTo>
                <a:cubicBezTo>
                  <a:pt x="1181" y="1041"/>
                  <a:pt x="1173" y="1032"/>
                  <a:pt x="1166" y="1025"/>
                </a:cubicBezTo>
                <a:cubicBezTo>
                  <a:pt x="1161" y="1027"/>
                  <a:pt x="1163" y="1030"/>
                  <a:pt x="1162" y="1035"/>
                </a:cubicBezTo>
                <a:cubicBezTo>
                  <a:pt x="1157" y="1037"/>
                  <a:pt x="1152" y="1038"/>
                  <a:pt x="1148" y="1040"/>
                </a:cubicBezTo>
                <a:cubicBezTo>
                  <a:pt x="1148" y="1032"/>
                  <a:pt x="1165" y="1027"/>
                  <a:pt x="1167" y="1017"/>
                </a:cubicBezTo>
                <a:cubicBezTo>
                  <a:pt x="1198" y="989"/>
                  <a:pt x="1225" y="959"/>
                  <a:pt x="1249" y="927"/>
                </a:cubicBezTo>
                <a:cubicBezTo>
                  <a:pt x="1250" y="927"/>
                  <a:pt x="1251" y="927"/>
                  <a:pt x="1252" y="927"/>
                </a:cubicBezTo>
                <a:cubicBezTo>
                  <a:pt x="1252" y="931"/>
                  <a:pt x="1248" y="932"/>
                  <a:pt x="1247" y="937"/>
                </a:cubicBezTo>
                <a:cubicBezTo>
                  <a:pt x="1248" y="937"/>
                  <a:pt x="1248" y="937"/>
                  <a:pt x="1249" y="937"/>
                </a:cubicBezTo>
                <a:cubicBezTo>
                  <a:pt x="1246" y="941"/>
                  <a:pt x="1242" y="944"/>
                  <a:pt x="1241" y="948"/>
                </a:cubicBezTo>
                <a:cubicBezTo>
                  <a:pt x="1245" y="958"/>
                  <a:pt x="1245" y="958"/>
                  <a:pt x="1245" y="958"/>
                </a:cubicBezTo>
                <a:cubicBezTo>
                  <a:pt x="1255" y="939"/>
                  <a:pt x="1264" y="920"/>
                  <a:pt x="1272" y="900"/>
                </a:cubicBezTo>
                <a:cubicBezTo>
                  <a:pt x="1270" y="900"/>
                  <a:pt x="1268" y="901"/>
                  <a:pt x="1266" y="901"/>
                </a:cubicBezTo>
                <a:cubicBezTo>
                  <a:pt x="1266" y="901"/>
                  <a:pt x="1266" y="900"/>
                  <a:pt x="1266" y="900"/>
                </a:cubicBezTo>
                <a:cubicBezTo>
                  <a:pt x="1266" y="900"/>
                  <a:pt x="1265" y="900"/>
                  <a:pt x="1265" y="900"/>
                </a:cubicBezTo>
                <a:cubicBezTo>
                  <a:pt x="1267" y="892"/>
                  <a:pt x="1273" y="884"/>
                  <a:pt x="1277" y="877"/>
                </a:cubicBezTo>
                <a:cubicBezTo>
                  <a:pt x="1277" y="871"/>
                  <a:pt x="1279" y="867"/>
                  <a:pt x="1281" y="861"/>
                </a:cubicBezTo>
                <a:cubicBezTo>
                  <a:pt x="1282" y="861"/>
                  <a:pt x="1283" y="861"/>
                  <a:pt x="1284" y="861"/>
                </a:cubicBezTo>
                <a:cubicBezTo>
                  <a:pt x="1284" y="861"/>
                  <a:pt x="1285" y="862"/>
                  <a:pt x="1285" y="862"/>
                </a:cubicBezTo>
                <a:cubicBezTo>
                  <a:pt x="1306" y="798"/>
                  <a:pt x="1317" y="730"/>
                  <a:pt x="1317" y="659"/>
                </a:cubicBezTo>
                <a:cubicBezTo>
                  <a:pt x="1317" y="659"/>
                  <a:pt x="1317" y="659"/>
                  <a:pt x="1317" y="659"/>
                </a:cubicBezTo>
                <a:cubicBezTo>
                  <a:pt x="1317" y="659"/>
                  <a:pt x="1317" y="659"/>
                  <a:pt x="1317" y="659"/>
                </a:cubicBezTo>
                <a:cubicBezTo>
                  <a:pt x="1317" y="659"/>
                  <a:pt x="1317" y="659"/>
                  <a:pt x="1317" y="659"/>
                </a:cubicBezTo>
                <a:cubicBezTo>
                  <a:pt x="1317" y="659"/>
                  <a:pt x="1317" y="659"/>
                  <a:pt x="1317" y="659"/>
                </a:cubicBezTo>
                <a:cubicBezTo>
                  <a:pt x="1317" y="650"/>
                  <a:pt x="1317" y="641"/>
                  <a:pt x="1317" y="632"/>
                </a:cubicBezTo>
                <a:cubicBezTo>
                  <a:pt x="1317" y="632"/>
                  <a:pt x="1317" y="632"/>
                  <a:pt x="1317" y="632"/>
                </a:cubicBezTo>
                <a:cubicBezTo>
                  <a:pt x="1314" y="623"/>
                  <a:pt x="1308" y="606"/>
                  <a:pt x="1313" y="601"/>
                </a:cubicBezTo>
                <a:cubicBezTo>
                  <a:pt x="1313" y="598"/>
                  <a:pt x="1312" y="595"/>
                  <a:pt x="1312" y="593"/>
                </a:cubicBezTo>
                <a:cubicBezTo>
                  <a:pt x="1313" y="592"/>
                  <a:pt x="1313" y="592"/>
                  <a:pt x="1314" y="591"/>
                </a:cubicBezTo>
                <a:cubicBezTo>
                  <a:pt x="1310" y="549"/>
                  <a:pt x="1301" y="508"/>
                  <a:pt x="1289" y="468"/>
                </a:cubicBezTo>
                <a:cubicBezTo>
                  <a:pt x="1288" y="470"/>
                  <a:pt x="1288" y="470"/>
                  <a:pt x="1288" y="470"/>
                </a:cubicBezTo>
                <a:cubicBezTo>
                  <a:pt x="1271" y="443"/>
                  <a:pt x="1271" y="443"/>
                  <a:pt x="1271" y="441"/>
                </a:cubicBezTo>
                <a:cubicBezTo>
                  <a:pt x="1273" y="438"/>
                  <a:pt x="1275" y="434"/>
                  <a:pt x="1276" y="430"/>
                </a:cubicBezTo>
                <a:cubicBezTo>
                  <a:pt x="1275" y="427"/>
                  <a:pt x="1275" y="427"/>
                  <a:pt x="1275" y="427"/>
                </a:cubicBezTo>
                <a:cubicBezTo>
                  <a:pt x="1265" y="428"/>
                  <a:pt x="1265" y="428"/>
                  <a:pt x="1261" y="429"/>
                </a:cubicBezTo>
                <a:cubicBezTo>
                  <a:pt x="1261" y="434"/>
                  <a:pt x="1270" y="440"/>
                  <a:pt x="1270" y="449"/>
                </a:cubicBezTo>
                <a:cubicBezTo>
                  <a:pt x="1279" y="452"/>
                  <a:pt x="1292" y="483"/>
                  <a:pt x="1297" y="497"/>
                </a:cubicBezTo>
                <a:cubicBezTo>
                  <a:pt x="1297" y="501"/>
                  <a:pt x="1296" y="504"/>
                  <a:pt x="1296" y="509"/>
                </a:cubicBezTo>
                <a:cubicBezTo>
                  <a:pt x="1297" y="510"/>
                  <a:pt x="1305" y="524"/>
                  <a:pt x="1301" y="529"/>
                </a:cubicBezTo>
                <a:cubicBezTo>
                  <a:pt x="1302" y="532"/>
                  <a:pt x="1302" y="535"/>
                  <a:pt x="1303" y="539"/>
                </a:cubicBezTo>
                <a:cubicBezTo>
                  <a:pt x="1302" y="539"/>
                  <a:pt x="1302" y="539"/>
                  <a:pt x="1301" y="540"/>
                </a:cubicBezTo>
                <a:cubicBezTo>
                  <a:pt x="1302" y="542"/>
                  <a:pt x="1303" y="544"/>
                  <a:pt x="1304" y="547"/>
                </a:cubicBezTo>
                <a:cubicBezTo>
                  <a:pt x="1300" y="552"/>
                  <a:pt x="1307" y="573"/>
                  <a:pt x="1310" y="583"/>
                </a:cubicBezTo>
                <a:cubicBezTo>
                  <a:pt x="1309" y="583"/>
                  <a:pt x="1308" y="584"/>
                  <a:pt x="1307" y="585"/>
                </a:cubicBezTo>
                <a:cubicBezTo>
                  <a:pt x="1307" y="588"/>
                  <a:pt x="1310" y="594"/>
                  <a:pt x="1306" y="596"/>
                </a:cubicBezTo>
                <a:cubicBezTo>
                  <a:pt x="1303" y="583"/>
                  <a:pt x="1299" y="569"/>
                  <a:pt x="1296" y="559"/>
                </a:cubicBezTo>
                <a:cubicBezTo>
                  <a:pt x="1295" y="559"/>
                  <a:pt x="1294" y="560"/>
                  <a:pt x="1293" y="560"/>
                </a:cubicBezTo>
                <a:cubicBezTo>
                  <a:pt x="1293" y="564"/>
                  <a:pt x="1293" y="568"/>
                  <a:pt x="1293" y="573"/>
                </a:cubicBezTo>
                <a:cubicBezTo>
                  <a:pt x="1297" y="593"/>
                  <a:pt x="1301" y="613"/>
                  <a:pt x="1304" y="636"/>
                </a:cubicBezTo>
                <a:cubicBezTo>
                  <a:pt x="1304" y="645"/>
                  <a:pt x="1305" y="654"/>
                  <a:pt x="1305" y="663"/>
                </a:cubicBezTo>
                <a:cubicBezTo>
                  <a:pt x="1304" y="663"/>
                  <a:pt x="1280" y="724"/>
                  <a:pt x="1280" y="727"/>
                </a:cubicBezTo>
                <a:cubicBezTo>
                  <a:pt x="1268" y="734"/>
                  <a:pt x="1279" y="756"/>
                  <a:pt x="1275" y="770"/>
                </a:cubicBezTo>
                <a:cubicBezTo>
                  <a:pt x="1276" y="775"/>
                  <a:pt x="1276" y="775"/>
                  <a:pt x="1276" y="779"/>
                </a:cubicBezTo>
                <a:cubicBezTo>
                  <a:pt x="1275" y="783"/>
                  <a:pt x="1275" y="783"/>
                  <a:pt x="1275" y="786"/>
                </a:cubicBezTo>
                <a:cubicBezTo>
                  <a:pt x="1268" y="788"/>
                  <a:pt x="1267" y="796"/>
                  <a:pt x="1265" y="802"/>
                </a:cubicBezTo>
                <a:cubicBezTo>
                  <a:pt x="1263" y="803"/>
                  <a:pt x="1261" y="805"/>
                  <a:pt x="1259" y="807"/>
                </a:cubicBezTo>
                <a:cubicBezTo>
                  <a:pt x="1256" y="816"/>
                  <a:pt x="1256" y="816"/>
                  <a:pt x="1254" y="817"/>
                </a:cubicBezTo>
                <a:cubicBezTo>
                  <a:pt x="1254" y="807"/>
                  <a:pt x="1254" y="797"/>
                  <a:pt x="1257" y="790"/>
                </a:cubicBezTo>
                <a:cubicBezTo>
                  <a:pt x="1255" y="782"/>
                  <a:pt x="1256" y="782"/>
                  <a:pt x="1257" y="778"/>
                </a:cubicBezTo>
                <a:cubicBezTo>
                  <a:pt x="1250" y="778"/>
                  <a:pt x="1252" y="786"/>
                  <a:pt x="1253" y="792"/>
                </a:cubicBezTo>
                <a:cubicBezTo>
                  <a:pt x="1251" y="795"/>
                  <a:pt x="1250" y="799"/>
                  <a:pt x="1249" y="803"/>
                </a:cubicBezTo>
                <a:cubicBezTo>
                  <a:pt x="1250" y="806"/>
                  <a:pt x="1246" y="822"/>
                  <a:pt x="1247" y="830"/>
                </a:cubicBezTo>
                <a:cubicBezTo>
                  <a:pt x="1248" y="831"/>
                  <a:pt x="1250" y="844"/>
                  <a:pt x="1250" y="850"/>
                </a:cubicBezTo>
                <a:cubicBezTo>
                  <a:pt x="1247" y="854"/>
                  <a:pt x="1244" y="858"/>
                  <a:pt x="1242" y="863"/>
                </a:cubicBezTo>
                <a:cubicBezTo>
                  <a:pt x="1241" y="863"/>
                  <a:pt x="1239" y="863"/>
                  <a:pt x="1238" y="863"/>
                </a:cubicBezTo>
                <a:cubicBezTo>
                  <a:pt x="1237" y="862"/>
                  <a:pt x="1237" y="861"/>
                  <a:pt x="1236" y="860"/>
                </a:cubicBezTo>
                <a:cubicBezTo>
                  <a:pt x="1236" y="867"/>
                  <a:pt x="1231" y="870"/>
                  <a:pt x="1233" y="877"/>
                </a:cubicBezTo>
                <a:cubicBezTo>
                  <a:pt x="1234" y="877"/>
                  <a:pt x="1235" y="878"/>
                  <a:pt x="1236" y="878"/>
                </a:cubicBezTo>
                <a:cubicBezTo>
                  <a:pt x="1236" y="880"/>
                  <a:pt x="1237" y="883"/>
                  <a:pt x="1237" y="885"/>
                </a:cubicBezTo>
                <a:cubicBezTo>
                  <a:pt x="1234" y="891"/>
                  <a:pt x="1229" y="902"/>
                  <a:pt x="1229" y="909"/>
                </a:cubicBezTo>
                <a:cubicBezTo>
                  <a:pt x="1228" y="911"/>
                  <a:pt x="1228" y="912"/>
                  <a:pt x="1227" y="914"/>
                </a:cubicBezTo>
                <a:cubicBezTo>
                  <a:pt x="1230" y="914"/>
                  <a:pt x="1228" y="919"/>
                  <a:pt x="1235" y="922"/>
                </a:cubicBezTo>
                <a:cubicBezTo>
                  <a:pt x="1235" y="926"/>
                  <a:pt x="1228" y="930"/>
                  <a:pt x="1228" y="938"/>
                </a:cubicBezTo>
                <a:cubicBezTo>
                  <a:pt x="1222" y="939"/>
                  <a:pt x="1218" y="941"/>
                  <a:pt x="1212" y="941"/>
                </a:cubicBezTo>
                <a:cubicBezTo>
                  <a:pt x="1212" y="927"/>
                  <a:pt x="1227" y="870"/>
                  <a:pt x="1219" y="862"/>
                </a:cubicBezTo>
                <a:cubicBezTo>
                  <a:pt x="1219" y="858"/>
                  <a:pt x="1219" y="856"/>
                  <a:pt x="1218" y="854"/>
                </a:cubicBezTo>
                <a:cubicBezTo>
                  <a:pt x="1219" y="854"/>
                  <a:pt x="1226" y="853"/>
                  <a:pt x="1227" y="852"/>
                </a:cubicBezTo>
                <a:cubicBezTo>
                  <a:pt x="1227" y="852"/>
                  <a:pt x="1228" y="852"/>
                  <a:pt x="1228" y="853"/>
                </a:cubicBezTo>
                <a:cubicBezTo>
                  <a:pt x="1229" y="853"/>
                  <a:pt x="1229" y="853"/>
                  <a:pt x="1230" y="853"/>
                </a:cubicBezTo>
                <a:cubicBezTo>
                  <a:pt x="1235" y="843"/>
                  <a:pt x="1236" y="823"/>
                  <a:pt x="1236" y="814"/>
                </a:cubicBezTo>
                <a:cubicBezTo>
                  <a:pt x="1240" y="802"/>
                  <a:pt x="1236" y="790"/>
                  <a:pt x="1240" y="781"/>
                </a:cubicBezTo>
                <a:cubicBezTo>
                  <a:pt x="1240" y="780"/>
                  <a:pt x="1240" y="779"/>
                  <a:pt x="1240" y="778"/>
                </a:cubicBezTo>
                <a:cubicBezTo>
                  <a:pt x="1239" y="778"/>
                  <a:pt x="1239" y="778"/>
                  <a:pt x="1238" y="778"/>
                </a:cubicBezTo>
                <a:cubicBezTo>
                  <a:pt x="1238" y="760"/>
                  <a:pt x="1240" y="741"/>
                  <a:pt x="1237" y="723"/>
                </a:cubicBezTo>
                <a:cubicBezTo>
                  <a:pt x="1237" y="707"/>
                  <a:pt x="1238" y="692"/>
                  <a:pt x="1238" y="676"/>
                </a:cubicBezTo>
                <a:cubicBezTo>
                  <a:pt x="1236" y="676"/>
                  <a:pt x="1234" y="676"/>
                  <a:pt x="1233" y="676"/>
                </a:cubicBezTo>
                <a:cubicBezTo>
                  <a:pt x="1230" y="709"/>
                  <a:pt x="1232" y="713"/>
                  <a:pt x="1227" y="716"/>
                </a:cubicBezTo>
                <a:cubicBezTo>
                  <a:pt x="1226" y="720"/>
                  <a:pt x="1224" y="724"/>
                  <a:pt x="1223" y="728"/>
                </a:cubicBezTo>
                <a:cubicBezTo>
                  <a:pt x="1222" y="729"/>
                  <a:pt x="1221" y="729"/>
                  <a:pt x="1221" y="729"/>
                </a:cubicBezTo>
                <a:cubicBezTo>
                  <a:pt x="1216" y="739"/>
                  <a:pt x="1211" y="750"/>
                  <a:pt x="1204" y="760"/>
                </a:cubicBezTo>
                <a:cubicBezTo>
                  <a:pt x="1201" y="769"/>
                  <a:pt x="1199" y="777"/>
                  <a:pt x="1196" y="786"/>
                </a:cubicBezTo>
                <a:cubicBezTo>
                  <a:pt x="1196" y="797"/>
                  <a:pt x="1193" y="806"/>
                  <a:pt x="1192" y="818"/>
                </a:cubicBezTo>
                <a:cubicBezTo>
                  <a:pt x="1191" y="820"/>
                  <a:pt x="1182" y="828"/>
                  <a:pt x="1180" y="828"/>
                </a:cubicBezTo>
                <a:cubicBezTo>
                  <a:pt x="1180" y="829"/>
                  <a:pt x="1180" y="829"/>
                  <a:pt x="1180" y="830"/>
                </a:cubicBezTo>
                <a:cubicBezTo>
                  <a:pt x="1176" y="830"/>
                  <a:pt x="1169" y="838"/>
                  <a:pt x="1167" y="839"/>
                </a:cubicBezTo>
                <a:cubicBezTo>
                  <a:pt x="1162" y="818"/>
                  <a:pt x="1167" y="766"/>
                  <a:pt x="1167" y="743"/>
                </a:cubicBezTo>
                <a:cubicBezTo>
                  <a:pt x="1164" y="742"/>
                  <a:pt x="1161" y="739"/>
                  <a:pt x="1159" y="737"/>
                </a:cubicBezTo>
                <a:cubicBezTo>
                  <a:pt x="1160" y="717"/>
                  <a:pt x="1161" y="697"/>
                  <a:pt x="1162" y="677"/>
                </a:cubicBezTo>
                <a:cubicBezTo>
                  <a:pt x="1136" y="663"/>
                  <a:pt x="1062" y="629"/>
                  <a:pt x="1062" y="636"/>
                </a:cubicBezTo>
                <a:cubicBezTo>
                  <a:pt x="1069" y="654"/>
                  <a:pt x="1074" y="673"/>
                  <a:pt x="1080" y="693"/>
                </a:cubicBezTo>
                <a:cubicBezTo>
                  <a:pt x="1083" y="692"/>
                  <a:pt x="1098" y="681"/>
                  <a:pt x="1099" y="682"/>
                </a:cubicBezTo>
                <a:cubicBezTo>
                  <a:pt x="1101" y="685"/>
                  <a:pt x="1102" y="689"/>
                  <a:pt x="1103" y="693"/>
                </a:cubicBezTo>
                <a:cubicBezTo>
                  <a:pt x="1106" y="693"/>
                  <a:pt x="1113" y="718"/>
                  <a:pt x="1117" y="723"/>
                </a:cubicBezTo>
                <a:cubicBezTo>
                  <a:pt x="1117" y="724"/>
                  <a:pt x="1117" y="725"/>
                  <a:pt x="1117" y="727"/>
                </a:cubicBezTo>
                <a:cubicBezTo>
                  <a:pt x="1108" y="740"/>
                  <a:pt x="1105" y="760"/>
                  <a:pt x="1094" y="774"/>
                </a:cubicBezTo>
                <a:cubicBezTo>
                  <a:pt x="1092" y="782"/>
                  <a:pt x="1046" y="819"/>
                  <a:pt x="1037" y="821"/>
                </a:cubicBezTo>
                <a:cubicBezTo>
                  <a:pt x="1034" y="776"/>
                  <a:pt x="1014" y="650"/>
                  <a:pt x="987" y="608"/>
                </a:cubicBezTo>
                <a:cubicBezTo>
                  <a:pt x="981" y="606"/>
                  <a:pt x="977" y="607"/>
                  <a:pt x="971" y="607"/>
                </a:cubicBezTo>
                <a:cubicBezTo>
                  <a:pt x="971" y="622"/>
                  <a:pt x="969" y="639"/>
                  <a:pt x="972" y="657"/>
                </a:cubicBezTo>
                <a:cubicBezTo>
                  <a:pt x="974" y="664"/>
                  <a:pt x="976" y="670"/>
                  <a:pt x="978" y="677"/>
                </a:cubicBezTo>
                <a:cubicBezTo>
                  <a:pt x="978" y="677"/>
                  <a:pt x="979" y="677"/>
                  <a:pt x="979" y="677"/>
                </a:cubicBezTo>
                <a:cubicBezTo>
                  <a:pt x="979" y="689"/>
                  <a:pt x="984" y="704"/>
                  <a:pt x="989" y="717"/>
                </a:cubicBezTo>
                <a:cubicBezTo>
                  <a:pt x="992" y="743"/>
                  <a:pt x="1000" y="773"/>
                  <a:pt x="1004" y="802"/>
                </a:cubicBezTo>
                <a:cubicBezTo>
                  <a:pt x="1018" y="832"/>
                  <a:pt x="1020" y="842"/>
                  <a:pt x="1050" y="835"/>
                </a:cubicBezTo>
                <a:cubicBezTo>
                  <a:pt x="1051" y="832"/>
                  <a:pt x="1064" y="829"/>
                  <a:pt x="1070" y="830"/>
                </a:cubicBezTo>
                <a:cubicBezTo>
                  <a:pt x="1055" y="859"/>
                  <a:pt x="1015" y="945"/>
                  <a:pt x="989" y="963"/>
                </a:cubicBezTo>
                <a:cubicBezTo>
                  <a:pt x="981" y="977"/>
                  <a:pt x="951" y="1003"/>
                  <a:pt x="948" y="1017"/>
                </a:cubicBezTo>
                <a:cubicBezTo>
                  <a:pt x="949" y="1020"/>
                  <a:pt x="950" y="1023"/>
                  <a:pt x="951" y="1026"/>
                </a:cubicBezTo>
                <a:cubicBezTo>
                  <a:pt x="949" y="1040"/>
                  <a:pt x="937" y="1058"/>
                  <a:pt x="937" y="1069"/>
                </a:cubicBezTo>
                <a:cubicBezTo>
                  <a:pt x="877" y="1106"/>
                  <a:pt x="840" y="1158"/>
                  <a:pt x="773" y="1167"/>
                </a:cubicBezTo>
                <a:cubicBezTo>
                  <a:pt x="768" y="1142"/>
                  <a:pt x="762" y="1118"/>
                  <a:pt x="757" y="1094"/>
                </a:cubicBezTo>
                <a:cubicBezTo>
                  <a:pt x="757" y="1088"/>
                  <a:pt x="770" y="1077"/>
                  <a:pt x="774" y="1073"/>
                </a:cubicBezTo>
                <a:cubicBezTo>
                  <a:pt x="776" y="1063"/>
                  <a:pt x="779" y="1052"/>
                  <a:pt x="781" y="1042"/>
                </a:cubicBezTo>
                <a:cubicBezTo>
                  <a:pt x="781" y="1006"/>
                  <a:pt x="728" y="1001"/>
                  <a:pt x="766" y="963"/>
                </a:cubicBezTo>
                <a:cubicBezTo>
                  <a:pt x="757" y="954"/>
                  <a:pt x="737" y="937"/>
                  <a:pt x="726" y="931"/>
                </a:cubicBezTo>
                <a:cubicBezTo>
                  <a:pt x="725" y="930"/>
                  <a:pt x="724" y="929"/>
                  <a:pt x="724" y="929"/>
                </a:cubicBezTo>
                <a:cubicBezTo>
                  <a:pt x="691" y="929"/>
                  <a:pt x="659" y="927"/>
                  <a:pt x="627" y="925"/>
                </a:cubicBezTo>
                <a:cubicBezTo>
                  <a:pt x="625" y="922"/>
                  <a:pt x="623" y="920"/>
                  <a:pt x="621" y="917"/>
                </a:cubicBezTo>
                <a:cubicBezTo>
                  <a:pt x="603" y="902"/>
                  <a:pt x="583" y="876"/>
                  <a:pt x="570" y="856"/>
                </a:cubicBezTo>
                <a:cubicBezTo>
                  <a:pt x="562" y="800"/>
                  <a:pt x="562" y="740"/>
                  <a:pt x="562" y="683"/>
                </a:cubicBezTo>
                <a:cubicBezTo>
                  <a:pt x="589" y="640"/>
                  <a:pt x="661" y="561"/>
                  <a:pt x="698" y="506"/>
                </a:cubicBezTo>
                <a:cubicBezTo>
                  <a:pt x="718" y="505"/>
                  <a:pt x="739" y="501"/>
                  <a:pt x="760" y="500"/>
                </a:cubicBezTo>
                <a:cubicBezTo>
                  <a:pt x="760" y="498"/>
                  <a:pt x="766" y="499"/>
                  <a:pt x="770" y="499"/>
                </a:cubicBezTo>
                <a:cubicBezTo>
                  <a:pt x="774" y="506"/>
                  <a:pt x="780" y="515"/>
                  <a:pt x="786" y="527"/>
                </a:cubicBezTo>
                <a:cubicBezTo>
                  <a:pt x="788" y="527"/>
                  <a:pt x="791" y="541"/>
                  <a:pt x="787" y="541"/>
                </a:cubicBezTo>
                <a:cubicBezTo>
                  <a:pt x="785" y="554"/>
                  <a:pt x="785" y="554"/>
                  <a:pt x="786" y="556"/>
                </a:cubicBezTo>
                <a:cubicBezTo>
                  <a:pt x="800" y="556"/>
                  <a:pt x="828" y="581"/>
                  <a:pt x="843" y="585"/>
                </a:cubicBezTo>
                <a:cubicBezTo>
                  <a:pt x="847" y="577"/>
                  <a:pt x="858" y="558"/>
                  <a:pt x="864" y="554"/>
                </a:cubicBezTo>
                <a:cubicBezTo>
                  <a:pt x="865" y="552"/>
                  <a:pt x="865" y="551"/>
                  <a:pt x="866" y="550"/>
                </a:cubicBezTo>
                <a:cubicBezTo>
                  <a:pt x="867" y="550"/>
                  <a:pt x="867" y="550"/>
                  <a:pt x="868" y="550"/>
                </a:cubicBezTo>
                <a:cubicBezTo>
                  <a:pt x="869" y="551"/>
                  <a:pt x="869" y="552"/>
                  <a:pt x="870" y="553"/>
                </a:cubicBezTo>
                <a:cubicBezTo>
                  <a:pt x="871" y="553"/>
                  <a:pt x="886" y="571"/>
                  <a:pt x="888" y="575"/>
                </a:cubicBezTo>
                <a:cubicBezTo>
                  <a:pt x="911" y="579"/>
                  <a:pt x="933" y="583"/>
                  <a:pt x="958" y="583"/>
                </a:cubicBezTo>
                <a:cubicBezTo>
                  <a:pt x="958" y="582"/>
                  <a:pt x="958" y="581"/>
                  <a:pt x="959" y="580"/>
                </a:cubicBezTo>
                <a:cubicBezTo>
                  <a:pt x="960" y="580"/>
                  <a:pt x="966" y="566"/>
                  <a:pt x="967" y="565"/>
                </a:cubicBezTo>
                <a:cubicBezTo>
                  <a:pt x="967" y="557"/>
                  <a:pt x="963" y="511"/>
                  <a:pt x="961" y="509"/>
                </a:cubicBezTo>
                <a:cubicBezTo>
                  <a:pt x="957" y="517"/>
                  <a:pt x="953" y="527"/>
                  <a:pt x="951" y="538"/>
                </a:cubicBezTo>
                <a:cubicBezTo>
                  <a:pt x="949" y="545"/>
                  <a:pt x="945" y="555"/>
                  <a:pt x="942" y="565"/>
                </a:cubicBezTo>
                <a:cubicBezTo>
                  <a:pt x="941" y="565"/>
                  <a:pt x="941" y="565"/>
                  <a:pt x="939" y="562"/>
                </a:cubicBezTo>
                <a:cubicBezTo>
                  <a:pt x="938" y="558"/>
                  <a:pt x="934" y="552"/>
                  <a:pt x="932" y="545"/>
                </a:cubicBezTo>
                <a:cubicBezTo>
                  <a:pt x="930" y="545"/>
                  <a:pt x="928" y="537"/>
                  <a:pt x="928" y="536"/>
                </a:cubicBezTo>
                <a:cubicBezTo>
                  <a:pt x="921" y="527"/>
                  <a:pt x="915" y="513"/>
                  <a:pt x="910" y="507"/>
                </a:cubicBezTo>
                <a:cubicBezTo>
                  <a:pt x="907" y="497"/>
                  <a:pt x="900" y="492"/>
                  <a:pt x="899" y="487"/>
                </a:cubicBezTo>
                <a:cubicBezTo>
                  <a:pt x="899" y="487"/>
                  <a:pt x="898" y="487"/>
                  <a:pt x="898" y="487"/>
                </a:cubicBezTo>
                <a:cubicBezTo>
                  <a:pt x="898" y="490"/>
                  <a:pt x="899" y="495"/>
                  <a:pt x="900" y="499"/>
                </a:cubicBezTo>
                <a:cubicBezTo>
                  <a:pt x="904" y="518"/>
                  <a:pt x="908" y="540"/>
                  <a:pt x="911" y="563"/>
                </a:cubicBezTo>
                <a:cubicBezTo>
                  <a:pt x="903" y="551"/>
                  <a:pt x="889" y="543"/>
                  <a:pt x="881" y="529"/>
                </a:cubicBezTo>
                <a:cubicBezTo>
                  <a:pt x="863" y="518"/>
                  <a:pt x="862" y="477"/>
                  <a:pt x="857" y="457"/>
                </a:cubicBezTo>
                <a:cubicBezTo>
                  <a:pt x="851" y="451"/>
                  <a:pt x="850" y="449"/>
                  <a:pt x="849" y="445"/>
                </a:cubicBezTo>
                <a:cubicBezTo>
                  <a:pt x="843" y="442"/>
                  <a:pt x="842" y="434"/>
                  <a:pt x="838" y="433"/>
                </a:cubicBezTo>
                <a:cubicBezTo>
                  <a:pt x="834" y="416"/>
                  <a:pt x="813" y="406"/>
                  <a:pt x="808" y="390"/>
                </a:cubicBezTo>
                <a:cubicBezTo>
                  <a:pt x="808" y="390"/>
                  <a:pt x="807" y="389"/>
                  <a:pt x="806" y="389"/>
                </a:cubicBezTo>
                <a:cubicBezTo>
                  <a:pt x="804" y="391"/>
                  <a:pt x="803" y="394"/>
                  <a:pt x="801" y="396"/>
                </a:cubicBezTo>
                <a:cubicBezTo>
                  <a:pt x="803" y="401"/>
                  <a:pt x="815" y="424"/>
                  <a:pt x="819" y="425"/>
                </a:cubicBezTo>
                <a:cubicBezTo>
                  <a:pt x="820" y="430"/>
                  <a:pt x="826" y="434"/>
                  <a:pt x="829" y="444"/>
                </a:cubicBezTo>
                <a:cubicBezTo>
                  <a:pt x="834" y="444"/>
                  <a:pt x="839" y="465"/>
                  <a:pt x="844" y="467"/>
                </a:cubicBezTo>
                <a:cubicBezTo>
                  <a:pt x="838" y="473"/>
                  <a:pt x="837" y="489"/>
                  <a:pt x="832" y="497"/>
                </a:cubicBezTo>
                <a:cubicBezTo>
                  <a:pt x="829" y="507"/>
                  <a:pt x="827" y="510"/>
                  <a:pt x="824" y="518"/>
                </a:cubicBezTo>
                <a:cubicBezTo>
                  <a:pt x="824" y="518"/>
                  <a:pt x="823" y="518"/>
                  <a:pt x="823" y="518"/>
                </a:cubicBezTo>
                <a:cubicBezTo>
                  <a:pt x="820" y="498"/>
                  <a:pt x="814" y="482"/>
                  <a:pt x="811" y="463"/>
                </a:cubicBezTo>
                <a:cubicBezTo>
                  <a:pt x="810" y="463"/>
                  <a:pt x="810" y="463"/>
                  <a:pt x="810" y="463"/>
                </a:cubicBezTo>
                <a:cubicBezTo>
                  <a:pt x="810" y="453"/>
                  <a:pt x="793" y="440"/>
                  <a:pt x="789" y="437"/>
                </a:cubicBezTo>
                <a:cubicBezTo>
                  <a:pt x="781" y="428"/>
                  <a:pt x="769" y="420"/>
                  <a:pt x="766" y="414"/>
                </a:cubicBezTo>
                <a:cubicBezTo>
                  <a:pt x="765" y="414"/>
                  <a:pt x="765" y="414"/>
                  <a:pt x="764" y="414"/>
                </a:cubicBezTo>
                <a:cubicBezTo>
                  <a:pt x="760" y="422"/>
                  <a:pt x="744" y="434"/>
                  <a:pt x="744" y="441"/>
                </a:cubicBezTo>
                <a:cubicBezTo>
                  <a:pt x="739" y="437"/>
                  <a:pt x="734" y="433"/>
                  <a:pt x="729" y="429"/>
                </a:cubicBezTo>
                <a:cubicBezTo>
                  <a:pt x="704" y="464"/>
                  <a:pt x="677" y="500"/>
                  <a:pt x="651" y="536"/>
                </a:cubicBezTo>
                <a:cubicBezTo>
                  <a:pt x="646" y="531"/>
                  <a:pt x="648" y="529"/>
                  <a:pt x="646" y="526"/>
                </a:cubicBezTo>
                <a:cubicBezTo>
                  <a:pt x="639" y="490"/>
                  <a:pt x="627" y="455"/>
                  <a:pt x="621" y="422"/>
                </a:cubicBezTo>
                <a:cubicBezTo>
                  <a:pt x="626" y="422"/>
                  <a:pt x="632" y="423"/>
                  <a:pt x="637" y="423"/>
                </a:cubicBezTo>
                <a:cubicBezTo>
                  <a:pt x="637" y="424"/>
                  <a:pt x="671" y="425"/>
                  <a:pt x="677" y="425"/>
                </a:cubicBezTo>
                <a:cubicBezTo>
                  <a:pt x="679" y="419"/>
                  <a:pt x="679" y="419"/>
                  <a:pt x="680" y="414"/>
                </a:cubicBezTo>
                <a:cubicBezTo>
                  <a:pt x="680" y="413"/>
                  <a:pt x="680" y="413"/>
                  <a:pt x="681" y="413"/>
                </a:cubicBezTo>
                <a:cubicBezTo>
                  <a:pt x="683" y="407"/>
                  <a:pt x="685" y="400"/>
                  <a:pt x="685" y="395"/>
                </a:cubicBezTo>
                <a:cubicBezTo>
                  <a:pt x="678" y="385"/>
                  <a:pt x="668" y="378"/>
                  <a:pt x="665" y="370"/>
                </a:cubicBezTo>
                <a:cubicBezTo>
                  <a:pt x="668" y="370"/>
                  <a:pt x="669" y="366"/>
                  <a:pt x="674" y="365"/>
                </a:cubicBezTo>
                <a:cubicBezTo>
                  <a:pt x="676" y="361"/>
                  <a:pt x="675" y="360"/>
                  <a:pt x="679" y="359"/>
                </a:cubicBezTo>
                <a:cubicBezTo>
                  <a:pt x="679" y="355"/>
                  <a:pt x="696" y="343"/>
                  <a:pt x="698" y="342"/>
                </a:cubicBezTo>
                <a:cubicBezTo>
                  <a:pt x="704" y="341"/>
                  <a:pt x="709" y="340"/>
                  <a:pt x="715" y="340"/>
                </a:cubicBezTo>
                <a:cubicBezTo>
                  <a:pt x="715" y="339"/>
                  <a:pt x="715" y="338"/>
                  <a:pt x="716" y="338"/>
                </a:cubicBezTo>
                <a:cubicBezTo>
                  <a:pt x="719" y="338"/>
                  <a:pt x="724" y="331"/>
                  <a:pt x="726" y="327"/>
                </a:cubicBezTo>
                <a:cubicBezTo>
                  <a:pt x="733" y="322"/>
                  <a:pt x="736" y="317"/>
                  <a:pt x="743" y="311"/>
                </a:cubicBezTo>
                <a:cubicBezTo>
                  <a:pt x="743" y="311"/>
                  <a:pt x="743" y="310"/>
                  <a:pt x="744" y="310"/>
                </a:cubicBezTo>
                <a:cubicBezTo>
                  <a:pt x="745" y="310"/>
                  <a:pt x="746" y="308"/>
                  <a:pt x="746" y="307"/>
                </a:cubicBezTo>
                <a:cubicBezTo>
                  <a:pt x="741" y="301"/>
                  <a:pt x="737" y="290"/>
                  <a:pt x="736" y="286"/>
                </a:cubicBezTo>
                <a:cubicBezTo>
                  <a:pt x="736" y="286"/>
                  <a:pt x="735" y="285"/>
                  <a:pt x="734" y="285"/>
                </a:cubicBezTo>
                <a:cubicBezTo>
                  <a:pt x="734" y="284"/>
                  <a:pt x="734" y="284"/>
                  <a:pt x="734" y="283"/>
                </a:cubicBezTo>
                <a:cubicBezTo>
                  <a:pt x="736" y="282"/>
                  <a:pt x="737" y="282"/>
                  <a:pt x="739" y="281"/>
                </a:cubicBezTo>
                <a:cubicBezTo>
                  <a:pt x="739" y="278"/>
                  <a:pt x="745" y="278"/>
                  <a:pt x="750" y="276"/>
                </a:cubicBezTo>
                <a:cubicBezTo>
                  <a:pt x="751" y="277"/>
                  <a:pt x="752" y="278"/>
                  <a:pt x="753" y="278"/>
                </a:cubicBezTo>
                <a:cubicBezTo>
                  <a:pt x="753" y="281"/>
                  <a:pt x="759" y="283"/>
                  <a:pt x="761" y="290"/>
                </a:cubicBezTo>
                <a:cubicBezTo>
                  <a:pt x="762" y="290"/>
                  <a:pt x="763" y="290"/>
                  <a:pt x="764" y="291"/>
                </a:cubicBezTo>
                <a:cubicBezTo>
                  <a:pt x="764" y="292"/>
                  <a:pt x="765" y="293"/>
                  <a:pt x="765" y="294"/>
                </a:cubicBezTo>
                <a:cubicBezTo>
                  <a:pt x="768" y="294"/>
                  <a:pt x="771" y="294"/>
                  <a:pt x="774" y="294"/>
                </a:cubicBezTo>
                <a:cubicBezTo>
                  <a:pt x="774" y="293"/>
                  <a:pt x="774" y="293"/>
                  <a:pt x="774" y="292"/>
                </a:cubicBezTo>
                <a:cubicBezTo>
                  <a:pt x="778" y="293"/>
                  <a:pt x="781" y="293"/>
                  <a:pt x="784" y="294"/>
                </a:cubicBezTo>
                <a:cubicBezTo>
                  <a:pt x="820" y="295"/>
                  <a:pt x="820" y="295"/>
                  <a:pt x="821" y="294"/>
                </a:cubicBezTo>
                <a:cubicBezTo>
                  <a:pt x="820" y="289"/>
                  <a:pt x="820" y="283"/>
                  <a:pt x="820" y="278"/>
                </a:cubicBezTo>
                <a:cubicBezTo>
                  <a:pt x="825" y="278"/>
                  <a:pt x="831" y="273"/>
                  <a:pt x="838" y="275"/>
                </a:cubicBezTo>
                <a:cubicBezTo>
                  <a:pt x="838" y="271"/>
                  <a:pt x="862" y="267"/>
                  <a:pt x="868" y="266"/>
                </a:cubicBezTo>
                <a:cubicBezTo>
                  <a:pt x="868" y="265"/>
                  <a:pt x="867" y="264"/>
                  <a:pt x="867" y="263"/>
                </a:cubicBezTo>
                <a:cubicBezTo>
                  <a:pt x="866" y="262"/>
                  <a:pt x="865" y="262"/>
                  <a:pt x="864" y="262"/>
                </a:cubicBezTo>
                <a:cubicBezTo>
                  <a:pt x="862" y="256"/>
                  <a:pt x="860" y="257"/>
                  <a:pt x="858" y="256"/>
                </a:cubicBezTo>
                <a:cubicBezTo>
                  <a:pt x="857" y="255"/>
                  <a:pt x="857" y="254"/>
                  <a:pt x="857" y="254"/>
                </a:cubicBezTo>
                <a:cubicBezTo>
                  <a:pt x="830" y="259"/>
                  <a:pt x="827" y="260"/>
                  <a:pt x="824" y="260"/>
                </a:cubicBezTo>
                <a:cubicBezTo>
                  <a:pt x="822" y="256"/>
                  <a:pt x="820" y="255"/>
                  <a:pt x="819" y="253"/>
                </a:cubicBezTo>
                <a:cubicBezTo>
                  <a:pt x="816" y="251"/>
                  <a:pt x="813" y="246"/>
                  <a:pt x="812" y="245"/>
                </a:cubicBezTo>
                <a:cubicBezTo>
                  <a:pt x="812" y="245"/>
                  <a:pt x="811" y="245"/>
                  <a:pt x="810" y="245"/>
                </a:cubicBezTo>
                <a:cubicBezTo>
                  <a:pt x="809" y="242"/>
                  <a:pt x="809" y="240"/>
                  <a:pt x="808" y="238"/>
                </a:cubicBezTo>
                <a:cubicBezTo>
                  <a:pt x="813" y="233"/>
                  <a:pt x="819" y="229"/>
                  <a:pt x="825" y="226"/>
                </a:cubicBezTo>
                <a:cubicBezTo>
                  <a:pt x="820" y="223"/>
                  <a:pt x="813" y="218"/>
                  <a:pt x="812" y="216"/>
                </a:cubicBezTo>
                <a:cubicBezTo>
                  <a:pt x="810" y="215"/>
                  <a:pt x="809" y="215"/>
                  <a:pt x="807" y="214"/>
                </a:cubicBezTo>
                <a:cubicBezTo>
                  <a:pt x="800" y="218"/>
                  <a:pt x="798" y="230"/>
                  <a:pt x="791" y="235"/>
                </a:cubicBezTo>
                <a:cubicBezTo>
                  <a:pt x="787" y="242"/>
                  <a:pt x="787" y="242"/>
                  <a:pt x="787" y="243"/>
                </a:cubicBezTo>
                <a:cubicBezTo>
                  <a:pt x="790" y="244"/>
                  <a:pt x="796" y="251"/>
                  <a:pt x="802" y="252"/>
                </a:cubicBezTo>
                <a:cubicBezTo>
                  <a:pt x="803" y="259"/>
                  <a:pt x="804" y="266"/>
                  <a:pt x="805" y="274"/>
                </a:cubicBezTo>
                <a:cubicBezTo>
                  <a:pt x="805" y="274"/>
                  <a:pt x="806" y="274"/>
                  <a:pt x="807" y="274"/>
                </a:cubicBezTo>
                <a:cubicBezTo>
                  <a:pt x="807" y="275"/>
                  <a:pt x="807" y="277"/>
                  <a:pt x="807" y="278"/>
                </a:cubicBezTo>
                <a:cubicBezTo>
                  <a:pt x="797" y="280"/>
                  <a:pt x="788" y="282"/>
                  <a:pt x="779" y="284"/>
                </a:cubicBezTo>
                <a:cubicBezTo>
                  <a:pt x="779" y="284"/>
                  <a:pt x="779" y="285"/>
                  <a:pt x="779" y="286"/>
                </a:cubicBezTo>
                <a:cubicBezTo>
                  <a:pt x="777" y="285"/>
                  <a:pt x="775" y="285"/>
                  <a:pt x="773" y="285"/>
                </a:cubicBezTo>
                <a:cubicBezTo>
                  <a:pt x="773" y="286"/>
                  <a:pt x="773" y="286"/>
                  <a:pt x="773" y="287"/>
                </a:cubicBezTo>
                <a:cubicBezTo>
                  <a:pt x="772" y="287"/>
                  <a:pt x="772" y="287"/>
                  <a:pt x="771" y="287"/>
                </a:cubicBezTo>
                <a:cubicBezTo>
                  <a:pt x="770" y="285"/>
                  <a:pt x="770" y="282"/>
                  <a:pt x="769" y="280"/>
                </a:cubicBezTo>
                <a:cubicBezTo>
                  <a:pt x="769" y="280"/>
                  <a:pt x="768" y="280"/>
                  <a:pt x="768" y="280"/>
                </a:cubicBezTo>
                <a:cubicBezTo>
                  <a:pt x="766" y="274"/>
                  <a:pt x="761" y="266"/>
                  <a:pt x="758" y="265"/>
                </a:cubicBezTo>
                <a:cubicBezTo>
                  <a:pt x="746" y="265"/>
                  <a:pt x="733" y="266"/>
                  <a:pt x="720" y="266"/>
                </a:cubicBezTo>
                <a:cubicBezTo>
                  <a:pt x="720" y="256"/>
                  <a:pt x="719" y="244"/>
                  <a:pt x="720" y="236"/>
                </a:cubicBezTo>
                <a:cubicBezTo>
                  <a:pt x="724" y="232"/>
                  <a:pt x="735" y="215"/>
                  <a:pt x="740" y="213"/>
                </a:cubicBezTo>
                <a:cubicBezTo>
                  <a:pt x="740" y="202"/>
                  <a:pt x="757" y="199"/>
                  <a:pt x="760" y="190"/>
                </a:cubicBezTo>
                <a:cubicBezTo>
                  <a:pt x="766" y="188"/>
                  <a:pt x="767" y="187"/>
                  <a:pt x="776" y="189"/>
                </a:cubicBezTo>
                <a:cubicBezTo>
                  <a:pt x="786" y="187"/>
                  <a:pt x="797" y="188"/>
                  <a:pt x="809" y="188"/>
                </a:cubicBezTo>
                <a:cubicBezTo>
                  <a:pt x="809" y="184"/>
                  <a:pt x="880" y="206"/>
                  <a:pt x="902" y="212"/>
                </a:cubicBezTo>
                <a:cubicBezTo>
                  <a:pt x="901" y="216"/>
                  <a:pt x="900" y="221"/>
                  <a:pt x="900" y="226"/>
                </a:cubicBezTo>
                <a:cubicBezTo>
                  <a:pt x="888" y="226"/>
                  <a:pt x="878" y="219"/>
                  <a:pt x="868" y="220"/>
                </a:cubicBezTo>
                <a:cubicBezTo>
                  <a:pt x="870" y="221"/>
                  <a:pt x="871" y="222"/>
                  <a:pt x="873" y="222"/>
                </a:cubicBezTo>
                <a:cubicBezTo>
                  <a:pt x="873" y="224"/>
                  <a:pt x="893" y="239"/>
                  <a:pt x="900" y="239"/>
                </a:cubicBezTo>
                <a:cubicBezTo>
                  <a:pt x="906" y="234"/>
                  <a:pt x="914" y="230"/>
                  <a:pt x="921" y="227"/>
                </a:cubicBezTo>
                <a:cubicBezTo>
                  <a:pt x="924" y="225"/>
                  <a:pt x="928" y="224"/>
                  <a:pt x="932" y="222"/>
                </a:cubicBezTo>
                <a:cubicBezTo>
                  <a:pt x="932" y="219"/>
                  <a:pt x="960" y="227"/>
                  <a:pt x="966" y="227"/>
                </a:cubicBezTo>
                <a:cubicBezTo>
                  <a:pt x="960" y="224"/>
                  <a:pt x="958" y="222"/>
                  <a:pt x="956" y="219"/>
                </a:cubicBezTo>
                <a:cubicBezTo>
                  <a:pt x="948" y="216"/>
                  <a:pt x="945" y="213"/>
                  <a:pt x="941" y="210"/>
                </a:cubicBezTo>
                <a:cubicBezTo>
                  <a:pt x="932" y="207"/>
                  <a:pt x="932" y="206"/>
                  <a:pt x="929" y="202"/>
                </a:cubicBezTo>
                <a:cubicBezTo>
                  <a:pt x="938" y="191"/>
                  <a:pt x="948" y="197"/>
                  <a:pt x="964" y="203"/>
                </a:cubicBezTo>
                <a:cubicBezTo>
                  <a:pt x="964" y="203"/>
                  <a:pt x="964" y="203"/>
                  <a:pt x="964" y="204"/>
                </a:cubicBezTo>
                <a:cubicBezTo>
                  <a:pt x="956" y="204"/>
                  <a:pt x="956" y="204"/>
                  <a:pt x="948" y="202"/>
                </a:cubicBezTo>
                <a:cubicBezTo>
                  <a:pt x="947" y="204"/>
                  <a:pt x="947" y="207"/>
                  <a:pt x="946" y="210"/>
                </a:cubicBezTo>
                <a:cubicBezTo>
                  <a:pt x="951" y="212"/>
                  <a:pt x="951" y="213"/>
                  <a:pt x="957" y="217"/>
                </a:cubicBezTo>
                <a:cubicBezTo>
                  <a:pt x="964" y="220"/>
                  <a:pt x="971" y="223"/>
                  <a:pt x="978" y="226"/>
                </a:cubicBezTo>
                <a:cubicBezTo>
                  <a:pt x="983" y="230"/>
                  <a:pt x="985" y="232"/>
                  <a:pt x="995" y="236"/>
                </a:cubicBezTo>
                <a:cubicBezTo>
                  <a:pt x="993" y="229"/>
                  <a:pt x="989" y="230"/>
                  <a:pt x="987" y="229"/>
                </a:cubicBezTo>
                <a:cubicBezTo>
                  <a:pt x="987" y="224"/>
                  <a:pt x="990" y="225"/>
                  <a:pt x="991" y="221"/>
                </a:cubicBezTo>
                <a:cubicBezTo>
                  <a:pt x="1003" y="223"/>
                  <a:pt x="1018" y="231"/>
                  <a:pt x="1032" y="239"/>
                </a:cubicBezTo>
                <a:cubicBezTo>
                  <a:pt x="1033" y="238"/>
                  <a:pt x="1033" y="237"/>
                  <a:pt x="1034" y="236"/>
                </a:cubicBezTo>
                <a:cubicBezTo>
                  <a:pt x="1044" y="236"/>
                  <a:pt x="1047" y="248"/>
                  <a:pt x="1061" y="241"/>
                </a:cubicBezTo>
                <a:cubicBezTo>
                  <a:pt x="1073" y="241"/>
                  <a:pt x="1098" y="250"/>
                  <a:pt x="1114" y="258"/>
                </a:cubicBezTo>
                <a:cubicBezTo>
                  <a:pt x="1109" y="263"/>
                  <a:pt x="1104" y="267"/>
                  <a:pt x="1099" y="272"/>
                </a:cubicBezTo>
                <a:cubicBezTo>
                  <a:pt x="1113" y="282"/>
                  <a:pt x="1127" y="292"/>
                  <a:pt x="1140" y="301"/>
                </a:cubicBezTo>
                <a:cubicBezTo>
                  <a:pt x="1156" y="304"/>
                  <a:pt x="1172" y="306"/>
                  <a:pt x="1187" y="309"/>
                </a:cubicBezTo>
                <a:cubicBezTo>
                  <a:pt x="1189" y="309"/>
                  <a:pt x="1192" y="309"/>
                  <a:pt x="1194" y="309"/>
                </a:cubicBezTo>
                <a:cubicBezTo>
                  <a:pt x="1199" y="301"/>
                  <a:pt x="1203" y="296"/>
                  <a:pt x="1205" y="291"/>
                </a:cubicBezTo>
                <a:cubicBezTo>
                  <a:pt x="1181" y="256"/>
                  <a:pt x="1154" y="223"/>
                  <a:pt x="1124" y="193"/>
                </a:cubicBezTo>
                <a:cubicBezTo>
                  <a:pt x="1005" y="74"/>
                  <a:pt x="840" y="0"/>
                  <a:pt x="659" y="0"/>
                </a:cubicBezTo>
                <a:close/>
                <a:moveTo>
                  <a:pt x="1068" y="538"/>
                </a:moveTo>
                <a:cubicBezTo>
                  <a:pt x="1068" y="530"/>
                  <a:pt x="1058" y="469"/>
                  <a:pt x="1052" y="469"/>
                </a:cubicBezTo>
                <a:cubicBezTo>
                  <a:pt x="1051" y="463"/>
                  <a:pt x="1050" y="457"/>
                  <a:pt x="1049" y="451"/>
                </a:cubicBezTo>
                <a:cubicBezTo>
                  <a:pt x="1044" y="445"/>
                  <a:pt x="1052" y="437"/>
                  <a:pt x="1054" y="431"/>
                </a:cubicBezTo>
                <a:cubicBezTo>
                  <a:pt x="1056" y="433"/>
                  <a:pt x="1060" y="437"/>
                  <a:pt x="1064" y="443"/>
                </a:cubicBezTo>
                <a:cubicBezTo>
                  <a:pt x="1063" y="453"/>
                  <a:pt x="1059" y="465"/>
                  <a:pt x="1061" y="477"/>
                </a:cubicBezTo>
                <a:cubicBezTo>
                  <a:pt x="1072" y="493"/>
                  <a:pt x="1078" y="513"/>
                  <a:pt x="1085" y="531"/>
                </a:cubicBezTo>
                <a:cubicBezTo>
                  <a:pt x="1084" y="531"/>
                  <a:pt x="1082" y="532"/>
                  <a:pt x="1080" y="533"/>
                </a:cubicBezTo>
                <a:cubicBezTo>
                  <a:pt x="1080" y="533"/>
                  <a:pt x="1080" y="533"/>
                  <a:pt x="1080" y="534"/>
                </a:cubicBezTo>
                <a:cubicBezTo>
                  <a:pt x="1076" y="534"/>
                  <a:pt x="1076" y="534"/>
                  <a:pt x="1074" y="536"/>
                </a:cubicBezTo>
                <a:cubicBezTo>
                  <a:pt x="1073" y="536"/>
                  <a:pt x="1073" y="537"/>
                  <a:pt x="1073" y="537"/>
                </a:cubicBezTo>
                <a:cubicBezTo>
                  <a:pt x="1071" y="538"/>
                  <a:pt x="1070" y="538"/>
                  <a:pt x="1068" y="538"/>
                </a:cubicBezTo>
                <a:close/>
                <a:moveTo>
                  <a:pt x="1101" y="480"/>
                </a:moveTo>
                <a:cubicBezTo>
                  <a:pt x="1101" y="469"/>
                  <a:pt x="1094" y="461"/>
                  <a:pt x="1094" y="450"/>
                </a:cubicBezTo>
                <a:cubicBezTo>
                  <a:pt x="1096" y="450"/>
                  <a:pt x="1099" y="450"/>
                  <a:pt x="1102" y="449"/>
                </a:cubicBezTo>
                <a:cubicBezTo>
                  <a:pt x="1102" y="452"/>
                  <a:pt x="1103" y="454"/>
                  <a:pt x="1106" y="460"/>
                </a:cubicBezTo>
                <a:cubicBezTo>
                  <a:pt x="1111" y="479"/>
                  <a:pt x="1115" y="482"/>
                  <a:pt x="1101" y="480"/>
                </a:cubicBezTo>
                <a:close/>
                <a:moveTo>
                  <a:pt x="914" y="470"/>
                </a:moveTo>
                <a:cubicBezTo>
                  <a:pt x="911" y="458"/>
                  <a:pt x="906" y="450"/>
                  <a:pt x="905" y="437"/>
                </a:cubicBezTo>
                <a:cubicBezTo>
                  <a:pt x="909" y="424"/>
                  <a:pt x="917" y="412"/>
                  <a:pt x="919" y="399"/>
                </a:cubicBezTo>
                <a:cubicBezTo>
                  <a:pt x="924" y="401"/>
                  <a:pt x="932" y="413"/>
                  <a:pt x="937" y="421"/>
                </a:cubicBezTo>
                <a:cubicBezTo>
                  <a:pt x="938" y="422"/>
                  <a:pt x="939" y="423"/>
                  <a:pt x="940" y="425"/>
                </a:cubicBezTo>
                <a:cubicBezTo>
                  <a:pt x="952" y="425"/>
                  <a:pt x="952" y="425"/>
                  <a:pt x="956" y="424"/>
                </a:cubicBezTo>
                <a:cubicBezTo>
                  <a:pt x="955" y="420"/>
                  <a:pt x="954" y="417"/>
                  <a:pt x="952" y="405"/>
                </a:cubicBezTo>
                <a:cubicBezTo>
                  <a:pt x="957" y="406"/>
                  <a:pt x="962" y="408"/>
                  <a:pt x="970" y="411"/>
                </a:cubicBezTo>
                <a:cubicBezTo>
                  <a:pt x="978" y="421"/>
                  <a:pt x="987" y="452"/>
                  <a:pt x="998" y="457"/>
                </a:cubicBezTo>
                <a:cubicBezTo>
                  <a:pt x="998" y="458"/>
                  <a:pt x="998" y="459"/>
                  <a:pt x="998" y="460"/>
                </a:cubicBezTo>
                <a:cubicBezTo>
                  <a:pt x="993" y="460"/>
                  <a:pt x="991" y="458"/>
                  <a:pt x="990" y="458"/>
                </a:cubicBezTo>
                <a:cubicBezTo>
                  <a:pt x="970" y="455"/>
                  <a:pt x="954" y="446"/>
                  <a:pt x="933" y="446"/>
                </a:cubicBezTo>
                <a:cubicBezTo>
                  <a:pt x="927" y="451"/>
                  <a:pt x="920" y="467"/>
                  <a:pt x="914" y="470"/>
                </a:cubicBezTo>
                <a:close/>
                <a:moveTo>
                  <a:pt x="568" y="241"/>
                </a:moveTo>
                <a:cubicBezTo>
                  <a:pt x="565" y="228"/>
                  <a:pt x="550" y="219"/>
                  <a:pt x="548" y="211"/>
                </a:cubicBezTo>
                <a:cubicBezTo>
                  <a:pt x="565" y="208"/>
                  <a:pt x="584" y="200"/>
                  <a:pt x="602" y="201"/>
                </a:cubicBezTo>
                <a:cubicBezTo>
                  <a:pt x="609" y="205"/>
                  <a:pt x="614" y="208"/>
                  <a:pt x="620" y="213"/>
                </a:cubicBezTo>
                <a:cubicBezTo>
                  <a:pt x="601" y="221"/>
                  <a:pt x="587" y="233"/>
                  <a:pt x="568" y="241"/>
                </a:cubicBezTo>
                <a:close/>
                <a:moveTo>
                  <a:pt x="655" y="333"/>
                </a:moveTo>
                <a:cubicBezTo>
                  <a:pt x="655" y="327"/>
                  <a:pt x="663" y="314"/>
                  <a:pt x="666" y="306"/>
                </a:cubicBezTo>
                <a:cubicBezTo>
                  <a:pt x="666" y="306"/>
                  <a:pt x="666" y="306"/>
                  <a:pt x="667" y="306"/>
                </a:cubicBezTo>
                <a:cubicBezTo>
                  <a:pt x="667" y="305"/>
                  <a:pt x="667" y="304"/>
                  <a:pt x="667" y="303"/>
                </a:cubicBezTo>
                <a:cubicBezTo>
                  <a:pt x="662" y="300"/>
                  <a:pt x="656" y="293"/>
                  <a:pt x="655" y="292"/>
                </a:cubicBezTo>
                <a:cubicBezTo>
                  <a:pt x="648" y="288"/>
                  <a:pt x="641" y="278"/>
                  <a:pt x="640" y="274"/>
                </a:cubicBezTo>
                <a:cubicBezTo>
                  <a:pt x="647" y="268"/>
                  <a:pt x="654" y="262"/>
                  <a:pt x="661" y="256"/>
                </a:cubicBezTo>
                <a:cubicBezTo>
                  <a:pt x="667" y="270"/>
                  <a:pt x="670" y="285"/>
                  <a:pt x="686" y="293"/>
                </a:cubicBezTo>
                <a:cubicBezTo>
                  <a:pt x="687" y="294"/>
                  <a:pt x="698" y="304"/>
                  <a:pt x="701" y="304"/>
                </a:cubicBezTo>
                <a:cubicBezTo>
                  <a:pt x="700" y="314"/>
                  <a:pt x="700" y="323"/>
                  <a:pt x="700" y="333"/>
                </a:cubicBezTo>
                <a:cubicBezTo>
                  <a:pt x="685" y="333"/>
                  <a:pt x="670" y="333"/>
                  <a:pt x="655" y="333"/>
                </a:cubicBezTo>
                <a:close/>
                <a:moveTo>
                  <a:pt x="627" y="339"/>
                </a:moveTo>
                <a:cubicBezTo>
                  <a:pt x="627" y="338"/>
                  <a:pt x="609" y="322"/>
                  <a:pt x="606" y="318"/>
                </a:cubicBezTo>
                <a:cubicBezTo>
                  <a:pt x="608" y="310"/>
                  <a:pt x="618" y="293"/>
                  <a:pt x="624" y="287"/>
                </a:cubicBezTo>
                <a:cubicBezTo>
                  <a:pt x="630" y="289"/>
                  <a:pt x="642" y="308"/>
                  <a:pt x="646" y="315"/>
                </a:cubicBezTo>
                <a:cubicBezTo>
                  <a:pt x="642" y="323"/>
                  <a:pt x="633" y="332"/>
                  <a:pt x="627" y="339"/>
                </a:cubicBezTo>
                <a:close/>
                <a:moveTo>
                  <a:pt x="790" y="502"/>
                </a:moveTo>
                <a:cubicBezTo>
                  <a:pt x="792" y="498"/>
                  <a:pt x="799" y="470"/>
                  <a:pt x="802" y="470"/>
                </a:cubicBezTo>
                <a:cubicBezTo>
                  <a:pt x="805" y="487"/>
                  <a:pt x="809" y="499"/>
                  <a:pt x="813" y="515"/>
                </a:cubicBezTo>
                <a:cubicBezTo>
                  <a:pt x="807" y="515"/>
                  <a:pt x="797" y="502"/>
                  <a:pt x="790" y="502"/>
                </a:cubicBezTo>
                <a:close/>
                <a:moveTo>
                  <a:pt x="161" y="674"/>
                </a:moveTo>
                <a:cubicBezTo>
                  <a:pt x="160" y="661"/>
                  <a:pt x="160" y="649"/>
                  <a:pt x="160" y="637"/>
                </a:cubicBezTo>
                <a:cubicBezTo>
                  <a:pt x="160" y="637"/>
                  <a:pt x="161" y="637"/>
                  <a:pt x="161" y="637"/>
                </a:cubicBezTo>
                <a:cubicBezTo>
                  <a:pt x="163" y="655"/>
                  <a:pt x="172" y="673"/>
                  <a:pt x="177" y="691"/>
                </a:cubicBezTo>
                <a:cubicBezTo>
                  <a:pt x="173" y="691"/>
                  <a:pt x="163" y="684"/>
                  <a:pt x="161" y="674"/>
                </a:cubicBezTo>
                <a:close/>
                <a:moveTo>
                  <a:pt x="162" y="740"/>
                </a:moveTo>
                <a:cubicBezTo>
                  <a:pt x="162" y="737"/>
                  <a:pt x="136" y="726"/>
                  <a:pt x="132" y="723"/>
                </a:cubicBezTo>
                <a:cubicBezTo>
                  <a:pt x="132" y="711"/>
                  <a:pt x="133" y="699"/>
                  <a:pt x="133" y="687"/>
                </a:cubicBezTo>
                <a:cubicBezTo>
                  <a:pt x="144" y="692"/>
                  <a:pt x="154" y="705"/>
                  <a:pt x="165" y="708"/>
                </a:cubicBezTo>
                <a:cubicBezTo>
                  <a:pt x="164" y="713"/>
                  <a:pt x="162" y="731"/>
                  <a:pt x="164" y="740"/>
                </a:cubicBezTo>
                <a:cubicBezTo>
                  <a:pt x="163" y="740"/>
                  <a:pt x="162" y="740"/>
                  <a:pt x="162" y="740"/>
                </a:cubicBezTo>
                <a:close/>
                <a:moveTo>
                  <a:pt x="237" y="796"/>
                </a:moveTo>
                <a:cubicBezTo>
                  <a:pt x="237" y="794"/>
                  <a:pt x="183" y="750"/>
                  <a:pt x="178" y="750"/>
                </a:cubicBezTo>
                <a:cubicBezTo>
                  <a:pt x="178" y="741"/>
                  <a:pt x="178" y="731"/>
                  <a:pt x="180" y="724"/>
                </a:cubicBezTo>
                <a:cubicBezTo>
                  <a:pt x="196" y="724"/>
                  <a:pt x="237" y="774"/>
                  <a:pt x="250" y="788"/>
                </a:cubicBezTo>
                <a:cubicBezTo>
                  <a:pt x="245" y="789"/>
                  <a:pt x="244" y="795"/>
                  <a:pt x="237" y="796"/>
                </a:cubicBezTo>
                <a:close/>
                <a:moveTo>
                  <a:pt x="1253" y="902"/>
                </a:moveTo>
                <a:cubicBezTo>
                  <a:pt x="1252" y="902"/>
                  <a:pt x="1252" y="902"/>
                  <a:pt x="1252" y="901"/>
                </a:cubicBezTo>
                <a:cubicBezTo>
                  <a:pt x="1258" y="889"/>
                  <a:pt x="1265" y="877"/>
                  <a:pt x="1272" y="865"/>
                </a:cubicBezTo>
                <a:cubicBezTo>
                  <a:pt x="1274" y="861"/>
                  <a:pt x="1275" y="857"/>
                  <a:pt x="1277" y="853"/>
                </a:cubicBezTo>
                <a:cubicBezTo>
                  <a:pt x="1278" y="854"/>
                  <a:pt x="1278" y="855"/>
                  <a:pt x="1279" y="856"/>
                </a:cubicBezTo>
                <a:cubicBezTo>
                  <a:pt x="1279" y="859"/>
                  <a:pt x="1259" y="899"/>
                  <a:pt x="1253" y="902"/>
                </a:cubicBezTo>
                <a:close/>
                <a:moveTo>
                  <a:pt x="1242" y="905"/>
                </a:moveTo>
                <a:cubicBezTo>
                  <a:pt x="1242" y="904"/>
                  <a:pt x="1242" y="904"/>
                  <a:pt x="1242" y="903"/>
                </a:cubicBezTo>
                <a:cubicBezTo>
                  <a:pt x="1241" y="903"/>
                  <a:pt x="1239" y="902"/>
                  <a:pt x="1238" y="901"/>
                </a:cubicBezTo>
                <a:cubicBezTo>
                  <a:pt x="1241" y="891"/>
                  <a:pt x="1246" y="882"/>
                  <a:pt x="1248" y="873"/>
                </a:cubicBezTo>
                <a:cubicBezTo>
                  <a:pt x="1257" y="855"/>
                  <a:pt x="1267" y="836"/>
                  <a:pt x="1277" y="820"/>
                </a:cubicBezTo>
                <a:cubicBezTo>
                  <a:pt x="1276" y="827"/>
                  <a:pt x="1274" y="833"/>
                  <a:pt x="1273" y="839"/>
                </a:cubicBezTo>
                <a:cubicBezTo>
                  <a:pt x="1274" y="840"/>
                  <a:pt x="1274" y="841"/>
                  <a:pt x="1275" y="843"/>
                </a:cubicBezTo>
                <a:cubicBezTo>
                  <a:pt x="1274" y="846"/>
                  <a:pt x="1272" y="849"/>
                  <a:pt x="1271" y="852"/>
                </a:cubicBezTo>
                <a:cubicBezTo>
                  <a:pt x="1275" y="861"/>
                  <a:pt x="1251" y="895"/>
                  <a:pt x="1245" y="904"/>
                </a:cubicBezTo>
                <a:cubicBezTo>
                  <a:pt x="1244" y="904"/>
                  <a:pt x="1243" y="904"/>
                  <a:pt x="1242" y="905"/>
                </a:cubicBezTo>
                <a:close/>
                <a:moveTo>
                  <a:pt x="920" y="1100"/>
                </a:moveTo>
                <a:cubicBezTo>
                  <a:pt x="926" y="1098"/>
                  <a:pt x="939" y="1079"/>
                  <a:pt x="940" y="1075"/>
                </a:cubicBezTo>
                <a:cubicBezTo>
                  <a:pt x="954" y="1062"/>
                  <a:pt x="974" y="1053"/>
                  <a:pt x="986" y="1038"/>
                </a:cubicBezTo>
                <a:cubicBezTo>
                  <a:pt x="989" y="1040"/>
                  <a:pt x="992" y="1042"/>
                  <a:pt x="994" y="1045"/>
                </a:cubicBezTo>
                <a:cubicBezTo>
                  <a:pt x="960" y="1067"/>
                  <a:pt x="960" y="1156"/>
                  <a:pt x="920" y="1100"/>
                </a:cubicBezTo>
                <a:close/>
              </a:path>
            </a:pathLst>
          </a:custGeom>
          <a:solidFill>
            <a:schemeClr val="tx2"/>
          </a:solidFill>
          <a:ln>
            <a:noFill/>
          </a:ln>
        </p:spPr>
        <p:txBody>
          <a:bodyPr/>
          <a:lstStyle/>
          <a:p>
            <a:pPr indent="0" defTabSz="914377">
              <a:lnSpc>
                <a:spcPct val="100000"/>
              </a:lnSpc>
              <a:defRPr/>
            </a:pPr>
            <a:endParaRPr lang="en-US" sz="1800">
              <a:solidFill>
                <a:prstClr val="black"/>
              </a:solidFill>
              <a:latin typeface="Arial"/>
              <a:cs typeface="Arial"/>
              <a:sym typeface="Arial"/>
            </a:endParaRPr>
          </a:p>
        </p:txBody>
      </p:sp>
      <p:sp>
        <p:nvSpPr>
          <p:cNvPr id="3" name="Slide Number Placeholder 2">
            <a:extLst>
              <a:ext uri="{FF2B5EF4-FFF2-40B4-BE49-F238E27FC236}">
                <a16:creationId xmlns:a16="http://schemas.microsoft.com/office/drawing/2014/main" id="{54EE07D5-4957-490D-BFEE-D81F9F0BA2FC}"/>
              </a:ext>
            </a:extLst>
          </p:cNvPr>
          <p:cNvSpPr>
            <a:spLocks noGrp="1"/>
          </p:cNvSpPr>
          <p:nvPr>
            <p:ph type="sldNum" sz="quarter" idx="12"/>
          </p:nvPr>
        </p:nvSpPr>
        <p:spPr/>
        <p:txBody>
          <a:bodyPr/>
          <a:lstStyle/>
          <a:p>
            <a:pPr indent="0" defTabSz="914377">
              <a:lnSpc>
                <a:spcPct val="100000"/>
              </a:lnSpc>
              <a:defRPr/>
            </a:pPr>
            <a:fld id="{AD794642-CA53-41FB-9828-DCB7B578655C}" type="slidenum">
              <a:rPr lang="en-US" sz="1333">
                <a:solidFill>
                  <a:srgbClr val="1C6D7D"/>
                </a:solidFill>
                <a:latin typeface="Arial"/>
                <a:cs typeface="Arial"/>
                <a:sym typeface="Arial"/>
              </a:rPr>
              <a:pPr indent="0" defTabSz="914377">
                <a:lnSpc>
                  <a:spcPct val="100000"/>
                </a:lnSpc>
                <a:defRPr/>
              </a:pPr>
              <a:t>11</a:t>
            </a:fld>
            <a:endParaRPr lang="en-US" sz="1333">
              <a:solidFill>
                <a:srgbClr val="1C6D7D"/>
              </a:solidFill>
              <a:latin typeface="Arial"/>
              <a:cs typeface="Arial"/>
              <a:sym typeface="Arial"/>
            </a:endParaRPr>
          </a:p>
        </p:txBody>
      </p:sp>
      <p:pic>
        <p:nvPicPr>
          <p:cNvPr id="11" name="Graphic 10" descr="Comment Add with solid fill">
            <a:extLst>
              <a:ext uri="{FF2B5EF4-FFF2-40B4-BE49-F238E27FC236}">
                <a16:creationId xmlns:a16="http://schemas.microsoft.com/office/drawing/2014/main" id="{BF58F975-A293-4014-89B9-EFA82BC90C2D}"/>
              </a:ext>
            </a:extLst>
          </p:cNvPr>
          <p:cNvPicPr>
            <a:picLocks noChangeAspect="1"/>
          </p:cNvPicPr>
          <p:nvPr/>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2764028" y="4484115"/>
            <a:ext cx="618427" cy="618427"/>
          </a:xfrm>
          <a:prstGeom prst="rect">
            <a:avLst/>
          </a:prstGeom>
        </p:spPr>
      </p:pic>
      <p:pic>
        <p:nvPicPr>
          <p:cNvPr id="15" name="Graphic 14" descr="Fingerprint with solid fill">
            <a:extLst>
              <a:ext uri="{FF2B5EF4-FFF2-40B4-BE49-F238E27FC236}">
                <a16:creationId xmlns:a16="http://schemas.microsoft.com/office/drawing/2014/main" id="{E8324C5C-570E-47AC-A174-1383FDA26A49}"/>
              </a:ext>
            </a:extLst>
          </p:cNvPr>
          <p:cNvPicPr>
            <a:picLocks noChangeAspect="1"/>
          </p:cNvPicPr>
          <p:nvPr/>
        </p:nvPicPr>
        <p:blipFill>
          <a:blip r:embed="rId5" cstate="email">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2806064" y="2671285"/>
            <a:ext cx="534355" cy="534355"/>
          </a:xfrm>
          <a:prstGeom prst="rect">
            <a:avLst/>
          </a:prstGeom>
        </p:spPr>
      </p:pic>
      <p:sp>
        <p:nvSpPr>
          <p:cNvPr id="58" name="Title 4">
            <a:extLst>
              <a:ext uri="{FF2B5EF4-FFF2-40B4-BE49-F238E27FC236}">
                <a16:creationId xmlns:a16="http://schemas.microsoft.com/office/drawing/2014/main" id="{22EB8039-48B0-2247-A550-93054D834844}"/>
              </a:ext>
            </a:extLst>
          </p:cNvPr>
          <p:cNvSpPr>
            <a:spLocks noGrp="1"/>
          </p:cNvSpPr>
          <p:nvPr>
            <p:ph type="title"/>
          </p:nvPr>
        </p:nvSpPr>
        <p:spPr>
          <a:xfrm>
            <a:off x="504000" y="403200"/>
            <a:ext cx="11084400" cy="493200"/>
          </a:xfrm>
        </p:spPr>
        <p:txBody>
          <a:bodyPr>
            <a:normAutofit/>
          </a:bodyPr>
          <a:lstStyle/>
          <a:p>
            <a:r>
              <a:rPr lang="en-US"/>
              <a:t>5 principles to consider for sustainability messages in particular</a:t>
            </a:r>
          </a:p>
        </p:txBody>
      </p:sp>
    </p:spTree>
    <p:extLst>
      <p:ext uri="{BB962C8B-B14F-4D97-AF65-F5344CB8AC3E}">
        <p14:creationId xmlns:p14="http://schemas.microsoft.com/office/powerpoint/2010/main" val="403545156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Freeform: Shape 35">
            <a:extLst>
              <a:ext uri="{FF2B5EF4-FFF2-40B4-BE49-F238E27FC236}">
                <a16:creationId xmlns:a16="http://schemas.microsoft.com/office/drawing/2014/main" id="{CE68C357-5384-4463-8C3F-658B7AE545C5}"/>
              </a:ext>
            </a:extLst>
          </p:cNvPr>
          <p:cNvSpPr/>
          <p:nvPr/>
        </p:nvSpPr>
        <p:spPr>
          <a:xfrm>
            <a:off x="1" y="0"/>
            <a:ext cx="11120284" cy="6858000"/>
          </a:xfrm>
          <a:custGeom>
            <a:avLst/>
            <a:gdLst>
              <a:gd name="connsiteX0" fmla="*/ 0 w 11120284"/>
              <a:gd name="connsiteY0" fmla="*/ 0 h 6858000"/>
              <a:gd name="connsiteX1" fmla="*/ 10372603 w 11120284"/>
              <a:gd name="connsiteY1" fmla="*/ 0 h 6858000"/>
              <a:gd name="connsiteX2" fmla="*/ 10378885 w 11120284"/>
              <a:gd name="connsiteY2" fmla="*/ 13897 h 6858000"/>
              <a:gd name="connsiteX3" fmla="*/ 11120284 w 11120284"/>
              <a:gd name="connsiteY3" fmla="*/ 3686175 h 6858000"/>
              <a:gd name="connsiteX4" fmla="*/ 10696134 w 11120284"/>
              <a:gd name="connsiteY4" fmla="*/ 6491665 h 6858000"/>
              <a:gd name="connsiteX5" fmla="*/ 10572180 w 11120284"/>
              <a:gd name="connsiteY5" fmla="*/ 6858000 h 6858000"/>
              <a:gd name="connsiteX6" fmla="*/ 0 w 11120284"/>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120284" h="6858000">
                <a:moveTo>
                  <a:pt x="0" y="0"/>
                </a:moveTo>
                <a:lnTo>
                  <a:pt x="10372603" y="0"/>
                </a:lnTo>
                <a:lnTo>
                  <a:pt x="10378885" y="13897"/>
                </a:lnTo>
                <a:cubicBezTo>
                  <a:pt x="10856290" y="1142608"/>
                  <a:pt x="11120284" y="2383562"/>
                  <a:pt x="11120284" y="3686175"/>
                </a:cubicBezTo>
                <a:cubicBezTo>
                  <a:pt x="11120284" y="4663135"/>
                  <a:pt x="10971787" y="5605412"/>
                  <a:pt x="10696134" y="6491665"/>
                </a:cubicBezTo>
                <a:lnTo>
                  <a:pt x="10572180" y="6858000"/>
                </a:lnTo>
                <a:lnTo>
                  <a:pt x="0" y="6858000"/>
                </a:lnTo>
                <a:close/>
              </a:path>
            </a:pathLst>
          </a:custGeom>
          <a:solidFill>
            <a:schemeClr val="accent2">
              <a:lumMod val="20000"/>
              <a:lumOff val="80000"/>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72000" rIns="108000" bIns="108000" rtlCol="0" anchor="t" anchorCtr="0">
            <a:noAutofit/>
          </a:bodyPr>
          <a:lstStyle/>
          <a:p>
            <a:pPr defTabSz="914377">
              <a:lnSpc>
                <a:spcPct val="120000"/>
              </a:lnSpc>
              <a:defRPr/>
            </a:pPr>
            <a:endParaRPr lang="en-US" sz="1400">
              <a:solidFill>
                <a:srgbClr val="1C6D7D"/>
              </a:solidFill>
              <a:latin typeface="Rawline"/>
            </a:endParaRPr>
          </a:p>
        </p:txBody>
      </p:sp>
      <p:sp>
        <p:nvSpPr>
          <p:cNvPr id="33" name="Freeform: Shape 32">
            <a:extLst>
              <a:ext uri="{FF2B5EF4-FFF2-40B4-BE49-F238E27FC236}">
                <a16:creationId xmlns:a16="http://schemas.microsoft.com/office/drawing/2014/main" id="{2B95CDAD-C1E4-4D93-857D-0D67545C5FDF}"/>
              </a:ext>
            </a:extLst>
          </p:cNvPr>
          <p:cNvSpPr/>
          <p:nvPr/>
        </p:nvSpPr>
        <p:spPr>
          <a:xfrm>
            <a:off x="0" y="0"/>
            <a:ext cx="9753600" cy="6858000"/>
          </a:xfrm>
          <a:custGeom>
            <a:avLst/>
            <a:gdLst>
              <a:gd name="connsiteX0" fmla="*/ 0 w 9753600"/>
              <a:gd name="connsiteY0" fmla="*/ 0 h 6858000"/>
              <a:gd name="connsiteX1" fmla="*/ 8858479 w 9753600"/>
              <a:gd name="connsiteY1" fmla="*/ 0 h 6858000"/>
              <a:gd name="connsiteX2" fmla="*/ 8960447 w 9753600"/>
              <a:gd name="connsiteY2" fmla="*/ 199091 h 6858000"/>
              <a:gd name="connsiteX3" fmla="*/ 9753600 w 9753600"/>
              <a:gd name="connsiteY3" fmla="*/ 3686175 h 6858000"/>
              <a:gd name="connsiteX4" fmla="*/ 9121521 w 9753600"/>
              <a:gd name="connsiteY4" fmla="*/ 6816974 h 6858000"/>
              <a:gd name="connsiteX5" fmla="*/ 9102973 w 9753600"/>
              <a:gd name="connsiteY5" fmla="*/ 6858000 h 6858000"/>
              <a:gd name="connsiteX6" fmla="*/ 0 w 9753600"/>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753600" h="6858000">
                <a:moveTo>
                  <a:pt x="0" y="0"/>
                </a:moveTo>
                <a:lnTo>
                  <a:pt x="8858479" y="0"/>
                </a:lnTo>
                <a:lnTo>
                  <a:pt x="8960447" y="199091"/>
                </a:lnTo>
                <a:cubicBezTo>
                  <a:pt x="9468748" y="1253986"/>
                  <a:pt x="9753600" y="2436815"/>
                  <a:pt x="9753600" y="3686175"/>
                </a:cubicBezTo>
                <a:cubicBezTo>
                  <a:pt x="9753600" y="4796717"/>
                  <a:pt x="9528532" y="5854692"/>
                  <a:pt x="9121521" y="6816974"/>
                </a:cubicBezTo>
                <a:lnTo>
                  <a:pt x="9102973" y="6858000"/>
                </a:lnTo>
                <a:lnTo>
                  <a:pt x="0" y="6858000"/>
                </a:lnTo>
                <a:close/>
              </a:path>
            </a:pathLst>
          </a:custGeom>
          <a:solidFill>
            <a:schemeClr val="accent2">
              <a:lumMod val="40000"/>
              <a:lumOff val="60000"/>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72000" rIns="108000" bIns="108000" rtlCol="0" anchor="t" anchorCtr="0">
            <a:noAutofit/>
          </a:bodyPr>
          <a:lstStyle/>
          <a:p>
            <a:pPr defTabSz="914377">
              <a:lnSpc>
                <a:spcPct val="120000"/>
              </a:lnSpc>
              <a:defRPr/>
            </a:pPr>
            <a:endParaRPr lang="en-US" sz="1400">
              <a:solidFill>
                <a:srgbClr val="1C6D7D"/>
              </a:solidFill>
              <a:latin typeface="Rawline"/>
            </a:endParaRPr>
          </a:p>
        </p:txBody>
      </p:sp>
      <p:sp>
        <p:nvSpPr>
          <p:cNvPr id="30" name="Freeform: Shape 29">
            <a:extLst>
              <a:ext uri="{FF2B5EF4-FFF2-40B4-BE49-F238E27FC236}">
                <a16:creationId xmlns:a16="http://schemas.microsoft.com/office/drawing/2014/main" id="{2E3EBF30-A396-449F-986D-17A5DE9F6CD1}"/>
              </a:ext>
            </a:extLst>
          </p:cNvPr>
          <p:cNvSpPr/>
          <p:nvPr/>
        </p:nvSpPr>
        <p:spPr>
          <a:xfrm>
            <a:off x="0" y="0"/>
            <a:ext cx="5969000" cy="6858000"/>
          </a:xfrm>
          <a:custGeom>
            <a:avLst/>
            <a:gdLst>
              <a:gd name="connsiteX0" fmla="*/ 0 w 5969000"/>
              <a:gd name="connsiteY0" fmla="*/ 0 h 6858000"/>
              <a:gd name="connsiteX1" fmla="*/ 3809914 w 5969000"/>
              <a:gd name="connsiteY1" fmla="*/ 0 h 6858000"/>
              <a:gd name="connsiteX2" fmla="*/ 3933964 w 5969000"/>
              <a:gd name="connsiteY2" fmla="*/ 71327 h 6858000"/>
              <a:gd name="connsiteX3" fmla="*/ 5969000 w 5969000"/>
              <a:gd name="connsiteY3" fmla="*/ 3686175 h 6858000"/>
              <a:gd name="connsiteX4" fmla="*/ 4731008 w 5969000"/>
              <a:gd name="connsiteY4" fmla="*/ 6674954 h 6858000"/>
              <a:gd name="connsiteX5" fmla="*/ 4529607 w 5969000"/>
              <a:gd name="connsiteY5" fmla="*/ 6858000 h 6858000"/>
              <a:gd name="connsiteX6" fmla="*/ 0 w 5969000"/>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69000" h="6858000">
                <a:moveTo>
                  <a:pt x="0" y="0"/>
                </a:moveTo>
                <a:lnTo>
                  <a:pt x="3809914" y="0"/>
                </a:lnTo>
                <a:lnTo>
                  <a:pt x="3933964" y="71327"/>
                </a:lnTo>
                <a:cubicBezTo>
                  <a:pt x="5154016" y="812649"/>
                  <a:pt x="5969000" y="2154237"/>
                  <a:pt x="5969000" y="3686175"/>
                </a:cubicBezTo>
                <a:cubicBezTo>
                  <a:pt x="5969000" y="4853366"/>
                  <a:pt x="5495903" y="5910059"/>
                  <a:pt x="4731008" y="6674954"/>
                </a:cubicBezTo>
                <a:lnTo>
                  <a:pt x="4529607" y="6858000"/>
                </a:lnTo>
                <a:lnTo>
                  <a:pt x="0" y="6858000"/>
                </a:lnTo>
                <a:close/>
              </a:path>
            </a:pathLst>
          </a:custGeom>
          <a:solidFill>
            <a:schemeClr val="accent2">
              <a:lumMod val="60000"/>
              <a:lumOff val="40000"/>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72000" rIns="108000" bIns="108000" rtlCol="0" anchor="t" anchorCtr="0">
            <a:noAutofit/>
          </a:bodyPr>
          <a:lstStyle/>
          <a:p>
            <a:pPr defTabSz="914377">
              <a:lnSpc>
                <a:spcPct val="120000"/>
              </a:lnSpc>
              <a:defRPr/>
            </a:pPr>
            <a:endParaRPr lang="en-US" sz="1400">
              <a:solidFill>
                <a:srgbClr val="1C6D7D"/>
              </a:solidFill>
              <a:latin typeface="Rawline"/>
            </a:endParaRPr>
          </a:p>
        </p:txBody>
      </p:sp>
      <p:sp>
        <p:nvSpPr>
          <p:cNvPr id="28" name="Freeform: Shape 27">
            <a:extLst>
              <a:ext uri="{FF2B5EF4-FFF2-40B4-BE49-F238E27FC236}">
                <a16:creationId xmlns:a16="http://schemas.microsoft.com/office/drawing/2014/main" id="{8ED68B2B-45E7-4262-9607-E4FF13130B59}"/>
              </a:ext>
            </a:extLst>
          </p:cNvPr>
          <p:cNvSpPr/>
          <p:nvPr/>
        </p:nvSpPr>
        <p:spPr>
          <a:xfrm>
            <a:off x="1" y="1509485"/>
            <a:ext cx="3948339" cy="4353379"/>
          </a:xfrm>
          <a:custGeom>
            <a:avLst/>
            <a:gdLst>
              <a:gd name="connsiteX0" fmla="*/ 1771650 w 3948339"/>
              <a:gd name="connsiteY0" fmla="*/ 0 h 4353378"/>
              <a:gd name="connsiteX1" fmla="*/ 3948339 w 3948339"/>
              <a:gd name="connsiteY1" fmla="*/ 2176689 h 4353378"/>
              <a:gd name="connsiteX2" fmla="*/ 1771650 w 3948339"/>
              <a:gd name="connsiteY2" fmla="*/ 4353378 h 4353378"/>
              <a:gd name="connsiteX3" fmla="*/ 92011 w 3948339"/>
              <a:gd name="connsiteY3" fmla="*/ 3561265 h 4353378"/>
              <a:gd name="connsiteX4" fmla="*/ 0 w 3948339"/>
              <a:gd name="connsiteY4" fmla="*/ 3438221 h 4353378"/>
              <a:gd name="connsiteX5" fmla="*/ 0 w 3948339"/>
              <a:gd name="connsiteY5" fmla="*/ 915157 h 4353378"/>
              <a:gd name="connsiteX6" fmla="*/ 92011 w 3948339"/>
              <a:gd name="connsiteY6" fmla="*/ 792113 h 4353378"/>
              <a:gd name="connsiteX7" fmla="*/ 1771650 w 3948339"/>
              <a:gd name="connsiteY7" fmla="*/ 0 h 43533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48339" h="4353378">
                <a:moveTo>
                  <a:pt x="1771650" y="0"/>
                </a:moveTo>
                <a:cubicBezTo>
                  <a:pt x="2973802" y="0"/>
                  <a:pt x="3948339" y="974537"/>
                  <a:pt x="3948339" y="2176689"/>
                </a:cubicBezTo>
                <a:cubicBezTo>
                  <a:pt x="3948339" y="3378841"/>
                  <a:pt x="2973802" y="4353378"/>
                  <a:pt x="1771650" y="4353378"/>
                </a:cubicBezTo>
                <a:cubicBezTo>
                  <a:pt x="1095440" y="4353378"/>
                  <a:pt x="491248" y="4045029"/>
                  <a:pt x="92011" y="3561265"/>
                </a:cubicBezTo>
                <a:lnTo>
                  <a:pt x="0" y="3438221"/>
                </a:lnTo>
                <a:lnTo>
                  <a:pt x="0" y="915157"/>
                </a:lnTo>
                <a:lnTo>
                  <a:pt x="92011" y="792113"/>
                </a:lnTo>
                <a:cubicBezTo>
                  <a:pt x="491248" y="308350"/>
                  <a:pt x="1095440" y="0"/>
                  <a:pt x="1771650" y="0"/>
                </a:cubicBezTo>
                <a:close/>
              </a:path>
            </a:pathLst>
          </a:custGeom>
          <a:solidFill>
            <a:schemeClr val="accent2">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72000" rIns="108000" bIns="108000" rtlCol="0" anchor="t" anchorCtr="0">
            <a:noAutofit/>
          </a:bodyPr>
          <a:lstStyle/>
          <a:p>
            <a:pPr defTabSz="914377">
              <a:lnSpc>
                <a:spcPct val="120000"/>
              </a:lnSpc>
              <a:defRPr/>
            </a:pPr>
            <a:endParaRPr lang="en-US" sz="1400">
              <a:solidFill>
                <a:srgbClr val="1C6D7D"/>
              </a:solidFill>
              <a:latin typeface="Rawline"/>
            </a:endParaRPr>
          </a:p>
        </p:txBody>
      </p:sp>
      <p:sp>
        <p:nvSpPr>
          <p:cNvPr id="3" name="Title 2">
            <a:extLst>
              <a:ext uri="{FF2B5EF4-FFF2-40B4-BE49-F238E27FC236}">
                <a16:creationId xmlns:a16="http://schemas.microsoft.com/office/drawing/2014/main" id="{6F8672BB-B492-4381-BCDF-1C0133B1D401}"/>
              </a:ext>
            </a:extLst>
          </p:cNvPr>
          <p:cNvSpPr>
            <a:spLocks noGrp="1"/>
          </p:cNvSpPr>
          <p:nvPr>
            <p:ph type="title"/>
          </p:nvPr>
        </p:nvSpPr>
        <p:spPr>
          <a:xfrm>
            <a:off x="504001" y="403200"/>
            <a:ext cx="11040300" cy="972000"/>
          </a:xfrm>
        </p:spPr>
        <p:txBody>
          <a:bodyPr/>
          <a:lstStyle/>
          <a:p>
            <a:r>
              <a:rPr lang="en-US"/>
              <a:t>Consumers relate sustainability most closely to health and price. But it can also ladder up further to quality and taste</a:t>
            </a:r>
          </a:p>
        </p:txBody>
      </p:sp>
      <p:sp>
        <p:nvSpPr>
          <p:cNvPr id="22" name="Oval 21">
            <a:extLst>
              <a:ext uri="{FF2B5EF4-FFF2-40B4-BE49-F238E27FC236}">
                <a16:creationId xmlns:a16="http://schemas.microsoft.com/office/drawing/2014/main" id="{DA684506-C518-4AEB-8EE6-73FAEB395CBC}"/>
              </a:ext>
            </a:extLst>
          </p:cNvPr>
          <p:cNvSpPr/>
          <p:nvPr/>
        </p:nvSpPr>
        <p:spPr>
          <a:xfrm>
            <a:off x="10696725" y="3273726"/>
            <a:ext cx="847577" cy="847161"/>
          </a:xfrm>
          <a:prstGeom prst="ellipse">
            <a:avLst/>
          </a:prstGeom>
          <a:solidFill>
            <a:schemeClr val="accent2">
              <a:lumMod val="20000"/>
              <a:lumOff val="80000"/>
            </a:schemeClr>
          </a:solidFill>
          <a:ln w="12700" cap="flat" cmpd="sng" algn="ctr">
            <a:noFill/>
            <a:prstDash val="solid"/>
          </a:ln>
          <a:effectLst/>
        </p:spPr>
        <p:txBody>
          <a:bodyPr lIns="0" rIns="0" rtlCol="0" anchor="ctr"/>
          <a:lstStyle/>
          <a:p>
            <a:pPr algn="ctr" defTabSz="914377">
              <a:defRPr/>
            </a:pPr>
            <a:r>
              <a:rPr lang="en-US" sz="1600" b="1" kern="0">
                <a:solidFill>
                  <a:srgbClr val="263133"/>
                </a:solidFill>
                <a:latin typeface="Rawline"/>
              </a:rPr>
              <a:t>Taste</a:t>
            </a:r>
          </a:p>
        </p:txBody>
      </p:sp>
      <p:sp>
        <p:nvSpPr>
          <p:cNvPr id="47" name="TextBox 46">
            <a:extLst>
              <a:ext uri="{FF2B5EF4-FFF2-40B4-BE49-F238E27FC236}">
                <a16:creationId xmlns:a16="http://schemas.microsoft.com/office/drawing/2014/main" id="{A8506094-7EF3-4C44-9C28-303295B7080F}"/>
              </a:ext>
            </a:extLst>
          </p:cNvPr>
          <p:cNvSpPr txBox="1"/>
          <p:nvPr/>
        </p:nvSpPr>
        <p:spPr>
          <a:xfrm>
            <a:off x="4618461" y="4456855"/>
            <a:ext cx="2574820" cy="1169551"/>
          </a:xfrm>
          <a:prstGeom prst="rect">
            <a:avLst/>
          </a:prstGeom>
          <a:noFill/>
        </p:spPr>
        <p:txBody>
          <a:bodyPr wrap="square" rtlCol="0">
            <a:spAutoFit/>
          </a:bodyPr>
          <a:lstStyle/>
          <a:p>
            <a:pPr algn="ctr" defTabSz="914377">
              <a:defRPr/>
            </a:pPr>
            <a:r>
              <a:rPr lang="en-US" sz="1400">
                <a:solidFill>
                  <a:srgbClr val="000000"/>
                </a:solidFill>
                <a:latin typeface="Rawline"/>
              </a:rPr>
              <a:t>More mindful production, resources and employment, less shortcuts may make sustainable products cost more</a:t>
            </a:r>
          </a:p>
        </p:txBody>
      </p:sp>
      <p:sp>
        <p:nvSpPr>
          <p:cNvPr id="49" name="TextBox 48">
            <a:extLst>
              <a:ext uri="{FF2B5EF4-FFF2-40B4-BE49-F238E27FC236}">
                <a16:creationId xmlns:a16="http://schemas.microsoft.com/office/drawing/2014/main" id="{64BE634A-4789-499D-B2D8-E9C8E4D5E113}"/>
              </a:ext>
            </a:extLst>
          </p:cNvPr>
          <p:cNvSpPr txBox="1"/>
          <p:nvPr/>
        </p:nvSpPr>
        <p:spPr>
          <a:xfrm>
            <a:off x="9806998" y="4255822"/>
            <a:ext cx="1838903" cy="738664"/>
          </a:xfrm>
          <a:prstGeom prst="rect">
            <a:avLst/>
          </a:prstGeom>
          <a:noFill/>
        </p:spPr>
        <p:txBody>
          <a:bodyPr wrap="square" rtlCol="0">
            <a:spAutoFit/>
          </a:bodyPr>
          <a:lstStyle/>
          <a:p>
            <a:pPr algn="r" defTabSz="914377">
              <a:defRPr/>
            </a:pPr>
            <a:r>
              <a:rPr lang="en-GB" sz="1400">
                <a:solidFill>
                  <a:srgbClr val="000000"/>
                </a:solidFill>
                <a:latin typeface="Rawline"/>
                <a:cs typeface="Arial"/>
              </a:rPr>
              <a:t>Less processing means fresher and better ingredients </a:t>
            </a:r>
            <a:endParaRPr lang="en-US" sz="1400">
              <a:solidFill>
                <a:srgbClr val="000000"/>
              </a:solidFill>
              <a:latin typeface="Rawline"/>
            </a:endParaRPr>
          </a:p>
        </p:txBody>
      </p:sp>
      <p:cxnSp>
        <p:nvCxnSpPr>
          <p:cNvPr id="51" name="Straight Connector 50">
            <a:extLst>
              <a:ext uri="{FF2B5EF4-FFF2-40B4-BE49-F238E27FC236}">
                <a16:creationId xmlns:a16="http://schemas.microsoft.com/office/drawing/2014/main" id="{AED3E762-B8D0-4044-A597-6755872DF984}"/>
              </a:ext>
            </a:extLst>
          </p:cNvPr>
          <p:cNvCxnSpPr>
            <a:cxnSpLocks/>
            <a:stCxn id="46" idx="3"/>
            <a:endCxn id="23" idx="1"/>
          </p:cNvCxnSpPr>
          <p:nvPr/>
        </p:nvCxnSpPr>
        <p:spPr>
          <a:xfrm>
            <a:off x="5183199" y="1887654"/>
            <a:ext cx="4208895" cy="1473430"/>
          </a:xfrm>
          <a:prstGeom prst="line">
            <a:avLst/>
          </a:prstGeom>
          <a:solidFill>
            <a:schemeClr val="accent2">
              <a:alpha val="99000"/>
            </a:schemeClr>
          </a:solidFill>
          <a:ln w="12700" cap="flat" cmpd="sng" algn="ctr">
            <a:solidFill>
              <a:schemeClr val="accent2">
                <a:lumMod val="50000"/>
              </a:schemeClr>
            </a:solidFill>
            <a:prstDash val="dash"/>
          </a:ln>
          <a:effectLst/>
        </p:spPr>
      </p:cxnSp>
      <p:cxnSp>
        <p:nvCxnSpPr>
          <p:cNvPr id="52" name="Straight Connector 51">
            <a:extLst>
              <a:ext uri="{FF2B5EF4-FFF2-40B4-BE49-F238E27FC236}">
                <a16:creationId xmlns:a16="http://schemas.microsoft.com/office/drawing/2014/main" id="{7A7B09A1-71EC-498A-80AB-72B6EA281468}"/>
              </a:ext>
            </a:extLst>
          </p:cNvPr>
          <p:cNvCxnSpPr>
            <a:cxnSpLocks/>
            <a:stCxn id="47" idx="3"/>
          </p:cNvCxnSpPr>
          <p:nvPr/>
        </p:nvCxnSpPr>
        <p:spPr>
          <a:xfrm flipV="1">
            <a:off x="7193281" y="3709883"/>
            <a:ext cx="2560319" cy="1331748"/>
          </a:xfrm>
          <a:prstGeom prst="line">
            <a:avLst/>
          </a:prstGeom>
          <a:solidFill>
            <a:schemeClr val="accent2">
              <a:alpha val="99000"/>
            </a:schemeClr>
          </a:solidFill>
          <a:ln w="12700" cap="flat" cmpd="sng" algn="ctr">
            <a:solidFill>
              <a:schemeClr val="accent2">
                <a:lumMod val="50000"/>
              </a:schemeClr>
            </a:solidFill>
            <a:prstDash val="dash"/>
          </a:ln>
          <a:effectLst/>
        </p:spPr>
      </p:cxnSp>
      <p:cxnSp>
        <p:nvCxnSpPr>
          <p:cNvPr id="26" name="Straight Connector 25">
            <a:extLst>
              <a:ext uri="{FF2B5EF4-FFF2-40B4-BE49-F238E27FC236}">
                <a16:creationId xmlns:a16="http://schemas.microsoft.com/office/drawing/2014/main" id="{1CE558A2-CFF0-4FAD-B159-57D8FDEC3A31}"/>
              </a:ext>
            </a:extLst>
          </p:cNvPr>
          <p:cNvCxnSpPr>
            <a:cxnSpLocks/>
            <a:endCxn id="22" idx="2"/>
          </p:cNvCxnSpPr>
          <p:nvPr/>
        </p:nvCxnSpPr>
        <p:spPr>
          <a:xfrm>
            <a:off x="2739558" y="3697307"/>
            <a:ext cx="7957167" cy="0"/>
          </a:xfrm>
          <a:prstGeom prst="line">
            <a:avLst/>
          </a:prstGeom>
          <a:solidFill>
            <a:schemeClr val="accent2">
              <a:alpha val="99000"/>
            </a:schemeClr>
          </a:solidFill>
          <a:ln w="12700" cap="flat" cmpd="sng" algn="ctr">
            <a:solidFill>
              <a:schemeClr val="accent2">
                <a:lumMod val="50000"/>
              </a:schemeClr>
            </a:solidFill>
            <a:prstDash val="dash"/>
          </a:ln>
          <a:effectLst/>
        </p:spPr>
      </p:cxnSp>
      <p:sp>
        <p:nvSpPr>
          <p:cNvPr id="17" name="Oval 16">
            <a:extLst>
              <a:ext uri="{FF2B5EF4-FFF2-40B4-BE49-F238E27FC236}">
                <a16:creationId xmlns:a16="http://schemas.microsoft.com/office/drawing/2014/main" id="{C8F81B4C-A078-42F2-82BF-0BF61539D83D}"/>
              </a:ext>
            </a:extLst>
          </p:cNvPr>
          <p:cNvSpPr>
            <a:spLocks noChangeAspect="1"/>
          </p:cNvSpPr>
          <p:nvPr/>
        </p:nvSpPr>
        <p:spPr>
          <a:xfrm>
            <a:off x="531545" y="2458710"/>
            <a:ext cx="2480211" cy="2477193"/>
          </a:xfrm>
          <a:prstGeom prst="ellipse">
            <a:avLst/>
          </a:prstGeom>
          <a:solidFill>
            <a:schemeClr val="accent3"/>
          </a:solidFill>
          <a:ln w="12700" cap="flat" cmpd="sng" algn="ctr">
            <a:noFill/>
            <a:prstDash val="solid"/>
          </a:ln>
          <a:effectLst/>
        </p:spPr>
        <p:txBody>
          <a:bodyPr lIns="0" rIns="0" rtlCol="0" anchor="ctr"/>
          <a:lstStyle/>
          <a:p>
            <a:pPr algn="ctr" defTabSz="914377">
              <a:defRPr/>
            </a:pPr>
            <a:endParaRPr lang="en-US" b="1" kern="0">
              <a:solidFill>
                <a:srgbClr val="FFFFFF"/>
              </a:solidFill>
              <a:latin typeface="Rawline"/>
            </a:endParaRPr>
          </a:p>
        </p:txBody>
      </p:sp>
      <p:sp>
        <p:nvSpPr>
          <p:cNvPr id="31" name="TextBox 30">
            <a:extLst>
              <a:ext uri="{FF2B5EF4-FFF2-40B4-BE49-F238E27FC236}">
                <a16:creationId xmlns:a16="http://schemas.microsoft.com/office/drawing/2014/main" id="{1AEC7C95-3562-4CB2-A4DE-5EFD1AEEF28E}"/>
              </a:ext>
            </a:extLst>
          </p:cNvPr>
          <p:cNvSpPr txBox="1"/>
          <p:nvPr/>
        </p:nvSpPr>
        <p:spPr>
          <a:xfrm>
            <a:off x="347956" y="3435695"/>
            <a:ext cx="2788547" cy="523220"/>
          </a:xfrm>
          <a:prstGeom prst="rect">
            <a:avLst/>
          </a:prstGeom>
          <a:noFill/>
        </p:spPr>
        <p:txBody>
          <a:bodyPr wrap="square">
            <a:spAutoFit/>
          </a:bodyPr>
          <a:lstStyle/>
          <a:p>
            <a:pPr algn="ctr" defTabSz="914377">
              <a:defRPr/>
            </a:pPr>
            <a:r>
              <a:rPr lang="en-US" sz="1400" b="1" kern="0">
                <a:solidFill>
                  <a:srgbClr val="FFFFFF"/>
                </a:solidFill>
                <a:latin typeface="Rawline"/>
              </a:rPr>
              <a:t>SUSTAINABILITY/</a:t>
            </a:r>
          </a:p>
          <a:p>
            <a:pPr algn="ctr" defTabSz="914377">
              <a:defRPr/>
            </a:pPr>
            <a:r>
              <a:rPr lang="en-US" sz="1400" b="1" kern="0">
                <a:solidFill>
                  <a:srgbClr val="FFFFFF"/>
                </a:solidFill>
                <a:latin typeface="Rawline"/>
              </a:rPr>
              <a:t>ECO-FRIENDLINESS</a:t>
            </a:r>
          </a:p>
        </p:txBody>
      </p:sp>
      <p:sp>
        <p:nvSpPr>
          <p:cNvPr id="18" name="Oval 17">
            <a:extLst>
              <a:ext uri="{FF2B5EF4-FFF2-40B4-BE49-F238E27FC236}">
                <a16:creationId xmlns:a16="http://schemas.microsoft.com/office/drawing/2014/main" id="{626C2F11-D1B3-4DFA-9164-63185318CD42}"/>
              </a:ext>
            </a:extLst>
          </p:cNvPr>
          <p:cNvSpPr/>
          <p:nvPr/>
        </p:nvSpPr>
        <p:spPr>
          <a:xfrm>
            <a:off x="2739558" y="2728041"/>
            <a:ext cx="1938159" cy="1938528"/>
          </a:xfrm>
          <a:prstGeom prst="ellipse">
            <a:avLst/>
          </a:prstGeom>
          <a:solidFill>
            <a:schemeClr val="accent2"/>
          </a:solidFill>
          <a:ln w="12700" cap="flat" cmpd="sng" algn="ctr">
            <a:noFill/>
            <a:prstDash val="solid"/>
          </a:ln>
          <a:effectLst/>
        </p:spPr>
        <p:txBody>
          <a:bodyPr lIns="0" rIns="0" rtlCol="0" anchor="ctr"/>
          <a:lstStyle/>
          <a:p>
            <a:pPr algn="ctr" defTabSz="914377">
              <a:defRPr/>
            </a:pPr>
            <a:r>
              <a:rPr lang="en-US" sz="1600" b="1" kern="0">
                <a:solidFill>
                  <a:srgbClr val="263133"/>
                </a:solidFill>
                <a:latin typeface="Rawline"/>
              </a:rPr>
              <a:t>Health</a:t>
            </a:r>
          </a:p>
        </p:txBody>
      </p:sp>
      <p:sp>
        <p:nvSpPr>
          <p:cNvPr id="19" name="Oval 18">
            <a:extLst>
              <a:ext uri="{FF2B5EF4-FFF2-40B4-BE49-F238E27FC236}">
                <a16:creationId xmlns:a16="http://schemas.microsoft.com/office/drawing/2014/main" id="{2C4015FF-7B84-429C-BAA7-1A4B0B7DCD7A}"/>
              </a:ext>
            </a:extLst>
          </p:cNvPr>
          <p:cNvSpPr/>
          <p:nvPr/>
        </p:nvSpPr>
        <p:spPr>
          <a:xfrm>
            <a:off x="5219769" y="2979501"/>
            <a:ext cx="1434695" cy="1435608"/>
          </a:xfrm>
          <a:prstGeom prst="ellipse">
            <a:avLst/>
          </a:prstGeom>
          <a:solidFill>
            <a:schemeClr val="accent2">
              <a:lumMod val="60000"/>
              <a:lumOff val="40000"/>
              <a:alpha val="99000"/>
            </a:schemeClr>
          </a:solidFill>
          <a:ln w="12700" cap="flat" cmpd="sng" algn="ctr">
            <a:noFill/>
            <a:prstDash val="solid"/>
          </a:ln>
          <a:effectLst/>
        </p:spPr>
        <p:txBody>
          <a:bodyPr lIns="0" rIns="0" rtlCol="0" anchor="ctr"/>
          <a:lstStyle/>
          <a:p>
            <a:pPr algn="ctr" defTabSz="914377">
              <a:defRPr/>
            </a:pPr>
            <a:r>
              <a:rPr lang="en-US" sz="1600" b="1" kern="0">
                <a:solidFill>
                  <a:srgbClr val="263133"/>
                </a:solidFill>
                <a:latin typeface="Rawline"/>
              </a:rPr>
              <a:t>Price</a:t>
            </a:r>
          </a:p>
        </p:txBody>
      </p:sp>
      <p:sp>
        <p:nvSpPr>
          <p:cNvPr id="23" name="Oval 22">
            <a:extLst>
              <a:ext uri="{FF2B5EF4-FFF2-40B4-BE49-F238E27FC236}">
                <a16:creationId xmlns:a16="http://schemas.microsoft.com/office/drawing/2014/main" id="{02B0161D-DA05-41CE-A90A-E9EA276DCC7A}"/>
              </a:ext>
            </a:extLst>
          </p:cNvPr>
          <p:cNvSpPr/>
          <p:nvPr/>
        </p:nvSpPr>
        <p:spPr>
          <a:xfrm>
            <a:off x="9252467" y="3221817"/>
            <a:ext cx="953431" cy="950976"/>
          </a:xfrm>
          <a:prstGeom prst="ellipse">
            <a:avLst/>
          </a:prstGeom>
          <a:solidFill>
            <a:schemeClr val="accent2">
              <a:lumMod val="40000"/>
              <a:lumOff val="60000"/>
            </a:schemeClr>
          </a:solidFill>
          <a:ln w="12700" cap="flat" cmpd="sng" algn="ctr">
            <a:noFill/>
            <a:prstDash val="solid"/>
          </a:ln>
          <a:effectLst/>
        </p:spPr>
        <p:txBody>
          <a:bodyPr lIns="0" rIns="0" rtlCol="0" anchor="ctr"/>
          <a:lstStyle/>
          <a:p>
            <a:pPr algn="ctr" defTabSz="914377">
              <a:defRPr/>
            </a:pPr>
            <a:endParaRPr lang="en-US" sz="1600" b="1" kern="0">
              <a:solidFill>
                <a:srgbClr val="263133"/>
              </a:solidFill>
              <a:latin typeface="Rawline"/>
            </a:endParaRPr>
          </a:p>
        </p:txBody>
      </p:sp>
      <p:sp>
        <p:nvSpPr>
          <p:cNvPr id="45" name="TextBox 44">
            <a:extLst>
              <a:ext uri="{FF2B5EF4-FFF2-40B4-BE49-F238E27FC236}">
                <a16:creationId xmlns:a16="http://schemas.microsoft.com/office/drawing/2014/main" id="{7AEA9D55-FA64-4A0D-A144-C44478926FBC}"/>
              </a:ext>
            </a:extLst>
          </p:cNvPr>
          <p:cNvSpPr txBox="1"/>
          <p:nvPr/>
        </p:nvSpPr>
        <p:spPr>
          <a:xfrm>
            <a:off x="9160074" y="3456949"/>
            <a:ext cx="1109205" cy="338554"/>
          </a:xfrm>
          <a:prstGeom prst="rect">
            <a:avLst/>
          </a:prstGeom>
          <a:noFill/>
        </p:spPr>
        <p:txBody>
          <a:bodyPr wrap="square">
            <a:spAutoFit/>
          </a:bodyPr>
          <a:lstStyle/>
          <a:p>
            <a:pPr algn="ctr" defTabSz="914377">
              <a:defRPr/>
            </a:pPr>
            <a:r>
              <a:rPr lang="en-US" sz="1600" b="1" kern="0">
                <a:solidFill>
                  <a:srgbClr val="263133"/>
                </a:solidFill>
                <a:latin typeface="Rawline"/>
              </a:rPr>
              <a:t>Quality</a:t>
            </a:r>
          </a:p>
        </p:txBody>
      </p:sp>
      <p:sp>
        <p:nvSpPr>
          <p:cNvPr id="2" name="Text Placeholder 5">
            <a:extLst>
              <a:ext uri="{FF2B5EF4-FFF2-40B4-BE49-F238E27FC236}">
                <a16:creationId xmlns:a16="http://schemas.microsoft.com/office/drawing/2014/main" id="{42B25F3B-05E4-DC69-6BFD-DC8EAAED5364}"/>
              </a:ext>
            </a:extLst>
          </p:cNvPr>
          <p:cNvSpPr txBox="1">
            <a:spLocks/>
          </p:cNvSpPr>
          <p:nvPr/>
        </p:nvSpPr>
        <p:spPr>
          <a:xfrm>
            <a:off x="840333" y="6478081"/>
            <a:ext cx="10565603" cy="213010"/>
          </a:xfrm>
          <a:prstGeom prst="rect">
            <a:avLst/>
          </a:prstGeom>
        </p:spPr>
        <p:txBody>
          <a:bodyPr vert="horz" lIns="0" tIns="0" rIns="0" bIns="0" rtlCol="0">
            <a:noAutofit/>
          </a:bodyPr>
          <a:lstStyle>
            <a:lvl1pPr marL="288000" indent="-288000" algn="l" defTabSz="914400" rtl="0" eaLnBrk="1" latinLnBrk="0" hangingPunct="1">
              <a:lnSpc>
                <a:spcPct val="120000"/>
              </a:lnSpc>
              <a:spcBef>
                <a:spcPts val="0"/>
              </a:spcBef>
              <a:spcAft>
                <a:spcPts val="1000"/>
              </a:spcAft>
              <a:buClr>
                <a:schemeClr val="bg2"/>
              </a:buClr>
              <a:buFont typeface="Courier New" panose="02070309020205020404" pitchFamily="49" charset="0"/>
              <a:buChar char="o"/>
              <a:defRPr sz="1600" kern="1200">
                <a:solidFill>
                  <a:schemeClr val="tx1"/>
                </a:solidFill>
                <a:latin typeface="+mn-lt"/>
                <a:ea typeface="+mn-ea"/>
                <a:cs typeface="+mn-cs"/>
              </a:defRPr>
            </a:lvl1pPr>
            <a:lvl2pPr marL="576000" indent="-288000" algn="l" defTabSz="914400" rtl="0" eaLnBrk="1" latinLnBrk="0" hangingPunct="1">
              <a:lnSpc>
                <a:spcPct val="120000"/>
              </a:lnSpc>
              <a:spcBef>
                <a:spcPts val="0"/>
              </a:spcBef>
              <a:spcAft>
                <a:spcPts val="1000"/>
              </a:spcAft>
              <a:buClr>
                <a:schemeClr val="accent1"/>
              </a:buClr>
              <a:buFont typeface="Wingdings" panose="05000000000000000000" pitchFamily="2" charset="2"/>
              <a:buChar char="§"/>
              <a:defRPr sz="1400" kern="1200">
                <a:solidFill>
                  <a:schemeClr val="tx1"/>
                </a:solidFill>
                <a:latin typeface="+mn-lt"/>
                <a:ea typeface="+mn-ea"/>
                <a:cs typeface="+mn-cs"/>
              </a:defRPr>
            </a:lvl2pPr>
            <a:lvl3pPr marL="864000" indent="-288000" algn="l" defTabSz="914400" rtl="0" eaLnBrk="1" latinLnBrk="0" hangingPunct="1">
              <a:lnSpc>
                <a:spcPct val="120000"/>
              </a:lnSpc>
              <a:spcBef>
                <a:spcPts val="0"/>
              </a:spcBef>
              <a:spcAft>
                <a:spcPts val="1000"/>
              </a:spcAft>
              <a:buClr>
                <a:schemeClr val="accent1"/>
              </a:buClr>
              <a:buFont typeface="Wingdings" panose="05000000000000000000" pitchFamily="2" charset="2"/>
              <a:buChar char="§"/>
              <a:defRPr sz="1200" kern="1200">
                <a:solidFill>
                  <a:schemeClr val="tx1"/>
                </a:solidFill>
                <a:latin typeface="+mn-lt"/>
                <a:ea typeface="+mn-ea"/>
                <a:cs typeface="+mn-cs"/>
              </a:defRPr>
            </a:lvl3pPr>
            <a:lvl4pPr marL="1152000" indent="-288000" algn="l" defTabSz="914400" rtl="0" eaLnBrk="1" latinLnBrk="0" hangingPunct="1">
              <a:lnSpc>
                <a:spcPct val="120000"/>
              </a:lnSpc>
              <a:spcBef>
                <a:spcPts val="0"/>
              </a:spcBef>
              <a:spcAft>
                <a:spcPts val="1000"/>
              </a:spcAft>
              <a:buClr>
                <a:schemeClr val="accent1"/>
              </a:buClr>
              <a:buSzPct val="100000"/>
              <a:buFont typeface="Wingdings" panose="05000000000000000000" pitchFamily="2" charset="2"/>
              <a:buChar char="§"/>
              <a:defRPr sz="1200" kern="1200">
                <a:solidFill>
                  <a:schemeClr val="tx1"/>
                </a:solidFill>
                <a:latin typeface="+mn-lt"/>
                <a:ea typeface="+mn-ea"/>
                <a:cs typeface="+mn-cs"/>
              </a:defRPr>
            </a:lvl4pPr>
            <a:lvl5pPr marL="1152000" indent="-288000" algn="l" defTabSz="914400" rtl="0" eaLnBrk="1" latinLnBrk="0" hangingPunct="1">
              <a:lnSpc>
                <a:spcPct val="120000"/>
              </a:lnSpc>
              <a:spcBef>
                <a:spcPts val="0"/>
              </a:spcBef>
              <a:spcAft>
                <a:spcPts val="1000"/>
              </a:spcAft>
              <a:buClr>
                <a:schemeClr val="bg2"/>
              </a:buClr>
              <a:buFont typeface="Wingdings" panose="05000000000000000000" pitchFamily="2" charset="2"/>
              <a:buChar char="§"/>
              <a:defRPr sz="1200" kern="1200">
                <a:solidFill>
                  <a:schemeClr val="tx1"/>
                </a:solidFill>
                <a:latin typeface="+mn-lt"/>
                <a:ea typeface="+mn-ea"/>
                <a:cs typeface="+mn-cs"/>
              </a:defRPr>
            </a:lvl5pPr>
            <a:lvl6pPr marL="1152000" indent="-288000" algn="l" defTabSz="914400" rtl="0" eaLnBrk="1" latinLnBrk="0" hangingPunct="1">
              <a:lnSpc>
                <a:spcPct val="120000"/>
              </a:lnSpc>
              <a:spcBef>
                <a:spcPts val="0"/>
              </a:spcBef>
              <a:spcAft>
                <a:spcPts val="1000"/>
              </a:spcAft>
              <a:buClr>
                <a:schemeClr val="bg2"/>
              </a:buClr>
              <a:buFont typeface="Wingdings" panose="05000000000000000000" pitchFamily="2" charset="2"/>
              <a:buChar char="§"/>
              <a:defRPr sz="1200" kern="1200">
                <a:solidFill>
                  <a:schemeClr val="tx1"/>
                </a:solidFill>
                <a:latin typeface="+mn-lt"/>
                <a:ea typeface="+mn-ea"/>
                <a:cs typeface="+mn-cs"/>
              </a:defRPr>
            </a:lvl6pPr>
            <a:lvl7pPr marL="1152000" indent="-288000" algn="l" defTabSz="914400" rtl="0" eaLnBrk="1" latinLnBrk="0" hangingPunct="1">
              <a:lnSpc>
                <a:spcPct val="120000"/>
              </a:lnSpc>
              <a:spcBef>
                <a:spcPts val="0"/>
              </a:spcBef>
              <a:spcAft>
                <a:spcPts val="1000"/>
              </a:spcAft>
              <a:buClr>
                <a:schemeClr val="bg2"/>
              </a:buClr>
              <a:buFont typeface="Wingdings" panose="05000000000000000000" pitchFamily="2" charset="2"/>
              <a:buChar char="§"/>
              <a:defRPr sz="1200" kern="1200">
                <a:solidFill>
                  <a:schemeClr val="tx1"/>
                </a:solidFill>
                <a:latin typeface="+mn-lt"/>
                <a:ea typeface="+mn-ea"/>
                <a:cs typeface="+mn-cs"/>
              </a:defRPr>
            </a:lvl7pPr>
            <a:lvl8pPr marL="1152000" indent="-288000" algn="l" defTabSz="914400" rtl="0" eaLnBrk="1" latinLnBrk="0" hangingPunct="1">
              <a:lnSpc>
                <a:spcPct val="120000"/>
              </a:lnSpc>
              <a:spcBef>
                <a:spcPts val="0"/>
              </a:spcBef>
              <a:spcAft>
                <a:spcPts val="1000"/>
              </a:spcAft>
              <a:buClr>
                <a:schemeClr val="bg2"/>
              </a:buClr>
              <a:buFont typeface="Wingdings" panose="05000000000000000000" pitchFamily="2" charset="2"/>
              <a:buChar char="§"/>
              <a:defRPr sz="1200" kern="1200">
                <a:solidFill>
                  <a:schemeClr val="tx1"/>
                </a:solidFill>
                <a:latin typeface="+mn-lt"/>
                <a:ea typeface="+mn-ea"/>
                <a:cs typeface="+mn-cs"/>
              </a:defRPr>
            </a:lvl8pPr>
            <a:lvl9pPr marL="1152000" indent="-288000" algn="l" defTabSz="914400" rtl="0" eaLnBrk="1" latinLnBrk="0" hangingPunct="1">
              <a:lnSpc>
                <a:spcPct val="120000"/>
              </a:lnSpc>
              <a:spcBef>
                <a:spcPts val="0"/>
              </a:spcBef>
              <a:spcAft>
                <a:spcPts val="1000"/>
              </a:spcAft>
              <a:buClr>
                <a:schemeClr val="bg2"/>
              </a:buClr>
              <a:buFont typeface="Wingdings" panose="05000000000000000000" pitchFamily="2" charset="2"/>
              <a:buChar char="§"/>
              <a:defRPr sz="1200" kern="1200">
                <a:solidFill>
                  <a:schemeClr val="tx1"/>
                </a:solidFill>
                <a:latin typeface="+mn-lt"/>
                <a:ea typeface="+mn-ea"/>
                <a:cs typeface="+mn-cs"/>
              </a:defRPr>
            </a:lvl9pPr>
          </a:lstStyle>
          <a:p>
            <a:pPr marL="0" lvl="0" indent="0" algn="r">
              <a:lnSpc>
                <a:spcPct val="100000"/>
              </a:lnSpc>
              <a:spcAft>
                <a:spcPts val="0"/>
              </a:spcAft>
              <a:buClr>
                <a:srgbClr val="1C6D7D"/>
              </a:buClr>
              <a:buNone/>
              <a:defRPr/>
            </a:pPr>
            <a:r>
              <a:rPr lang="en-US" sz="1000">
                <a:cs typeface="Arial" panose="020B0604020202020204" pitchFamily="34" charset="0"/>
              </a:rPr>
              <a:t>Source: SKIM study</a:t>
            </a:r>
          </a:p>
        </p:txBody>
      </p:sp>
      <p:sp>
        <p:nvSpPr>
          <p:cNvPr id="46" name="TextBox 45">
            <a:extLst>
              <a:ext uri="{FF2B5EF4-FFF2-40B4-BE49-F238E27FC236}">
                <a16:creationId xmlns:a16="http://schemas.microsoft.com/office/drawing/2014/main" id="{A17956A6-B678-4030-A517-6D95A48E4A05}"/>
              </a:ext>
            </a:extLst>
          </p:cNvPr>
          <p:cNvSpPr txBox="1"/>
          <p:nvPr/>
        </p:nvSpPr>
        <p:spPr>
          <a:xfrm>
            <a:off x="2594952" y="1518322"/>
            <a:ext cx="2588247" cy="738664"/>
          </a:xfrm>
          <a:prstGeom prst="rect">
            <a:avLst/>
          </a:prstGeom>
          <a:noFill/>
        </p:spPr>
        <p:txBody>
          <a:bodyPr wrap="square" rtlCol="0">
            <a:spAutoFit/>
          </a:bodyPr>
          <a:lstStyle/>
          <a:p>
            <a:pPr algn="ctr" defTabSz="914377">
              <a:defRPr/>
            </a:pPr>
            <a:r>
              <a:rPr lang="en-GB" sz="1400">
                <a:solidFill>
                  <a:srgbClr val="000000"/>
                </a:solidFill>
                <a:latin typeface="Rawline"/>
                <a:cs typeface="Arial"/>
              </a:rPr>
              <a:t>Sustainable products use fewer chemicals, pesticides, and preservatives</a:t>
            </a:r>
            <a:endParaRPr lang="en-US" sz="1200">
              <a:solidFill>
                <a:srgbClr val="000000"/>
              </a:solidFill>
              <a:latin typeface="Rawline"/>
            </a:endParaRPr>
          </a:p>
        </p:txBody>
      </p:sp>
      <p:sp>
        <p:nvSpPr>
          <p:cNvPr id="48" name="TextBox 47">
            <a:extLst>
              <a:ext uri="{FF2B5EF4-FFF2-40B4-BE49-F238E27FC236}">
                <a16:creationId xmlns:a16="http://schemas.microsoft.com/office/drawing/2014/main" id="{46A7C654-2DA8-48D3-B744-98548DBDD847}"/>
              </a:ext>
            </a:extLst>
          </p:cNvPr>
          <p:cNvSpPr txBox="1"/>
          <p:nvPr/>
        </p:nvSpPr>
        <p:spPr>
          <a:xfrm>
            <a:off x="8689655" y="1490785"/>
            <a:ext cx="2124295" cy="1169551"/>
          </a:xfrm>
          <a:prstGeom prst="rect">
            <a:avLst/>
          </a:prstGeom>
          <a:noFill/>
        </p:spPr>
        <p:txBody>
          <a:bodyPr wrap="square" rtlCol="0">
            <a:spAutoFit/>
          </a:bodyPr>
          <a:lstStyle/>
          <a:p>
            <a:pPr algn="ctr" defTabSz="914377">
              <a:defRPr/>
            </a:pPr>
            <a:r>
              <a:rPr lang="en-US" sz="1400">
                <a:solidFill>
                  <a:srgbClr val="000000"/>
                </a:solidFill>
                <a:latin typeface="Rawline"/>
              </a:rPr>
              <a:t>Higher-quality raw materials, locally sourced (France), and processing means a higher-quality product</a:t>
            </a:r>
          </a:p>
        </p:txBody>
      </p:sp>
    </p:spTree>
    <p:extLst>
      <p:ext uri="{BB962C8B-B14F-4D97-AF65-F5344CB8AC3E}">
        <p14:creationId xmlns:p14="http://schemas.microsoft.com/office/powerpoint/2010/main" val="376370013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Picture Placeholder 14" descr="A picture containing text, computer, indoor, person&#10;&#10;Description automatically generated">
            <a:extLst>
              <a:ext uri="{FF2B5EF4-FFF2-40B4-BE49-F238E27FC236}">
                <a16:creationId xmlns:a16="http://schemas.microsoft.com/office/drawing/2014/main" id="{33966C11-01E6-4006-8334-96CDF783D0A5}"/>
              </a:ext>
            </a:extLst>
          </p:cNvPr>
          <p:cNvPicPr>
            <a:picLocks noGrp="1" noChangeAspect="1"/>
          </p:cNvPicPr>
          <p:nvPr>
            <p:ph type="pic" sz="quarter" idx="13"/>
          </p:nvPr>
        </p:nvPicPr>
        <p:blipFill>
          <a:blip r:embed="rId2">
            <a:extLst>
              <a:ext uri="{28A0092B-C50C-407E-A947-70E740481C1C}">
                <a14:useLocalDpi xmlns:a14="http://schemas.microsoft.com/office/drawing/2010/main" val="0"/>
              </a:ext>
            </a:extLst>
          </a:blip>
          <a:srcRect t="46" b="46"/>
          <a:stretch>
            <a:fillRect/>
          </a:stretch>
        </p:blipFill>
        <p:spPr/>
      </p:pic>
      <p:sp>
        <p:nvSpPr>
          <p:cNvPr id="16" name="doOverlay">
            <a:extLst>
              <a:ext uri="{FF2B5EF4-FFF2-40B4-BE49-F238E27FC236}">
                <a16:creationId xmlns:a16="http://schemas.microsoft.com/office/drawing/2014/main" id="{5F529F25-E16C-4AB6-95A2-07A4C9E970E5}"/>
              </a:ext>
            </a:extLst>
          </p:cNvPr>
          <p:cNvSpPr/>
          <p:nvPr/>
        </p:nvSpPr>
        <p:spPr>
          <a:xfrm>
            <a:off x="0" y="0"/>
            <a:ext cx="12192000" cy="6858000"/>
          </a:xfrm>
          <a:prstGeom prst="rect">
            <a:avLst/>
          </a:prstGeom>
          <a:solidFill>
            <a:schemeClr val="accent1">
              <a:alpha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72000" rIns="108000" bIns="108000" rtlCol="0" anchor="t" anchorCtr="0">
            <a:noAutofit/>
          </a:bodyPr>
          <a:lstStyle/>
          <a:p>
            <a:pPr indent="0" algn="l">
              <a:lnSpc>
                <a:spcPct val="120000"/>
              </a:lnSpc>
            </a:pPr>
            <a:endParaRPr lang="en-SG" sz="1400" err="1">
              <a:solidFill>
                <a:schemeClr val="bg2"/>
              </a:solidFill>
            </a:endParaRPr>
          </a:p>
        </p:txBody>
      </p:sp>
      <p:sp>
        <p:nvSpPr>
          <p:cNvPr id="4" name="Title 3" descr="An innovative approach">
            <a:extLst>
              <a:ext uri="{FF2B5EF4-FFF2-40B4-BE49-F238E27FC236}">
                <a16:creationId xmlns:a16="http://schemas.microsoft.com/office/drawing/2014/main" id="{825F0A6F-9FCE-4813-A5D2-652158B907C3}"/>
              </a:ext>
            </a:extLst>
          </p:cNvPr>
          <p:cNvSpPr>
            <a:spLocks noGrp="1"/>
          </p:cNvSpPr>
          <p:nvPr>
            <p:ph type="ctrTitle"/>
          </p:nvPr>
        </p:nvSpPr>
        <p:spPr/>
        <p:txBody>
          <a:bodyPr/>
          <a:lstStyle/>
          <a:p>
            <a:r>
              <a:rPr lang="en-US"/>
              <a:t>Our approach in detail</a:t>
            </a:r>
          </a:p>
        </p:txBody>
      </p:sp>
      <p:pic>
        <p:nvPicPr>
          <p:cNvPr id="12" name="doLogoWhite">
            <a:extLst>
              <a:ext uri="{FF2B5EF4-FFF2-40B4-BE49-F238E27FC236}">
                <a16:creationId xmlns:a16="http://schemas.microsoft.com/office/drawing/2014/main" id="{5EB8363A-7E68-44C5-8ECD-AF3C7E3E07FE}"/>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559600" y="6364799"/>
            <a:ext cx="386197" cy="266610"/>
          </a:xfrm>
          <a:prstGeom prst="rect">
            <a:avLst/>
          </a:prstGeom>
        </p:spPr>
      </p:pic>
    </p:spTree>
    <p:extLst>
      <p:ext uri="{BB962C8B-B14F-4D97-AF65-F5344CB8AC3E}">
        <p14:creationId xmlns:p14="http://schemas.microsoft.com/office/powerpoint/2010/main" val="229711859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B86C9FA4-960D-4D15-875F-2F2BE7D55B91}"/>
              </a:ext>
            </a:extLst>
          </p:cNvPr>
          <p:cNvSpPr>
            <a:spLocks noGrp="1"/>
          </p:cNvSpPr>
          <p:nvPr>
            <p:ph type="title"/>
          </p:nvPr>
        </p:nvSpPr>
        <p:spPr>
          <a:xfrm>
            <a:off x="503238" y="346929"/>
            <a:ext cx="7354800" cy="972000"/>
          </a:xfrm>
        </p:spPr>
        <p:txBody>
          <a:bodyPr/>
          <a:lstStyle/>
          <a:p>
            <a:pPr marL="0" marR="0" lvl="0" indent="0" defTabSz="685800" rtl="0" eaLnBrk="1" fontAlgn="auto" latinLnBrk="0" hangingPunct="1">
              <a:lnSpc>
                <a:spcPct val="120000"/>
              </a:lnSpc>
              <a:spcBef>
                <a:spcPts val="0"/>
              </a:spcBef>
              <a:spcAft>
                <a:spcPts val="0"/>
              </a:spcAft>
              <a:buClr>
                <a:srgbClr val="1C6D7D"/>
              </a:buClr>
              <a:buSzPct val="100000"/>
              <a:buFont typeface="Courier New" panose="02070309020205020404" pitchFamily="49" charset="0"/>
              <a:buNone/>
              <a:tabLst/>
              <a:defRPr/>
            </a:pPr>
            <a:r>
              <a:rPr kumimoji="0" lang="en-US" sz="2800" i="0" u="none" strike="noStrike" kern="1200" cap="none" spc="0" normalizeH="0" baseline="0" noProof="0">
                <a:ln>
                  <a:noFill/>
                </a:ln>
                <a:solidFill>
                  <a:schemeClr val="bg2"/>
                </a:solidFill>
                <a:effectLst/>
                <a:uLnTx/>
                <a:uFillTx/>
                <a:latin typeface="+mj-lt"/>
              </a:rPr>
              <a:t>At SKIM, we take a consultative approach with our clients</a:t>
            </a:r>
          </a:p>
        </p:txBody>
      </p:sp>
      <p:pic>
        <p:nvPicPr>
          <p:cNvPr id="9" name="Picture Placeholder 8" descr="Kick off">
            <a:extLst>
              <a:ext uri="{FF2B5EF4-FFF2-40B4-BE49-F238E27FC236}">
                <a16:creationId xmlns:a16="http://schemas.microsoft.com/office/drawing/2014/main" id="{BDF87EB9-F001-42A0-87FD-9CDC10B9E8BF}"/>
              </a:ext>
            </a:extLst>
          </p:cNvPr>
          <p:cNvPicPr>
            <a:picLocks noGrp="1" noChangeAspect="1"/>
          </p:cNvPicPr>
          <p:nvPr>
            <p:ph type="pic" sz="quarter" idx="22"/>
          </p:nvPr>
        </p:nvPicPr>
        <p:blipFill rotWithShape="1">
          <a:blip r:embed="rId3" cstate="hqprint">
            <a:extLst>
              <a:ext uri="{28A0092B-C50C-407E-A947-70E740481C1C}">
                <a14:useLocalDpi xmlns:a14="http://schemas.microsoft.com/office/drawing/2010/main"/>
              </a:ext>
            </a:extLst>
          </a:blip>
          <a:srcRect/>
          <a:stretch/>
        </p:blipFill>
        <p:spPr>
          <a:xfrm>
            <a:off x="8127600" y="0"/>
            <a:ext cx="4064400" cy="6858000"/>
          </a:xfrm>
        </p:spPr>
      </p:pic>
      <p:sp>
        <p:nvSpPr>
          <p:cNvPr id="10" name="doOverlay">
            <a:extLst>
              <a:ext uri="{FF2B5EF4-FFF2-40B4-BE49-F238E27FC236}">
                <a16:creationId xmlns:a16="http://schemas.microsoft.com/office/drawing/2014/main" id="{EF5F9B67-FE98-493B-B8E2-F1DCAE6CB870}"/>
              </a:ext>
            </a:extLst>
          </p:cNvPr>
          <p:cNvSpPr/>
          <p:nvPr/>
        </p:nvSpPr>
        <p:spPr>
          <a:xfrm>
            <a:off x="8128000" y="0"/>
            <a:ext cx="4064000" cy="6858000"/>
          </a:xfrm>
          <a:prstGeom prst="rect">
            <a:avLst/>
          </a:prstGeom>
          <a:solidFill>
            <a:schemeClr val="accent1">
              <a:alpha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4320" tIns="182880" rIns="274320" bIns="274320" rtlCol="0" anchor="t" anchorCtr="0">
            <a:noAutofit/>
          </a:bodyPr>
          <a:lstStyle/>
          <a:p>
            <a:pPr algn="l">
              <a:lnSpc>
                <a:spcPct val="120000"/>
              </a:lnSpc>
            </a:pPr>
            <a:endParaRPr lang="en-US" sz="1400">
              <a:solidFill>
                <a:schemeClr val="bg2"/>
              </a:solidFill>
            </a:endParaRPr>
          </a:p>
        </p:txBody>
      </p:sp>
      <p:pic>
        <p:nvPicPr>
          <p:cNvPr id="19" name="doLogoWhite">
            <a:extLst>
              <a:ext uri="{FF2B5EF4-FFF2-40B4-BE49-F238E27FC236}">
                <a16:creationId xmlns:a16="http://schemas.microsoft.com/office/drawing/2014/main" id="{A900F69A-890F-48F3-A30F-D8DBFE622633}"/>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11559600" y="6364799"/>
            <a:ext cx="386197" cy="266610"/>
          </a:xfrm>
          <a:prstGeom prst="rect">
            <a:avLst/>
          </a:prstGeom>
        </p:spPr>
      </p:pic>
      <p:grpSp>
        <p:nvGrpSpPr>
          <p:cNvPr id="20" name="Group 19">
            <a:extLst>
              <a:ext uri="{FF2B5EF4-FFF2-40B4-BE49-F238E27FC236}">
                <a16:creationId xmlns:a16="http://schemas.microsoft.com/office/drawing/2014/main" id="{08B7FE03-08B0-4E8A-B327-4901D96A06D5}"/>
              </a:ext>
            </a:extLst>
          </p:cNvPr>
          <p:cNvGrpSpPr>
            <a:grpSpLocks noChangeAspect="1"/>
          </p:cNvGrpSpPr>
          <p:nvPr/>
        </p:nvGrpSpPr>
        <p:grpSpPr bwMode="auto">
          <a:xfrm>
            <a:off x="3701831" y="2014380"/>
            <a:ext cx="928030" cy="826854"/>
            <a:chOff x="5977" y="2203"/>
            <a:chExt cx="798" cy="711"/>
          </a:xfrm>
          <a:solidFill>
            <a:schemeClr val="accent1"/>
          </a:solidFill>
        </p:grpSpPr>
        <p:sp>
          <p:nvSpPr>
            <p:cNvPr id="21" name="Freeform 30">
              <a:extLst>
                <a:ext uri="{FF2B5EF4-FFF2-40B4-BE49-F238E27FC236}">
                  <a16:creationId xmlns:a16="http://schemas.microsoft.com/office/drawing/2014/main" id="{E9B39004-A0F4-4FEB-9DD9-73E645A99E78}"/>
                </a:ext>
              </a:extLst>
            </p:cNvPr>
            <p:cNvSpPr>
              <a:spLocks/>
            </p:cNvSpPr>
            <p:nvPr/>
          </p:nvSpPr>
          <p:spPr bwMode="auto">
            <a:xfrm>
              <a:off x="6225" y="2312"/>
              <a:ext cx="222" cy="602"/>
            </a:xfrm>
            <a:custGeom>
              <a:avLst/>
              <a:gdLst>
                <a:gd name="T0" fmla="*/ 253 w 1108"/>
                <a:gd name="T1" fmla="*/ 31 h 3011"/>
                <a:gd name="T2" fmla="*/ 376 w 1108"/>
                <a:gd name="T3" fmla="*/ 48 h 3011"/>
                <a:gd name="T4" fmla="*/ 472 w 1108"/>
                <a:gd name="T5" fmla="*/ 155 h 3011"/>
                <a:gd name="T6" fmla="*/ 504 w 1108"/>
                <a:gd name="T7" fmla="*/ 232 h 3011"/>
                <a:gd name="T8" fmla="*/ 542 w 1108"/>
                <a:gd name="T9" fmla="*/ 260 h 3011"/>
                <a:gd name="T10" fmla="*/ 657 w 1108"/>
                <a:gd name="T11" fmla="*/ 236 h 3011"/>
                <a:gd name="T12" fmla="*/ 862 w 1108"/>
                <a:gd name="T13" fmla="*/ 236 h 3011"/>
                <a:gd name="T14" fmla="*/ 885 w 1108"/>
                <a:gd name="T15" fmla="*/ 248 h 3011"/>
                <a:gd name="T16" fmla="*/ 939 w 1108"/>
                <a:gd name="T17" fmla="*/ 278 h 3011"/>
                <a:gd name="T18" fmla="*/ 1008 w 1108"/>
                <a:gd name="T19" fmla="*/ 315 h 3011"/>
                <a:gd name="T20" fmla="*/ 1070 w 1108"/>
                <a:gd name="T21" fmla="*/ 349 h 3011"/>
                <a:gd name="T22" fmla="*/ 1105 w 1108"/>
                <a:gd name="T23" fmla="*/ 368 h 3011"/>
                <a:gd name="T24" fmla="*/ 1107 w 1108"/>
                <a:gd name="T25" fmla="*/ 698 h 3011"/>
                <a:gd name="T26" fmla="*/ 1106 w 1108"/>
                <a:gd name="T27" fmla="*/ 755 h 3011"/>
                <a:gd name="T28" fmla="*/ 1103 w 1108"/>
                <a:gd name="T29" fmla="*/ 852 h 3011"/>
                <a:gd name="T30" fmla="*/ 1101 w 1108"/>
                <a:gd name="T31" fmla="*/ 961 h 3011"/>
                <a:gd name="T32" fmla="*/ 1100 w 1108"/>
                <a:gd name="T33" fmla="*/ 1050 h 3011"/>
                <a:gd name="T34" fmla="*/ 1096 w 1108"/>
                <a:gd name="T35" fmla="*/ 1146 h 3011"/>
                <a:gd name="T36" fmla="*/ 1084 w 1108"/>
                <a:gd name="T37" fmla="*/ 1219 h 3011"/>
                <a:gd name="T38" fmla="*/ 1072 w 1108"/>
                <a:gd name="T39" fmla="*/ 1253 h 3011"/>
                <a:gd name="T40" fmla="*/ 1068 w 1108"/>
                <a:gd name="T41" fmla="*/ 1438 h 3011"/>
                <a:gd name="T42" fmla="*/ 1067 w 1108"/>
                <a:gd name="T43" fmla="*/ 1446 h 3011"/>
                <a:gd name="T44" fmla="*/ 1054 w 1108"/>
                <a:gd name="T45" fmla="*/ 2907 h 3011"/>
                <a:gd name="T46" fmla="*/ 991 w 1108"/>
                <a:gd name="T47" fmla="*/ 2982 h 3011"/>
                <a:gd name="T48" fmla="*/ 895 w 1108"/>
                <a:gd name="T49" fmla="*/ 3011 h 3011"/>
                <a:gd name="T50" fmla="*/ 828 w 1108"/>
                <a:gd name="T51" fmla="*/ 2998 h 3011"/>
                <a:gd name="T52" fmla="*/ 753 w 1108"/>
                <a:gd name="T53" fmla="*/ 2936 h 3011"/>
                <a:gd name="T54" fmla="*/ 723 w 1108"/>
                <a:gd name="T55" fmla="*/ 2839 h 3011"/>
                <a:gd name="T56" fmla="*/ 724 w 1108"/>
                <a:gd name="T57" fmla="*/ 1438 h 3011"/>
                <a:gd name="T58" fmla="*/ 698 w 1108"/>
                <a:gd name="T59" fmla="*/ 1446 h 3011"/>
                <a:gd name="T60" fmla="*/ 685 w 1108"/>
                <a:gd name="T61" fmla="*/ 2907 h 3011"/>
                <a:gd name="T62" fmla="*/ 623 w 1108"/>
                <a:gd name="T63" fmla="*/ 2982 h 3011"/>
                <a:gd name="T64" fmla="*/ 527 w 1108"/>
                <a:gd name="T65" fmla="*/ 3011 h 3011"/>
                <a:gd name="T66" fmla="*/ 430 w 1108"/>
                <a:gd name="T67" fmla="*/ 2982 h 3011"/>
                <a:gd name="T68" fmla="*/ 368 w 1108"/>
                <a:gd name="T69" fmla="*/ 2907 h 3011"/>
                <a:gd name="T70" fmla="*/ 355 w 1108"/>
                <a:gd name="T71" fmla="*/ 1446 h 3011"/>
                <a:gd name="T72" fmla="*/ 354 w 1108"/>
                <a:gd name="T73" fmla="*/ 1438 h 3011"/>
                <a:gd name="T74" fmla="*/ 355 w 1108"/>
                <a:gd name="T75" fmla="*/ 1263 h 3011"/>
                <a:gd name="T76" fmla="*/ 327 w 1108"/>
                <a:gd name="T77" fmla="*/ 1093 h 3011"/>
                <a:gd name="T78" fmla="*/ 293 w 1108"/>
                <a:gd name="T79" fmla="*/ 370 h 3011"/>
                <a:gd name="T80" fmla="*/ 230 w 1108"/>
                <a:gd name="T81" fmla="*/ 330 h 3011"/>
                <a:gd name="T82" fmla="*/ 139 w 1108"/>
                <a:gd name="T83" fmla="*/ 278 h 3011"/>
                <a:gd name="T84" fmla="*/ 47 w 1108"/>
                <a:gd name="T85" fmla="*/ 227 h 3011"/>
                <a:gd name="T86" fmla="*/ 42 w 1108"/>
                <a:gd name="T87" fmla="*/ 179 h 3011"/>
                <a:gd name="T88" fmla="*/ 147 w 1108"/>
                <a:gd name="T89" fmla="*/ 82 h 30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108" h="3011">
                  <a:moveTo>
                    <a:pt x="198" y="0"/>
                  </a:moveTo>
                  <a:lnTo>
                    <a:pt x="224" y="16"/>
                  </a:lnTo>
                  <a:lnTo>
                    <a:pt x="253" y="31"/>
                  </a:lnTo>
                  <a:lnTo>
                    <a:pt x="285" y="49"/>
                  </a:lnTo>
                  <a:lnTo>
                    <a:pt x="353" y="6"/>
                  </a:lnTo>
                  <a:lnTo>
                    <a:pt x="376" y="48"/>
                  </a:lnTo>
                  <a:lnTo>
                    <a:pt x="403" y="88"/>
                  </a:lnTo>
                  <a:lnTo>
                    <a:pt x="436" y="123"/>
                  </a:lnTo>
                  <a:lnTo>
                    <a:pt x="472" y="155"/>
                  </a:lnTo>
                  <a:lnTo>
                    <a:pt x="511" y="181"/>
                  </a:lnTo>
                  <a:lnTo>
                    <a:pt x="555" y="204"/>
                  </a:lnTo>
                  <a:lnTo>
                    <a:pt x="504" y="232"/>
                  </a:lnTo>
                  <a:lnTo>
                    <a:pt x="506" y="257"/>
                  </a:lnTo>
                  <a:lnTo>
                    <a:pt x="504" y="281"/>
                  </a:lnTo>
                  <a:lnTo>
                    <a:pt x="542" y="260"/>
                  </a:lnTo>
                  <a:lnTo>
                    <a:pt x="579" y="242"/>
                  </a:lnTo>
                  <a:lnTo>
                    <a:pt x="611" y="226"/>
                  </a:lnTo>
                  <a:lnTo>
                    <a:pt x="657" y="236"/>
                  </a:lnTo>
                  <a:lnTo>
                    <a:pt x="733" y="307"/>
                  </a:lnTo>
                  <a:lnTo>
                    <a:pt x="790" y="255"/>
                  </a:lnTo>
                  <a:lnTo>
                    <a:pt x="862" y="236"/>
                  </a:lnTo>
                  <a:lnTo>
                    <a:pt x="865" y="237"/>
                  </a:lnTo>
                  <a:lnTo>
                    <a:pt x="872" y="242"/>
                  </a:lnTo>
                  <a:lnTo>
                    <a:pt x="885" y="248"/>
                  </a:lnTo>
                  <a:lnTo>
                    <a:pt x="900" y="257"/>
                  </a:lnTo>
                  <a:lnTo>
                    <a:pt x="918" y="267"/>
                  </a:lnTo>
                  <a:lnTo>
                    <a:pt x="939" y="278"/>
                  </a:lnTo>
                  <a:lnTo>
                    <a:pt x="962" y="290"/>
                  </a:lnTo>
                  <a:lnTo>
                    <a:pt x="985" y="303"/>
                  </a:lnTo>
                  <a:lnTo>
                    <a:pt x="1008" y="315"/>
                  </a:lnTo>
                  <a:lnTo>
                    <a:pt x="1030" y="327"/>
                  </a:lnTo>
                  <a:lnTo>
                    <a:pt x="1050" y="339"/>
                  </a:lnTo>
                  <a:lnTo>
                    <a:pt x="1070" y="349"/>
                  </a:lnTo>
                  <a:lnTo>
                    <a:pt x="1085" y="358"/>
                  </a:lnTo>
                  <a:lnTo>
                    <a:pt x="1097" y="365"/>
                  </a:lnTo>
                  <a:lnTo>
                    <a:pt x="1105" y="368"/>
                  </a:lnTo>
                  <a:lnTo>
                    <a:pt x="1108" y="371"/>
                  </a:lnTo>
                  <a:lnTo>
                    <a:pt x="1107" y="695"/>
                  </a:lnTo>
                  <a:lnTo>
                    <a:pt x="1107" y="698"/>
                  </a:lnTo>
                  <a:lnTo>
                    <a:pt x="1107" y="711"/>
                  </a:lnTo>
                  <a:lnTo>
                    <a:pt x="1107" y="730"/>
                  </a:lnTo>
                  <a:lnTo>
                    <a:pt x="1106" y="755"/>
                  </a:lnTo>
                  <a:lnTo>
                    <a:pt x="1105" y="784"/>
                  </a:lnTo>
                  <a:lnTo>
                    <a:pt x="1105" y="817"/>
                  </a:lnTo>
                  <a:lnTo>
                    <a:pt x="1103" y="852"/>
                  </a:lnTo>
                  <a:lnTo>
                    <a:pt x="1102" y="888"/>
                  </a:lnTo>
                  <a:lnTo>
                    <a:pt x="1102" y="926"/>
                  </a:lnTo>
                  <a:lnTo>
                    <a:pt x="1101" y="961"/>
                  </a:lnTo>
                  <a:lnTo>
                    <a:pt x="1100" y="993"/>
                  </a:lnTo>
                  <a:lnTo>
                    <a:pt x="1100" y="1024"/>
                  </a:lnTo>
                  <a:lnTo>
                    <a:pt x="1100" y="1050"/>
                  </a:lnTo>
                  <a:lnTo>
                    <a:pt x="1100" y="1070"/>
                  </a:lnTo>
                  <a:lnTo>
                    <a:pt x="1099" y="1111"/>
                  </a:lnTo>
                  <a:lnTo>
                    <a:pt x="1096" y="1146"/>
                  </a:lnTo>
                  <a:lnTo>
                    <a:pt x="1093" y="1176"/>
                  </a:lnTo>
                  <a:lnTo>
                    <a:pt x="1089" y="1200"/>
                  </a:lnTo>
                  <a:lnTo>
                    <a:pt x="1084" y="1219"/>
                  </a:lnTo>
                  <a:lnTo>
                    <a:pt x="1079" y="1235"/>
                  </a:lnTo>
                  <a:lnTo>
                    <a:pt x="1076" y="1246"/>
                  </a:lnTo>
                  <a:lnTo>
                    <a:pt x="1072" y="1253"/>
                  </a:lnTo>
                  <a:lnTo>
                    <a:pt x="1070" y="1257"/>
                  </a:lnTo>
                  <a:lnTo>
                    <a:pt x="1070" y="1258"/>
                  </a:lnTo>
                  <a:lnTo>
                    <a:pt x="1068" y="1438"/>
                  </a:lnTo>
                  <a:lnTo>
                    <a:pt x="1067" y="1438"/>
                  </a:lnTo>
                  <a:lnTo>
                    <a:pt x="1067" y="1442"/>
                  </a:lnTo>
                  <a:lnTo>
                    <a:pt x="1067" y="1446"/>
                  </a:lnTo>
                  <a:lnTo>
                    <a:pt x="1067" y="2839"/>
                  </a:lnTo>
                  <a:lnTo>
                    <a:pt x="1064" y="2874"/>
                  </a:lnTo>
                  <a:lnTo>
                    <a:pt x="1054" y="2907"/>
                  </a:lnTo>
                  <a:lnTo>
                    <a:pt x="1038" y="2936"/>
                  </a:lnTo>
                  <a:lnTo>
                    <a:pt x="1018" y="2961"/>
                  </a:lnTo>
                  <a:lnTo>
                    <a:pt x="991" y="2982"/>
                  </a:lnTo>
                  <a:lnTo>
                    <a:pt x="962" y="2998"/>
                  </a:lnTo>
                  <a:lnTo>
                    <a:pt x="931" y="3008"/>
                  </a:lnTo>
                  <a:lnTo>
                    <a:pt x="895" y="3011"/>
                  </a:lnTo>
                  <a:lnTo>
                    <a:pt x="895" y="3011"/>
                  </a:lnTo>
                  <a:lnTo>
                    <a:pt x="860" y="3008"/>
                  </a:lnTo>
                  <a:lnTo>
                    <a:pt x="828" y="2998"/>
                  </a:lnTo>
                  <a:lnTo>
                    <a:pt x="799" y="2982"/>
                  </a:lnTo>
                  <a:lnTo>
                    <a:pt x="773" y="2961"/>
                  </a:lnTo>
                  <a:lnTo>
                    <a:pt x="753" y="2936"/>
                  </a:lnTo>
                  <a:lnTo>
                    <a:pt x="737" y="2907"/>
                  </a:lnTo>
                  <a:lnTo>
                    <a:pt x="726" y="2874"/>
                  </a:lnTo>
                  <a:lnTo>
                    <a:pt x="723" y="2839"/>
                  </a:lnTo>
                  <a:lnTo>
                    <a:pt x="724" y="1446"/>
                  </a:lnTo>
                  <a:lnTo>
                    <a:pt x="724" y="1442"/>
                  </a:lnTo>
                  <a:lnTo>
                    <a:pt x="724" y="1438"/>
                  </a:lnTo>
                  <a:lnTo>
                    <a:pt x="698" y="1438"/>
                  </a:lnTo>
                  <a:lnTo>
                    <a:pt x="698" y="1442"/>
                  </a:lnTo>
                  <a:lnTo>
                    <a:pt x="698" y="1446"/>
                  </a:lnTo>
                  <a:lnTo>
                    <a:pt x="698" y="2839"/>
                  </a:lnTo>
                  <a:lnTo>
                    <a:pt x="695" y="2874"/>
                  </a:lnTo>
                  <a:lnTo>
                    <a:pt x="685" y="2907"/>
                  </a:lnTo>
                  <a:lnTo>
                    <a:pt x="669" y="2936"/>
                  </a:lnTo>
                  <a:lnTo>
                    <a:pt x="649" y="2961"/>
                  </a:lnTo>
                  <a:lnTo>
                    <a:pt x="623" y="2982"/>
                  </a:lnTo>
                  <a:lnTo>
                    <a:pt x="593" y="2998"/>
                  </a:lnTo>
                  <a:lnTo>
                    <a:pt x="562" y="3008"/>
                  </a:lnTo>
                  <a:lnTo>
                    <a:pt x="527" y="3011"/>
                  </a:lnTo>
                  <a:lnTo>
                    <a:pt x="492" y="3008"/>
                  </a:lnTo>
                  <a:lnTo>
                    <a:pt x="460" y="2998"/>
                  </a:lnTo>
                  <a:lnTo>
                    <a:pt x="430" y="2982"/>
                  </a:lnTo>
                  <a:lnTo>
                    <a:pt x="405" y="2961"/>
                  </a:lnTo>
                  <a:lnTo>
                    <a:pt x="384" y="2936"/>
                  </a:lnTo>
                  <a:lnTo>
                    <a:pt x="368" y="2907"/>
                  </a:lnTo>
                  <a:lnTo>
                    <a:pt x="359" y="2874"/>
                  </a:lnTo>
                  <a:lnTo>
                    <a:pt x="355" y="2839"/>
                  </a:lnTo>
                  <a:lnTo>
                    <a:pt x="355" y="1446"/>
                  </a:lnTo>
                  <a:lnTo>
                    <a:pt x="355" y="1442"/>
                  </a:lnTo>
                  <a:lnTo>
                    <a:pt x="355" y="1438"/>
                  </a:lnTo>
                  <a:lnTo>
                    <a:pt x="354" y="1438"/>
                  </a:lnTo>
                  <a:lnTo>
                    <a:pt x="354" y="1280"/>
                  </a:lnTo>
                  <a:lnTo>
                    <a:pt x="355" y="1271"/>
                  </a:lnTo>
                  <a:lnTo>
                    <a:pt x="355" y="1263"/>
                  </a:lnTo>
                  <a:lnTo>
                    <a:pt x="339" y="1209"/>
                  </a:lnTo>
                  <a:lnTo>
                    <a:pt x="331" y="1152"/>
                  </a:lnTo>
                  <a:lnTo>
                    <a:pt x="327" y="1093"/>
                  </a:lnTo>
                  <a:lnTo>
                    <a:pt x="327" y="385"/>
                  </a:lnTo>
                  <a:lnTo>
                    <a:pt x="310" y="379"/>
                  </a:lnTo>
                  <a:lnTo>
                    <a:pt x="293" y="370"/>
                  </a:lnTo>
                  <a:lnTo>
                    <a:pt x="278" y="359"/>
                  </a:lnTo>
                  <a:lnTo>
                    <a:pt x="256" y="346"/>
                  </a:lnTo>
                  <a:lnTo>
                    <a:pt x="230" y="330"/>
                  </a:lnTo>
                  <a:lnTo>
                    <a:pt x="201" y="313"/>
                  </a:lnTo>
                  <a:lnTo>
                    <a:pt x="171" y="296"/>
                  </a:lnTo>
                  <a:lnTo>
                    <a:pt x="139" y="278"/>
                  </a:lnTo>
                  <a:lnTo>
                    <a:pt x="107" y="260"/>
                  </a:lnTo>
                  <a:lnTo>
                    <a:pt x="76" y="243"/>
                  </a:lnTo>
                  <a:lnTo>
                    <a:pt x="47" y="227"/>
                  </a:lnTo>
                  <a:lnTo>
                    <a:pt x="21" y="213"/>
                  </a:lnTo>
                  <a:lnTo>
                    <a:pt x="0" y="202"/>
                  </a:lnTo>
                  <a:lnTo>
                    <a:pt x="42" y="179"/>
                  </a:lnTo>
                  <a:lnTo>
                    <a:pt x="81" y="151"/>
                  </a:lnTo>
                  <a:lnTo>
                    <a:pt x="116" y="118"/>
                  </a:lnTo>
                  <a:lnTo>
                    <a:pt x="147" y="82"/>
                  </a:lnTo>
                  <a:lnTo>
                    <a:pt x="175" y="43"/>
                  </a:lnTo>
                  <a:lnTo>
                    <a:pt x="198" y="0"/>
                  </a:lnTo>
                  <a:close/>
                </a:path>
              </a:pathLst>
            </a:custGeom>
            <a:grpFill/>
            <a:ln w="0">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Raleway" panose="020B0503030101060003" pitchFamily="34" charset="0"/>
              </a:endParaRPr>
            </a:p>
          </p:txBody>
        </p:sp>
        <p:sp>
          <p:nvSpPr>
            <p:cNvPr id="22" name="Freeform 31">
              <a:extLst>
                <a:ext uri="{FF2B5EF4-FFF2-40B4-BE49-F238E27FC236}">
                  <a16:creationId xmlns:a16="http://schemas.microsoft.com/office/drawing/2014/main" id="{8F82F5F1-4260-4033-97D7-57BB4E1D592C}"/>
                </a:ext>
              </a:extLst>
            </p:cNvPr>
            <p:cNvSpPr>
              <a:spLocks/>
            </p:cNvSpPr>
            <p:nvPr/>
          </p:nvSpPr>
          <p:spPr bwMode="auto">
            <a:xfrm>
              <a:off x="5977" y="2290"/>
              <a:ext cx="294" cy="623"/>
            </a:xfrm>
            <a:custGeom>
              <a:avLst/>
              <a:gdLst>
                <a:gd name="T0" fmla="*/ 193 w 1471"/>
                <a:gd name="T1" fmla="*/ 7 h 3116"/>
                <a:gd name="T2" fmla="*/ 261 w 1471"/>
                <a:gd name="T3" fmla="*/ 57 h 3116"/>
                <a:gd name="T4" fmla="*/ 307 w 1471"/>
                <a:gd name="T5" fmla="*/ 139 h 3116"/>
                <a:gd name="T6" fmla="*/ 378 w 1471"/>
                <a:gd name="T7" fmla="*/ 253 h 3116"/>
                <a:gd name="T8" fmla="*/ 473 w 1471"/>
                <a:gd name="T9" fmla="*/ 376 h 3116"/>
                <a:gd name="T10" fmla="*/ 585 w 1471"/>
                <a:gd name="T11" fmla="*/ 486 h 3116"/>
                <a:gd name="T12" fmla="*/ 635 w 1471"/>
                <a:gd name="T13" fmla="*/ 502 h 3116"/>
                <a:gd name="T14" fmla="*/ 730 w 1471"/>
                <a:gd name="T15" fmla="*/ 489 h 3116"/>
                <a:gd name="T16" fmla="*/ 757 w 1471"/>
                <a:gd name="T17" fmla="*/ 476 h 3116"/>
                <a:gd name="T18" fmla="*/ 822 w 1471"/>
                <a:gd name="T19" fmla="*/ 445 h 3116"/>
                <a:gd name="T20" fmla="*/ 912 w 1471"/>
                <a:gd name="T21" fmla="*/ 404 h 3116"/>
                <a:gd name="T22" fmla="*/ 1008 w 1471"/>
                <a:gd name="T23" fmla="*/ 360 h 3116"/>
                <a:gd name="T24" fmla="*/ 1155 w 1471"/>
                <a:gd name="T25" fmla="*/ 351 h 3116"/>
                <a:gd name="T26" fmla="*/ 1201 w 1471"/>
                <a:gd name="T27" fmla="*/ 337 h 3116"/>
                <a:gd name="T28" fmla="*/ 1234 w 1471"/>
                <a:gd name="T29" fmla="*/ 359 h 3116"/>
                <a:gd name="T30" fmla="*/ 1297 w 1471"/>
                <a:gd name="T31" fmla="*/ 399 h 3116"/>
                <a:gd name="T32" fmla="*/ 1371 w 1471"/>
                <a:gd name="T33" fmla="*/ 441 h 3116"/>
                <a:gd name="T34" fmla="*/ 1438 w 1471"/>
                <a:gd name="T35" fmla="*/ 473 h 3116"/>
                <a:gd name="T36" fmla="*/ 1471 w 1471"/>
                <a:gd name="T37" fmla="*/ 1197 h 3116"/>
                <a:gd name="T38" fmla="*/ 1444 w 1471"/>
                <a:gd name="T39" fmla="*/ 1369 h 3116"/>
                <a:gd name="T40" fmla="*/ 1445 w 1471"/>
                <a:gd name="T41" fmla="*/ 1544 h 3116"/>
                <a:gd name="T42" fmla="*/ 1445 w 1471"/>
                <a:gd name="T43" fmla="*/ 1551 h 3116"/>
                <a:gd name="T44" fmla="*/ 1432 w 1471"/>
                <a:gd name="T45" fmla="*/ 3011 h 3116"/>
                <a:gd name="T46" fmla="*/ 1369 w 1471"/>
                <a:gd name="T47" fmla="*/ 3087 h 3116"/>
                <a:gd name="T48" fmla="*/ 1272 w 1471"/>
                <a:gd name="T49" fmla="*/ 3116 h 3116"/>
                <a:gd name="T50" fmla="*/ 1176 w 1471"/>
                <a:gd name="T51" fmla="*/ 3087 h 3116"/>
                <a:gd name="T52" fmla="*/ 1114 w 1471"/>
                <a:gd name="T53" fmla="*/ 3011 h 3116"/>
                <a:gd name="T54" fmla="*/ 1100 w 1471"/>
                <a:gd name="T55" fmla="*/ 1551 h 3116"/>
                <a:gd name="T56" fmla="*/ 1076 w 1471"/>
                <a:gd name="T57" fmla="*/ 1547 h 3116"/>
                <a:gd name="T58" fmla="*/ 1072 w 1471"/>
                <a:gd name="T59" fmla="*/ 2980 h 3116"/>
                <a:gd name="T60" fmla="*/ 1025 w 1471"/>
                <a:gd name="T61" fmla="*/ 3067 h 3116"/>
                <a:gd name="T62" fmla="*/ 938 w 1471"/>
                <a:gd name="T63" fmla="*/ 3113 h 3116"/>
                <a:gd name="T64" fmla="*/ 837 w 1471"/>
                <a:gd name="T65" fmla="*/ 3103 h 3116"/>
                <a:gd name="T66" fmla="*/ 762 w 1471"/>
                <a:gd name="T67" fmla="*/ 3042 h 3116"/>
                <a:gd name="T68" fmla="*/ 732 w 1471"/>
                <a:gd name="T69" fmla="*/ 2945 h 3116"/>
                <a:gd name="T70" fmla="*/ 733 w 1471"/>
                <a:gd name="T71" fmla="*/ 1544 h 3116"/>
                <a:gd name="T72" fmla="*/ 729 w 1471"/>
                <a:gd name="T73" fmla="*/ 1363 h 3116"/>
                <a:gd name="T74" fmla="*/ 719 w 1471"/>
                <a:gd name="T75" fmla="*/ 1340 h 3116"/>
                <a:gd name="T76" fmla="*/ 706 w 1471"/>
                <a:gd name="T77" fmla="*/ 1280 h 3116"/>
                <a:gd name="T78" fmla="*/ 699 w 1471"/>
                <a:gd name="T79" fmla="*/ 1175 h 3116"/>
                <a:gd name="T80" fmla="*/ 698 w 1471"/>
                <a:gd name="T81" fmla="*/ 1086 h 3116"/>
                <a:gd name="T82" fmla="*/ 695 w 1471"/>
                <a:gd name="T83" fmla="*/ 965 h 3116"/>
                <a:gd name="T84" fmla="*/ 693 w 1471"/>
                <a:gd name="T85" fmla="*/ 855 h 3116"/>
                <a:gd name="T86" fmla="*/ 579 w 1471"/>
                <a:gd name="T87" fmla="*/ 821 h 3116"/>
                <a:gd name="T88" fmla="*/ 433 w 1471"/>
                <a:gd name="T89" fmla="*/ 736 h 3116"/>
                <a:gd name="T90" fmla="*/ 306 w 1471"/>
                <a:gd name="T91" fmla="*/ 625 h 3116"/>
                <a:gd name="T92" fmla="*/ 200 w 1471"/>
                <a:gd name="T93" fmla="*/ 503 h 3116"/>
                <a:gd name="T94" fmla="*/ 115 w 1471"/>
                <a:gd name="T95" fmla="*/ 383 h 3116"/>
                <a:gd name="T96" fmla="*/ 54 w 1471"/>
                <a:gd name="T97" fmla="*/ 284 h 3116"/>
                <a:gd name="T98" fmla="*/ 21 w 1471"/>
                <a:gd name="T99" fmla="*/ 220 h 3116"/>
                <a:gd name="T100" fmla="*/ 0 w 1471"/>
                <a:gd name="T101" fmla="*/ 154 h 3116"/>
                <a:gd name="T102" fmla="*/ 19 w 1471"/>
                <a:gd name="T103" fmla="*/ 73 h 3116"/>
                <a:gd name="T104" fmla="*/ 82 w 1471"/>
                <a:gd name="T105" fmla="*/ 15 h 3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471" h="3116">
                  <a:moveTo>
                    <a:pt x="138" y="0"/>
                  </a:moveTo>
                  <a:lnTo>
                    <a:pt x="166" y="1"/>
                  </a:lnTo>
                  <a:lnTo>
                    <a:pt x="193" y="7"/>
                  </a:lnTo>
                  <a:lnTo>
                    <a:pt x="219" y="20"/>
                  </a:lnTo>
                  <a:lnTo>
                    <a:pt x="242" y="36"/>
                  </a:lnTo>
                  <a:lnTo>
                    <a:pt x="261" y="57"/>
                  </a:lnTo>
                  <a:lnTo>
                    <a:pt x="277" y="82"/>
                  </a:lnTo>
                  <a:lnTo>
                    <a:pt x="290" y="108"/>
                  </a:lnTo>
                  <a:lnTo>
                    <a:pt x="307" y="139"/>
                  </a:lnTo>
                  <a:lnTo>
                    <a:pt x="328" y="174"/>
                  </a:lnTo>
                  <a:lnTo>
                    <a:pt x="352" y="213"/>
                  </a:lnTo>
                  <a:lnTo>
                    <a:pt x="378" y="253"/>
                  </a:lnTo>
                  <a:lnTo>
                    <a:pt x="407" y="294"/>
                  </a:lnTo>
                  <a:lnTo>
                    <a:pt x="439" y="335"/>
                  </a:lnTo>
                  <a:lnTo>
                    <a:pt x="473" y="376"/>
                  </a:lnTo>
                  <a:lnTo>
                    <a:pt x="509" y="416"/>
                  </a:lnTo>
                  <a:lnTo>
                    <a:pt x="545" y="452"/>
                  </a:lnTo>
                  <a:lnTo>
                    <a:pt x="585" y="486"/>
                  </a:lnTo>
                  <a:lnTo>
                    <a:pt x="585" y="486"/>
                  </a:lnTo>
                  <a:lnTo>
                    <a:pt x="609" y="496"/>
                  </a:lnTo>
                  <a:lnTo>
                    <a:pt x="635" y="502"/>
                  </a:lnTo>
                  <a:lnTo>
                    <a:pt x="660" y="504"/>
                  </a:lnTo>
                  <a:lnTo>
                    <a:pt x="696" y="501"/>
                  </a:lnTo>
                  <a:lnTo>
                    <a:pt x="730" y="489"/>
                  </a:lnTo>
                  <a:lnTo>
                    <a:pt x="734" y="487"/>
                  </a:lnTo>
                  <a:lnTo>
                    <a:pt x="742" y="484"/>
                  </a:lnTo>
                  <a:lnTo>
                    <a:pt x="757" y="476"/>
                  </a:lnTo>
                  <a:lnTo>
                    <a:pt x="775" y="468"/>
                  </a:lnTo>
                  <a:lnTo>
                    <a:pt x="797" y="457"/>
                  </a:lnTo>
                  <a:lnTo>
                    <a:pt x="822" y="445"/>
                  </a:lnTo>
                  <a:lnTo>
                    <a:pt x="851" y="433"/>
                  </a:lnTo>
                  <a:lnTo>
                    <a:pt x="880" y="418"/>
                  </a:lnTo>
                  <a:lnTo>
                    <a:pt x="912" y="404"/>
                  </a:lnTo>
                  <a:lnTo>
                    <a:pt x="944" y="389"/>
                  </a:lnTo>
                  <a:lnTo>
                    <a:pt x="976" y="375"/>
                  </a:lnTo>
                  <a:lnTo>
                    <a:pt x="1008" y="360"/>
                  </a:lnTo>
                  <a:lnTo>
                    <a:pt x="1065" y="412"/>
                  </a:lnTo>
                  <a:lnTo>
                    <a:pt x="1141" y="354"/>
                  </a:lnTo>
                  <a:lnTo>
                    <a:pt x="1155" y="351"/>
                  </a:lnTo>
                  <a:lnTo>
                    <a:pt x="1170" y="346"/>
                  </a:lnTo>
                  <a:lnTo>
                    <a:pt x="1187" y="341"/>
                  </a:lnTo>
                  <a:lnTo>
                    <a:pt x="1201" y="337"/>
                  </a:lnTo>
                  <a:lnTo>
                    <a:pt x="1208" y="341"/>
                  </a:lnTo>
                  <a:lnTo>
                    <a:pt x="1219" y="348"/>
                  </a:lnTo>
                  <a:lnTo>
                    <a:pt x="1234" y="359"/>
                  </a:lnTo>
                  <a:lnTo>
                    <a:pt x="1254" y="370"/>
                  </a:lnTo>
                  <a:lnTo>
                    <a:pt x="1274" y="385"/>
                  </a:lnTo>
                  <a:lnTo>
                    <a:pt x="1297" y="399"/>
                  </a:lnTo>
                  <a:lnTo>
                    <a:pt x="1322" y="414"/>
                  </a:lnTo>
                  <a:lnTo>
                    <a:pt x="1346" y="428"/>
                  </a:lnTo>
                  <a:lnTo>
                    <a:pt x="1371" y="441"/>
                  </a:lnTo>
                  <a:lnTo>
                    <a:pt x="1394" y="455"/>
                  </a:lnTo>
                  <a:lnTo>
                    <a:pt x="1417" y="464"/>
                  </a:lnTo>
                  <a:lnTo>
                    <a:pt x="1438" y="473"/>
                  </a:lnTo>
                  <a:lnTo>
                    <a:pt x="1457" y="476"/>
                  </a:lnTo>
                  <a:lnTo>
                    <a:pt x="1471" y="478"/>
                  </a:lnTo>
                  <a:lnTo>
                    <a:pt x="1471" y="1197"/>
                  </a:lnTo>
                  <a:lnTo>
                    <a:pt x="1468" y="1257"/>
                  </a:lnTo>
                  <a:lnTo>
                    <a:pt x="1459" y="1314"/>
                  </a:lnTo>
                  <a:lnTo>
                    <a:pt x="1444" y="1369"/>
                  </a:lnTo>
                  <a:lnTo>
                    <a:pt x="1444" y="1377"/>
                  </a:lnTo>
                  <a:lnTo>
                    <a:pt x="1445" y="1385"/>
                  </a:lnTo>
                  <a:lnTo>
                    <a:pt x="1445" y="1544"/>
                  </a:lnTo>
                  <a:lnTo>
                    <a:pt x="1444" y="1544"/>
                  </a:lnTo>
                  <a:lnTo>
                    <a:pt x="1445" y="1547"/>
                  </a:lnTo>
                  <a:lnTo>
                    <a:pt x="1445" y="1551"/>
                  </a:lnTo>
                  <a:lnTo>
                    <a:pt x="1445" y="2945"/>
                  </a:lnTo>
                  <a:lnTo>
                    <a:pt x="1441" y="2980"/>
                  </a:lnTo>
                  <a:lnTo>
                    <a:pt x="1432" y="3011"/>
                  </a:lnTo>
                  <a:lnTo>
                    <a:pt x="1415" y="3042"/>
                  </a:lnTo>
                  <a:lnTo>
                    <a:pt x="1394" y="3067"/>
                  </a:lnTo>
                  <a:lnTo>
                    <a:pt x="1369" y="3087"/>
                  </a:lnTo>
                  <a:lnTo>
                    <a:pt x="1340" y="3103"/>
                  </a:lnTo>
                  <a:lnTo>
                    <a:pt x="1307" y="3113"/>
                  </a:lnTo>
                  <a:lnTo>
                    <a:pt x="1272" y="3116"/>
                  </a:lnTo>
                  <a:lnTo>
                    <a:pt x="1238" y="3113"/>
                  </a:lnTo>
                  <a:lnTo>
                    <a:pt x="1205" y="3103"/>
                  </a:lnTo>
                  <a:lnTo>
                    <a:pt x="1176" y="3087"/>
                  </a:lnTo>
                  <a:lnTo>
                    <a:pt x="1151" y="3067"/>
                  </a:lnTo>
                  <a:lnTo>
                    <a:pt x="1129" y="3042"/>
                  </a:lnTo>
                  <a:lnTo>
                    <a:pt x="1114" y="3011"/>
                  </a:lnTo>
                  <a:lnTo>
                    <a:pt x="1104" y="2980"/>
                  </a:lnTo>
                  <a:lnTo>
                    <a:pt x="1100" y="2945"/>
                  </a:lnTo>
                  <a:lnTo>
                    <a:pt x="1100" y="1551"/>
                  </a:lnTo>
                  <a:lnTo>
                    <a:pt x="1101" y="1544"/>
                  </a:lnTo>
                  <a:lnTo>
                    <a:pt x="1075" y="1544"/>
                  </a:lnTo>
                  <a:lnTo>
                    <a:pt x="1076" y="1547"/>
                  </a:lnTo>
                  <a:lnTo>
                    <a:pt x="1076" y="1551"/>
                  </a:lnTo>
                  <a:lnTo>
                    <a:pt x="1076" y="2945"/>
                  </a:lnTo>
                  <a:lnTo>
                    <a:pt x="1072" y="2980"/>
                  </a:lnTo>
                  <a:lnTo>
                    <a:pt x="1063" y="3011"/>
                  </a:lnTo>
                  <a:lnTo>
                    <a:pt x="1047" y="3042"/>
                  </a:lnTo>
                  <a:lnTo>
                    <a:pt x="1025" y="3067"/>
                  </a:lnTo>
                  <a:lnTo>
                    <a:pt x="1000" y="3087"/>
                  </a:lnTo>
                  <a:lnTo>
                    <a:pt x="971" y="3103"/>
                  </a:lnTo>
                  <a:lnTo>
                    <a:pt x="938" y="3113"/>
                  </a:lnTo>
                  <a:lnTo>
                    <a:pt x="904" y="3116"/>
                  </a:lnTo>
                  <a:lnTo>
                    <a:pt x="869" y="3113"/>
                  </a:lnTo>
                  <a:lnTo>
                    <a:pt x="837" y="3103"/>
                  </a:lnTo>
                  <a:lnTo>
                    <a:pt x="808" y="3087"/>
                  </a:lnTo>
                  <a:lnTo>
                    <a:pt x="782" y="3067"/>
                  </a:lnTo>
                  <a:lnTo>
                    <a:pt x="762" y="3042"/>
                  </a:lnTo>
                  <a:lnTo>
                    <a:pt x="745" y="3011"/>
                  </a:lnTo>
                  <a:lnTo>
                    <a:pt x="735" y="2980"/>
                  </a:lnTo>
                  <a:lnTo>
                    <a:pt x="732" y="2945"/>
                  </a:lnTo>
                  <a:lnTo>
                    <a:pt x="732" y="1551"/>
                  </a:lnTo>
                  <a:lnTo>
                    <a:pt x="732" y="1547"/>
                  </a:lnTo>
                  <a:lnTo>
                    <a:pt x="733" y="1544"/>
                  </a:lnTo>
                  <a:lnTo>
                    <a:pt x="730" y="1544"/>
                  </a:lnTo>
                  <a:lnTo>
                    <a:pt x="730" y="1364"/>
                  </a:lnTo>
                  <a:lnTo>
                    <a:pt x="729" y="1363"/>
                  </a:lnTo>
                  <a:lnTo>
                    <a:pt x="727" y="1358"/>
                  </a:lnTo>
                  <a:lnTo>
                    <a:pt x="723" y="1350"/>
                  </a:lnTo>
                  <a:lnTo>
                    <a:pt x="719" y="1340"/>
                  </a:lnTo>
                  <a:lnTo>
                    <a:pt x="715" y="1325"/>
                  </a:lnTo>
                  <a:lnTo>
                    <a:pt x="710" y="1306"/>
                  </a:lnTo>
                  <a:lnTo>
                    <a:pt x="706" y="1280"/>
                  </a:lnTo>
                  <a:lnTo>
                    <a:pt x="702" y="1251"/>
                  </a:lnTo>
                  <a:lnTo>
                    <a:pt x="700" y="1216"/>
                  </a:lnTo>
                  <a:lnTo>
                    <a:pt x="699" y="1175"/>
                  </a:lnTo>
                  <a:lnTo>
                    <a:pt x="699" y="1152"/>
                  </a:lnTo>
                  <a:lnTo>
                    <a:pt x="699" y="1122"/>
                  </a:lnTo>
                  <a:lnTo>
                    <a:pt x="698" y="1086"/>
                  </a:lnTo>
                  <a:lnTo>
                    <a:pt x="698" y="1047"/>
                  </a:lnTo>
                  <a:lnTo>
                    <a:pt x="696" y="1006"/>
                  </a:lnTo>
                  <a:lnTo>
                    <a:pt x="695" y="965"/>
                  </a:lnTo>
                  <a:lnTo>
                    <a:pt x="694" y="925"/>
                  </a:lnTo>
                  <a:lnTo>
                    <a:pt x="694" y="887"/>
                  </a:lnTo>
                  <a:lnTo>
                    <a:pt x="693" y="855"/>
                  </a:lnTo>
                  <a:lnTo>
                    <a:pt x="661" y="849"/>
                  </a:lnTo>
                  <a:lnTo>
                    <a:pt x="631" y="840"/>
                  </a:lnTo>
                  <a:lnTo>
                    <a:pt x="579" y="821"/>
                  </a:lnTo>
                  <a:lnTo>
                    <a:pt x="528" y="797"/>
                  </a:lnTo>
                  <a:lnTo>
                    <a:pt x="480" y="769"/>
                  </a:lnTo>
                  <a:lnTo>
                    <a:pt x="433" y="736"/>
                  </a:lnTo>
                  <a:lnTo>
                    <a:pt x="388" y="703"/>
                  </a:lnTo>
                  <a:lnTo>
                    <a:pt x="346" y="665"/>
                  </a:lnTo>
                  <a:lnTo>
                    <a:pt x="306" y="625"/>
                  </a:lnTo>
                  <a:lnTo>
                    <a:pt x="268" y="585"/>
                  </a:lnTo>
                  <a:lnTo>
                    <a:pt x="232" y="544"/>
                  </a:lnTo>
                  <a:lnTo>
                    <a:pt x="200" y="503"/>
                  </a:lnTo>
                  <a:lnTo>
                    <a:pt x="168" y="462"/>
                  </a:lnTo>
                  <a:lnTo>
                    <a:pt x="140" y="422"/>
                  </a:lnTo>
                  <a:lnTo>
                    <a:pt x="115" y="383"/>
                  </a:lnTo>
                  <a:lnTo>
                    <a:pt x="92" y="348"/>
                  </a:lnTo>
                  <a:lnTo>
                    <a:pt x="71" y="315"/>
                  </a:lnTo>
                  <a:lnTo>
                    <a:pt x="54" y="284"/>
                  </a:lnTo>
                  <a:lnTo>
                    <a:pt x="40" y="259"/>
                  </a:lnTo>
                  <a:lnTo>
                    <a:pt x="29" y="237"/>
                  </a:lnTo>
                  <a:lnTo>
                    <a:pt x="21" y="220"/>
                  </a:lnTo>
                  <a:lnTo>
                    <a:pt x="15" y="209"/>
                  </a:lnTo>
                  <a:lnTo>
                    <a:pt x="5" y="182"/>
                  </a:lnTo>
                  <a:lnTo>
                    <a:pt x="0" y="154"/>
                  </a:lnTo>
                  <a:lnTo>
                    <a:pt x="1" y="125"/>
                  </a:lnTo>
                  <a:lnTo>
                    <a:pt x="8" y="98"/>
                  </a:lnTo>
                  <a:lnTo>
                    <a:pt x="19" y="73"/>
                  </a:lnTo>
                  <a:lnTo>
                    <a:pt x="36" y="50"/>
                  </a:lnTo>
                  <a:lnTo>
                    <a:pt x="57" y="30"/>
                  </a:lnTo>
                  <a:lnTo>
                    <a:pt x="82" y="15"/>
                  </a:lnTo>
                  <a:lnTo>
                    <a:pt x="110" y="5"/>
                  </a:lnTo>
                  <a:lnTo>
                    <a:pt x="138" y="0"/>
                  </a:lnTo>
                  <a:close/>
                </a:path>
              </a:pathLst>
            </a:custGeom>
            <a:grpFill/>
            <a:ln w="0">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Raleway" panose="020B0503030101060003" pitchFamily="34" charset="0"/>
              </a:endParaRPr>
            </a:p>
          </p:txBody>
        </p:sp>
        <p:sp>
          <p:nvSpPr>
            <p:cNvPr id="23" name="Freeform 32">
              <a:extLst>
                <a:ext uri="{FF2B5EF4-FFF2-40B4-BE49-F238E27FC236}">
                  <a16:creationId xmlns:a16="http://schemas.microsoft.com/office/drawing/2014/main" id="{77CD5A08-C4A6-4DC1-8F0A-F77751E408A0}"/>
                </a:ext>
              </a:extLst>
            </p:cNvPr>
            <p:cNvSpPr>
              <a:spLocks/>
            </p:cNvSpPr>
            <p:nvPr/>
          </p:nvSpPr>
          <p:spPr bwMode="auto">
            <a:xfrm>
              <a:off x="6081" y="2320"/>
              <a:ext cx="86" cy="62"/>
            </a:xfrm>
            <a:custGeom>
              <a:avLst/>
              <a:gdLst>
                <a:gd name="T0" fmla="*/ 186 w 431"/>
                <a:gd name="T1" fmla="*/ 0 h 309"/>
                <a:gd name="T2" fmla="*/ 217 w 431"/>
                <a:gd name="T3" fmla="*/ 43 h 309"/>
                <a:gd name="T4" fmla="*/ 252 w 431"/>
                <a:gd name="T5" fmla="*/ 82 h 309"/>
                <a:gd name="T6" fmla="*/ 290 w 431"/>
                <a:gd name="T7" fmla="*/ 116 h 309"/>
                <a:gd name="T8" fmla="*/ 334 w 431"/>
                <a:gd name="T9" fmla="*/ 145 h 309"/>
                <a:gd name="T10" fmla="*/ 381 w 431"/>
                <a:gd name="T11" fmla="*/ 168 h 309"/>
                <a:gd name="T12" fmla="*/ 431 w 431"/>
                <a:gd name="T13" fmla="*/ 186 h 309"/>
                <a:gd name="T14" fmla="*/ 399 w 431"/>
                <a:gd name="T15" fmla="*/ 201 h 309"/>
                <a:gd name="T16" fmla="*/ 368 w 431"/>
                <a:gd name="T17" fmla="*/ 215 h 309"/>
                <a:gd name="T18" fmla="*/ 337 w 431"/>
                <a:gd name="T19" fmla="*/ 228 h 309"/>
                <a:gd name="T20" fmla="*/ 308 w 431"/>
                <a:gd name="T21" fmla="*/ 242 h 309"/>
                <a:gd name="T22" fmla="*/ 282 w 431"/>
                <a:gd name="T23" fmla="*/ 255 h 309"/>
                <a:gd name="T24" fmla="*/ 258 w 431"/>
                <a:gd name="T25" fmla="*/ 266 h 309"/>
                <a:gd name="T26" fmla="*/ 236 w 431"/>
                <a:gd name="T27" fmla="*/ 277 h 309"/>
                <a:gd name="T28" fmla="*/ 218 w 431"/>
                <a:gd name="T29" fmla="*/ 284 h 309"/>
                <a:gd name="T30" fmla="*/ 204 w 431"/>
                <a:gd name="T31" fmla="*/ 291 h 309"/>
                <a:gd name="T32" fmla="*/ 196 w 431"/>
                <a:gd name="T33" fmla="*/ 295 h 309"/>
                <a:gd name="T34" fmla="*/ 192 w 431"/>
                <a:gd name="T35" fmla="*/ 296 h 309"/>
                <a:gd name="T36" fmla="*/ 165 w 431"/>
                <a:gd name="T37" fmla="*/ 306 h 309"/>
                <a:gd name="T38" fmla="*/ 136 w 431"/>
                <a:gd name="T39" fmla="*/ 309 h 309"/>
                <a:gd name="T40" fmla="*/ 110 w 431"/>
                <a:gd name="T41" fmla="*/ 307 h 309"/>
                <a:gd name="T42" fmla="*/ 86 w 431"/>
                <a:gd name="T43" fmla="*/ 300 h 309"/>
                <a:gd name="T44" fmla="*/ 63 w 431"/>
                <a:gd name="T45" fmla="*/ 289 h 309"/>
                <a:gd name="T46" fmla="*/ 44 w 431"/>
                <a:gd name="T47" fmla="*/ 274 h 309"/>
                <a:gd name="T48" fmla="*/ 26 w 431"/>
                <a:gd name="T49" fmla="*/ 255 h 309"/>
                <a:gd name="T50" fmla="*/ 12 w 431"/>
                <a:gd name="T51" fmla="*/ 232 h 309"/>
                <a:gd name="T52" fmla="*/ 4 w 431"/>
                <a:gd name="T53" fmla="*/ 207 h 309"/>
                <a:gd name="T54" fmla="*/ 0 w 431"/>
                <a:gd name="T55" fmla="*/ 180 h 309"/>
                <a:gd name="T56" fmla="*/ 1 w 431"/>
                <a:gd name="T57" fmla="*/ 153 h 309"/>
                <a:gd name="T58" fmla="*/ 7 w 431"/>
                <a:gd name="T59" fmla="*/ 128 h 309"/>
                <a:gd name="T60" fmla="*/ 18 w 431"/>
                <a:gd name="T61" fmla="*/ 105 h 309"/>
                <a:gd name="T62" fmla="*/ 34 w 431"/>
                <a:gd name="T63" fmla="*/ 83 h 309"/>
                <a:gd name="T64" fmla="*/ 53 w 431"/>
                <a:gd name="T65" fmla="*/ 66 h 309"/>
                <a:gd name="T66" fmla="*/ 78 w 431"/>
                <a:gd name="T67" fmla="*/ 52 h 309"/>
                <a:gd name="T68" fmla="*/ 81 w 431"/>
                <a:gd name="T69" fmla="*/ 49 h 309"/>
                <a:gd name="T70" fmla="*/ 91 w 431"/>
                <a:gd name="T71" fmla="*/ 46 h 309"/>
                <a:gd name="T72" fmla="*/ 103 w 431"/>
                <a:gd name="T73" fmla="*/ 40 h 309"/>
                <a:gd name="T74" fmla="*/ 120 w 431"/>
                <a:gd name="T75" fmla="*/ 31 h 309"/>
                <a:gd name="T76" fmla="*/ 139 w 431"/>
                <a:gd name="T77" fmla="*/ 23 h 309"/>
                <a:gd name="T78" fmla="*/ 162 w 431"/>
                <a:gd name="T79" fmla="*/ 12 h 309"/>
                <a:gd name="T80" fmla="*/ 186 w 431"/>
                <a:gd name="T81" fmla="*/ 0 h 3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31" h="309">
                  <a:moveTo>
                    <a:pt x="186" y="0"/>
                  </a:moveTo>
                  <a:lnTo>
                    <a:pt x="217" y="43"/>
                  </a:lnTo>
                  <a:lnTo>
                    <a:pt x="252" y="82"/>
                  </a:lnTo>
                  <a:lnTo>
                    <a:pt x="290" y="116"/>
                  </a:lnTo>
                  <a:lnTo>
                    <a:pt x="334" y="145"/>
                  </a:lnTo>
                  <a:lnTo>
                    <a:pt x="381" y="168"/>
                  </a:lnTo>
                  <a:lnTo>
                    <a:pt x="431" y="186"/>
                  </a:lnTo>
                  <a:lnTo>
                    <a:pt x="399" y="201"/>
                  </a:lnTo>
                  <a:lnTo>
                    <a:pt x="368" y="215"/>
                  </a:lnTo>
                  <a:lnTo>
                    <a:pt x="337" y="228"/>
                  </a:lnTo>
                  <a:lnTo>
                    <a:pt x="308" y="242"/>
                  </a:lnTo>
                  <a:lnTo>
                    <a:pt x="282" y="255"/>
                  </a:lnTo>
                  <a:lnTo>
                    <a:pt x="258" y="266"/>
                  </a:lnTo>
                  <a:lnTo>
                    <a:pt x="236" y="277"/>
                  </a:lnTo>
                  <a:lnTo>
                    <a:pt x="218" y="284"/>
                  </a:lnTo>
                  <a:lnTo>
                    <a:pt x="204" y="291"/>
                  </a:lnTo>
                  <a:lnTo>
                    <a:pt x="196" y="295"/>
                  </a:lnTo>
                  <a:lnTo>
                    <a:pt x="192" y="296"/>
                  </a:lnTo>
                  <a:lnTo>
                    <a:pt x="165" y="306"/>
                  </a:lnTo>
                  <a:lnTo>
                    <a:pt x="136" y="309"/>
                  </a:lnTo>
                  <a:lnTo>
                    <a:pt x="110" y="307"/>
                  </a:lnTo>
                  <a:lnTo>
                    <a:pt x="86" y="300"/>
                  </a:lnTo>
                  <a:lnTo>
                    <a:pt x="63" y="289"/>
                  </a:lnTo>
                  <a:lnTo>
                    <a:pt x="44" y="274"/>
                  </a:lnTo>
                  <a:lnTo>
                    <a:pt x="26" y="255"/>
                  </a:lnTo>
                  <a:lnTo>
                    <a:pt x="12" y="232"/>
                  </a:lnTo>
                  <a:lnTo>
                    <a:pt x="4" y="207"/>
                  </a:lnTo>
                  <a:lnTo>
                    <a:pt x="0" y="180"/>
                  </a:lnTo>
                  <a:lnTo>
                    <a:pt x="1" y="153"/>
                  </a:lnTo>
                  <a:lnTo>
                    <a:pt x="7" y="128"/>
                  </a:lnTo>
                  <a:lnTo>
                    <a:pt x="18" y="105"/>
                  </a:lnTo>
                  <a:lnTo>
                    <a:pt x="34" y="83"/>
                  </a:lnTo>
                  <a:lnTo>
                    <a:pt x="53" y="66"/>
                  </a:lnTo>
                  <a:lnTo>
                    <a:pt x="78" y="52"/>
                  </a:lnTo>
                  <a:lnTo>
                    <a:pt x="81" y="49"/>
                  </a:lnTo>
                  <a:lnTo>
                    <a:pt x="91" y="46"/>
                  </a:lnTo>
                  <a:lnTo>
                    <a:pt x="103" y="40"/>
                  </a:lnTo>
                  <a:lnTo>
                    <a:pt x="120" y="31"/>
                  </a:lnTo>
                  <a:lnTo>
                    <a:pt x="139" y="23"/>
                  </a:lnTo>
                  <a:lnTo>
                    <a:pt x="162" y="12"/>
                  </a:lnTo>
                  <a:lnTo>
                    <a:pt x="186" y="0"/>
                  </a:lnTo>
                  <a:close/>
                </a:path>
              </a:pathLst>
            </a:custGeom>
            <a:grpFill/>
            <a:ln w="0">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Raleway" panose="020B0503030101060003" pitchFamily="34" charset="0"/>
              </a:endParaRPr>
            </a:p>
          </p:txBody>
        </p:sp>
        <p:sp>
          <p:nvSpPr>
            <p:cNvPr id="24" name="Freeform 29">
              <a:extLst>
                <a:ext uri="{FF2B5EF4-FFF2-40B4-BE49-F238E27FC236}">
                  <a16:creationId xmlns:a16="http://schemas.microsoft.com/office/drawing/2014/main" id="{7A25E55D-D70C-419E-9C34-ACECAFE7D1D8}"/>
                </a:ext>
              </a:extLst>
            </p:cNvPr>
            <p:cNvSpPr>
              <a:spLocks/>
            </p:cNvSpPr>
            <p:nvPr/>
          </p:nvSpPr>
          <p:spPr bwMode="auto">
            <a:xfrm>
              <a:off x="6297" y="2203"/>
              <a:ext cx="150" cy="150"/>
            </a:xfrm>
            <a:custGeom>
              <a:avLst/>
              <a:gdLst>
                <a:gd name="T0" fmla="*/ 374 w 749"/>
                <a:gd name="T1" fmla="*/ 0 h 750"/>
                <a:gd name="T2" fmla="*/ 374 w 749"/>
                <a:gd name="T3" fmla="*/ 0 h 750"/>
                <a:gd name="T4" fmla="*/ 425 w 749"/>
                <a:gd name="T5" fmla="*/ 4 h 750"/>
                <a:gd name="T6" fmla="*/ 474 w 749"/>
                <a:gd name="T7" fmla="*/ 14 h 750"/>
                <a:gd name="T8" fmla="*/ 521 w 749"/>
                <a:gd name="T9" fmla="*/ 29 h 750"/>
                <a:gd name="T10" fmla="*/ 563 w 749"/>
                <a:gd name="T11" fmla="*/ 51 h 750"/>
                <a:gd name="T12" fmla="*/ 603 w 749"/>
                <a:gd name="T13" fmla="*/ 78 h 750"/>
                <a:gd name="T14" fmla="*/ 639 w 749"/>
                <a:gd name="T15" fmla="*/ 110 h 750"/>
                <a:gd name="T16" fmla="*/ 671 w 749"/>
                <a:gd name="T17" fmla="*/ 146 h 750"/>
                <a:gd name="T18" fmla="*/ 698 w 749"/>
                <a:gd name="T19" fmla="*/ 185 h 750"/>
                <a:gd name="T20" fmla="*/ 720 w 749"/>
                <a:gd name="T21" fmla="*/ 229 h 750"/>
                <a:gd name="T22" fmla="*/ 736 w 749"/>
                <a:gd name="T23" fmla="*/ 275 h 750"/>
                <a:gd name="T24" fmla="*/ 746 w 749"/>
                <a:gd name="T25" fmla="*/ 324 h 750"/>
                <a:gd name="T26" fmla="*/ 749 w 749"/>
                <a:gd name="T27" fmla="*/ 375 h 750"/>
                <a:gd name="T28" fmla="*/ 746 w 749"/>
                <a:gd name="T29" fmla="*/ 426 h 750"/>
                <a:gd name="T30" fmla="*/ 736 w 749"/>
                <a:gd name="T31" fmla="*/ 474 h 750"/>
                <a:gd name="T32" fmla="*/ 720 w 749"/>
                <a:gd name="T33" fmla="*/ 521 h 750"/>
                <a:gd name="T34" fmla="*/ 698 w 749"/>
                <a:gd name="T35" fmla="*/ 565 h 750"/>
                <a:gd name="T36" fmla="*/ 671 w 749"/>
                <a:gd name="T37" fmla="*/ 605 h 750"/>
                <a:gd name="T38" fmla="*/ 639 w 749"/>
                <a:gd name="T39" fmla="*/ 640 h 750"/>
                <a:gd name="T40" fmla="*/ 603 w 749"/>
                <a:gd name="T41" fmla="*/ 673 h 750"/>
                <a:gd name="T42" fmla="*/ 563 w 749"/>
                <a:gd name="T43" fmla="*/ 699 h 750"/>
                <a:gd name="T44" fmla="*/ 521 w 749"/>
                <a:gd name="T45" fmla="*/ 721 h 750"/>
                <a:gd name="T46" fmla="*/ 474 w 749"/>
                <a:gd name="T47" fmla="*/ 737 h 750"/>
                <a:gd name="T48" fmla="*/ 425 w 749"/>
                <a:gd name="T49" fmla="*/ 746 h 750"/>
                <a:gd name="T50" fmla="*/ 374 w 749"/>
                <a:gd name="T51" fmla="*/ 750 h 750"/>
                <a:gd name="T52" fmla="*/ 324 w 749"/>
                <a:gd name="T53" fmla="*/ 746 h 750"/>
                <a:gd name="T54" fmla="*/ 274 w 749"/>
                <a:gd name="T55" fmla="*/ 737 h 750"/>
                <a:gd name="T56" fmla="*/ 228 w 749"/>
                <a:gd name="T57" fmla="*/ 721 h 750"/>
                <a:gd name="T58" fmla="*/ 185 w 749"/>
                <a:gd name="T59" fmla="*/ 699 h 750"/>
                <a:gd name="T60" fmla="*/ 145 w 749"/>
                <a:gd name="T61" fmla="*/ 673 h 750"/>
                <a:gd name="T62" fmla="*/ 108 w 749"/>
                <a:gd name="T63" fmla="*/ 640 h 750"/>
                <a:gd name="T64" fmla="*/ 77 w 749"/>
                <a:gd name="T65" fmla="*/ 605 h 750"/>
                <a:gd name="T66" fmla="*/ 50 w 749"/>
                <a:gd name="T67" fmla="*/ 565 h 750"/>
                <a:gd name="T68" fmla="*/ 29 w 749"/>
                <a:gd name="T69" fmla="*/ 521 h 750"/>
                <a:gd name="T70" fmla="*/ 13 w 749"/>
                <a:gd name="T71" fmla="*/ 474 h 750"/>
                <a:gd name="T72" fmla="*/ 2 w 749"/>
                <a:gd name="T73" fmla="*/ 426 h 750"/>
                <a:gd name="T74" fmla="*/ 0 w 749"/>
                <a:gd name="T75" fmla="*/ 375 h 750"/>
                <a:gd name="T76" fmla="*/ 2 w 749"/>
                <a:gd name="T77" fmla="*/ 324 h 750"/>
                <a:gd name="T78" fmla="*/ 13 w 749"/>
                <a:gd name="T79" fmla="*/ 275 h 750"/>
                <a:gd name="T80" fmla="*/ 29 w 749"/>
                <a:gd name="T81" fmla="*/ 229 h 750"/>
                <a:gd name="T82" fmla="*/ 50 w 749"/>
                <a:gd name="T83" fmla="*/ 185 h 750"/>
                <a:gd name="T84" fmla="*/ 77 w 749"/>
                <a:gd name="T85" fmla="*/ 146 h 750"/>
                <a:gd name="T86" fmla="*/ 108 w 749"/>
                <a:gd name="T87" fmla="*/ 110 h 750"/>
                <a:gd name="T88" fmla="*/ 145 w 749"/>
                <a:gd name="T89" fmla="*/ 78 h 750"/>
                <a:gd name="T90" fmla="*/ 185 w 749"/>
                <a:gd name="T91" fmla="*/ 51 h 750"/>
                <a:gd name="T92" fmla="*/ 228 w 749"/>
                <a:gd name="T93" fmla="*/ 29 h 750"/>
                <a:gd name="T94" fmla="*/ 274 w 749"/>
                <a:gd name="T95" fmla="*/ 14 h 750"/>
                <a:gd name="T96" fmla="*/ 324 w 749"/>
                <a:gd name="T97" fmla="*/ 4 h 750"/>
                <a:gd name="T98" fmla="*/ 374 w 749"/>
                <a:gd name="T99" fmla="*/ 0 h 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749" h="750">
                  <a:moveTo>
                    <a:pt x="374" y="0"/>
                  </a:moveTo>
                  <a:lnTo>
                    <a:pt x="374" y="0"/>
                  </a:lnTo>
                  <a:lnTo>
                    <a:pt x="425" y="4"/>
                  </a:lnTo>
                  <a:lnTo>
                    <a:pt x="474" y="14"/>
                  </a:lnTo>
                  <a:lnTo>
                    <a:pt x="521" y="29"/>
                  </a:lnTo>
                  <a:lnTo>
                    <a:pt x="563" y="51"/>
                  </a:lnTo>
                  <a:lnTo>
                    <a:pt x="603" y="78"/>
                  </a:lnTo>
                  <a:lnTo>
                    <a:pt x="639" y="110"/>
                  </a:lnTo>
                  <a:lnTo>
                    <a:pt x="671" y="146"/>
                  </a:lnTo>
                  <a:lnTo>
                    <a:pt x="698" y="185"/>
                  </a:lnTo>
                  <a:lnTo>
                    <a:pt x="720" y="229"/>
                  </a:lnTo>
                  <a:lnTo>
                    <a:pt x="736" y="275"/>
                  </a:lnTo>
                  <a:lnTo>
                    <a:pt x="746" y="324"/>
                  </a:lnTo>
                  <a:lnTo>
                    <a:pt x="749" y="375"/>
                  </a:lnTo>
                  <a:lnTo>
                    <a:pt x="746" y="426"/>
                  </a:lnTo>
                  <a:lnTo>
                    <a:pt x="736" y="474"/>
                  </a:lnTo>
                  <a:lnTo>
                    <a:pt x="720" y="521"/>
                  </a:lnTo>
                  <a:lnTo>
                    <a:pt x="698" y="565"/>
                  </a:lnTo>
                  <a:lnTo>
                    <a:pt x="671" y="605"/>
                  </a:lnTo>
                  <a:lnTo>
                    <a:pt x="639" y="640"/>
                  </a:lnTo>
                  <a:lnTo>
                    <a:pt x="603" y="673"/>
                  </a:lnTo>
                  <a:lnTo>
                    <a:pt x="563" y="699"/>
                  </a:lnTo>
                  <a:lnTo>
                    <a:pt x="521" y="721"/>
                  </a:lnTo>
                  <a:lnTo>
                    <a:pt x="474" y="737"/>
                  </a:lnTo>
                  <a:lnTo>
                    <a:pt x="425" y="746"/>
                  </a:lnTo>
                  <a:lnTo>
                    <a:pt x="374" y="750"/>
                  </a:lnTo>
                  <a:lnTo>
                    <a:pt x="324" y="746"/>
                  </a:lnTo>
                  <a:lnTo>
                    <a:pt x="274" y="737"/>
                  </a:lnTo>
                  <a:lnTo>
                    <a:pt x="228" y="721"/>
                  </a:lnTo>
                  <a:lnTo>
                    <a:pt x="185" y="699"/>
                  </a:lnTo>
                  <a:lnTo>
                    <a:pt x="145" y="673"/>
                  </a:lnTo>
                  <a:lnTo>
                    <a:pt x="108" y="640"/>
                  </a:lnTo>
                  <a:lnTo>
                    <a:pt x="77" y="605"/>
                  </a:lnTo>
                  <a:lnTo>
                    <a:pt x="50" y="565"/>
                  </a:lnTo>
                  <a:lnTo>
                    <a:pt x="29" y="521"/>
                  </a:lnTo>
                  <a:lnTo>
                    <a:pt x="13" y="474"/>
                  </a:lnTo>
                  <a:lnTo>
                    <a:pt x="2" y="426"/>
                  </a:lnTo>
                  <a:lnTo>
                    <a:pt x="0" y="375"/>
                  </a:lnTo>
                  <a:lnTo>
                    <a:pt x="2" y="324"/>
                  </a:lnTo>
                  <a:lnTo>
                    <a:pt x="13" y="275"/>
                  </a:lnTo>
                  <a:lnTo>
                    <a:pt x="29" y="229"/>
                  </a:lnTo>
                  <a:lnTo>
                    <a:pt x="50" y="185"/>
                  </a:lnTo>
                  <a:lnTo>
                    <a:pt x="77" y="146"/>
                  </a:lnTo>
                  <a:lnTo>
                    <a:pt x="108" y="110"/>
                  </a:lnTo>
                  <a:lnTo>
                    <a:pt x="145" y="78"/>
                  </a:lnTo>
                  <a:lnTo>
                    <a:pt x="185" y="51"/>
                  </a:lnTo>
                  <a:lnTo>
                    <a:pt x="228" y="29"/>
                  </a:lnTo>
                  <a:lnTo>
                    <a:pt x="274" y="14"/>
                  </a:lnTo>
                  <a:lnTo>
                    <a:pt x="324" y="4"/>
                  </a:lnTo>
                  <a:lnTo>
                    <a:pt x="374" y="0"/>
                  </a:lnTo>
                  <a:close/>
                </a:path>
              </a:pathLst>
            </a:custGeom>
            <a:grpFill/>
            <a:ln w="0">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Raleway" panose="020B0503030101060003" pitchFamily="34" charset="0"/>
              </a:endParaRPr>
            </a:p>
          </p:txBody>
        </p:sp>
        <p:sp>
          <p:nvSpPr>
            <p:cNvPr id="25" name="Freeform 30">
              <a:extLst>
                <a:ext uri="{FF2B5EF4-FFF2-40B4-BE49-F238E27FC236}">
                  <a16:creationId xmlns:a16="http://schemas.microsoft.com/office/drawing/2014/main" id="{1E3ED650-D518-471C-84E7-54C77C7E2DA1}"/>
                </a:ext>
              </a:extLst>
            </p:cNvPr>
            <p:cNvSpPr>
              <a:spLocks/>
            </p:cNvSpPr>
            <p:nvPr/>
          </p:nvSpPr>
          <p:spPr bwMode="auto">
            <a:xfrm>
              <a:off x="6116" y="2203"/>
              <a:ext cx="150" cy="150"/>
            </a:xfrm>
            <a:custGeom>
              <a:avLst/>
              <a:gdLst>
                <a:gd name="T0" fmla="*/ 376 w 751"/>
                <a:gd name="T1" fmla="*/ 0 h 750"/>
                <a:gd name="T2" fmla="*/ 376 w 751"/>
                <a:gd name="T3" fmla="*/ 0 h 750"/>
                <a:gd name="T4" fmla="*/ 427 w 751"/>
                <a:gd name="T5" fmla="*/ 4 h 750"/>
                <a:gd name="T6" fmla="*/ 475 w 751"/>
                <a:gd name="T7" fmla="*/ 14 h 750"/>
                <a:gd name="T8" fmla="*/ 521 w 751"/>
                <a:gd name="T9" fmla="*/ 29 h 750"/>
                <a:gd name="T10" fmla="*/ 565 w 751"/>
                <a:gd name="T11" fmla="*/ 51 h 750"/>
                <a:gd name="T12" fmla="*/ 605 w 751"/>
                <a:gd name="T13" fmla="*/ 78 h 750"/>
                <a:gd name="T14" fmla="*/ 641 w 751"/>
                <a:gd name="T15" fmla="*/ 110 h 750"/>
                <a:gd name="T16" fmla="*/ 672 w 751"/>
                <a:gd name="T17" fmla="*/ 146 h 750"/>
                <a:gd name="T18" fmla="*/ 699 w 751"/>
                <a:gd name="T19" fmla="*/ 185 h 750"/>
                <a:gd name="T20" fmla="*/ 721 w 751"/>
                <a:gd name="T21" fmla="*/ 229 h 750"/>
                <a:gd name="T22" fmla="*/ 738 w 751"/>
                <a:gd name="T23" fmla="*/ 275 h 750"/>
                <a:gd name="T24" fmla="*/ 747 w 751"/>
                <a:gd name="T25" fmla="*/ 324 h 750"/>
                <a:gd name="T26" fmla="*/ 751 w 751"/>
                <a:gd name="T27" fmla="*/ 375 h 750"/>
                <a:gd name="T28" fmla="*/ 747 w 751"/>
                <a:gd name="T29" fmla="*/ 426 h 750"/>
                <a:gd name="T30" fmla="*/ 738 w 751"/>
                <a:gd name="T31" fmla="*/ 474 h 750"/>
                <a:gd name="T32" fmla="*/ 721 w 751"/>
                <a:gd name="T33" fmla="*/ 521 h 750"/>
                <a:gd name="T34" fmla="*/ 699 w 751"/>
                <a:gd name="T35" fmla="*/ 565 h 750"/>
                <a:gd name="T36" fmla="*/ 672 w 751"/>
                <a:gd name="T37" fmla="*/ 605 h 750"/>
                <a:gd name="T38" fmla="*/ 641 w 751"/>
                <a:gd name="T39" fmla="*/ 640 h 750"/>
                <a:gd name="T40" fmla="*/ 605 w 751"/>
                <a:gd name="T41" fmla="*/ 673 h 750"/>
                <a:gd name="T42" fmla="*/ 565 w 751"/>
                <a:gd name="T43" fmla="*/ 699 h 750"/>
                <a:gd name="T44" fmla="*/ 521 w 751"/>
                <a:gd name="T45" fmla="*/ 721 h 750"/>
                <a:gd name="T46" fmla="*/ 475 w 751"/>
                <a:gd name="T47" fmla="*/ 737 h 750"/>
                <a:gd name="T48" fmla="*/ 427 w 751"/>
                <a:gd name="T49" fmla="*/ 746 h 750"/>
                <a:gd name="T50" fmla="*/ 376 w 751"/>
                <a:gd name="T51" fmla="*/ 750 h 750"/>
                <a:gd name="T52" fmla="*/ 324 w 751"/>
                <a:gd name="T53" fmla="*/ 746 h 750"/>
                <a:gd name="T54" fmla="*/ 276 w 751"/>
                <a:gd name="T55" fmla="*/ 737 h 750"/>
                <a:gd name="T56" fmla="*/ 230 w 751"/>
                <a:gd name="T57" fmla="*/ 721 h 750"/>
                <a:gd name="T58" fmla="*/ 186 w 751"/>
                <a:gd name="T59" fmla="*/ 699 h 750"/>
                <a:gd name="T60" fmla="*/ 146 w 751"/>
                <a:gd name="T61" fmla="*/ 673 h 750"/>
                <a:gd name="T62" fmla="*/ 110 w 751"/>
                <a:gd name="T63" fmla="*/ 640 h 750"/>
                <a:gd name="T64" fmla="*/ 79 w 751"/>
                <a:gd name="T65" fmla="*/ 605 h 750"/>
                <a:gd name="T66" fmla="*/ 52 w 751"/>
                <a:gd name="T67" fmla="*/ 565 h 750"/>
                <a:gd name="T68" fmla="*/ 30 w 751"/>
                <a:gd name="T69" fmla="*/ 521 h 750"/>
                <a:gd name="T70" fmla="*/ 13 w 751"/>
                <a:gd name="T71" fmla="*/ 474 h 750"/>
                <a:gd name="T72" fmla="*/ 4 w 751"/>
                <a:gd name="T73" fmla="*/ 426 h 750"/>
                <a:gd name="T74" fmla="*/ 0 w 751"/>
                <a:gd name="T75" fmla="*/ 375 h 750"/>
                <a:gd name="T76" fmla="*/ 4 w 751"/>
                <a:gd name="T77" fmla="*/ 324 h 750"/>
                <a:gd name="T78" fmla="*/ 13 w 751"/>
                <a:gd name="T79" fmla="*/ 275 h 750"/>
                <a:gd name="T80" fmla="*/ 30 w 751"/>
                <a:gd name="T81" fmla="*/ 229 h 750"/>
                <a:gd name="T82" fmla="*/ 52 w 751"/>
                <a:gd name="T83" fmla="*/ 185 h 750"/>
                <a:gd name="T84" fmla="*/ 79 w 751"/>
                <a:gd name="T85" fmla="*/ 146 h 750"/>
                <a:gd name="T86" fmla="*/ 110 w 751"/>
                <a:gd name="T87" fmla="*/ 110 h 750"/>
                <a:gd name="T88" fmla="*/ 146 w 751"/>
                <a:gd name="T89" fmla="*/ 78 h 750"/>
                <a:gd name="T90" fmla="*/ 186 w 751"/>
                <a:gd name="T91" fmla="*/ 51 h 750"/>
                <a:gd name="T92" fmla="*/ 230 w 751"/>
                <a:gd name="T93" fmla="*/ 29 h 750"/>
                <a:gd name="T94" fmla="*/ 276 w 751"/>
                <a:gd name="T95" fmla="*/ 14 h 750"/>
                <a:gd name="T96" fmla="*/ 324 w 751"/>
                <a:gd name="T97" fmla="*/ 4 h 750"/>
                <a:gd name="T98" fmla="*/ 376 w 751"/>
                <a:gd name="T99" fmla="*/ 0 h 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751" h="750">
                  <a:moveTo>
                    <a:pt x="376" y="0"/>
                  </a:moveTo>
                  <a:lnTo>
                    <a:pt x="376" y="0"/>
                  </a:lnTo>
                  <a:lnTo>
                    <a:pt x="427" y="4"/>
                  </a:lnTo>
                  <a:lnTo>
                    <a:pt x="475" y="14"/>
                  </a:lnTo>
                  <a:lnTo>
                    <a:pt x="521" y="29"/>
                  </a:lnTo>
                  <a:lnTo>
                    <a:pt x="565" y="51"/>
                  </a:lnTo>
                  <a:lnTo>
                    <a:pt x="605" y="78"/>
                  </a:lnTo>
                  <a:lnTo>
                    <a:pt x="641" y="110"/>
                  </a:lnTo>
                  <a:lnTo>
                    <a:pt x="672" y="146"/>
                  </a:lnTo>
                  <a:lnTo>
                    <a:pt x="699" y="185"/>
                  </a:lnTo>
                  <a:lnTo>
                    <a:pt x="721" y="229"/>
                  </a:lnTo>
                  <a:lnTo>
                    <a:pt x="738" y="275"/>
                  </a:lnTo>
                  <a:lnTo>
                    <a:pt x="747" y="324"/>
                  </a:lnTo>
                  <a:lnTo>
                    <a:pt x="751" y="375"/>
                  </a:lnTo>
                  <a:lnTo>
                    <a:pt x="747" y="426"/>
                  </a:lnTo>
                  <a:lnTo>
                    <a:pt x="738" y="474"/>
                  </a:lnTo>
                  <a:lnTo>
                    <a:pt x="721" y="521"/>
                  </a:lnTo>
                  <a:lnTo>
                    <a:pt x="699" y="565"/>
                  </a:lnTo>
                  <a:lnTo>
                    <a:pt x="672" y="605"/>
                  </a:lnTo>
                  <a:lnTo>
                    <a:pt x="641" y="640"/>
                  </a:lnTo>
                  <a:lnTo>
                    <a:pt x="605" y="673"/>
                  </a:lnTo>
                  <a:lnTo>
                    <a:pt x="565" y="699"/>
                  </a:lnTo>
                  <a:lnTo>
                    <a:pt x="521" y="721"/>
                  </a:lnTo>
                  <a:lnTo>
                    <a:pt x="475" y="737"/>
                  </a:lnTo>
                  <a:lnTo>
                    <a:pt x="427" y="746"/>
                  </a:lnTo>
                  <a:lnTo>
                    <a:pt x="376" y="750"/>
                  </a:lnTo>
                  <a:lnTo>
                    <a:pt x="324" y="746"/>
                  </a:lnTo>
                  <a:lnTo>
                    <a:pt x="276" y="737"/>
                  </a:lnTo>
                  <a:lnTo>
                    <a:pt x="230" y="721"/>
                  </a:lnTo>
                  <a:lnTo>
                    <a:pt x="186" y="699"/>
                  </a:lnTo>
                  <a:lnTo>
                    <a:pt x="146" y="673"/>
                  </a:lnTo>
                  <a:lnTo>
                    <a:pt x="110" y="640"/>
                  </a:lnTo>
                  <a:lnTo>
                    <a:pt x="79" y="605"/>
                  </a:lnTo>
                  <a:lnTo>
                    <a:pt x="52" y="565"/>
                  </a:lnTo>
                  <a:lnTo>
                    <a:pt x="30" y="521"/>
                  </a:lnTo>
                  <a:lnTo>
                    <a:pt x="13" y="474"/>
                  </a:lnTo>
                  <a:lnTo>
                    <a:pt x="4" y="426"/>
                  </a:lnTo>
                  <a:lnTo>
                    <a:pt x="0" y="375"/>
                  </a:lnTo>
                  <a:lnTo>
                    <a:pt x="4" y="324"/>
                  </a:lnTo>
                  <a:lnTo>
                    <a:pt x="13" y="275"/>
                  </a:lnTo>
                  <a:lnTo>
                    <a:pt x="30" y="229"/>
                  </a:lnTo>
                  <a:lnTo>
                    <a:pt x="52" y="185"/>
                  </a:lnTo>
                  <a:lnTo>
                    <a:pt x="79" y="146"/>
                  </a:lnTo>
                  <a:lnTo>
                    <a:pt x="110" y="110"/>
                  </a:lnTo>
                  <a:lnTo>
                    <a:pt x="146" y="78"/>
                  </a:lnTo>
                  <a:lnTo>
                    <a:pt x="186" y="51"/>
                  </a:lnTo>
                  <a:lnTo>
                    <a:pt x="230" y="29"/>
                  </a:lnTo>
                  <a:lnTo>
                    <a:pt x="276" y="14"/>
                  </a:lnTo>
                  <a:lnTo>
                    <a:pt x="324" y="4"/>
                  </a:lnTo>
                  <a:lnTo>
                    <a:pt x="376" y="0"/>
                  </a:lnTo>
                  <a:close/>
                </a:path>
              </a:pathLst>
            </a:custGeom>
            <a:grpFill/>
            <a:ln w="0">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Raleway" panose="020B0503030101060003" pitchFamily="34" charset="0"/>
              </a:endParaRPr>
            </a:p>
          </p:txBody>
        </p:sp>
        <p:sp>
          <p:nvSpPr>
            <p:cNvPr id="26" name="Freeform 31">
              <a:extLst>
                <a:ext uri="{FF2B5EF4-FFF2-40B4-BE49-F238E27FC236}">
                  <a16:creationId xmlns:a16="http://schemas.microsoft.com/office/drawing/2014/main" id="{612AA02C-0CCC-42B2-BC13-B6E7027AEFF9}"/>
                </a:ext>
              </a:extLst>
            </p:cNvPr>
            <p:cNvSpPr>
              <a:spLocks/>
            </p:cNvSpPr>
            <p:nvPr/>
          </p:nvSpPr>
          <p:spPr bwMode="auto">
            <a:xfrm>
              <a:off x="6575" y="2319"/>
              <a:ext cx="87" cy="63"/>
            </a:xfrm>
            <a:custGeom>
              <a:avLst/>
              <a:gdLst>
                <a:gd name="T0" fmla="*/ 239 w 435"/>
                <a:gd name="T1" fmla="*/ 0 h 313"/>
                <a:gd name="T2" fmla="*/ 266 w 435"/>
                <a:gd name="T3" fmla="*/ 12 h 313"/>
                <a:gd name="T4" fmla="*/ 290 w 435"/>
                <a:gd name="T5" fmla="*/ 24 h 313"/>
                <a:gd name="T6" fmla="*/ 312 w 435"/>
                <a:gd name="T7" fmla="*/ 34 h 313"/>
                <a:gd name="T8" fmla="*/ 330 w 435"/>
                <a:gd name="T9" fmla="*/ 43 h 313"/>
                <a:gd name="T10" fmla="*/ 343 w 435"/>
                <a:gd name="T11" fmla="*/ 49 h 313"/>
                <a:gd name="T12" fmla="*/ 353 w 435"/>
                <a:gd name="T13" fmla="*/ 53 h 313"/>
                <a:gd name="T14" fmla="*/ 358 w 435"/>
                <a:gd name="T15" fmla="*/ 56 h 313"/>
                <a:gd name="T16" fmla="*/ 382 w 435"/>
                <a:gd name="T17" fmla="*/ 70 h 313"/>
                <a:gd name="T18" fmla="*/ 401 w 435"/>
                <a:gd name="T19" fmla="*/ 87 h 313"/>
                <a:gd name="T20" fmla="*/ 417 w 435"/>
                <a:gd name="T21" fmla="*/ 109 h 313"/>
                <a:gd name="T22" fmla="*/ 428 w 435"/>
                <a:gd name="T23" fmla="*/ 132 h 313"/>
                <a:gd name="T24" fmla="*/ 434 w 435"/>
                <a:gd name="T25" fmla="*/ 157 h 313"/>
                <a:gd name="T26" fmla="*/ 435 w 435"/>
                <a:gd name="T27" fmla="*/ 184 h 313"/>
                <a:gd name="T28" fmla="*/ 432 w 435"/>
                <a:gd name="T29" fmla="*/ 211 h 313"/>
                <a:gd name="T30" fmla="*/ 423 w 435"/>
                <a:gd name="T31" fmla="*/ 236 h 313"/>
                <a:gd name="T32" fmla="*/ 409 w 435"/>
                <a:gd name="T33" fmla="*/ 259 h 313"/>
                <a:gd name="T34" fmla="*/ 392 w 435"/>
                <a:gd name="T35" fmla="*/ 278 h 313"/>
                <a:gd name="T36" fmla="*/ 371 w 435"/>
                <a:gd name="T37" fmla="*/ 293 h 313"/>
                <a:gd name="T38" fmla="*/ 349 w 435"/>
                <a:gd name="T39" fmla="*/ 304 h 313"/>
                <a:gd name="T40" fmla="*/ 325 w 435"/>
                <a:gd name="T41" fmla="*/ 311 h 313"/>
                <a:gd name="T42" fmla="*/ 300 w 435"/>
                <a:gd name="T43" fmla="*/ 313 h 313"/>
                <a:gd name="T44" fmla="*/ 271 w 435"/>
                <a:gd name="T45" fmla="*/ 310 h 313"/>
                <a:gd name="T46" fmla="*/ 242 w 435"/>
                <a:gd name="T47" fmla="*/ 300 h 313"/>
                <a:gd name="T48" fmla="*/ 239 w 435"/>
                <a:gd name="T49" fmla="*/ 299 h 313"/>
                <a:gd name="T50" fmla="*/ 230 w 435"/>
                <a:gd name="T51" fmla="*/ 295 h 313"/>
                <a:gd name="T52" fmla="*/ 216 w 435"/>
                <a:gd name="T53" fmla="*/ 288 h 313"/>
                <a:gd name="T54" fmla="*/ 198 w 435"/>
                <a:gd name="T55" fmla="*/ 280 h 313"/>
                <a:gd name="T56" fmla="*/ 176 w 435"/>
                <a:gd name="T57" fmla="*/ 270 h 313"/>
                <a:gd name="T58" fmla="*/ 151 w 435"/>
                <a:gd name="T59" fmla="*/ 258 h 313"/>
                <a:gd name="T60" fmla="*/ 124 w 435"/>
                <a:gd name="T61" fmla="*/ 244 h 313"/>
                <a:gd name="T62" fmla="*/ 94 w 435"/>
                <a:gd name="T63" fmla="*/ 231 h 313"/>
                <a:gd name="T64" fmla="*/ 64 w 435"/>
                <a:gd name="T65" fmla="*/ 217 h 313"/>
                <a:gd name="T66" fmla="*/ 33 w 435"/>
                <a:gd name="T67" fmla="*/ 202 h 313"/>
                <a:gd name="T68" fmla="*/ 0 w 435"/>
                <a:gd name="T69" fmla="*/ 188 h 313"/>
                <a:gd name="T70" fmla="*/ 49 w 435"/>
                <a:gd name="T71" fmla="*/ 170 h 313"/>
                <a:gd name="T72" fmla="*/ 95 w 435"/>
                <a:gd name="T73" fmla="*/ 145 h 313"/>
                <a:gd name="T74" fmla="*/ 138 w 435"/>
                <a:gd name="T75" fmla="*/ 116 h 313"/>
                <a:gd name="T76" fmla="*/ 176 w 435"/>
                <a:gd name="T77" fmla="*/ 82 h 313"/>
                <a:gd name="T78" fmla="*/ 210 w 435"/>
                <a:gd name="T79" fmla="*/ 43 h 313"/>
                <a:gd name="T80" fmla="*/ 239 w 435"/>
                <a:gd name="T81" fmla="*/ 0 h 3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35" h="313">
                  <a:moveTo>
                    <a:pt x="239" y="0"/>
                  </a:moveTo>
                  <a:lnTo>
                    <a:pt x="266" y="12"/>
                  </a:lnTo>
                  <a:lnTo>
                    <a:pt x="290" y="24"/>
                  </a:lnTo>
                  <a:lnTo>
                    <a:pt x="312" y="34"/>
                  </a:lnTo>
                  <a:lnTo>
                    <a:pt x="330" y="43"/>
                  </a:lnTo>
                  <a:lnTo>
                    <a:pt x="343" y="49"/>
                  </a:lnTo>
                  <a:lnTo>
                    <a:pt x="353" y="53"/>
                  </a:lnTo>
                  <a:lnTo>
                    <a:pt x="358" y="56"/>
                  </a:lnTo>
                  <a:lnTo>
                    <a:pt x="382" y="70"/>
                  </a:lnTo>
                  <a:lnTo>
                    <a:pt x="401" y="87"/>
                  </a:lnTo>
                  <a:lnTo>
                    <a:pt x="417" y="109"/>
                  </a:lnTo>
                  <a:lnTo>
                    <a:pt x="428" y="132"/>
                  </a:lnTo>
                  <a:lnTo>
                    <a:pt x="434" y="157"/>
                  </a:lnTo>
                  <a:lnTo>
                    <a:pt x="435" y="184"/>
                  </a:lnTo>
                  <a:lnTo>
                    <a:pt x="432" y="211"/>
                  </a:lnTo>
                  <a:lnTo>
                    <a:pt x="423" y="236"/>
                  </a:lnTo>
                  <a:lnTo>
                    <a:pt x="409" y="259"/>
                  </a:lnTo>
                  <a:lnTo>
                    <a:pt x="392" y="278"/>
                  </a:lnTo>
                  <a:lnTo>
                    <a:pt x="371" y="293"/>
                  </a:lnTo>
                  <a:lnTo>
                    <a:pt x="349" y="304"/>
                  </a:lnTo>
                  <a:lnTo>
                    <a:pt x="325" y="311"/>
                  </a:lnTo>
                  <a:lnTo>
                    <a:pt x="300" y="313"/>
                  </a:lnTo>
                  <a:lnTo>
                    <a:pt x="271" y="310"/>
                  </a:lnTo>
                  <a:lnTo>
                    <a:pt x="242" y="300"/>
                  </a:lnTo>
                  <a:lnTo>
                    <a:pt x="239" y="299"/>
                  </a:lnTo>
                  <a:lnTo>
                    <a:pt x="230" y="295"/>
                  </a:lnTo>
                  <a:lnTo>
                    <a:pt x="216" y="288"/>
                  </a:lnTo>
                  <a:lnTo>
                    <a:pt x="198" y="280"/>
                  </a:lnTo>
                  <a:lnTo>
                    <a:pt x="176" y="270"/>
                  </a:lnTo>
                  <a:lnTo>
                    <a:pt x="151" y="258"/>
                  </a:lnTo>
                  <a:lnTo>
                    <a:pt x="124" y="244"/>
                  </a:lnTo>
                  <a:lnTo>
                    <a:pt x="94" y="231"/>
                  </a:lnTo>
                  <a:lnTo>
                    <a:pt x="64" y="217"/>
                  </a:lnTo>
                  <a:lnTo>
                    <a:pt x="33" y="202"/>
                  </a:lnTo>
                  <a:lnTo>
                    <a:pt x="0" y="188"/>
                  </a:lnTo>
                  <a:lnTo>
                    <a:pt x="49" y="170"/>
                  </a:lnTo>
                  <a:lnTo>
                    <a:pt x="95" y="145"/>
                  </a:lnTo>
                  <a:lnTo>
                    <a:pt x="138" y="116"/>
                  </a:lnTo>
                  <a:lnTo>
                    <a:pt x="176" y="82"/>
                  </a:lnTo>
                  <a:lnTo>
                    <a:pt x="210" y="43"/>
                  </a:lnTo>
                  <a:lnTo>
                    <a:pt x="239" y="0"/>
                  </a:lnTo>
                  <a:close/>
                </a:path>
              </a:pathLst>
            </a:custGeom>
            <a:grpFill/>
            <a:ln w="0">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Raleway" panose="020B0503030101060003" pitchFamily="34" charset="0"/>
              </a:endParaRPr>
            </a:p>
          </p:txBody>
        </p:sp>
        <p:sp>
          <p:nvSpPr>
            <p:cNvPr id="27" name="Freeform 32">
              <a:extLst>
                <a:ext uri="{FF2B5EF4-FFF2-40B4-BE49-F238E27FC236}">
                  <a16:creationId xmlns:a16="http://schemas.microsoft.com/office/drawing/2014/main" id="{ECB3243B-4972-401A-BE45-E7FD4763D588}"/>
                </a:ext>
              </a:extLst>
            </p:cNvPr>
            <p:cNvSpPr>
              <a:spLocks/>
            </p:cNvSpPr>
            <p:nvPr/>
          </p:nvSpPr>
          <p:spPr bwMode="auto">
            <a:xfrm>
              <a:off x="6478" y="2203"/>
              <a:ext cx="150" cy="150"/>
            </a:xfrm>
            <a:custGeom>
              <a:avLst/>
              <a:gdLst>
                <a:gd name="T0" fmla="*/ 375 w 750"/>
                <a:gd name="T1" fmla="*/ 0 h 750"/>
                <a:gd name="T2" fmla="*/ 375 w 750"/>
                <a:gd name="T3" fmla="*/ 0 h 750"/>
                <a:gd name="T4" fmla="*/ 426 w 750"/>
                <a:gd name="T5" fmla="*/ 4 h 750"/>
                <a:gd name="T6" fmla="*/ 474 w 750"/>
                <a:gd name="T7" fmla="*/ 14 h 750"/>
                <a:gd name="T8" fmla="*/ 521 w 750"/>
                <a:gd name="T9" fmla="*/ 29 h 750"/>
                <a:gd name="T10" fmla="*/ 565 w 750"/>
                <a:gd name="T11" fmla="*/ 51 h 750"/>
                <a:gd name="T12" fmla="*/ 605 w 750"/>
                <a:gd name="T13" fmla="*/ 78 h 750"/>
                <a:gd name="T14" fmla="*/ 640 w 750"/>
                <a:gd name="T15" fmla="*/ 110 h 750"/>
                <a:gd name="T16" fmla="*/ 672 w 750"/>
                <a:gd name="T17" fmla="*/ 146 h 750"/>
                <a:gd name="T18" fmla="*/ 699 w 750"/>
                <a:gd name="T19" fmla="*/ 185 h 750"/>
                <a:gd name="T20" fmla="*/ 721 w 750"/>
                <a:gd name="T21" fmla="*/ 229 h 750"/>
                <a:gd name="T22" fmla="*/ 736 w 750"/>
                <a:gd name="T23" fmla="*/ 275 h 750"/>
                <a:gd name="T24" fmla="*/ 746 w 750"/>
                <a:gd name="T25" fmla="*/ 324 h 750"/>
                <a:gd name="T26" fmla="*/ 750 w 750"/>
                <a:gd name="T27" fmla="*/ 375 h 750"/>
                <a:gd name="T28" fmla="*/ 746 w 750"/>
                <a:gd name="T29" fmla="*/ 426 h 750"/>
                <a:gd name="T30" fmla="*/ 736 w 750"/>
                <a:gd name="T31" fmla="*/ 474 h 750"/>
                <a:gd name="T32" fmla="*/ 721 w 750"/>
                <a:gd name="T33" fmla="*/ 521 h 750"/>
                <a:gd name="T34" fmla="*/ 699 w 750"/>
                <a:gd name="T35" fmla="*/ 565 h 750"/>
                <a:gd name="T36" fmla="*/ 672 w 750"/>
                <a:gd name="T37" fmla="*/ 605 h 750"/>
                <a:gd name="T38" fmla="*/ 640 w 750"/>
                <a:gd name="T39" fmla="*/ 640 h 750"/>
                <a:gd name="T40" fmla="*/ 605 w 750"/>
                <a:gd name="T41" fmla="*/ 673 h 750"/>
                <a:gd name="T42" fmla="*/ 565 w 750"/>
                <a:gd name="T43" fmla="*/ 699 h 750"/>
                <a:gd name="T44" fmla="*/ 521 w 750"/>
                <a:gd name="T45" fmla="*/ 721 h 750"/>
                <a:gd name="T46" fmla="*/ 474 w 750"/>
                <a:gd name="T47" fmla="*/ 737 h 750"/>
                <a:gd name="T48" fmla="*/ 426 w 750"/>
                <a:gd name="T49" fmla="*/ 746 h 750"/>
                <a:gd name="T50" fmla="*/ 375 w 750"/>
                <a:gd name="T51" fmla="*/ 750 h 750"/>
                <a:gd name="T52" fmla="*/ 324 w 750"/>
                <a:gd name="T53" fmla="*/ 746 h 750"/>
                <a:gd name="T54" fmla="*/ 276 w 750"/>
                <a:gd name="T55" fmla="*/ 737 h 750"/>
                <a:gd name="T56" fmla="*/ 229 w 750"/>
                <a:gd name="T57" fmla="*/ 721 h 750"/>
                <a:gd name="T58" fmla="*/ 185 w 750"/>
                <a:gd name="T59" fmla="*/ 699 h 750"/>
                <a:gd name="T60" fmla="*/ 145 w 750"/>
                <a:gd name="T61" fmla="*/ 673 h 750"/>
                <a:gd name="T62" fmla="*/ 110 w 750"/>
                <a:gd name="T63" fmla="*/ 640 h 750"/>
                <a:gd name="T64" fmla="*/ 77 w 750"/>
                <a:gd name="T65" fmla="*/ 605 h 750"/>
                <a:gd name="T66" fmla="*/ 51 w 750"/>
                <a:gd name="T67" fmla="*/ 565 h 750"/>
                <a:gd name="T68" fmla="*/ 29 w 750"/>
                <a:gd name="T69" fmla="*/ 521 h 750"/>
                <a:gd name="T70" fmla="*/ 13 w 750"/>
                <a:gd name="T71" fmla="*/ 474 h 750"/>
                <a:gd name="T72" fmla="*/ 4 w 750"/>
                <a:gd name="T73" fmla="*/ 426 h 750"/>
                <a:gd name="T74" fmla="*/ 0 w 750"/>
                <a:gd name="T75" fmla="*/ 375 h 750"/>
                <a:gd name="T76" fmla="*/ 4 w 750"/>
                <a:gd name="T77" fmla="*/ 324 h 750"/>
                <a:gd name="T78" fmla="*/ 13 w 750"/>
                <a:gd name="T79" fmla="*/ 275 h 750"/>
                <a:gd name="T80" fmla="*/ 29 w 750"/>
                <a:gd name="T81" fmla="*/ 229 h 750"/>
                <a:gd name="T82" fmla="*/ 51 w 750"/>
                <a:gd name="T83" fmla="*/ 185 h 750"/>
                <a:gd name="T84" fmla="*/ 77 w 750"/>
                <a:gd name="T85" fmla="*/ 146 h 750"/>
                <a:gd name="T86" fmla="*/ 110 w 750"/>
                <a:gd name="T87" fmla="*/ 110 h 750"/>
                <a:gd name="T88" fmla="*/ 145 w 750"/>
                <a:gd name="T89" fmla="*/ 78 h 750"/>
                <a:gd name="T90" fmla="*/ 185 w 750"/>
                <a:gd name="T91" fmla="*/ 51 h 750"/>
                <a:gd name="T92" fmla="*/ 229 w 750"/>
                <a:gd name="T93" fmla="*/ 29 h 750"/>
                <a:gd name="T94" fmla="*/ 276 w 750"/>
                <a:gd name="T95" fmla="*/ 14 h 750"/>
                <a:gd name="T96" fmla="*/ 324 w 750"/>
                <a:gd name="T97" fmla="*/ 4 h 750"/>
                <a:gd name="T98" fmla="*/ 375 w 750"/>
                <a:gd name="T99" fmla="*/ 0 h 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750" h="750">
                  <a:moveTo>
                    <a:pt x="375" y="0"/>
                  </a:moveTo>
                  <a:lnTo>
                    <a:pt x="375" y="0"/>
                  </a:lnTo>
                  <a:lnTo>
                    <a:pt x="426" y="4"/>
                  </a:lnTo>
                  <a:lnTo>
                    <a:pt x="474" y="14"/>
                  </a:lnTo>
                  <a:lnTo>
                    <a:pt x="521" y="29"/>
                  </a:lnTo>
                  <a:lnTo>
                    <a:pt x="565" y="51"/>
                  </a:lnTo>
                  <a:lnTo>
                    <a:pt x="605" y="78"/>
                  </a:lnTo>
                  <a:lnTo>
                    <a:pt x="640" y="110"/>
                  </a:lnTo>
                  <a:lnTo>
                    <a:pt x="672" y="146"/>
                  </a:lnTo>
                  <a:lnTo>
                    <a:pt x="699" y="185"/>
                  </a:lnTo>
                  <a:lnTo>
                    <a:pt x="721" y="229"/>
                  </a:lnTo>
                  <a:lnTo>
                    <a:pt x="736" y="275"/>
                  </a:lnTo>
                  <a:lnTo>
                    <a:pt x="746" y="324"/>
                  </a:lnTo>
                  <a:lnTo>
                    <a:pt x="750" y="375"/>
                  </a:lnTo>
                  <a:lnTo>
                    <a:pt x="746" y="426"/>
                  </a:lnTo>
                  <a:lnTo>
                    <a:pt x="736" y="474"/>
                  </a:lnTo>
                  <a:lnTo>
                    <a:pt x="721" y="521"/>
                  </a:lnTo>
                  <a:lnTo>
                    <a:pt x="699" y="565"/>
                  </a:lnTo>
                  <a:lnTo>
                    <a:pt x="672" y="605"/>
                  </a:lnTo>
                  <a:lnTo>
                    <a:pt x="640" y="640"/>
                  </a:lnTo>
                  <a:lnTo>
                    <a:pt x="605" y="673"/>
                  </a:lnTo>
                  <a:lnTo>
                    <a:pt x="565" y="699"/>
                  </a:lnTo>
                  <a:lnTo>
                    <a:pt x="521" y="721"/>
                  </a:lnTo>
                  <a:lnTo>
                    <a:pt x="474" y="737"/>
                  </a:lnTo>
                  <a:lnTo>
                    <a:pt x="426" y="746"/>
                  </a:lnTo>
                  <a:lnTo>
                    <a:pt x="375" y="750"/>
                  </a:lnTo>
                  <a:lnTo>
                    <a:pt x="324" y="746"/>
                  </a:lnTo>
                  <a:lnTo>
                    <a:pt x="276" y="737"/>
                  </a:lnTo>
                  <a:lnTo>
                    <a:pt x="229" y="721"/>
                  </a:lnTo>
                  <a:lnTo>
                    <a:pt x="185" y="699"/>
                  </a:lnTo>
                  <a:lnTo>
                    <a:pt x="145" y="673"/>
                  </a:lnTo>
                  <a:lnTo>
                    <a:pt x="110" y="640"/>
                  </a:lnTo>
                  <a:lnTo>
                    <a:pt x="77" y="605"/>
                  </a:lnTo>
                  <a:lnTo>
                    <a:pt x="51" y="565"/>
                  </a:lnTo>
                  <a:lnTo>
                    <a:pt x="29" y="521"/>
                  </a:lnTo>
                  <a:lnTo>
                    <a:pt x="13" y="474"/>
                  </a:lnTo>
                  <a:lnTo>
                    <a:pt x="4" y="426"/>
                  </a:lnTo>
                  <a:lnTo>
                    <a:pt x="0" y="375"/>
                  </a:lnTo>
                  <a:lnTo>
                    <a:pt x="4" y="324"/>
                  </a:lnTo>
                  <a:lnTo>
                    <a:pt x="13" y="275"/>
                  </a:lnTo>
                  <a:lnTo>
                    <a:pt x="29" y="229"/>
                  </a:lnTo>
                  <a:lnTo>
                    <a:pt x="51" y="185"/>
                  </a:lnTo>
                  <a:lnTo>
                    <a:pt x="77" y="146"/>
                  </a:lnTo>
                  <a:lnTo>
                    <a:pt x="110" y="110"/>
                  </a:lnTo>
                  <a:lnTo>
                    <a:pt x="145" y="78"/>
                  </a:lnTo>
                  <a:lnTo>
                    <a:pt x="185" y="51"/>
                  </a:lnTo>
                  <a:lnTo>
                    <a:pt x="229" y="29"/>
                  </a:lnTo>
                  <a:lnTo>
                    <a:pt x="276" y="14"/>
                  </a:lnTo>
                  <a:lnTo>
                    <a:pt x="324" y="4"/>
                  </a:lnTo>
                  <a:lnTo>
                    <a:pt x="375" y="0"/>
                  </a:lnTo>
                  <a:close/>
                </a:path>
              </a:pathLst>
            </a:custGeom>
            <a:grpFill/>
            <a:ln w="0">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Raleway" panose="020B0503030101060003" pitchFamily="34" charset="0"/>
              </a:endParaRPr>
            </a:p>
          </p:txBody>
        </p:sp>
        <p:sp>
          <p:nvSpPr>
            <p:cNvPr id="28" name="Freeform 33">
              <a:extLst>
                <a:ext uri="{FF2B5EF4-FFF2-40B4-BE49-F238E27FC236}">
                  <a16:creationId xmlns:a16="http://schemas.microsoft.com/office/drawing/2014/main" id="{72D59062-F87D-4599-92F8-8C95B6298CBB}"/>
                </a:ext>
              </a:extLst>
            </p:cNvPr>
            <p:cNvSpPr>
              <a:spLocks/>
            </p:cNvSpPr>
            <p:nvPr/>
          </p:nvSpPr>
          <p:spPr bwMode="auto">
            <a:xfrm>
              <a:off x="6406" y="2284"/>
              <a:ext cx="369" cy="630"/>
            </a:xfrm>
            <a:custGeom>
              <a:avLst/>
              <a:gdLst>
                <a:gd name="T0" fmla="*/ 1760 w 1843"/>
                <a:gd name="T1" fmla="*/ 15 h 3149"/>
                <a:gd name="T2" fmla="*/ 1823 w 1843"/>
                <a:gd name="T3" fmla="*/ 73 h 3149"/>
                <a:gd name="T4" fmla="*/ 1843 w 1843"/>
                <a:gd name="T5" fmla="*/ 153 h 3149"/>
                <a:gd name="T6" fmla="*/ 1822 w 1843"/>
                <a:gd name="T7" fmla="*/ 220 h 3149"/>
                <a:gd name="T8" fmla="*/ 1788 w 1843"/>
                <a:gd name="T9" fmla="*/ 284 h 3149"/>
                <a:gd name="T10" fmla="*/ 1728 w 1843"/>
                <a:gd name="T11" fmla="*/ 383 h 3149"/>
                <a:gd name="T12" fmla="*/ 1643 w 1843"/>
                <a:gd name="T13" fmla="*/ 502 h 3149"/>
                <a:gd name="T14" fmla="*/ 1537 w 1843"/>
                <a:gd name="T15" fmla="*/ 625 h 3149"/>
                <a:gd name="T16" fmla="*/ 1410 w 1843"/>
                <a:gd name="T17" fmla="*/ 736 h 3149"/>
                <a:gd name="T18" fmla="*/ 1263 w 1843"/>
                <a:gd name="T19" fmla="*/ 820 h 3149"/>
                <a:gd name="T20" fmla="*/ 1161 w 1843"/>
                <a:gd name="T21" fmla="*/ 854 h 3149"/>
                <a:gd name="T22" fmla="*/ 1106 w 1843"/>
                <a:gd name="T23" fmla="*/ 887 h 3149"/>
                <a:gd name="T24" fmla="*/ 1104 w 1843"/>
                <a:gd name="T25" fmla="*/ 997 h 3149"/>
                <a:gd name="T26" fmla="*/ 1101 w 1843"/>
                <a:gd name="T27" fmla="*/ 1118 h 3149"/>
                <a:gd name="T28" fmla="*/ 1100 w 1843"/>
                <a:gd name="T29" fmla="*/ 1207 h 3149"/>
                <a:gd name="T30" fmla="*/ 1093 w 1843"/>
                <a:gd name="T31" fmla="*/ 1313 h 3149"/>
                <a:gd name="T32" fmla="*/ 1080 w 1843"/>
                <a:gd name="T33" fmla="*/ 1372 h 3149"/>
                <a:gd name="T34" fmla="*/ 1070 w 1843"/>
                <a:gd name="T35" fmla="*/ 1394 h 3149"/>
                <a:gd name="T36" fmla="*/ 1068 w 1843"/>
                <a:gd name="T37" fmla="*/ 1575 h 3149"/>
                <a:gd name="T38" fmla="*/ 1068 w 1843"/>
                <a:gd name="T39" fmla="*/ 2976 h 3149"/>
                <a:gd name="T40" fmla="*/ 1039 w 1843"/>
                <a:gd name="T41" fmla="*/ 3073 h 3149"/>
                <a:gd name="T42" fmla="*/ 962 w 1843"/>
                <a:gd name="T43" fmla="*/ 3135 h 3149"/>
                <a:gd name="T44" fmla="*/ 861 w 1843"/>
                <a:gd name="T45" fmla="*/ 3145 h 3149"/>
                <a:gd name="T46" fmla="*/ 774 w 1843"/>
                <a:gd name="T47" fmla="*/ 3098 h 3149"/>
                <a:gd name="T48" fmla="*/ 728 w 1843"/>
                <a:gd name="T49" fmla="*/ 3011 h 3149"/>
                <a:gd name="T50" fmla="*/ 724 w 1843"/>
                <a:gd name="T51" fmla="*/ 1579 h 3149"/>
                <a:gd name="T52" fmla="*/ 699 w 1843"/>
                <a:gd name="T53" fmla="*/ 1579 h 3149"/>
                <a:gd name="T54" fmla="*/ 696 w 1843"/>
                <a:gd name="T55" fmla="*/ 3011 h 3149"/>
                <a:gd name="T56" fmla="*/ 649 w 1843"/>
                <a:gd name="T57" fmla="*/ 3098 h 3149"/>
                <a:gd name="T58" fmla="*/ 562 w 1843"/>
                <a:gd name="T59" fmla="*/ 3145 h 3149"/>
                <a:gd name="T60" fmla="*/ 461 w 1843"/>
                <a:gd name="T61" fmla="*/ 3135 h 3149"/>
                <a:gd name="T62" fmla="*/ 384 w 1843"/>
                <a:gd name="T63" fmla="*/ 3073 h 3149"/>
                <a:gd name="T64" fmla="*/ 355 w 1843"/>
                <a:gd name="T65" fmla="*/ 2976 h 3149"/>
                <a:gd name="T66" fmla="*/ 355 w 1843"/>
                <a:gd name="T67" fmla="*/ 1575 h 3149"/>
                <a:gd name="T68" fmla="*/ 355 w 1843"/>
                <a:gd name="T69" fmla="*/ 1408 h 3149"/>
                <a:gd name="T70" fmla="*/ 331 w 1843"/>
                <a:gd name="T71" fmla="*/ 1289 h 3149"/>
                <a:gd name="T72" fmla="*/ 311 w 1843"/>
                <a:gd name="T73" fmla="*/ 516 h 3149"/>
                <a:gd name="T74" fmla="*/ 256 w 1843"/>
                <a:gd name="T75" fmla="*/ 483 h 3149"/>
                <a:gd name="T76" fmla="*/ 172 w 1843"/>
                <a:gd name="T77" fmla="*/ 433 h 3149"/>
                <a:gd name="T78" fmla="*/ 76 w 1843"/>
                <a:gd name="T79" fmla="*/ 380 h 3149"/>
                <a:gd name="T80" fmla="*/ 0 w 1843"/>
                <a:gd name="T81" fmla="*/ 339 h 3149"/>
                <a:gd name="T82" fmla="*/ 116 w 1843"/>
                <a:gd name="T83" fmla="*/ 255 h 3149"/>
                <a:gd name="T84" fmla="*/ 198 w 1843"/>
                <a:gd name="T85" fmla="*/ 137 h 3149"/>
                <a:gd name="T86" fmla="*/ 285 w 1843"/>
                <a:gd name="T87" fmla="*/ 186 h 3149"/>
                <a:gd name="T88" fmla="*/ 405 w 1843"/>
                <a:gd name="T89" fmla="*/ 225 h 3149"/>
                <a:gd name="T90" fmla="*/ 513 w 1843"/>
                <a:gd name="T91" fmla="*/ 318 h 3149"/>
                <a:gd name="T92" fmla="*/ 507 w 1843"/>
                <a:gd name="T93" fmla="*/ 394 h 3149"/>
                <a:gd name="T94" fmla="*/ 579 w 1843"/>
                <a:gd name="T95" fmla="*/ 379 h 3149"/>
                <a:gd name="T96" fmla="*/ 734 w 1843"/>
                <a:gd name="T97" fmla="*/ 444 h 3149"/>
                <a:gd name="T98" fmla="*/ 855 w 1843"/>
                <a:gd name="T99" fmla="*/ 421 h 3149"/>
                <a:gd name="T100" fmla="*/ 948 w 1843"/>
                <a:gd name="T101" fmla="*/ 464 h 3149"/>
                <a:gd name="T102" fmla="*/ 1024 w 1843"/>
                <a:gd name="T103" fmla="*/ 499 h 3149"/>
                <a:gd name="T104" fmla="*/ 1065 w 1843"/>
                <a:gd name="T105" fmla="*/ 519 h 3149"/>
                <a:gd name="T106" fmla="*/ 1115 w 1843"/>
                <a:gd name="T107" fmla="*/ 534 h 3149"/>
                <a:gd name="T108" fmla="*/ 1190 w 1843"/>
                <a:gd name="T109" fmla="*/ 528 h 3149"/>
                <a:gd name="T110" fmla="*/ 1288 w 1843"/>
                <a:gd name="T111" fmla="*/ 461 h 3149"/>
                <a:gd name="T112" fmla="*/ 1389 w 1843"/>
                <a:gd name="T113" fmla="*/ 353 h 3149"/>
                <a:gd name="T114" fmla="*/ 1474 w 1843"/>
                <a:gd name="T115" fmla="*/ 238 h 3149"/>
                <a:gd name="T116" fmla="*/ 1538 w 1843"/>
                <a:gd name="T117" fmla="*/ 134 h 3149"/>
                <a:gd name="T118" fmla="*/ 1581 w 1843"/>
                <a:gd name="T119" fmla="*/ 56 h 3149"/>
                <a:gd name="T120" fmla="*/ 1649 w 1843"/>
                <a:gd name="T121" fmla="*/ 7 h 3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843" h="3149">
                  <a:moveTo>
                    <a:pt x="1705" y="0"/>
                  </a:moveTo>
                  <a:lnTo>
                    <a:pt x="1733" y="4"/>
                  </a:lnTo>
                  <a:lnTo>
                    <a:pt x="1760" y="15"/>
                  </a:lnTo>
                  <a:lnTo>
                    <a:pt x="1786" y="30"/>
                  </a:lnTo>
                  <a:lnTo>
                    <a:pt x="1806" y="50"/>
                  </a:lnTo>
                  <a:lnTo>
                    <a:pt x="1823" y="73"/>
                  </a:lnTo>
                  <a:lnTo>
                    <a:pt x="1834" y="98"/>
                  </a:lnTo>
                  <a:lnTo>
                    <a:pt x="1841" y="125"/>
                  </a:lnTo>
                  <a:lnTo>
                    <a:pt x="1843" y="153"/>
                  </a:lnTo>
                  <a:lnTo>
                    <a:pt x="1838" y="182"/>
                  </a:lnTo>
                  <a:lnTo>
                    <a:pt x="1828" y="209"/>
                  </a:lnTo>
                  <a:lnTo>
                    <a:pt x="1822" y="220"/>
                  </a:lnTo>
                  <a:lnTo>
                    <a:pt x="1814" y="236"/>
                  </a:lnTo>
                  <a:lnTo>
                    <a:pt x="1803" y="258"/>
                  </a:lnTo>
                  <a:lnTo>
                    <a:pt x="1788" y="284"/>
                  </a:lnTo>
                  <a:lnTo>
                    <a:pt x="1770" y="314"/>
                  </a:lnTo>
                  <a:lnTo>
                    <a:pt x="1751" y="347"/>
                  </a:lnTo>
                  <a:lnTo>
                    <a:pt x="1728" y="383"/>
                  </a:lnTo>
                  <a:lnTo>
                    <a:pt x="1702" y="422"/>
                  </a:lnTo>
                  <a:lnTo>
                    <a:pt x="1673" y="462"/>
                  </a:lnTo>
                  <a:lnTo>
                    <a:pt x="1643" y="502"/>
                  </a:lnTo>
                  <a:lnTo>
                    <a:pt x="1610" y="544"/>
                  </a:lnTo>
                  <a:lnTo>
                    <a:pt x="1574" y="585"/>
                  </a:lnTo>
                  <a:lnTo>
                    <a:pt x="1537" y="625"/>
                  </a:lnTo>
                  <a:lnTo>
                    <a:pt x="1497" y="664"/>
                  </a:lnTo>
                  <a:lnTo>
                    <a:pt x="1453" y="701"/>
                  </a:lnTo>
                  <a:lnTo>
                    <a:pt x="1410" y="736"/>
                  </a:lnTo>
                  <a:lnTo>
                    <a:pt x="1363" y="768"/>
                  </a:lnTo>
                  <a:lnTo>
                    <a:pt x="1314" y="797"/>
                  </a:lnTo>
                  <a:lnTo>
                    <a:pt x="1263" y="820"/>
                  </a:lnTo>
                  <a:lnTo>
                    <a:pt x="1211" y="839"/>
                  </a:lnTo>
                  <a:lnTo>
                    <a:pt x="1161" y="852"/>
                  </a:lnTo>
                  <a:lnTo>
                    <a:pt x="1161" y="854"/>
                  </a:lnTo>
                  <a:lnTo>
                    <a:pt x="1159" y="852"/>
                  </a:lnTo>
                  <a:lnTo>
                    <a:pt x="1107" y="861"/>
                  </a:lnTo>
                  <a:lnTo>
                    <a:pt x="1106" y="887"/>
                  </a:lnTo>
                  <a:lnTo>
                    <a:pt x="1105" y="920"/>
                  </a:lnTo>
                  <a:lnTo>
                    <a:pt x="1105" y="958"/>
                  </a:lnTo>
                  <a:lnTo>
                    <a:pt x="1104" y="997"/>
                  </a:lnTo>
                  <a:lnTo>
                    <a:pt x="1103" y="1039"/>
                  </a:lnTo>
                  <a:lnTo>
                    <a:pt x="1101" y="1080"/>
                  </a:lnTo>
                  <a:lnTo>
                    <a:pt x="1101" y="1118"/>
                  </a:lnTo>
                  <a:lnTo>
                    <a:pt x="1100" y="1153"/>
                  </a:lnTo>
                  <a:lnTo>
                    <a:pt x="1100" y="1184"/>
                  </a:lnTo>
                  <a:lnTo>
                    <a:pt x="1100" y="1207"/>
                  </a:lnTo>
                  <a:lnTo>
                    <a:pt x="1099" y="1248"/>
                  </a:lnTo>
                  <a:lnTo>
                    <a:pt x="1097" y="1283"/>
                  </a:lnTo>
                  <a:lnTo>
                    <a:pt x="1093" y="1313"/>
                  </a:lnTo>
                  <a:lnTo>
                    <a:pt x="1089" y="1337"/>
                  </a:lnTo>
                  <a:lnTo>
                    <a:pt x="1084" y="1356"/>
                  </a:lnTo>
                  <a:lnTo>
                    <a:pt x="1080" y="1372"/>
                  </a:lnTo>
                  <a:lnTo>
                    <a:pt x="1076" y="1383"/>
                  </a:lnTo>
                  <a:lnTo>
                    <a:pt x="1072" y="1390"/>
                  </a:lnTo>
                  <a:lnTo>
                    <a:pt x="1070" y="1394"/>
                  </a:lnTo>
                  <a:lnTo>
                    <a:pt x="1070" y="1395"/>
                  </a:lnTo>
                  <a:lnTo>
                    <a:pt x="1069" y="1575"/>
                  </a:lnTo>
                  <a:lnTo>
                    <a:pt x="1068" y="1575"/>
                  </a:lnTo>
                  <a:lnTo>
                    <a:pt x="1068" y="1579"/>
                  </a:lnTo>
                  <a:lnTo>
                    <a:pt x="1068" y="1583"/>
                  </a:lnTo>
                  <a:lnTo>
                    <a:pt x="1068" y="2976"/>
                  </a:lnTo>
                  <a:lnTo>
                    <a:pt x="1064" y="3011"/>
                  </a:lnTo>
                  <a:lnTo>
                    <a:pt x="1054" y="3044"/>
                  </a:lnTo>
                  <a:lnTo>
                    <a:pt x="1039" y="3073"/>
                  </a:lnTo>
                  <a:lnTo>
                    <a:pt x="1018" y="3098"/>
                  </a:lnTo>
                  <a:lnTo>
                    <a:pt x="993" y="3119"/>
                  </a:lnTo>
                  <a:lnTo>
                    <a:pt x="962" y="3135"/>
                  </a:lnTo>
                  <a:lnTo>
                    <a:pt x="931" y="3145"/>
                  </a:lnTo>
                  <a:lnTo>
                    <a:pt x="896" y="3149"/>
                  </a:lnTo>
                  <a:lnTo>
                    <a:pt x="861" y="3145"/>
                  </a:lnTo>
                  <a:lnTo>
                    <a:pt x="829" y="3135"/>
                  </a:lnTo>
                  <a:lnTo>
                    <a:pt x="799" y="3119"/>
                  </a:lnTo>
                  <a:lnTo>
                    <a:pt x="774" y="3098"/>
                  </a:lnTo>
                  <a:lnTo>
                    <a:pt x="753" y="3073"/>
                  </a:lnTo>
                  <a:lnTo>
                    <a:pt x="737" y="3044"/>
                  </a:lnTo>
                  <a:lnTo>
                    <a:pt x="728" y="3011"/>
                  </a:lnTo>
                  <a:lnTo>
                    <a:pt x="724" y="2976"/>
                  </a:lnTo>
                  <a:lnTo>
                    <a:pt x="724" y="1583"/>
                  </a:lnTo>
                  <a:lnTo>
                    <a:pt x="724" y="1579"/>
                  </a:lnTo>
                  <a:lnTo>
                    <a:pt x="724" y="1575"/>
                  </a:lnTo>
                  <a:lnTo>
                    <a:pt x="699" y="1575"/>
                  </a:lnTo>
                  <a:lnTo>
                    <a:pt x="699" y="1579"/>
                  </a:lnTo>
                  <a:lnTo>
                    <a:pt x="699" y="1583"/>
                  </a:lnTo>
                  <a:lnTo>
                    <a:pt x="700" y="2976"/>
                  </a:lnTo>
                  <a:lnTo>
                    <a:pt x="696" y="3011"/>
                  </a:lnTo>
                  <a:lnTo>
                    <a:pt x="685" y="3044"/>
                  </a:lnTo>
                  <a:lnTo>
                    <a:pt x="670" y="3073"/>
                  </a:lnTo>
                  <a:lnTo>
                    <a:pt x="649" y="3098"/>
                  </a:lnTo>
                  <a:lnTo>
                    <a:pt x="624" y="3119"/>
                  </a:lnTo>
                  <a:lnTo>
                    <a:pt x="595" y="3135"/>
                  </a:lnTo>
                  <a:lnTo>
                    <a:pt x="562" y="3145"/>
                  </a:lnTo>
                  <a:lnTo>
                    <a:pt x="527" y="3148"/>
                  </a:lnTo>
                  <a:lnTo>
                    <a:pt x="493" y="3145"/>
                  </a:lnTo>
                  <a:lnTo>
                    <a:pt x="461" y="3135"/>
                  </a:lnTo>
                  <a:lnTo>
                    <a:pt x="432" y="3119"/>
                  </a:lnTo>
                  <a:lnTo>
                    <a:pt x="406" y="3098"/>
                  </a:lnTo>
                  <a:lnTo>
                    <a:pt x="384" y="3073"/>
                  </a:lnTo>
                  <a:lnTo>
                    <a:pt x="369" y="3044"/>
                  </a:lnTo>
                  <a:lnTo>
                    <a:pt x="359" y="3011"/>
                  </a:lnTo>
                  <a:lnTo>
                    <a:pt x="355" y="2976"/>
                  </a:lnTo>
                  <a:lnTo>
                    <a:pt x="355" y="1583"/>
                  </a:lnTo>
                  <a:lnTo>
                    <a:pt x="355" y="1579"/>
                  </a:lnTo>
                  <a:lnTo>
                    <a:pt x="355" y="1575"/>
                  </a:lnTo>
                  <a:lnTo>
                    <a:pt x="355" y="1575"/>
                  </a:lnTo>
                  <a:lnTo>
                    <a:pt x="355" y="1417"/>
                  </a:lnTo>
                  <a:lnTo>
                    <a:pt x="355" y="1408"/>
                  </a:lnTo>
                  <a:lnTo>
                    <a:pt x="355" y="1400"/>
                  </a:lnTo>
                  <a:lnTo>
                    <a:pt x="340" y="1346"/>
                  </a:lnTo>
                  <a:lnTo>
                    <a:pt x="331" y="1289"/>
                  </a:lnTo>
                  <a:lnTo>
                    <a:pt x="328" y="1230"/>
                  </a:lnTo>
                  <a:lnTo>
                    <a:pt x="328" y="522"/>
                  </a:lnTo>
                  <a:lnTo>
                    <a:pt x="311" y="516"/>
                  </a:lnTo>
                  <a:lnTo>
                    <a:pt x="294" y="507"/>
                  </a:lnTo>
                  <a:lnTo>
                    <a:pt x="278" y="496"/>
                  </a:lnTo>
                  <a:lnTo>
                    <a:pt x="256" y="483"/>
                  </a:lnTo>
                  <a:lnTo>
                    <a:pt x="231" y="467"/>
                  </a:lnTo>
                  <a:lnTo>
                    <a:pt x="202" y="450"/>
                  </a:lnTo>
                  <a:lnTo>
                    <a:pt x="172" y="433"/>
                  </a:lnTo>
                  <a:lnTo>
                    <a:pt x="139" y="415"/>
                  </a:lnTo>
                  <a:lnTo>
                    <a:pt x="108" y="397"/>
                  </a:lnTo>
                  <a:lnTo>
                    <a:pt x="76" y="380"/>
                  </a:lnTo>
                  <a:lnTo>
                    <a:pt x="47" y="364"/>
                  </a:lnTo>
                  <a:lnTo>
                    <a:pt x="22" y="350"/>
                  </a:lnTo>
                  <a:lnTo>
                    <a:pt x="0" y="339"/>
                  </a:lnTo>
                  <a:lnTo>
                    <a:pt x="42" y="316"/>
                  </a:lnTo>
                  <a:lnTo>
                    <a:pt x="81" y="288"/>
                  </a:lnTo>
                  <a:lnTo>
                    <a:pt x="116" y="255"/>
                  </a:lnTo>
                  <a:lnTo>
                    <a:pt x="149" y="219"/>
                  </a:lnTo>
                  <a:lnTo>
                    <a:pt x="175" y="180"/>
                  </a:lnTo>
                  <a:lnTo>
                    <a:pt x="198" y="137"/>
                  </a:lnTo>
                  <a:lnTo>
                    <a:pt x="225" y="153"/>
                  </a:lnTo>
                  <a:lnTo>
                    <a:pt x="254" y="168"/>
                  </a:lnTo>
                  <a:lnTo>
                    <a:pt x="285" y="186"/>
                  </a:lnTo>
                  <a:lnTo>
                    <a:pt x="353" y="143"/>
                  </a:lnTo>
                  <a:lnTo>
                    <a:pt x="376" y="185"/>
                  </a:lnTo>
                  <a:lnTo>
                    <a:pt x="405" y="225"/>
                  </a:lnTo>
                  <a:lnTo>
                    <a:pt x="436" y="260"/>
                  </a:lnTo>
                  <a:lnTo>
                    <a:pt x="473" y="292"/>
                  </a:lnTo>
                  <a:lnTo>
                    <a:pt x="513" y="318"/>
                  </a:lnTo>
                  <a:lnTo>
                    <a:pt x="555" y="341"/>
                  </a:lnTo>
                  <a:lnTo>
                    <a:pt x="504" y="369"/>
                  </a:lnTo>
                  <a:lnTo>
                    <a:pt x="507" y="394"/>
                  </a:lnTo>
                  <a:lnTo>
                    <a:pt x="505" y="418"/>
                  </a:lnTo>
                  <a:lnTo>
                    <a:pt x="543" y="397"/>
                  </a:lnTo>
                  <a:lnTo>
                    <a:pt x="579" y="379"/>
                  </a:lnTo>
                  <a:lnTo>
                    <a:pt x="612" y="363"/>
                  </a:lnTo>
                  <a:lnTo>
                    <a:pt x="658" y="373"/>
                  </a:lnTo>
                  <a:lnTo>
                    <a:pt x="734" y="444"/>
                  </a:lnTo>
                  <a:lnTo>
                    <a:pt x="791" y="392"/>
                  </a:lnTo>
                  <a:lnTo>
                    <a:pt x="823" y="406"/>
                  </a:lnTo>
                  <a:lnTo>
                    <a:pt x="855" y="421"/>
                  </a:lnTo>
                  <a:lnTo>
                    <a:pt x="887" y="435"/>
                  </a:lnTo>
                  <a:lnTo>
                    <a:pt x="919" y="450"/>
                  </a:lnTo>
                  <a:lnTo>
                    <a:pt x="948" y="464"/>
                  </a:lnTo>
                  <a:lnTo>
                    <a:pt x="977" y="478"/>
                  </a:lnTo>
                  <a:lnTo>
                    <a:pt x="1002" y="490"/>
                  </a:lnTo>
                  <a:lnTo>
                    <a:pt x="1024" y="499"/>
                  </a:lnTo>
                  <a:lnTo>
                    <a:pt x="1042" y="508"/>
                  </a:lnTo>
                  <a:lnTo>
                    <a:pt x="1057" y="515"/>
                  </a:lnTo>
                  <a:lnTo>
                    <a:pt x="1065" y="519"/>
                  </a:lnTo>
                  <a:lnTo>
                    <a:pt x="1069" y="521"/>
                  </a:lnTo>
                  <a:lnTo>
                    <a:pt x="1092" y="530"/>
                  </a:lnTo>
                  <a:lnTo>
                    <a:pt x="1115" y="534"/>
                  </a:lnTo>
                  <a:lnTo>
                    <a:pt x="1139" y="537"/>
                  </a:lnTo>
                  <a:lnTo>
                    <a:pt x="1164" y="534"/>
                  </a:lnTo>
                  <a:lnTo>
                    <a:pt x="1190" y="528"/>
                  </a:lnTo>
                  <a:lnTo>
                    <a:pt x="1214" y="518"/>
                  </a:lnTo>
                  <a:lnTo>
                    <a:pt x="1251" y="491"/>
                  </a:lnTo>
                  <a:lnTo>
                    <a:pt x="1288" y="461"/>
                  </a:lnTo>
                  <a:lnTo>
                    <a:pt x="1323" y="427"/>
                  </a:lnTo>
                  <a:lnTo>
                    <a:pt x="1357" y="391"/>
                  </a:lnTo>
                  <a:lnTo>
                    <a:pt x="1389" y="353"/>
                  </a:lnTo>
                  <a:lnTo>
                    <a:pt x="1419" y="314"/>
                  </a:lnTo>
                  <a:lnTo>
                    <a:pt x="1447" y="276"/>
                  </a:lnTo>
                  <a:lnTo>
                    <a:pt x="1474" y="238"/>
                  </a:lnTo>
                  <a:lnTo>
                    <a:pt x="1498" y="201"/>
                  </a:lnTo>
                  <a:lnTo>
                    <a:pt x="1520" y="166"/>
                  </a:lnTo>
                  <a:lnTo>
                    <a:pt x="1538" y="134"/>
                  </a:lnTo>
                  <a:lnTo>
                    <a:pt x="1554" y="105"/>
                  </a:lnTo>
                  <a:lnTo>
                    <a:pt x="1566" y="81"/>
                  </a:lnTo>
                  <a:lnTo>
                    <a:pt x="1581" y="56"/>
                  </a:lnTo>
                  <a:lnTo>
                    <a:pt x="1601" y="35"/>
                  </a:lnTo>
                  <a:lnTo>
                    <a:pt x="1624" y="20"/>
                  </a:lnTo>
                  <a:lnTo>
                    <a:pt x="1649" y="7"/>
                  </a:lnTo>
                  <a:lnTo>
                    <a:pt x="1677" y="1"/>
                  </a:lnTo>
                  <a:lnTo>
                    <a:pt x="1705" y="0"/>
                  </a:lnTo>
                  <a:close/>
                </a:path>
              </a:pathLst>
            </a:custGeom>
            <a:grpFill/>
            <a:ln w="0">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Raleway" panose="020B0503030101060003" pitchFamily="34" charset="0"/>
              </a:endParaRPr>
            </a:p>
          </p:txBody>
        </p:sp>
      </p:grpSp>
      <p:graphicFrame>
        <p:nvGraphicFramePr>
          <p:cNvPr id="29" name="Table 28">
            <a:extLst>
              <a:ext uri="{FF2B5EF4-FFF2-40B4-BE49-F238E27FC236}">
                <a16:creationId xmlns:a16="http://schemas.microsoft.com/office/drawing/2014/main" id="{8F1F93C5-DFA9-4687-8A50-360A25BE552C}"/>
              </a:ext>
            </a:extLst>
          </p:cNvPr>
          <p:cNvGraphicFramePr>
            <a:graphicFrameLocks noGrp="1"/>
          </p:cNvGraphicFramePr>
          <p:nvPr>
            <p:extLst>
              <p:ext uri="{D42A27DB-BD31-4B8C-83A1-F6EECF244321}">
                <p14:modId xmlns:p14="http://schemas.microsoft.com/office/powerpoint/2010/main" val="655490803"/>
              </p:ext>
            </p:extLst>
          </p:nvPr>
        </p:nvGraphicFramePr>
        <p:xfrm>
          <a:off x="503238" y="2902064"/>
          <a:ext cx="7354800" cy="3346831"/>
        </p:xfrm>
        <a:graphic>
          <a:graphicData uri="http://schemas.openxmlformats.org/drawingml/2006/table">
            <a:tbl>
              <a:tblPr firstRow="1" bandRow="1">
                <a:tableStyleId>{5940675A-B579-460E-94D1-54222C63F5DA}</a:tableStyleId>
              </a:tblPr>
              <a:tblGrid>
                <a:gridCol w="2517369">
                  <a:extLst>
                    <a:ext uri="{9D8B030D-6E8A-4147-A177-3AD203B41FA5}">
                      <a16:colId xmlns:a16="http://schemas.microsoft.com/office/drawing/2014/main" val="20000"/>
                    </a:ext>
                  </a:extLst>
                </a:gridCol>
                <a:gridCol w="2290272">
                  <a:extLst>
                    <a:ext uri="{9D8B030D-6E8A-4147-A177-3AD203B41FA5}">
                      <a16:colId xmlns:a16="http://schemas.microsoft.com/office/drawing/2014/main" val="20001"/>
                    </a:ext>
                  </a:extLst>
                </a:gridCol>
                <a:gridCol w="2547159">
                  <a:extLst>
                    <a:ext uri="{9D8B030D-6E8A-4147-A177-3AD203B41FA5}">
                      <a16:colId xmlns:a16="http://schemas.microsoft.com/office/drawing/2014/main" val="20002"/>
                    </a:ext>
                  </a:extLst>
                </a:gridCol>
              </a:tblGrid>
              <a:tr h="1849474">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US" sz="1800" b="1">
                          <a:solidFill>
                            <a:schemeClr val="accent1"/>
                          </a:solidFill>
                          <a:latin typeface="+mj-lt"/>
                        </a:rPr>
                        <a:t>Understanding </a:t>
                      </a:r>
                      <a:br>
                        <a:rPr lang="en-US" sz="1800" b="1">
                          <a:solidFill>
                            <a:schemeClr val="accent1"/>
                          </a:solidFill>
                          <a:latin typeface="+mj-lt"/>
                        </a:rPr>
                      </a:br>
                      <a:r>
                        <a:rPr lang="en-US" sz="1800" b="1">
                          <a:solidFill>
                            <a:schemeClr val="accent1"/>
                          </a:solidFill>
                          <a:latin typeface="+mj-lt"/>
                        </a:rPr>
                        <a:t>Your Needs </a:t>
                      </a:r>
                    </a:p>
                    <a:p>
                      <a:pPr marL="0" marR="0" lvl="0" indent="0" algn="ctr" defTabSz="685800" rtl="0" eaLnBrk="1" fontAlgn="auto" latinLnBrk="0" hangingPunct="1">
                        <a:lnSpc>
                          <a:spcPct val="150000"/>
                        </a:lnSpc>
                        <a:spcBef>
                          <a:spcPts val="0"/>
                        </a:spcBef>
                        <a:spcAft>
                          <a:spcPts val="0"/>
                        </a:spcAft>
                        <a:buClrTx/>
                        <a:buSzTx/>
                        <a:buFontTx/>
                        <a:buNone/>
                        <a:tabLst/>
                        <a:defRPr/>
                      </a:pPr>
                      <a:endParaRPr lang="en-US" sz="1200" kern="0">
                        <a:solidFill>
                          <a:schemeClr val="tx1">
                            <a:lumMod val="75000"/>
                            <a:lumOff val="25000"/>
                          </a:schemeClr>
                        </a:solidFill>
                        <a:latin typeface="+mj-lt"/>
                      </a:endParaRPr>
                    </a:p>
                    <a:p>
                      <a:pPr marL="0" marR="0" lvl="0" indent="0" algn="ctr" defTabSz="685800" rtl="0" eaLnBrk="1" fontAlgn="auto" latinLnBrk="0" hangingPunct="1">
                        <a:lnSpc>
                          <a:spcPct val="150000"/>
                        </a:lnSpc>
                        <a:spcBef>
                          <a:spcPts val="0"/>
                        </a:spcBef>
                        <a:spcAft>
                          <a:spcPts val="0"/>
                        </a:spcAft>
                        <a:buClrTx/>
                        <a:buSzTx/>
                        <a:buFontTx/>
                        <a:buNone/>
                        <a:tabLst/>
                        <a:defRPr/>
                      </a:pPr>
                      <a:r>
                        <a:rPr lang="en-US" sz="1200" kern="0">
                          <a:solidFill>
                            <a:schemeClr val="tx1">
                              <a:lumMod val="75000"/>
                              <a:lumOff val="25000"/>
                            </a:schemeClr>
                          </a:solidFill>
                          <a:latin typeface="+mj-lt"/>
                        </a:rPr>
                        <a:t>Our starting point will be consultation and collaboration with the Alpro team. This collaboration starts with a kick-off session and then flows through everything we do, from </a:t>
                      </a:r>
                      <a:r>
                        <a:rPr lang="en-US" sz="1200" kern="0" baseline="0">
                          <a:solidFill>
                            <a:schemeClr val="tx1">
                              <a:lumMod val="75000"/>
                              <a:lumOff val="25000"/>
                            </a:schemeClr>
                          </a:solidFill>
                          <a:latin typeface="+mj-lt"/>
                        </a:rPr>
                        <a:t>stakeholder alignment </a:t>
                      </a:r>
                      <a:r>
                        <a:rPr lang="en-US" sz="1200" kern="0">
                          <a:solidFill>
                            <a:schemeClr val="tx1">
                              <a:lumMod val="75000"/>
                              <a:lumOff val="25000"/>
                            </a:schemeClr>
                          </a:solidFill>
                          <a:latin typeface="+mj-lt"/>
                        </a:rPr>
                        <a:t>to</a:t>
                      </a:r>
                      <a:r>
                        <a:rPr lang="en-US" sz="1200" kern="0" baseline="0">
                          <a:solidFill>
                            <a:schemeClr val="tx1">
                              <a:lumMod val="75000"/>
                              <a:lumOff val="25000"/>
                            </a:schemeClr>
                          </a:solidFill>
                          <a:latin typeface="+mj-lt"/>
                        </a:rPr>
                        <a:t> a final presentation.</a:t>
                      </a:r>
                      <a:endParaRPr lang="en-US" sz="1200" kern="0">
                        <a:solidFill>
                          <a:schemeClr val="tx1">
                            <a:lumMod val="75000"/>
                            <a:lumOff val="25000"/>
                          </a:schemeClr>
                        </a:solidFill>
                        <a:latin typeface="+mj-lt"/>
                      </a:endParaRPr>
                    </a:p>
                  </a:txBody>
                  <a:tcPr marL="182880" marR="18288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US" sz="1800" b="1">
                          <a:solidFill>
                            <a:schemeClr val="accent1"/>
                          </a:solidFill>
                          <a:latin typeface="+mj-lt"/>
                        </a:rPr>
                        <a:t>Upfront </a:t>
                      </a:r>
                    </a:p>
                    <a:p>
                      <a:pPr marL="0" marR="0" lvl="0" indent="0" algn="ctr" defTabSz="685800" rtl="0" eaLnBrk="1" fontAlgn="auto" latinLnBrk="0" hangingPunct="1">
                        <a:lnSpc>
                          <a:spcPct val="100000"/>
                        </a:lnSpc>
                        <a:spcBef>
                          <a:spcPts val="0"/>
                        </a:spcBef>
                        <a:spcAft>
                          <a:spcPts val="0"/>
                        </a:spcAft>
                        <a:buClrTx/>
                        <a:buSzTx/>
                        <a:buFontTx/>
                        <a:buNone/>
                        <a:tabLst/>
                        <a:defRPr/>
                      </a:pPr>
                      <a:r>
                        <a:rPr lang="en-US" sz="1800" b="1">
                          <a:solidFill>
                            <a:schemeClr val="accent1"/>
                          </a:solidFill>
                          <a:latin typeface="+mj-lt"/>
                        </a:rPr>
                        <a:t>Alignment</a:t>
                      </a:r>
                    </a:p>
                    <a:p>
                      <a:pPr marL="0" marR="0" lvl="0" indent="0" algn="ctr" defTabSz="685800" rtl="0" eaLnBrk="1" fontAlgn="auto" latinLnBrk="0" hangingPunct="1">
                        <a:lnSpc>
                          <a:spcPct val="150000"/>
                        </a:lnSpc>
                        <a:spcBef>
                          <a:spcPts val="0"/>
                        </a:spcBef>
                        <a:spcAft>
                          <a:spcPts val="0"/>
                        </a:spcAft>
                        <a:buClrTx/>
                        <a:buSzTx/>
                        <a:buFontTx/>
                        <a:buNone/>
                        <a:tabLst/>
                        <a:defRPr/>
                      </a:pPr>
                      <a:endParaRPr lang="en-US" sz="1200" kern="0">
                        <a:solidFill>
                          <a:schemeClr val="tx1">
                            <a:lumMod val="75000"/>
                            <a:lumOff val="25000"/>
                          </a:schemeClr>
                        </a:solidFill>
                        <a:latin typeface="+mj-lt"/>
                      </a:endParaRPr>
                    </a:p>
                    <a:p>
                      <a:pPr marL="0" marR="0" lvl="0" indent="0" algn="ctr" defTabSz="685800" rtl="0" eaLnBrk="1" fontAlgn="auto" latinLnBrk="0" hangingPunct="1">
                        <a:lnSpc>
                          <a:spcPct val="150000"/>
                        </a:lnSpc>
                        <a:spcBef>
                          <a:spcPts val="0"/>
                        </a:spcBef>
                        <a:spcAft>
                          <a:spcPts val="0"/>
                        </a:spcAft>
                        <a:buClrTx/>
                        <a:buSzTx/>
                        <a:buFontTx/>
                        <a:buNone/>
                        <a:tabLst/>
                        <a:defRPr/>
                      </a:pPr>
                      <a:r>
                        <a:rPr lang="en-US" sz="1200" kern="0">
                          <a:solidFill>
                            <a:schemeClr val="tx1">
                              <a:lumMod val="75000"/>
                              <a:lumOff val="25000"/>
                            </a:schemeClr>
                          </a:solidFill>
                          <a:latin typeface="+mj-lt"/>
                        </a:rPr>
                        <a:t>Kicking off the project</a:t>
                      </a:r>
                      <a:r>
                        <a:rPr lang="en-US" sz="1200" kern="0" baseline="0">
                          <a:solidFill>
                            <a:schemeClr val="tx1">
                              <a:lumMod val="75000"/>
                              <a:lumOff val="25000"/>
                            </a:schemeClr>
                          </a:solidFill>
                          <a:latin typeface="+mj-lt"/>
                        </a:rPr>
                        <a:t> between SKIM and Alpro </a:t>
                      </a:r>
                      <a:r>
                        <a:rPr lang="en-US" sz="1200">
                          <a:solidFill>
                            <a:schemeClr val="tx1">
                              <a:lumMod val="75000"/>
                              <a:lumOff val="25000"/>
                            </a:schemeClr>
                          </a:solidFill>
                          <a:latin typeface="+mj-lt"/>
                        </a:rPr>
                        <a:t>research teams </a:t>
                      </a:r>
                      <a:r>
                        <a:rPr lang="en-US" sz="1200" kern="0">
                          <a:solidFill>
                            <a:schemeClr val="tx1">
                              <a:lumMod val="75000"/>
                              <a:lumOff val="25000"/>
                            </a:schemeClr>
                          </a:solidFill>
                          <a:latin typeface="+mj-lt"/>
                        </a:rPr>
                        <a:t>ensures that we have everything we need to tailor this research to</a:t>
                      </a:r>
                      <a:r>
                        <a:rPr lang="en-US" sz="1200" kern="0" baseline="0">
                          <a:solidFill>
                            <a:schemeClr val="tx1">
                              <a:lumMod val="75000"/>
                              <a:lumOff val="25000"/>
                            </a:schemeClr>
                          </a:solidFill>
                          <a:latin typeface="+mj-lt"/>
                        </a:rPr>
                        <a:t> your needs.</a:t>
                      </a:r>
                      <a:endParaRPr lang="en-US" sz="1200" kern="0">
                        <a:solidFill>
                          <a:schemeClr val="tx1">
                            <a:lumMod val="75000"/>
                            <a:lumOff val="25000"/>
                          </a:schemeClr>
                        </a:solidFill>
                        <a:latin typeface="+mj-lt"/>
                      </a:endParaRPr>
                    </a:p>
                  </a:txBody>
                  <a:tcPr marL="182880" marR="18288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lvl="0" indent="0" algn="ctr" defTabSz="685800" rtl="0" eaLnBrk="1" fontAlgn="auto" latinLnBrk="0" hangingPunct="1">
                        <a:lnSpc>
                          <a:spcPct val="150000"/>
                        </a:lnSpc>
                        <a:spcBef>
                          <a:spcPts val="0"/>
                        </a:spcBef>
                        <a:spcAft>
                          <a:spcPts val="0"/>
                        </a:spcAft>
                        <a:buClrTx/>
                        <a:buSzTx/>
                        <a:buFontTx/>
                        <a:buNone/>
                        <a:tabLst/>
                        <a:defRPr/>
                      </a:pPr>
                      <a:r>
                        <a:rPr lang="en-US" sz="1800" b="1">
                          <a:solidFill>
                            <a:schemeClr val="accent1"/>
                          </a:solidFill>
                          <a:latin typeface="+mj-lt"/>
                        </a:rPr>
                        <a:t>Collating Inputs</a:t>
                      </a:r>
                      <a:br>
                        <a:rPr lang="en-US" sz="1800" b="1">
                          <a:solidFill>
                            <a:schemeClr val="accent1"/>
                          </a:solidFill>
                          <a:latin typeface="+mj-lt"/>
                        </a:rPr>
                      </a:br>
                      <a:endParaRPr lang="en-US" sz="1800" b="1">
                        <a:solidFill>
                          <a:schemeClr val="accent1"/>
                        </a:solidFill>
                        <a:latin typeface="+mj-lt"/>
                      </a:endParaRPr>
                    </a:p>
                    <a:p>
                      <a:pPr marL="0" marR="0" lvl="0" indent="0" algn="ctr" defTabSz="685800" rtl="0" eaLnBrk="1" fontAlgn="auto" latinLnBrk="0" hangingPunct="1">
                        <a:lnSpc>
                          <a:spcPct val="150000"/>
                        </a:lnSpc>
                        <a:spcBef>
                          <a:spcPts val="0"/>
                        </a:spcBef>
                        <a:spcAft>
                          <a:spcPts val="0"/>
                        </a:spcAft>
                        <a:buClrTx/>
                        <a:buSzTx/>
                        <a:buFontTx/>
                        <a:buNone/>
                        <a:tabLst/>
                        <a:defRPr/>
                      </a:pPr>
                      <a:r>
                        <a:rPr lang="en-US" sz="1200" kern="0">
                          <a:solidFill>
                            <a:schemeClr val="tx1">
                              <a:lumMod val="75000"/>
                              <a:lumOff val="25000"/>
                            </a:schemeClr>
                          </a:solidFill>
                          <a:latin typeface="+mj-lt"/>
                        </a:rPr>
                        <a:t>Creating and gathering the inputs (i.e., the claims to be used) for the study will be a collaborative process. Together, we will collate the final inputs from the workshop and integrate them into the consumer study.</a:t>
                      </a:r>
                    </a:p>
                  </a:txBody>
                  <a:tcPr marL="182880" marR="182880">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0"/>
                  </a:ext>
                </a:extLst>
              </a:tr>
            </a:tbl>
          </a:graphicData>
        </a:graphic>
      </p:graphicFrame>
      <p:grpSp>
        <p:nvGrpSpPr>
          <p:cNvPr id="30" name="Group 29">
            <a:extLst>
              <a:ext uri="{FF2B5EF4-FFF2-40B4-BE49-F238E27FC236}">
                <a16:creationId xmlns:a16="http://schemas.microsoft.com/office/drawing/2014/main" id="{DF0A736D-24D3-4566-AA5A-F82A428ABB9C}"/>
              </a:ext>
            </a:extLst>
          </p:cNvPr>
          <p:cNvGrpSpPr/>
          <p:nvPr/>
        </p:nvGrpSpPr>
        <p:grpSpPr>
          <a:xfrm>
            <a:off x="1389966" y="2101601"/>
            <a:ext cx="683942" cy="685237"/>
            <a:chOff x="2775316" y="1574988"/>
            <a:chExt cx="753889" cy="851443"/>
          </a:xfrm>
          <a:solidFill>
            <a:schemeClr val="accent1"/>
          </a:solidFill>
        </p:grpSpPr>
        <p:sp>
          <p:nvSpPr>
            <p:cNvPr id="31" name="Freeform 44">
              <a:extLst>
                <a:ext uri="{FF2B5EF4-FFF2-40B4-BE49-F238E27FC236}">
                  <a16:creationId xmlns:a16="http://schemas.microsoft.com/office/drawing/2014/main" id="{306F3826-CC42-4427-8F63-873CC3A369B4}"/>
                </a:ext>
              </a:extLst>
            </p:cNvPr>
            <p:cNvSpPr>
              <a:spLocks/>
            </p:cNvSpPr>
            <p:nvPr/>
          </p:nvSpPr>
          <p:spPr bwMode="auto">
            <a:xfrm flipH="1">
              <a:off x="2775316" y="1574988"/>
              <a:ext cx="753889" cy="851443"/>
            </a:xfrm>
            <a:custGeom>
              <a:avLst/>
              <a:gdLst>
                <a:gd name="T0" fmla="*/ 1613 w 3152"/>
                <a:gd name="T1" fmla="*/ 6 h 3559"/>
                <a:gd name="T2" fmla="*/ 1942 w 3152"/>
                <a:gd name="T3" fmla="*/ 61 h 3559"/>
                <a:gd name="T4" fmla="*/ 2235 w 3152"/>
                <a:gd name="T5" fmla="*/ 171 h 3559"/>
                <a:gd name="T6" fmla="*/ 2484 w 3152"/>
                <a:gd name="T7" fmla="*/ 336 h 3559"/>
                <a:gd name="T8" fmla="*/ 2678 w 3152"/>
                <a:gd name="T9" fmla="*/ 556 h 3559"/>
                <a:gd name="T10" fmla="*/ 2805 w 3152"/>
                <a:gd name="T11" fmla="*/ 828 h 3559"/>
                <a:gd name="T12" fmla="*/ 2856 w 3152"/>
                <a:gd name="T13" fmla="*/ 1153 h 3559"/>
                <a:gd name="T14" fmla="*/ 2819 w 3152"/>
                <a:gd name="T15" fmla="*/ 1530 h 3559"/>
                <a:gd name="T16" fmla="*/ 2856 w 3152"/>
                <a:gd name="T17" fmla="*/ 1654 h 3559"/>
                <a:gd name="T18" fmla="*/ 2940 w 3152"/>
                <a:gd name="T19" fmla="*/ 1787 h 3559"/>
                <a:gd name="T20" fmla="*/ 3040 w 3152"/>
                <a:gd name="T21" fmla="*/ 1920 h 3559"/>
                <a:gd name="T22" fmla="*/ 3121 w 3152"/>
                <a:gd name="T23" fmla="*/ 2040 h 3559"/>
                <a:gd name="T24" fmla="*/ 3152 w 3152"/>
                <a:gd name="T25" fmla="*/ 2136 h 3559"/>
                <a:gd name="T26" fmla="*/ 3077 w 3152"/>
                <a:gd name="T27" fmla="*/ 2221 h 3559"/>
                <a:gd name="T28" fmla="*/ 2948 w 3152"/>
                <a:gd name="T29" fmla="*/ 2273 h 3559"/>
                <a:gd name="T30" fmla="*/ 2869 w 3152"/>
                <a:gd name="T31" fmla="*/ 2284 h 3559"/>
                <a:gd name="T32" fmla="*/ 2876 w 3152"/>
                <a:gd name="T33" fmla="*/ 2306 h 3559"/>
                <a:gd name="T34" fmla="*/ 2910 w 3152"/>
                <a:gd name="T35" fmla="*/ 2385 h 3559"/>
                <a:gd name="T36" fmla="*/ 2937 w 3152"/>
                <a:gd name="T37" fmla="*/ 2479 h 3559"/>
                <a:gd name="T38" fmla="*/ 2927 w 3152"/>
                <a:gd name="T39" fmla="*/ 2550 h 3559"/>
                <a:gd name="T40" fmla="*/ 2848 w 3152"/>
                <a:gd name="T41" fmla="*/ 2585 h 3559"/>
                <a:gd name="T42" fmla="*/ 2765 w 3152"/>
                <a:gd name="T43" fmla="*/ 2587 h 3559"/>
                <a:gd name="T44" fmla="*/ 2740 w 3152"/>
                <a:gd name="T45" fmla="*/ 2585 h 3559"/>
                <a:gd name="T46" fmla="*/ 2786 w 3152"/>
                <a:gd name="T47" fmla="*/ 2623 h 3559"/>
                <a:gd name="T48" fmla="*/ 2847 w 3152"/>
                <a:gd name="T49" fmla="*/ 2690 h 3559"/>
                <a:gd name="T50" fmla="*/ 2864 w 3152"/>
                <a:gd name="T51" fmla="*/ 2761 h 3559"/>
                <a:gd name="T52" fmla="*/ 2810 w 3152"/>
                <a:gd name="T53" fmla="*/ 2821 h 3559"/>
                <a:gd name="T54" fmla="*/ 2726 w 3152"/>
                <a:gd name="T55" fmla="*/ 2874 h 3559"/>
                <a:gd name="T56" fmla="*/ 2660 w 3152"/>
                <a:gd name="T57" fmla="*/ 2908 h 3559"/>
                <a:gd name="T58" fmla="*/ 2651 w 3152"/>
                <a:gd name="T59" fmla="*/ 2920 h 3559"/>
                <a:gd name="T60" fmla="*/ 2651 w 3152"/>
                <a:gd name="T61" fmla="*/ 2979 h 3559"/>
                <a:gd name="T62" fmla="*/ 2639 w 3152"/>
                <a:gd name="T63" fmla="*/ 3069 h 3559"/>
                <a:gd name="T64" fmla="*/ 2602 w 3152"/>
                <a:gd name="T65" fmla="*/ 3167 h 3559"/>
                <a:gd name="T66" fmla="*/ 2528 w 3152"/>
                <a:gd name="T67" fmla="*/ 3245 h 3559"/>
                <a:gd name="T68" fmla="*/ 2404 w 3152"/>
                <a:gd name="T69" fmla="*/ 3280 h 3559"/>
                <a:gd name="T70" fmla="*/ 2198 w 3152"/>
                <a:gd name="T71" fmla="*/ 3257 h 3559"/>
                <a:gd name="T72" fmla="*/ 2062 w 3152"/>
                <a:gd name="T73" fmla="*/ 3215 h 3559"/>
                <a:gd name="T74" fmla="*/ 1998 w 3152"/>
                <a:gd name="T75" fmla="*/ 3177 h 3559"/>
                <a:gd name="T76" fmla="*/ 1982 w 3152"/>
                <a:gd name="T77" fmla="*/ 3161 h 3559"/>
                <a:gd name="T78" fmla="*/ 664 w 3152"/>
                <a:gd name="T79" fmla="*/ 2690 h 3559"/>
                <a:gd name="T80" fmla="*/ 619 w 3152"/>
                <a:gd name="T81" fmla="*/ 2638 h 3559"/>
                <a:gd name="T82" fmla="*/ 527 w 3152"/>
                <a:gd name="T83" fmla="*/ 2526 h 3559"/>
                <a:gd name="T84" fmla="*/ 408 w 3152"/>
                <a:gd name="T85" fmla="*/ 2361 h 3559"/>
                <a:gd name="T86" fmla="*/ 278 w 3152"/>
                <a:gd name="T87" fmla="*/ 2156 h 3559"/>
                <a:gd name="T88" fmla="*/ 156 w 3152"/>
                <a:gd name="T89" fmla="*/ 1918 h 3559"/>
                <a:gd name="T90" fmla="*/ 59 w 3152"/>
                <a:gd name="T91" fmla="*/ 1659 h 3559"/>
                <a:gd name="T92" fmla="*/ 5 w 3152"/>
                <a:gd name="T93" fmla="*/ 1388 h 3559"/>
                <a:gd name="T94" fmla="*/ 13 w 3152"/>
                <a:gd name="T95" fmla="*/ 1115 h 3559"/>
                <a:gd name="T96" fmla="*/ 33 w 3152"/>
                <a:gd name="T97" fmla="*/ 990 h 3559"/>
                <a:gd name="T98" fmla="*/ 59 w 3152"/>
                <a:gd name="T99" fmla="*/ 843 h 3559"/>
                <a:gd name="T100" fmla="*/ 101 w 3152"/>
                <a:gd name="T101" fmla="*/ 684 h 3559"/>
                <a:gd name="T102" fmla="*/ 177 w 3152"/>
                <a:gd name="T103" fmla="*/ 522 h 3559"/>
                <a:gd name="T104" fmla="*/ 298 w 3152"/>
                <a:gd name="T105" fmla="*/ 366 h 3559"/>
                <a:gd name="T106" fmla="*/ 480 w 3152"/>
                <a:gd name="T107" fmla="*/ 226 h 3559"/>
                <a:gd name="T108" fmla="*/ 735 w 3152"/>
                <a:gd name="T109" fmla="*/ 111 h 3559"/>
                <a:gd name="T110" fmla="*/ 1077 w 3152"/>
                <a:gd name="T111" fmla="*/ 29 h 3559"/>
                <a:gd name="T112" fmla="*/ 1438 w 3152"/>
                <a:gd name="T113" fmla="*/ 0 h 35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152" h="3559">
                  <a:moveTo>
                    <a:pt x="1438" y="0"/>
                  </a:moveTo>
                  <a:lnTo>
                    <a:pt x="1438" y="0"/>
                  </a:lnTo>
                  <a:lnTo>
                    <a:pt x="1526" y="1"/>
                  </a:lnTo>
                  <a:lnTo>
                    <a:pt x="1613" y="6"/>
                  </a:lnTo>
                  <a:lnTo>
                    <a:pt x="1698" y="15"/>
                  </a:lnTo>
                  <a:lnTo>
                    <a:pt x="1780" y="27"/>
                  </a:lnTo>
                  <a:lnTo>
                    <a:pt x="1861" y="42"/>
                  </a:lnTo>
                  <a:lnTo>
                    <a:pt x="1942" y="61"/>
                  </a:lnTo>
                  <a:lnTo>
                    <a:pt x="2018" y="84"/>
                  </a:lnTo>
                  <a:lnTo>
                    <a:pt x="2094" y="110"/>
                  </a:lnTo>
                  <a:lnTo>
                    <a:pt x="2166" y="139"/>
                  </a:lnTo>
                  <a:lnTo>
                    <a:pt x="2235" y="171"/>
                  </a:lnTo>
                  <a:lnTo>
                    <a:pt x="2303" y="208"/>
                  </a:lnTo>
                  <a:lnTo>
                    <a:pt x="2366" y="247"/>
                  </a:lnTo>
                  <a:lnTo>
                    <a:pt x="2428" y="289"/>
                  </a:lnTo>
                  <a:lnTo>
                    <a:pt x="2484" y="336"/>
                  </a:lnTo>
                  <a:lnTo>
                    <a:pt x="2539" y="386"/>
                  </a:lnTo>
                  <a:lnTo>
                    <a:pt x="2589" y="439"/>
                  </a:lnTo>
                  <a:lnTo>
                    <a:pt x="2635" y="496"/>
                  </a:lnTo>
                  <a:lnTo>
                    <a:pt x="2678" y="556"/>
                  </a:lnTo>
                  <a:lnTo>
                    <a:pt x="2717" y="619"/>
                  </a:lnTo>
                  <a:lnTo>
                    <a:pt x="2751" y="685"/>
                  </a:lnTo>
                  <a:lnTo>
                    <a:pt x="2780" y="755"/>
                  </a:lnTo>
                  <a:lnTo>
                    <a:pt x="2805" y="828"/>
                  </a:lnTo>
                  <a:lnTo>
                    <a:pt x="2825" y="905"/>
                  </a:lnTo>
                  <a:lnTo>
                    <a:pt x="2841" y="984"/>
                  </a:lnTo>
                  <a:lnTo>
                    <a:pt x="2851" y="1067"/>
                  </a:lnTo>
                  <a:lnTo>
                    <a:pt x="2856" y="1153"/>
                  </a:lnTo>
                  <a:lnTo>
                    <a:pt x="2856" y="1243"/>
                  </a:lnTo>
                  <a:lnTo>
                    <a:pt x="2850" y="1335"/>
                  </a:lnTo>
                  <a:lnTo>
                    <a:pt x="2837" y="1431"/>
                  </a:lnTo>
                  <a:lnTo>
                    <a:pt x="2819" y="1530"/>
                  </a:lnTo>
                  <a:lnTo>
                    <a:pt x="2823" y="1559"/>
                  </a:lnTo>
                  <a:lnTo>
                    <a:pt x="2830" y="1590"/>
                  </a:lnTo>
                  <a:lnTo>
                    <a:pt x="2841" y="1621"/>
                  </a:lnTo>
                  <a:lnTo>
                    <a:pt x="2856" y="1654"/>
                  </a:lnTo>
                  <a:lnTo>
                    <a:pt x="2874" y="1687"/>
                  </a:lnTo>
                  <a:lnTo>
                    <a:pt x="2894" y="1719"/>
                  </a:lnTo>
                  <a:lnTo>
                    <a:pt x="2916" y="1753"/>
                  </a:lnTo>
                  <a:lnTo>
                    <a:pt x="2940" y="1787"/>
                  </a:lnTo>
                  <a:lnTo>
                    <a:pt x="2966" y="1821"/>
                  </a:lnTo>
                  <a:lnTo>
                    <a:pt x="2990" y="1855"/>
                  </a:lnTo>
                  <a:lnTo>
                    <a:pt x="3015" y="1887"/>
                  </a:lnTo>
                  <a:lnTo>
                    <a:pt x="3040" y="1920"/>
                  </a:lnTo>
                  <a:lnTo>
                    <a:pt x="3064" y="1952"/>
                  </a:lnTo>
                  <a:lnTo>
                    <a:pt x="3086" y="1983"/>
                  </a:lnTo>
                  <a:lnTo>
                    <a:pt x="3105" y="2012"/>
                  </a:lnTo>
                  <a:lnTo>
                    <a:pt x="3121" y="2040"/>
                  </a:lnTo>
                  <a:lnTo>
                    <a:pt x="3136" y="2067"/>
                  </a:lnTo>
                  <a:lnTo>
                    <a:pt x="3145" y="2092"/>
                  </a:lnTo>
                  <a:lnTo>
                    <a:pt x="3151" y="2115"/>
                  </a:lnTo>
                  <a:lnTo>
                    <a:pt x="3152" y="2136"/>
                  </a:lnTo>
                  <a:lnTo>
                    <a:pt x="3147" y="2155"/>
                  </a:lnTo>
                  <a:lnTo>
                    <a:pt x="3137" y="2171"/>
                  </a:lnTo>
                  <a:lnTo>
                    <a:pt x="3107" y="2198"/>
                  </a:lnTo>
                  <a:lnTo>
                    <a:pt x="3077" y="2221"/>
                  </a:lnTo>
                  <a:lnTo>
                    <a:pt x="3044" y="2239"/>
                  </a:lnTo>
                  <a:lnTo>
                    <a:pt x="3010" y="2254"/>
                  </a:lnTo>
                  <a:lnTo>
                    <a:pt x="2979" y="2264"/>
                  </a:lnTo>
                  <a:lnTo>
                    <a:pt x="2948" y="2273"/>
                  </a:lnTo>
                  <a:lnTo>
                    <a:pt x="2922" y="2278"/>
                  </a:lnTo>
                  <a:lnTo>
                    <a:pt x="2898" y="2282"/>
                  </a:lnTo>
                  <a:lnTo>
                    <a:pt x="2881" y="2283"/>
                  </a:lnTo>
                  <a:lnTo>
                    <a:pt x="2869" y="2284"/>
                  </a:lnTo>
                  <a:lnTo>
                    <a:pt x="2865" y="2284"/>
                  </a:lnTo>
                  <a:lnTo>
                    <a:pt x="2867" y="2288"/>
                  </a:lnTo>
                  <a:lnTo>
                    <a:pt x="2871" y="2295"/>
                  </a:lnTo>
                  <a:lnTo>
                    <a:pt x="2876" y="2306"/>
                  </a:lnTo>
                  <a:lnTo>
                    <a:pt x="2884" y="2322"/>
                  </a:lnTo>
                  <a:lnTo>
                    <a:pt x="2893" y="2340"/>
                  </a:lnTo>
                  <a:lnTo>
                    <a:pt x="2901" y="2361"/>
                  </a:lnTo>
                  <a:lnTo>
                    <a:pt x="2910" y="2385"/>
                  </a:lnTo>
                  <a:lnTo>
                    <a:pt x="2918" y="2408"/>
                  </a:lnTo>
                  <a:lnTo>
                    <a:pt x="2927" y="2433"/>
                  </a:lnTo>
                  <a:lnTo>
                    <a:pt x="2933" y="2456"/>
                  </a:lnTo>
                  <a:lnTo>
                    <a:pt x="2937" y="2479"/>
                  </a:lnTo>
                  <a:lnTo>
                    <a:pt x="2940" y="2500"/>
                  </a:lnTo>
                  <a:lnTo>
                    <a:pt x="2939" y="2520"/>
                  </a:lnTo>
                  <a:lnTo>
                    <a:pt x="2935" y="2538"/>
                  </a:lnTo>
                  <a:lnTo>
                    <a:pt x="2927" y="2550"/>
                  </a:lnTo>
                  <a:lnTo>
                    <a:pt x="2911" y="2564"/>
                  </a:lnTo>
                  <a:lnTo>
                    <a:pt x="2893" y="2575"/>
                  </a:lnTo>
                  <a:lnTo>
                    <a:pt x="2871" y="2581"/>
                  </a:lnTo>
                  <a:lnTo>
                    <a:pt x="2848" y="2585"/>
                  </a:lnTo>
                  <a:lnTo>
                    <a:pt x="2825" y="2588"/>
                  </a:lnTo>
                  <a:lnTo>
                    <a:pt x="2803" y="2589"/>
                  </a:lnTo>
                  <a:lnTo>
                    <a:pt x="2783" y="2588"/>
                  </a:lnTo>
                  <a:lnTo>
                    <a:pt x="2765" y="2587"/>
                  </a:lnTo>
                  <a:lnTo>
                    <a:pt x="2751" y="2585"/>
                  </a:lnTo>
                  <a:lnTo>
                    <a:pt x="2742" y="2583"/>
                  </a:lnTo>
                  <a:lnTo>
                    <a:pt x="2738" y="2583"/>
                  </a:lnTo>
                  <a:lnTo>
                    <a:pt x="2740" y="2585"/>
                  </a:lnTo>
                  <a:lnTo>
                    <a:pt x="2747" y="2590"/>
                  </a:lnTo>
                  <a:lnTo>
                    <a:pt x="2758" y="2598"/>
                  </a:lnTo>
                  <a:lnTo>
                    <a:pt x="2772" y="2610"/>
                  </a:lnTo>
                  <a:lnTo>
                    <a:pt x="2786" y="2623"/>
                  </a:lnTo>
                  <a:lnTo>
                    <a:pt x="2803" y="2638"/>
                  </a:lnTo>
                  <a:lnTo>
                    <a:pt x="2818" y="2654"/>
                  </a:lnTo>
                  <a:lnTo>
                    <a:pt x="2834" y="2672"/>
                  </a:lnTo>
                  <a:lnTo>
                    <a:pt x="2847" y="2690"/>
                  </a:lnTo>
                  <a:lnTo>
                    <a:pt x="2857" y="2709"/>
                  </a:lnTo>
                  <a:lnTo>
                    <a:pt x="2864" y="2728"/>
                  </a:lnTo>
                  <a:lnTo>
                    <a:pt x="2867" y="2746"/>
                  </a:lnTo>
                  <a:lnTo>
                    <a:pt x="2864" y="2761"/>
                  </a:lnTo>
                  <a:lnTo>
                    <a:pt x="2856" y="2776"/>
                  </a:lnTo>
                  <a:lnTo>
                    <a:pt x="2844" y="2791"/>
                  </a:lnTo>
                  <a:lnTo>
                    <a:pt x="2829" y="2806"/>
                  </a:lnTo>
                  <a:lnTo>
                    <a:pt x="2810" y="2821"/>
                  </a:lnTo>
                  <a:lnTo>
                    <a:pt x="2790" y="2835"/>
                  </a:lnTo>
                  <a:lnTo>
                    <a:pt x="2769" y="2849"/>
                  </a:lnTo>
                  <a:lnTo>
                    <a:pt x="2747" y="2862"/>
                  </a:lnTo>
                  <a:lnTo>
                    <a:pt x="2726" y="2874"/>
                  </a:lnTo>
                  <a:lnTo>
                    <a:pt x="2706" y="2885"/>
                  </a:lnTo>
                  <a:lnTo>
                    <a:pt x="2687" y="2895"/>
                  </a:lnTo>
                  <a:lnTo>
                    <a:pt x="2672" y="2902"/>
                  </a:lnTo>
                  <a:lnTo>
                    <a:pt x="2660" y="2908"/>
                  </a:lnTo>
                  <a:lnTo>
                    <a:pt x="2652" y="2911"/>
                  </a:lnTo>
                  <a:lnTo>
                    <a:pt x="2650" y="2912"/>
                  </a:lnTo>
                  <a:lnTo>
                    <a:pt x="2650" y="2915"/>
                  </a:lnTo>
                  <a:lnTo>
                    <a:pt x="2651" y="2920"/>
                  </a:lnTo>
                  <a:lnTo>
                    <a:pt x="2651" y="2931"/>
                  </a:lnTo>
                  <a:lnTo>
                    <a:pt x="2651" y="2944"/>
                  </a:lnTo>
                  <a:lnTo>
                    <a:pt x="2651" y="2960"/>
                  </a:lnTo>
                  <a:lnTo>
                    <a:pt x="2651" y="2979"/>
                  </a:lnTo>
                  <a:lnTo>
                    <a:pt x="2650" y="2999"/>
                  </a:lnTo>
                  <a:lnTo>
                    <a:pt x="2647" y="3021"/>
                  </a:lnTo>
                  <a:lnTo>
                    <a:pt x="2644" y="3044"/>
                  </a:lnTo>
                  <a:lnTo>
                    <a:pt x="2639" y="3069"/>
                  </a:lnTo>
                  <a:lnTo>
                    <a:pt x="2633" y="3093"/>
                  </a:lnTo>
                  <a:lnTo>
                    <a:pt x="2625" y="3119"/>
                  </a:lnTo>
                  <a:lnTo>
                    <a:pt x="2614" y="3142"/>
                  </a:lnTo>
                  <a:lnTo>
                    <a:pt x="2602" y="3167"/>
                  </a:lnTo>
                  <a:lnTo>
                    <a:pt x="2588" y="3189"/>
                  </a:lnTo>
                  <a:lnTo>
                    <a:pt x="2570" y="3210"/>
                  </a:lnTo>
                  <a:lnTo>
                    <a:pt x="2552" y="3229"/>
                  </a:lnTo>
                  <a:lnTo>
                    <a:pt x="2528" y="3245"/>
                  </a:lnTo>
                  <a:lnTo>
                    <a:pt x="2502" y="3259"/>
                  </a:lnTo>
                  <a:lnTo>
                    <a:pt x="2473" y="3269"/>
                  </a:lnTo>
                  <a:lnTo>
                    <a:pt x="2441" y="3276"/>
                  </a:lnTo>
                  <a:lnTo>
                    <a:pt x="2404" y="3280"/>
                  </a:lnTo>
                  <a:lnTo>
                    <a:pt x="2363" y="3279"/>
                  </a:lnTo>
                  <a:lnTo>
                    <a:pt x="2302" y="3273"/>
                  </a:lnTo>
                  <a:lnTo>
                    <a:pt x="2246" y="3265"/>
                  </a:lnTo>
                  <a:lnTo>
                    <a:pt x="2198" y="3257"/>
                  </a:lnTo>
                  <a:lnTo>
                    <a:pt x="2155" y="3246"/>
                  </a:lnTo>
                  <a:lnTo>
                    <a:pt x="2119" y="3237"/>
                  </a:lnTo>
                  <a:lnTo>
                    <a:pt x="2088" y="3225"/>
                  </a:lnTo>
                  <a:lnTo>
                    <a:pt x="2062" y="3215"/>
                  </a:lnTo>
                  <a:lnTo>
                    <a:pt x="2040" y="3204"/>
                  </a:lnTo>
                  <a:lnTo>
                    <a:pt x="2022" y="3195"/>
                  </a:lnTo>
                  <a:lnTo>
                    <a:pt x="2009" y="3185"/>
                  </a:lnTo>
                  <a:lnTo>
                    <a:pt x="1998" y="3177"/>
                  </a:lnTo>
                  <a:lnTo>
                    <a:pt x="1990" y="3170"/>
                  </a:lnTo>
                  <a:lnTo>
                    <a:pt x="1985" y="3166"/>
                  </a:lnTo>
                  <a:lnTo>
                    <a:pt x="1983" y="3162"/>
                  </a:lnTo>
                  <a:lnTo>
                    <a:pt x="1982" y="3161"/>
                  </a:lnTo>
                  <a:lnTo>
                    <a:pt x="1885" y="3559"/>
                  </a:lnTo>
                  <a:lnTo>
                    <a:pt x="622" y="3559"/>
                  </a:lnTo>
                  <a:lnTo>
                    <a:pt x="667" y="2693"/>
                  </a:lnTo>
                  <a:lnTo>
                    <a:pt x="664" y="2690"/>
                  </a:lnTo>
                  <a:lnTo>
                    <a:pt x="658" y="2683"/>
                  </a:lnTo>
                  <a:lnTo>
                    <a:pt x="649" y="2673"/>
                  </a:lnTo>
                  <a:lnTo>
                    <a:pt x="636" y="2658"/>
                  </a:lnTo>
                  <a:lnTo>
                    <a:pt x="619" y="2638"/>
                  </a:lnTo>
                  <a:lnTo>
                    <a:pt x="599" y="2616"/>
                  </a:lnTo>
                  <a:lnTo>
                    <a:pt x="578" y="2589"/>
                  </a:lnTo>
                  <a:lnTo>
                    <a:pt x="553" y="2559"/>
                  </a:lnTo>
                  <a:lnTo>
                    <a:pt x="527" y="2526"/>
                  </a:lnTo>
                  <a:lnTo>
                    <a:pt x="499" y="2489"/>
                  </a:lnTo>
                  <a:lnTo>
                    <a:pt x="470" y="2449"/>
                  </a:lnTo>
                  <a:lnTo>
                    <a:pt x="439" y="2407"/>
                  </a:lnTo>
                  <a:lnTo>
                    <a:pt x="408" y="2361"/>
                  </a:lnTo>
                  <a:lnTo>
                    <a:pt x="375" y="2313"/>
                  </a:lnTo>
                  <a:lnTo>
                    <a:pt x="343" y="2263"/>
                  </a:lnTo>
                  <a:lnTo>
                    <a:pt x="310" y="2210"/>
                  </a:lnTo>
                  <a:lnTo>
                    <a:pt x="278" y="2156"/>
                  </a:lnTo>
                  <a:lnTo>
                    <a:pt x="245" y="2099"/>
                  </a:lnTo>
                  <a:lnTo>
                    <a:pt x="215" y="2040"/>
                  </a:lnTo>
                  <a:lnTo>
                    <a:pt x="184" y="1980"/>
                  </a:lnTo>
                  <a:lnTo>
                    <a:pt x="156" y="1918"/>
                  </a:lnTo>
                  <a:lnTo>
                    <a:pt x="129" y="1855"/>
                  </a:lnTo>
                  <a:lnTo>
                    <a:pt x="103" y="1791"/>
                  </a:lnTo>
                  <a:lnTo>
                    <a:pt x="79" y="1725"/>
                  </a:lnTo>
                  <a:lnTo>
                    <a:pt x="59" y="1659"/>
                  </a:lnTo>
                  <a:lnTo>
                    <a:pt x="40" y="1592"/>
                  </a:lnTo>
                  <a:lnTo>
                    <a:pt x="25" y="1524"/>
                  </a:lnTo>
                  <a:lnTo>
                    <a:pt x="13" y="1455"/>
                  </a:lnTo>
                  <a:lnTo>
                    <a:pt x="5" y="1388"/>
                  </a:lnTo>
                  <a:lnTo>
                    <a:pt x="0" y="1319"/>
                  </a:lnTo>
                  <a:lnTo>
                    <a:pt x="0" y="1251"/>
                  </a:lnTo>
                  <a:lnTo>
                    <a:pt x="5" y="1182"/>
                  </a:lnTo>
                  <a:lnTo>
                    <a:pt x="13" y="1115"/>
                  </a:lnTo>
                  <a:lnTo>
                    <a:pt x="18" y="1085"/>
                  </a:lnTo>
                  <a:lnTo>
                    <a:pt x="24" y="1055"/>
                  </a:lnTo>
                  <a:lnTo>
                    <a:pt x="28" y="1022"/>
                  </a:lnTo>
                  <a:lnTo>
                    <a:pt x="33" y="990"/>
                  </a:lnTo>
                  <a:lnTo>
                    <a:pt x="39" y="955"/>
                  </a:lnTo>
                  <a:lnTo>
                    <a:pt x="45" y="919"/>
                  </a:lnTo>
                  <a:lnTo>
                    <a:pt x="51" y="881"/>
                  </a:lnTo>
                  <a:lnTo>
                    <a:pt x="59" y="843"/>
                  </a:lnTo>
                  <a:lnTo>
                    <a:pt x="67" y="804"/>
                  </a:lnTo>
                  <a:lnTo>
                    <a:pt x="77" y="764"/>
                  </a:lnTo>
                  <a:lnTo>
                    <a:pt x="88" y="724"/>
                  </a:lnTo>
                  <a:lnTo>
                    <a:pt x="101" y="684"/>
                  </a:lnTo>
                  <a:lnTo>
                    <a:pt x="117" y="643"/>
                  </a:lnTo>
                  <a:lnTo>
                    <a:pt x="134" y="602"/>
                  </a:lnTo>
                  <a:lnTo>
                    <a:pt x="155" y="563"/>
                  </a:lnTo>
                  <a:lnTo>
                    <a:pt x="177" y="522"/>
                  </a:lnTo>
                  <a:lnTo>
                    <a:pt x="203" y="482"/>
                  </a:lnTo>
                  <a:lnTo>
                    <a:pt x="231" y="443"/>
                  </a:lnTo>
                  <a:lnTo>
                    <a:pt x="263" y="404"/>
                  </a:lnTo>
                  <a:lnTo>
                    <a:pt x="298" y="366"/>
                  </a:lnTo>
                  <a:lnTo>
                    <a:pt x="337" y="330"/>
                  </a:lnTo>
                  <a:lnTo>
                    <a:pt x="381" y="294"/>
                  </a:lnTo>
                  <a:lnTo>
                    <a:pt x="428" y="259"/>
                  </a:lnTo>
                  <a:lnTo>
                    <a:pt x="480" y="226"/>
                  </a:lnTo>
                  <a:lnTo>
                    <a:pt x="536" y="195"/>
                  </a:lnTo>
                  <a:lnTo>
                    <a:pt x="597" y="164"/>
                  </a:lnTo>
                  <a:lnTo>
                    <a:pt x="663" y="136"/>
                  </a:lnTo>
                  <a:lnTo>
                    <a:pt x="735" y="111"/>
                  </a:lnTo>
                  <a:lnTo>
                    <a:pt x="812" y="87"/>
                  </a:lnTo>
                  <a:lnTo>
                    <a:pt x="894" y="65"/>
                  </a:lnTo>
                  <a:lnTo>
                    <a:pt x="983" y="47"/>
                  </a:lnTo>
                  <a:lnTo>
                    <a:pt x="1077" y="29"/>
                  </a:lnTo>
                  <a:lnTo>
                    <a:pt x="1168" y="16"/>
                  </a:lnTo>
                  <a:lnTo>
                    <a:pt x="1259" y="8"/>
                  </a:lnTo>
                  <a:lnTo>
                    <a:pt x="1350" y="2"/>
                  </a:lnTo>
                  <a:lnTo>
                    <a:pt x="1438" y="0"/>
                  </a:lnTo>
                  <a:close/>
                </a:path>
              </a:pathLst>
            </a:custGeom>
            <a:grpFill/>
            <a:ln w="0">
              <a:no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prstClr val="black"/>
                </a:solidFill>
                <a:effectLst/>
                <a:uLnTx/>
                <a:uFillTx/>
                <a:latin typeface="Raleway" panose="020B0503030101060003" pitchFamily="34" charset="0"/>
              </a:endParaRPr>
            </a:p>
          </p:txBody>
        </p:sp>
        <p:grpSp>
          <p:nvGrpSpPr>
            <p:cNvPr id="32" name="Group 68">
              <a:extLst>
                <a:ext uri="{FF2B5EF4-FFF2-40B4-BE49-F238E27FC236}">
                  <a16:creationId xmlns:a16="http://schemas.microsoft.com/office/drawing/2014/main" id="{28140242-5E32-48ED-AF1E-E25D99906826}"/>
                </a:ext>
              </a:extLst>
            </p:cNvPr>
            <p:cNvGrpSpPr>
              <a:grpSpLocks noChangeAspect="1"/>
            </p:cNvGrpSpPr>
            <p:nvPr/>
          </p:nvGrpSpPr>
          <p:grpSpPr bwMode="auto">
            <a:xfrm>
              <a:off x="3023005" y="1675596"/>
              <a:ext cx="347399" cy="319288"/>
              <a:chOff x="3336" y="1697"/>
              <a:chExt cx="1001" cy="920"/>
            </a:xfrm>
            <a:grpFill/>
          </p:grpSpPr>
          <p:sp>
            <p:nvSpPr>
              <p:cNvPr id="33" name="Freeform 70">
                <a:extLst>
                  <a:ext uri="{FF2B5EF4-FFF2-40B4-BE49-F238E27FC236}">
                    <a16:creationId xmlns:a16="http://schemas.microsoft.com/office/drawing/2014/main" id="{192B3619-26A9-48C2-8F7B-BC7FAEA1EBCB}"/>
                  </a:ext>
                </a:extLst>
              </p:cNvPr>
              <p:cNvSpPr>
                <a:spLocks noEditPoints="1"/>
              </p:cNvSpPr>
              <p:nvPr/>
            </p:nvSpPr>
            <p:spPr bwMode="auto">
              <a:xfrm>
                <a:off x="3336" y="1822"/>
                <a:ext cx="667" cy="669"/>
              </a:xfrm>
              <a:custGeom>
                <a:avLst/>
                <a:gdLst>
                  <a:gd name="T0" fmla="*/ 1103 w 2670"/>
                  <a:gd name="T1" fmla="*/ 854 h 2675"/>
                  <a:gd name="T2" fmla="*/ 881 w 2670"/>
                  <a:gd name="T3" fmla="*/ 1053 h 2675"/>
                  <a:gd name="T4" fmla="*/ 800 w 2670"/>
                  <a:gd name="T5" fmla="*/ 1338 h 2675"/>
                  <a:gd name="T6" fmla="*/ 881 w 2670"/>
                  <a:gd name="T7" fmla="*/ 1622 h 2675"/>
                  <a:gd name="T8" fmla="*/ 1103 w 2670"/>
                  <a:gd name="T9" fmla="*/ 1821 h 2675"/>
                  <a:gd name="T10" fmla="*/ 1397 w 2670"/>
                  <a:gd name="T11" fmla="*/ 1869 h 2675"/>
                  <a:gd name="T12" fmla="*/ 1667 w 2670"/>
                  <a:gd name="T13" fmla="*/ 1758 h 2675"/>
                  <a:gd name="T14" fmla="*/ 1840 w 2670"/>
                  <a:gd name="T15" fmla="*/ 1515 h 2675"/>
                  <a:gd name="T16" fmla="*/ 1856 w 2670"/>
                  <a:gd name="T17" fmla="*/ 1216 h 2675"/>
                  <a:gd name="T18" fmla="*/ 1713 w 2670"/>
                  <a:gd name="T19" fmla="*/ 959 h 2675"/>
                  <a:gd name="T20" fmla="*/ 1456 w 2670"/>
                  <a:gd name="T21" fmla="*/ 815 h 2675"/>
                  <a:gd name="T22" fmla="*/ 1543 w 2670"/>
                  <a:gd name="T23" fmla="*/ 2 h 2675"/>
                  <a:gd name="T24" fmla="*/ 1591 w 2670"/>
                  <a:gd name="T25" fmla="*/ 52 h 2675"/>
                  <a:gd name="T26" fmla="*/ 2042 w 2670"/>
                  <a:gd name="T27" fmla="*/ 250 h 2675"/>
                  <a:gd name="T28" fmla="*/ 2114 w 2670"/>
                  <a:gd name="T29" fmla="*/ 243 h 2675"/>
                  <a:gd name="T30" fmla="*/ 2306 w 2670"/>
                  <a:gd name="T31" fmla="*/ 425 h 2675"/>
                  <a:gd name="T32" fmla="*/ 2418 w 2670"/>
                  <a:gd name="T33" fmla="*/ 559 h 2675"/>
                  <a:gd name="T34" fmla="*/ 2402 w 2670"/>
                  <a:gd name="T35" fmla="*/ 642 h 2675"/>
                  <a:gd name="T36" fmla="*/ 2296 w 2670"/>
                  <a:gd name="T37" fmla="*/ 778 h 2675"/>
                  <a:gd name="T38" fmla="*/ 2274 w 2670"/>
                  <a:gd name="T39" fmla="*/ 958 h 2675"/>
                  <a:gd name="T40" fmla="*/ 2645 w 2670"/>
                  <a:gd name="T41" fmla="*/ 1096 h 2675"/>
                  <a:gd name="T42" fmla="*/ 2670 w 2670"/>
                  <a:gd name="T43" fmla="*/ 1533 h 2675"/>
                  <a:gd name="T44" fmla="*/ 2622 w 2670"/>
                  <a:gd name="T45" fmla="*/ 1597 h 2675"/>
                  <a:gd name="T46" fmla="*/ 2262 w 2670"/>
                  <a:gd name="T47" fmla="*/ 1847 h 2675"/>
                  <a:gd name="T48" fmla="*/ 2430 w 2670"/>
                  <a:gd name="T49" fmla="*/ 2067 h 2675"/>
                  <a:gd name="T50" fmla="*/ 2401 w 2670"/>
                  <a:gd name="T51" fmla="*/ 2151 h 2675"/>
                  <a:gd name="T52" fmla="*/ 2247 w 2670"/>
                  <a:gd name="T53" fmla="*/ 2315 h 2675"/>
                  <a:gd name="T54" fmla="*/ 2114 w 2670"/>
                  <a:gd name="T55" fmla="*/ 2429 h 2675"/>
                  <a:gd name="T56" fmla="*/ 1800 w 2670"/>
                  <a:gd name="T57" fmla="*/ 2236 h 2675"/>
                  <a:gd name="T58" fmla="*/ 1624 w 2670"/>
                  <a:gd name="T59" fmla="*/ 2437 h 2675"/>
                  <a:gd name="T60" fmla="*/ 1585 w 2670"/>
                  <a:gd name="T61" fmla="*/ 2643 h 2675"/>
                  <a:gd name="T62" fmla="*/ 1141 w 2670"/>
                  <a:gd name="T63" fmla="*/ 2675 h 2675"/>
                  <a:gd name="T64" fmla="*/ 1081 w 2670"/>
                  <a:gd name="T65" fmla="*/ 2637 h 2675"/>
                  <a:gd name="T66" fmla="*/ 874 w 2670"/>
                  <a:gd name="T67" fmla="*/ 2239 h 2675"/>
                  <a:gd name="T68" fmla="*/ 563 w 2670"/>
                  <a:gd name="T69" fmla="*/ 2435 h 2675"/>
                  <a:gd name="T70" fmla="*/ 364 w 2670"/>
                  <a:gd name="T71" fmla="*/ 2250 h 2675"/>
                  <a:gd name="T72" fmla="*/ 252 w 2670"/>
                  <a:gd name="T73" fmla="*/ 2116 h 2675"/>
                  <a:gd name="T74" fmla="*/ 266 w 2670"/>
                  <a:gd name="T75" fmla="*/ 2034 h 2675"/>
                  <a:gd name="T76" fmla="*/ 373 w 2670"/>
                  <a:gd name="T77" fmla="*/ 1898 h 2675"/>
                  <a:gd name="T78" fmla="*/ 386 w 2670"/>
                  <a:gd name="T79" fmla="*/ 1693 h 2675"/>
                  <a:gd name="T80" fmla="*/ 15 w 2670"/>
                  <a:gd name="T81" fmla="*/ 1569 h 2675"/>
                  <a:gd name="T82" fmla="*/ 4 w 2670"/>
                  <a:gd name="T83" fmla="*/ 1121 h 2675"/>
                  <a:gd name="T84" fmla="*/ 371 w 2670"/>
                  <a:gd name="T85" fmla="*/ 1028 h 2675"/>
                  <a:gd name="T86" fmla="*/ 374 w 2670"/>
                  <a:gd name="T87" fmla="*/ 783 h 2675"/>
                  <a:gd name="T88" fmla="*/ 236 w 2670"/>
                  <a:gd name="T89" fmla="*/ 587 h 2675"/>
                  <a:gd name="T90" fmla="*/ 290 w 2670"/>
                  <a:gd name="T91" fmla="*/ 496 h 2675"/>
                  <a:gd name="T92" fmla="*/ 456 w 2670"/>
                  <a:gd name="T93" fmla="*/ 326 h 2675"/>
                  <a:gd name="T94" fmla="*/ 573 w 2670"/>
                  <a:gd name="T95" fmla="*/ 238 h 2675"/>
                  <a:gd name="T96" fmla="*/ 919 w 2670"/>
                  <a:gd name="T97" fmla="*/ 414 h 2675"/>
                  <a:gd name="T98" fmla="*/ 1053 w 2670"/>
                  <a:gd name="T99" fmla="*/ 178 h 2675"/>
                  <a:gd name="T100" fmla="*/ 1095 w 2670"/>
                  <a:gd name="T101" fmla="*/ 18 h 26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670" h="2675">
                    <a:moveTo>
                      <a:pt x="1335" y="802"/>
                    </a:moveTo>
                    <a:lnTo>
                      <a:pt x="1273" y="806"/>
                    </a:lnTo>
                    <a:lnTo>
                      <a:pt x="1213" y="815"/>
                    </a:lnTo>
                    <a:lnTo>
                      <a:pt x="1157" y="831"/>
                    </a:lnTo>
                    <a:lnTo>
                      <a:pt x="1103" y="854"/>
                    </a:lnTo>
                    <a:lnTo>
                      <a:pt x="1052" y="882"/>
                    </a:lnTo>
                    <a:lnTo>
                      <a:pt x="1003" y="918"/>
                    </a:lnTo>
                    <a:lnTo>
                      <a:pt x="958" y="959"/>
                    </a:lnTo>
                    <a:lnTo>
                      <a:pt x="916" y="1006"/>
                    </a:lnTo>
                    <a:lnTo>
                      <a:pt x="881" y="1053"/>
                    </a:lnTo>
                    <a:lnTo>
                      <a:pt x="852" y="1105"/>
                    </a:lnTo>
                    <a:lnTo>
                      <a:pt x="830" y="1160"/>
                    </a:lnTo>
                    <a:lnTo>
                      <a:pt x="814" y="1216"/>
                    </a:lnTo>
                    <a:lnTo>
                      <a:pt x="804" y="1275"/>
                    </a:lnTo>
                    <a:lnTo>
                      <a:pt x="800" y="1338"/>
                    </a:lnTo>
                    <a:lnTo>
                      <a:pt x="804" y="1400"/>
                    </a:lnTo>
                    <a:lnTo>
                      <a:pt x="814" y="1459"/>
                    </a:lnTo>
                    <a:lnTo>
                      <a:pt x="830" y="1515"/>
                    </a:lnTo>
                    <a:lnTo>
                      <a:pt x="852" y="1570"/>
                    </a:lnTo>
                    <a:lnTo>
                      <a:pt x="881" y="1622"/>
                    </a:lnTo>
                    <a:lnTo>
                      <a:pt x="916" y="1669"/>
                    </a:lnTo>
                    <a:lnTo>
                      <a:pt x="958" y="1716"/>
                    </a:lnTo>
                    <a:lnTo>
                      <a:pt x="1003" y="1758"/>
                    </a:lnTo>
                    <a:lnTo>
                      <a:pt x="1052" y="1793"/>
                    </a:lnTo>
                    <a:lnTo>
                      <a:pt x="1103" y="1821"/>
                    </a:lnTo>
                    <a:lnTo>
                      <a:pt x="1157" y="1843"/>
                    </a:lnTo>
                    <a:lnTo>
                      <a:pt x="1213" y="1860"/>
                    </a:lnTo>
                    <a:lnTo>
                      <a:pt x="1273" y="1869"/>
                    </a:lnTo>
                    <a:lnTo>
                      <a:pt x="1335" y="1873"/>
                    </a:lnTo>
                    <a:lnTo>
                      <a:pt x="1397" y="1869"/>
                    </a:lnTo>
                    <a:lnTo>
                      <a:pt x="1456" y="1860"/>
                    </a:lnTo>
                    <a:lnTo>
                      <a:pt x="1513" y="1843"/>
                    </a:lnTo>
                    <a:lnTo>
                      <a:pt x="1566" y="1821"/>
                    </a:lnTo>
                    <a:lnTo>
                      <a:pt x="1618" y="1793"/>
                    </a:lnTo>
                    <a:lnTo>
                      <a:pt x="1667" y="1758"/>
                    </a:lnTo>
                    <a:lnTo>
                      <a:pt x="1713" y="1716"/>
                    </a:lnTo>
                    <a:lnTo>
                      <a:pt x="1753" y="1669"/>
                    </a:lnTo>
                    <a:lnTo>
                      <a:pt x="1789" y="1622"/>
                    </a:lnTo>
                    <a:lnTo>
                      <a:pt x="1818" y="1570"/>
                    </a:lnTo>
                    <a:lnTo>
                      <a:pt x="1840" y="1515"/>
                    </a:lnTo>
                    <a:lnTo>
                      <a:pt x="1856" y="1459"/>
                    </a:lnTo>
                    <a:lnTo>
                      <a:pt x="1866" y="1400"/>
                    </a:lnTo>
                    <a:lnTo>
                      <a:pt x="1868" y="1338"/>
                    </a:lnTo>
                    <a:lnTo>
                      <a:pt x="1866" y="1275"/>
                    </a:lnTo>
                    <a:lnTo>
                      <a:pt x="1856" y="1216"/>
                    </a:lnTo>
                    <a:lnTo>
                      <a:pt x="1840" y="1160"/>
                    </a:lnTo>
                    <a:lnTo>
                      <a:pt x="1818" y="1105"/>
                    </a:lnTo>
                    <a:lnTo>
                      <a:pt x="1789" y="1053"/>
                    </a:lnTo>
                    <a:lnTo>
                      <a:pt x="1753" y="1006"/>
                    </a:lnTo>
                    <a:lnTo>
                      <a:pt x="1713" y="959"/>
                    </a:lnTo>
                    <a:lnTo>
                      <a:pt x="1667" y="918"/>
                    </a:lnTo>
                    <a:lnTo>
                      <a:pt x="1618" y="882"/>
                    </a:lnTo>
                    <a:lnTo>
                      <a:pt x="1566" y="854"/>
                    </a:lnTo>
                    <a:lnTo>
                      <a:pt x="1513" y="831"/>
                    </a:lnTo>
                    <a:lnTo>
                      <a:pt x="1456" y="815"/>
                    </a:lnTo>
                    <a:lnTo>
                      <a:pt x="1397" y="806"/>
                    </a:lnTo>
                    <a:lnTo>
                      <a:pt x="1335" y="802"/>
                    </a:lnTo>
                    <a:close/>
                    <a:moveTo>
                      <a:pt x="1141" y="0"/>
                    </a:moveTo>
                    <a:lnTo>
                      <a:pt x="1528" y="0"/>
                    </a:lnTo>
                    <a:lnTo>
                      <a:pt x="1543" y="2"/>
                    </a:lnTo>
                    <a:lnTo>
                      <a:pt x="1558" y="7"/>
                    </a:lnTo>
                    <a:lnTo>
                      <a:pt x="1570" y="15"/>
                    </a:lnTo>
                    <a:lnTo>
                      <a:pt x="1581" y="26"/>
                    </a:lnTo>
                    <a:lnTo>
                      <a:pt x="1588" y="38"/>
                    </a:lnTo>
                    <a:lnTo>
                      <a:pt x="1591" y="52"/>
                    </a:lnTo>
                    <a:lnTo>
                      <a:pt x="1640" y="371"/>
                    </a:lnTo>
                    <a:lnTo>
                      <a:pt x="1689" y="389"/>
                    </a:lnTo>
                    <a:lnTo>
                      <a:pt x="1740" y="409"/>
                    </a:lnTo>
                    <a:lnTo>
                      <a:pt x="1796" y="436"/>
                    </a:lnTo>
                    <a:lnTo>
                      <a:pt x="2042" y="250"/>
                    </a:lnTo>
                    <a:lnTo>
                      <a:pt x="2054" y="243"/>
                    </a:lnTo>
                    <a:lnTo>
                      <a:pt x="2067" y="238"/>
                    </a:lnTo>
                    <a:lnTo>
                      <a:pt x="2083" y="235"/>
                    </a:lnTo>
                    <a:lnTo>
                      <a:pt x="2099" y="238"/>
                    </a:lnTo>
                    <a:lnTo>
                      <a:pt x="2114" y="243"/>
                    </a:lnTo>
                    <a:lnTo>
                      <a:pt x="2127" y="253"/>
                    </a:lnTo>
                    <a:lnTo>
                      <a:pt x="2180" y="302"/>
                    </a:lnTo>
                    <a:lnTo>
                      <a:pt x="2226" y="347"/>
                    </a:lnTo>
                    <a:lnTo>
                      <a:pt x="2269" y="387"/>
                    </a:lnTo>
                    <a:lnTo>
                      <a:pt x="2306" y="425"/>
                    </a:lnTo>
                    <a:lnTo>
                      <a:pt x="2339" y="460"/>
                    </a:lnTo>
                    <a:lnTo>
                      <a:pt x="2365" y="490"/>
                    </a:lnTo>
                    <a:lnTo>
                      <a:pt x="2387" y="517"/>
                    </a:lnTo>
                    <a:lnTo>
                      <a:pt x="2406" y="540"/>
                    </a:lnTo>
                    <a:lnTo>
                      <a:pt x="2418" y="559"/>
                    </a:lnTo>
                    <a:lnTo>
                      <a:pt x="2425" y="575"/>
                    </a:lnTo>
                    <a:lnTo>
                      <a:pt x="2428" y="587"/>
                    </a:lnTo>
                    <a:lnTo>
                      <a:pt x="2424" y="607"/>
                    </a:lnTo>
                    <a:lnTo>
                      <a:pt x="2413" y="627"/>
                    </a:lnTo>
                    <a:lnTo>
                      <a:pt x="2402" y="642"/>
                    </a:lnTo>
                    <a:lnTo>
                      <a:pt x="2387" y="662"/>
                    </a:lnTo>
                    <a:lnTo>
                      <a:pt x="2369" y="684"/>
                    </a:lnTo>
                    <a:lnTo>
                      <a:pt x="2350" y="709"/>
                    </a:lnTo>
                    <a:lnTo>
                      <a:pt x="2325" y="740"/>
                    </a:lnTo>
                    <a:lnTo>
                      <a:pt x="2296" y="778"/>
                    </a:lnTo>
                    <a:lnTo>
                      <a:pt x="2271" y="811"/>
                    </a:lnTo>
                    <a:lnTo>
                      <a:pt x="2249" y="840"/>
                    </a:lnTo>
                    <a:lnTo>
                      <a:pt x="2231" y="865"/>
                    </a:lnTo>
                    <a:lnTo>
                      <a:pt x="2254" y="914"/>
                    </a:lnTo>
                    <a:lnTo>
                      <a:pt x="2274" y="958"/>
                    </a:lnTo>
                    <a:lnTo>
                      <a:pt x="2290" y="1000"/>
                    </a:lnTo>
                    <a:lnTo>
                      <a:pt x="2303" y="1036"/>
                    </a:lnTo>
                    <a:lnTo>
                      <a:pt x="2620" y="1084"/>
                    </a:lnTo>
                    <a:lnTo>
                      <a:pt x="2633" y="1089"/>
                    </a:lnTo>
                    <a:lnTo>
                      <a:pt x="2645" y="1096"/>
                    </a:lnTo>
                    <a:lnTo>
                      <a:pt x="2655" y="1106"/>
                    </a:lnTo>
                    <a:lnTo>
                      <a:pt x="2664" y="1120"/>
                    </a:lnTo>
                    <a:lnTo>
                      <a:pt x="2668" y="1133"/>
                    </a:lnTo>
                    <a:lnTo>
                      <a:pt x="2670" y="1148"/>
                    </a:lnTo>
                    <a:lnTo>
                      <a:pt x="2670" y="1533"/>
                    </a:lnTo>
                    <a:lnTo>
                      <a:pt x="2666" y="1554"/>
                    </a:lnTo>
                    <a:lnTo>
                      <a:pt x="2655" y="1575"/>
                    </a:lnTo>
                    <a:lnTo>
                      <a:pt x="2645" y="1586"/>
                    </a:lnTo>
                    <a:lnTo>
                      <a:pt x="2634" y="1593"/>
                    </a:lnTo>
                    <a:lnTo>
                      <a:pt x="2622" y="1597"/>
                    </a:lnTo>
                    <a:lnTo>
                      <a:pt x="2298" y="1647"/>
                    </a:lnTo>
                    <a:lnTo>
                      <a:pt x="2281" y="1698"/>
                    </a:lnTo>
                    <a:lnTo>
                      <a:pt x="2259" y="1750"/>
                    </a:lnTo>
                    <a:lnTo>
                      <a:pt x="2232" y="1805"/>
                    </a:lnTo>
                    <a:lnTo>
                      <a:pt x="2262" y="1847"/>
                    </a:lnTo>
                    <a:lnTo>
                      <a:pt x="2296" y="1892"/>
                    </a:lnTo>
                    <a:lnTo>
                      <a:pt x="2334" y="1940"/>
                    </a:lnTo>
                    <a:lnTo>
                      <a:pt x="2374" y="1991"/>
                    </a:lnTo>
                    <a:lnTo>
                      <a:pt x="2419" y="2047"/>
                    </a:lnTo>
                    <a:lnTo>
                      <a:pt x="2430" y="2067"/>
                    </a:lnTo>
                    <a:lnTo>
                      <a:pt x="2434" y="2088"/>
                    </a:lnTo>
                    <a:lnTo>
                      <a:pt x="2433" y="2104"/>
                    </a:lnTo>
                    <a:lnTo>
                      <a:pt x="2428" y="2116"/>
                    </a:lnTo>
                    <a:lnTo>
                      <a:pt x="2419" y="2127"/>
                    </a:lnTo>
                    <a:lnTo>
                      <a:pt x="2401" y="2151"/>
                    </a:lnTo>
                    <a:lnTo>
                      <a:pt x="2379" y="2176"/>
                    </a:lnTo>
                    <a:lnTo>
                      <a:pt x="2352" y="2206"/>
                    </a:lnTo>
                    <a:lnTo>
                      <a:pt x="2321" y="2239"/>
                    </a:lnTo>
                    <a:lnTo>
                      <a:pt x="2286" y="2275"/>
                    </a:lnTo>
                    <a:lnTo>
                      <a:pt x="2247" y="2315"/>
                    </a:lnTo>
                    <a:lnTo>
                      <a:pt x="2214" y="2348"/>
                    </a:lnTo>
                    <a:lnTo>
                      <a:pt x="2183" y="2376"/>
                    </a:lnTo>
                    <a:lnTo>
                      <a:pt x="2157" y="2398"/>
                    </a:lnTo>
                    <a:lnTo>
                      <a:pt x="2133" y="2416"/>
                    </a:lnTo>
                    <a:lnTo>
                      <a:pt x="2114" y="2429"/>
                    </a:lnTo>
                    <a:lnTo>
                      <a:pt x="2097" y="2436"/>
                    </a:lnTo>
                    <a:lnTo>
                      <a:pt x="2083" y="2440"/>
                    </a:lnTo>
                    <a:lnTo>
                      <a:pt x="2061" y="2436"/>
                    </a:lnTo>
                    <a:lnTo>
                      <a:pt x="2039" y="2425"/>
                    </a:lnTo>
                    <a:lnTo>
                      <a:pt x="1800" y="2236"/>
                    </a:lnTo>
                    <a:lnTo>
                      <a:pt x="1747" y="2261"/>
                    </a:lnTo>
                    <a:lnTo>
                      <a:pt x="1695" y="2283"/>
                    </a:lnTo>
                    <a:lnTo>
                      <a:pt x="1640" y="2301"/>
                    </a:lnTo>
                    <a:lnTo>
                      <a:pt x="1631" y="2372"/>
                    </a:lnTo>
                    <a:lnTo>
                      <a:pt x="1624" y="2437"/>
                    </a:lnTo>
                    <a:lnTo>
                      <a:pt x="1616" y="2495"/>
                    </a:lnTo>
                    <a:lnTo>
                      <a:pt x="1608" y="2545"/>
                    </a:lnTo>
                    <a:lnTo>
                      <a:pt x="1599" y="2589"/>
                    </a:lnTo>
                    <a:lnTo>
                      <a:pt x="1591" y="2624"/>
                    </a:lnTo>
                    <a:lnTo>
                      <a:pt x="1585" y="2643"/>
                    </a:lnTo>
                    <a:lnTo>
                      <a:pt x="1575" y="2658"/>
                    </a:lnTo>
                    <a:lnTo>
                      <a:pt x="1561" y="2667"/>
                    </a:lnTo>
                    <a:lnTo>
                      <a:pt x="1547" y="2673"/>
                    </a:lnTo>
                    <a:lnTo>
                      <a:pt x="1528" y="2675"/>
                    </a:lnTo>
                    <a:lnTo>
                      <a:pt x="1141" y="2675"/>
                    </a:lnTo>
                    <a:lnTo>
                      <a:pt x="1127" y="2673"/>
                    </a:lnTo>
                    <a:lnTo>
                      <a:pt x="1112" y="2669"/>
                    </a:lnTo>
                    <a:lnTo>
                      <a:pt x="1100" y="2660"/>
                    </a:lnTo>
                    <a:lnTo>
                      <a:pt x="1089" y="2649"/>
                    </a:lnTo>
                    <a:lnTo>
                      <a:pt x="1081" y="2637"/>
                    </a:lnTo>
                    <a:lnTo>
                      <a:pt x="1079" y="2623"/>
                    </a:lnTo>
                    <a:lnTo>
                      <a:pt x="1030" y="2304"/>
                    </a:lnTo>
                    <a:lnTo>
                      <a:pt x="981" y="2287"/>
                    </a:lnTo>
                    <a:lnTo>
                      <a:pt x="930" y="2266"/>
                    </a:lnTo>
                    <a:lnTo>
                      <a:pt x="874" y="2239"/>
                    </a:lnTo>
                    <a:lnTo>
                      <a:pt x="628" y="2425"/>
                    </a:lnTo>
                    <a:lnTo>
                      <a:pt x="617" y="2432"/>
                    </a:lnTo>
                    <a:lnTo>
                      <a:pt x="602" y="2437"/>
                    </a:lnTo>
                    <a:lnTo>
                      <a:pt x="586" y="2440"/>
                    </a:lnTo>
                    <a:lnTo>
                      <a:pt x="563" y="2435"/>
                    </a:lnTo>
                    <a:lnTo>
                      <a:pt x="542" y="2422"/>
                    </a:lnTo>
                    <a:lnTo>
                      <a:pt x="490" y="2373"/>
                    </a:lnTo>
                    <a:lnTo>
                      <a:pt x="444" y="2328"/>
                    </a:lnTo>
                    <a:lnTo>
                      <a:pt x="401" y="2288"/>
                    </a:lnTo>
                    <a:lnTo>
                      <a:pt x="364" y="2250"/>
                    </a:lnTo>
                    <a:lnTo>
                      <a:pt x="331" y="2215"/>
                    </a:lnTo>
                    <a:lnTo>
                      <a:pt x="304" y="2185"/>
                    </a:lnTo>
                    <a:lnTo>
                      <a:pt x="282" y="2158"/>
                    </a:lnTo>
                    <a:lnTo>
                      <a:pt x="264" y="2135"/>
                    </a:lnTo>
                    <a:lnTo>
                      <a:pt x="252" y="2116"/>
                    </a:lnTo>
                    <a:lnTo>
                      <a:pt x="244" y="2100"/>
                    </a:lnTo>
                    <a:lnTo>
                      <a:pt x="242" y="2088"/>
                    </a:lnTo>
                    <a:lnTo>
                      <a:pt x="246" y="2069"/>
                    </a:lnTo>
                    <a:lnTo>
                      <a:pt x="257" y="2048"/>
                    </a:lnTo>
                    <a:lnTo>
                      <a:pt x="266" y="2034"/>
                    </a:lnTo>
                    <a:lnTo>
                      <a:pt x="280" y="2016"/>
                    </a:lnTo>
                    <a:lnTo>
                      <a:pt x="297" y="1994"/>
                    </a:lnTo>
                    <a:lnTo>
                      <a:pt x="318" y="1968"/>
                    </a:lnTo>
                    <a:lnTo>
                      <a:pt x="342" y="1938"/>
                    </a:lnTo>
                    <a:lnTo>
                      <a:pt x="373" y="1898"/>
                    </a:lnTo>
                    <a:lnTo>
                      <a:pt x="400" y="1865"/>
                    </a:lnTo>
                    <a:lnTo>
                      <a:pt x="422" y="1835"/>
                    </a:lnTo>
                    <a:lnTo>
                      <a:pt x="440" y="1810"/>
                    </a:lnTo>
                    <a:lnTo>
                      <a:pt x="411" y="1750"/>
                    </a:lnTo>
                    <a:lnTo>
                      <a:pt x="386" y="1693"/>
                    </a:lnTo>
                    <a:lnTo>
                      <a:pt x="367" y="1639"/>
                    </a:lnTo>
                    <a:lnTo>
                      <a:pt x="50" y="1589"/>
                    </a:lnTo>
                    <a:lnTo>
                      <a:pt x="37" y="1585"/>
                    </a:lnTo>
                    <a:lnTo>
                      <a:pt x="26" y="1579"/>
                    </a:lnTo>
                    <a:lnTo>
                      <a:pt x="15" y="1569"/>
                    </a:lnTo>
                    <a:lnTo>
                      <a:pt x="6" y="1555"/>
                    </a:lnTo>
                    <a:lnTo>
                      <a:pt x="1" y="1542"/>
                    </a:lnTo>
                    <a:lnTo>
                      <a:pt x="0" y="1527"/>
                    </a:lnTo>
                    <a:lnTo>
                      <a:pt x="0" y="1142"/>
                    </a:lnTo>
                    <a:lnTo>
                      <a:pt x="4" y="1121"/>
                    </a:lnTo>
                    <a:lnTo>
                      <a:pt x="15" y="1100"/>
                    </a:lnTo>
                    <a:lnTo>
                      <a:pt x="24" y="1089"/>
                    </a:lnTo>
                    <a:lnTo>
                      <a:pt x="35" y="1082"/>
                    </a:lnTo>
                    <a:lnTo>
                      <a:pt x="48" y="1078"/>
                    </a:lnTo>
                    <a:lnTo>
                      <a:pt x="371" y="1028"/>
                    </a:lnTo>
                    <a:lnTo>
                      <a:pt x="389" y="978"/>
                    </a:lnTo>
                    <a:lnTo>
                      <a:pt x="411" y="925"/>
                    </a:lnTo>
                    <a:lnTo>
                      <a:pt x="437" y="870"/>
                    </a:lnTo>
                    <a:lnTo>
                      <a:pt x="408" y="828"/>
                    </a:lnTo>
                    <a:lnTo>
                      <a:pt x="374" y="783"/>
                    </a:lnTo>
                    <a:lnTo>
                      <a:pt x="336" y="735"/>
                    </a:lnTo>
                    <a:lnTo>
                      <a:pt x="296" y="684"/>
                    </a:lnTo>
                    <a:lnTo>
                      <a:pt x="250" y="629"/>
                    </a:lnTo>
                    <a:lnTo>
                      <a:pt x="239" y="607"/>
                    </a:lnTo>
                    <a:lnTo>
                      <a:pt x="236" y="587"/>
                    </a:lnTo>
                    <a:lnTo>
                      <a:pt x="237" y="571"/>
                    </a:lnTo>
                    <a:lnTo>
                      <a:pt x="242" y="558"/>
                    </a:lnTo>
                    <a:lnTo>
                      <a:pt x="250" y="545"/>
                    </a:lnTo>
                    <a:lnTo>
                      <a:pt x="268" y="523"/>
                    </a:lnTo>
                    <a:lnTo>
                      <a:pt x="290" y="496"/>
                    </a:lnTo>
                    <a:lnTo>
                      <a:pt x="316" y="467"/>
                    </a:lnTo>
                    <a:lnTo>
                      <a:pt x="347" y="435"/>
                    </a:lnTo>
                    <a:lnTo>
                      <a:pt x="382" y="398"/>
                    </a:lnTo>
                    <a:lnTo>
                      <a:pt x="422" y="359"/>
                    </a:lnTo>
                    <a:lnTo>
                      <a:pt x="456" y="326"/>
                    </a:lnTo>
                    <a:lnTo>
                      <a:pt x="486" y="299"/>
                    </a:lnTo>
                    <a:lnTo>
                      <a:pt x="513" y="276"/>
                    </a:lnTo>
                    <a:lnTo>
                      <a:pt x="536" y="259"/>
                    </a:lnTo>
                    <a:lnTo>
                      <a:pt x="556" y="247"/>
                    </a:lnTo>
                    <a:lnTo>
                      <a:pt x="573" y="238"/>
                    </a:lnTo>
                    <a:lnTo>
                      <a:pt x="586" y="235"/>
                    </a:lnTo>
                    <a:lnTo>
                      <a:pt x="608" y="239"/>
                    </a:lnTo>
                    <a:lnTo>
                      <a:pt x="630" y="250"/>
                    </a:lnTo>
                    <a:lnTo>
                      <a:pt x="870" y="439"/>
                    </a:lnTo>
                    <a:lnTo>
                      <a:pt x="919" y="414"/>
                    </a:lnTo>
                    <a:lnTo>
                      <a:pt x="973" y="392"/>
                    </a:lnTo>
                    <a:lnTo>
                      <a:pt x="1030" y="371"/>
                    </a:lnTo>
                    <a:lnTo>
                      <a:pt x="1039" y="300"/>
                    </a:lnTo>
                    <a:lnTo>
                      <a:pt x="1046" y="235"/>
                    </a:lnTo>
                    <a:lnTo>
                      <a:pt x="1053" y="178"/>
                    </a:lnTo>
                    <a:lnTo>
                      <a:pt x="1062" y="129"/>
                    </a:lnTo>
                    <a:lnTo>
                      <a:pt x="1070" y="86"/>
                    </a:lnTo>
                    <a:lnTo>
                      <a:pt x="1079" y="49"/>
                    </a:lnTo>
                    <a:lnTo>
                      <a:pt x="1085" y="32"/>
                    </a:lnTo>
                    <a:lnTo>
                      <a:pt x="1095" y="18"/>
                    </a:lnTo>
                    <a:lnTo>
                      <a:pt x="1108" y="8"/>
                    </a:lnTo>
                    <a:lnTo>
                      <a:pt x="1123" y="2"/>
                    </a:lnTo>
                    <a:lnTo>
                      <a:pt x="1141" y="0"/>
                    </a:lnTo>
                    <a:close/>
                  </a:path>
                </a:pathLst>
              </a:custGeom>
              <a:solidFill>
                <a:schemeClr val="bg1">
                  <a:lumMod val="95000"/>
                </a:schemeClr>
              </a:solidFill>
              <a:ln w="0">
                <a:no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prstClr val="black"/>
                  </a:solidFill>
                  <a:effectLst/>
                  <a:uLnTx/>
                  <a:uFillTx/>
                  <a:latin typeface="Raleway" panose="020B0503030101060003" pitchFamily="34" charset="0"/>
                </a:endParaRPr>
              </a:p>
            </p:txBody>
          </p:sp>
          <p:sp>
            <p:nvSpPr>
              <p:cNvPr id="34" name="Freeform 71">
                <a:extLst>
                  <a:ext uri="{FF2B5EF4-FFF2-40B4-BE49-F238E27FC236}">
                    <a16:creationId xmlns:a16="http://schemas.microsoft.com/office/drawing/2014/main" id="{FFAA30FA-7A46-4066-9E93-AE8C41AC0F85}"/>
                  </a:ext>
                </a:extLst>
              </p:cNvPr>
              <p:cNvSpPr>
                <a:spLocks noEditPoints="1"/>
              </p:cNvSpPr>
              <p:nvPr/>
            </p:nvSpPr>
            <p:spPr bwMode="auto">
              <a:xfrm>
                <a:off x="3937" y="2232"/>
                <a:ext cx="400" cy="385"/>
              </a:xfrm>
              <a:custGeom>
                <a:avLst/>
                <a:gdLst>
                  <a:gd name="T0" fmla="*/ 681 w 1602"/>
                  <a:gd name="T1" fmla="*/ 530 h 1540"/>
                  <a:gd name="T2" fmla="*/ 562 w 1602"/>
                  <a:gd name="T3" fmla="*/ 649 h 1540"/>
                  <a:gd name="T4" fmla="*/ 537 w 1602"/>
                  <a:gd name="T5" fmla="*/ 812 h 1540"/>
                  <a:gd name="T6" fmla="*/ 612 w 1602"/>
                  <a:gd name="T7" fmla="*/ 959 h 1540"/>
                  <a:gd name="T8" fmla="*/ 758 w 1602"/>
                  <a:gd name="T9" fmla="*/ 1033 h 1540"/>
                  <a:gd name="T10" fmla="*/ 922 w 1602"/>
                  <a:gd name="T11" fmla="*/ 1009 h 1540"/>
                  <a:gd name="T12" fmla="*/ 1039 w 1602"/>
                  <a:gd name="T13" fmla="*/ 890 h 1540"/>
                  <a:gd name="T14" fmla="*/ 1065 w 1602"/>
                  <a:gd name="T15" fmla="*/ 726 h 1540"/>
                  <a:gd name="T16" fmla="*/ 989 w 1602"/>
                  <a:gd name="T17" fmla="*/ 580 h 1540"/>
                  <a:gd name="T18" fmla="*/ 843 w 1602"/>
                  <a:gd name="T19" fmla="*/ 504 h 1540"/>
                  <a:gd name="T20" fmla="*/ 551 w 1602"/>
                  <a:gd name="T21" fmla="*/ 11 h 1540"/>
                  <a:gd name="T22" fmla="*/ 630 w 1602"/>
                  <a:gd name="T23" fmla="*/ 96 h 1540"/>
                  <a:gd name="T24" fmla="*/ 725 w 1602"/>
                  <a:gd name="T25" fmla="*/ 218 h 1540"/>
                  <a:gd name="T26" fmla="*/ 801 w 1602"/>
                  <a:gd name="T27" fmla="*/ 234 h 1540"/>
                  <a:gd name="T28" fmla="*/ 904 w 1602"/>
                  <a:gd name="T29" fmla="*/ 181 h 1540"/>
                  <a:gd name="T30" fmla="*/ 1055 w 1602"/>
                  <a:gd name="T31" fmla="*/ 3 h 1540"/>
                  <a:gd name="T32" fmla="*/ 1100 w 1602"/>
                  <a:gd name="T33" fmla="*/ 16 h 1540"/>
                  <a:gd name="T34" fmla="*/ 1227 w 1602"/>
                  <a:gd name="T35" fmla="*/ 88 h 1540"/>
                  <a:gd name="T36" fmla="*/ 1333 w 1602"/>
                  <a:gd name="T37" fmla="*/ 155 h 1540"/>
                  <a:gd name="T38" fmla="*/ 1320 w 1602"/>
                  <a:gd name="T39" fmla="*/ 225 h 1540"/>
                  <a:gd name="T40" fmla="*/ 1253 w 1602"/>
                  <a:gd name="T41" fmla="*/ 393 h 1540"/>
                  <a:gd name="T42" fmla="*/ 1291 w 1602"/>
                  <a:gd name="T43" fmla="*/ 558 h 1540"/>
                  <a:gd name="T44" fmla="*/ 1506 w 1602"/>
                  <a:gd name="T45" fmla="*/ 586 h 1540"/>
                  <a:gd name="T46" fmla="*/ 1597 w 1602"/>
                  <a:gd name="T47" fmla="*/ 614 h 1540"/>
                  <a:gd name="T48" fmla="*/ 1586 w 1602"/>
                  <a:gd name="T49" fmla="*/ 930 h 1540"/>
                  <a:gd name="T50" fmla="*/ 1464 w 1602"/>
                  <a:gd name="T51" fmla="*/ 959 h 1540"/>
                  <a:gd name="T52" fmla="*/ 1262 w 1602"/>
                  <a:gd name="T53" fmla="*/ 1036 h 1540"/>
                  <a:gd name="T54" fmla="*/ 1293 w 1602"/>
                  <a:gd name="T55" fmla="*/ 1240 h 1540"/>
                  <a:gd name="T56" fmla="*/ 1333 w 1602"/>
                  <a:gd name="T57" fmla="*/ 1361 h 1540"/>
                  <a:gd name="T58" fmla="*/ 1326 w 1602"/>
                  <a:gd name="T59" fmla="*/ 1392 h 1540"/>
                  <a:gd name="T60" fmla="*/ 1162 w 1602"/>
                  <a:gd name="T61" fmla="*/ 1486 h 1540"/>
                  <a:gd name="T62" fmla="*/ 1079 w 1602"/>
                  <a:gd name="T63" fmla="*/ 1534 h 1540"/>
                  <a:gd name="T64" fmla="*/ 1050 w 1602"/>
                  <a:gd name="T65" fmla="*/ 1529 h 1540"/>
                  <a:gd name="T66" fmla="*/ 972 w 1602"/>
                  <a:gd name="T67" fmla="*/ 1442 h 1540"/>
                  <a:gd name="T68" fmla="*/ 876 w 1602"/>
                  <a:gd name="T69" fmla="*/ 1320 h 1540"/>
                  <a:gd name="T70" fmla="*/ 801 w 1602"/>
                  <a:gd name="T71" fmla="*/ 1304 h 1540"/>
                  <a:gd name="T72" fmla="*/ 725 w 1602"/>
                  <a:gd name="T73" fmla="*/ 1320 h 1540"/>
                  <a:gd name="T74" fmla="*/ 630 w 1602"/>
                  <a:gd name="T75" fmla="*/ 1442 h 1540"/>
                  <a:gd name="T76" fmla="*/ 551 w 1602"/>
                  <a:gd name="T77" fmla="*/ 1529 h 1540"/>
                  <a:gd name="T78" fmla="*/ 522 w 1602"/>
                  <a:gd name="T79" fmla="*/ 1534 h 1540"/>
                  <a:gd name="T80" fmla="*/ 439 w 1602"/>
                  <a:gd name="T81" fmla="*/ 1486 h 1540"/>
                  <a:gd name="T82" fmla="*/ 275 w 1602"/>
                  <a:gd name="T83" fmla="*/ 1392 h 1540"/>
                  <a:gd name="T84" fmla="*/ 268 w 1602"/>
                  <a:gd name="T85" fmla="*/ 1361 h 1540"/>
                  <a:gd name="T86" fmla="*/ 308 w 1602"/>
                  <a:gd name="T87" fmla="*/ 1240 h 1540"/>
                  <a:gd name="T88" fmla="*/ 339 w 1602"/>
                  <a:gd name="T89" fmla="*/ 1036 h 1540"/>
                  <a:gd name="T90" fmla="*/ 138 w 1602"/>
                  <a:gd name="T91" fmla="*/ 959 h 1540"/>
                  <a:gd name="T92" fmla="*/ 15 w 1602"/>
                  <a:gd name="T93" fmla="*/ 930 h 1540"/>
                  <a:gd name="T94" fmla="*/ 4 w 1602"/>
                  <a:gd name="T95" fmla="*/ 614 h 1540"/>
                  <a:gd name="T96" fmla="*/ 96 w 1602"/>
                  <a:gd name="T97" fmla="*/ 586 h 1540"/>
                  <a:gd name="T98" fmla="*/ 311 w 1602"/>
                  <a:gd name="T99" fmla="*/ 558 h 1540"/>
                  <a:gd name="T100" fmla="*/ 349 w 1602"/>
                  <a:gd name="T101" fmla="*/ 393 h 1540"/>
                  <a:gd name="T102" fmla="*/ 281 w 1602"/>
                  <a:gd name="T103" fmla="*/ 225 h 1540"/>
                  <a:gd name="T104" fmla="*/ 268 w 1602"/>
                  <a:gd name="T105" fmla="*/ 155 h 1540"/>
                  <a:gd name="T106" fmla="*/ 291 w 1602"/>
                  <a:gd name="T107" fmla="*/ 137 h 1540"/>
                  <a:gd name="T108" fmla="*/ 411 w 1602"/>
                  <a:gd name="T109" fmla="*/ 67 h 1540"/>
                  <a:gd name="T110" fmla="*/ 522 w 1602"/>
                  <a:gd name="T111" fmla="*/ 5 h 15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602" h="1540">
                    <a:moveTo>
                      <a:pt x="801" y="502"/>
                    </a:moveTo>
                    <a:lnTo>
                      <a:pt x="758" y="504"/>
                    </a:lnTo>
                    <a:lnTo>
                      <a:pt x="719" y="514"/>
                    </a:lnTo>
                    <a:lnTo>
                      <a:pt x="681" y="530"/>
                    </a:lnTo>
                    <a:lnTo>
                      <a:pt x="645" y="552"/>
                    </a:lnTo>
                    <a:lnTo>
                      <a:pt x="612" y="580"/>
                    </a:lnTo>
                    <a:lnTo>
                      <a:pt x="584" y="613"/>
                    </a:lnTo>
                    <a:lnTo>
                      <a:pt x="562" y="649"/>
                    </a:lnTo>
                    <a:lnTo>
                      <a:pt x="546" y="687"/>
                    </a:lnTo>
                    <a:lnTo>
                      <a:pt x="537" y="726"/>
                    </a:lnTo>
                    <a:lnTo>
                      <a:pt x="533" y="769"/>
                    </a:lnTo>
                    <a:lnTo>
                      <a:pt x="537" y="812"/>
                    </a:lnTo>
                    <a:lnTo>
                      <a:pt x="546" y="852"/>
                    </a:lnTo>
                    <a:lnTo>
                      <a:pt x="562" y="890"/>
                    </a:lnTo>
                    <a:lnTo>
                      <a:pt x="583" y="925"/>
                    </a:lnTo>
                    <a:lnTo>
                      <a:pt x="612" y="959"/>
                    </a:lnTo>
                    <a:lnTo>
                      <a:pt x="644" y="987"/>
                    </a:lnTo>
                    <a:lnTo>
                      <a:pt x="680" y="1009"/>
                    </a:lnTo>
                    <a:lnTo>
                      <a:pt x="718" y="1023"/>
                    </a:lnTo>
                    <a:lnTo>
                      <a:pt x="758" y="1033"/>
                    </a:lnTo>
                    <a:lnTo>
                      <a:pt x="801" y="1037"/>
                    </a:lnTo>
                    <a:lnTo>
                      <a:pt x="843" y="1033"/>
                    </a:lnTo>
                    <a:lnTo>
                      <a:pt x="884" y="1023"/>
                    </a:lnTo>
                    <a:lnTo>
                      <a:pt x="922" y="1009"/>
                    </a:lnTo>
                    <a:lnTo>
                      <a:pt x="957" y="987"/>
                    </a:lnTo>
                    <a:lnTo>
                      <a:pt x="990" y="959"/>
                    </a:lnTo>
                    <a:lnTo>
                      <a:pt x="1018" y="925"/>
                    </a:lnTo>
                    <a:lnTo>
                      <a:pt x="1039" y="890"/>
                    </a:lnTo>
                    <a:lnTo>
                      <a:pt x="1055" y="852"/>
                    </a:lnTo>
                    <a:lnTo>
                      <a:pt x="1065" y="812"/>
                    </a:lnTo>
                    <a:lnTo>
                      <a:pt x="1068" y="769"/>
                    </a:lnTo>
                    <a:lnTo>
                      <a:pt x="1065" y="726"/>
                    </a:lnTo>
                    <a:lnTo>
                      <a:pt x="1055" y="687"/>
                    </a:lnTo>
                    <a:lnTo>
                      <a:pt x="1039" y="649"/>
                    </a:lnTo>
                    <a:lnTo>
                      <a:pt x="1017" y="613"/>
                    </a:lnTo>
                    <a:lnTo>
                      <a:pt x="989" y="580"/>
                    </a:lnTo>
                    <a:lnTo>
                      <a:pt x="956" y="552"/>
                    </a:lnTo>
                    <a:lnTo>
                      <a:pt x="920" y="530"/>
                    </a:lnTo>
                    <a:lnTo>
                      <a:pt x="882" y="514"/>
                    </a:lnTo>
                    <a:lnTo>
                      <a:pt x="843" y="504"/>
                    </a:lnTo>
                    <a:lnTo>
                      <a:pt x="801" y="502"/>
                    </a:lnTo>
                    <a:close/>
                    <a:moveTo>
                      <a:pt x="534" y="0"/>
                    </a:moveTo>
                    <a:lnTo>
                      <a:pt x="542" y="2"/>
                    </a:lnTo>
                    <a:lnTo>
                      <a:pt x="551" y="11"/>
                    </a:lnTo>
                    <a:lnTo>
                      <a:pt x="566" y="24"/>
                    </a:lnTo>
                    <a:lnTo>
                      <a:pt x="584" y="43"/>
                    </a:lnTo>
                    <a:lnTo>
                      <a:pt x="605" y="67"/>
                    </a:lnTo>
                    <a:lnTo>
                      <a:pt x="630" y="96"/>
                    </a:lnTo>
                    <a:lnTo>
                      <a:pt x="659" y="133"/>
                    </a:lnTo>
                    <a:lnTo>
                      <a:pt x="685" y="166"/>
                    </a:lnTo>
                    <a:lnTo>
                      <a:pt x="707" y="194"/>
                    </a:lnTo>
                    <a:lnTo>
                      <a:pt x="725" y="218"/>
                    </a:lnTo>
                    <a:lnTo>
                      <a:pt x="738" y="237"/>
                    </a:lnTo>
                    <a:lnTo>
                      <a:pt x="764" y="236"/>
                    </a:lnTo>
                    <a:lnTo>
                      <a:pt x="785" y="234"/>
                    </a:lnTo>
                    <a:lnTo>
                      <a:pt x="801" y="234"/>
                    </a:lnTo>
                    <a:lnTo>
                      <a:pt x="816" y="234"/>
                    </a:lnTo>
                    <a:lnTo>
                      <a:pt x="837" y="236"/>
                    </a:lnTo>
                    <a:lnTo>
                      <a:pt x="863" y="237"/>
                    </a:lnTo>
                    <a:lnTo>
                      <a:pt x="904" y="181"/>
                    </a:lnTo>
                    <a:lnTo>
                      <a:pt x="945" y="130"/>
                    </a:lnTo>
                    <a:lnTo>
                      <a:pt x="984" y="82"/>
                    </a:lnTo>
                    <a:lnTo>
                      <a:pt x="1021" y="40"/>
                    </a:lnTo>
                    <a:lnTo>
                      <a:pt x="1055" y="3"/>
                    </a:lnTo>
                    <a:lnTo>
                      <a:pt x="1068" y="0"/>
                    </a:lnTo>
                    <a:lnTo>
                      <a:pt x="1072" y="1"/>
                    </a:lnTo>
                    <a:lnTo>
                      <a:pt x="1083" y="7"/>
                    </a:lnTo>
                    <a:lnTo>
                      <a:pt x="1100" y="16"/>
                    </a:lnTo>
                    <a:lnTo>
                      <a:pt x="1123" y="28"/>
                    </a:lnTo>
                    <a:lnTo>
                      <a:pt x="1151" y="45"/>
                    </a:lnTo>
                    <a:lnTo>
                      <a:pt x="1187" y="65"/>
                    </a:lnTo>
                    <a:lnTo>
                      <a:pt x="1227" y="88"/>
                    </a:lnTo>
                    <a:lnTo>
                      <a:pt x="1273" y="115"/>
                    </a:lnTo>
                    <a:lnTo>
                      <a:pt x="1326" y="145"/>
                    </a:lnTo>
                    <a:lnTo>
                      <a:pt x="1331" y="150"/>
                    </a:lnTo>
                    <a:lnTo>
                      <a:pt x="1333" y="155"/>
                    </a:lnTo>
                    <a:lnTo>
                      <a:pt x="1335" y="160"/>
                    </a:lnTo>
                    <a:lnTo>
                      <a:pt x="1333" y="176"/>
                    </a:lnTo>
                    <a:lnTo>
                      <a:pt x="1328" y="198"/>
                    </a:lnTo>
                    <a:lnTo>
                      <a:pt x="1320" y="225"/>
                    </a:lnTo>
                    <a:lnTo>
                      <a:pt x="1308" y="258"/>
                    </a:lnTo>
                    <a:lnTo>
                      <a:pt x="1293" y="297"/>
                    </a:lnTo>
                    <a:lnTo>
                      <a:pt x="1275" y="343"/>
                    </a:lnTo>
                    <a:lnTo>
                      <a:pt x="1253" y="393"/>
                    </a:lnTo>
                    <a:lnTo>
                      <a:pt x="1228" y="449"/>
                    </a:lnTo>
                    <a:lnTo>
                      <a:pt x="1251" y="482"/>
                    </a:lnTo>
                    <a:lnTo>
                      <a:pt x="1272" y="519"/>
                    </a:lnTo>
                    <a:lnTo>
                      <a:pt x="1291" y="558"/>
                    </a:lnTo>
                    <a:lnTo>
                      <a:pt x="1357" y="564"/>
                    </a:lnTo>
                    <a:lnTo>
                      <a:pt x="1414" y="572"/>
                    </a:lnTo>
                    <a:lnTo>
                      <a:pt x="1464" y="579"/>
                    </a:lnTo>
                    <a:lnTo>
                      <a:pt x="1506" y="586"/>
                    </a:lnTo>
                    <a:lnTo>
                      <a:pt x="1540" y="594"/>
                    </a:lnTo>
                    <a:lnTo>
                      <a:pt x="1567" y="601"/>
                    </a:lnTo>
                    <a:lnTo>
                      <a:pt x="1586" y="607"/>
                    </a:lnTo>
                    <a:lnTo>
                      <a:pt x="1597" y="614"/>
                    </a:lnTo>
                    <a:lnTo>
                      <a:pt x="1602" y="623"/>
                    </a:lnTo>
                    <a:lnTo>
                      <a:pt x="1602" y="916"/>
                    </a:lnTo>
                    <a:lnTo>
                      <a:pt x="1597" y="923"/>
                    </a:lnTo>
                    <a:lnTo>
                      <a:pt x="1586" y="930"/>
                    </a:lnTo>
                    <a:lnTo>
                      <a:pt x="1567" y="938"/>
                    </a:lnTo>
                    <a:lnTo>
                      <a:pt x="1540" y="944"/>
                    </a:lnTo>
                    <a:lnTo>
                      <a:pt x="1506" y="951"/>
                    </a:lnTo>
                    <a:lnTo>
                      <a:pt x="1464" y="959"/>
                    </a:lnTo>
                    <a:lnTo>
                      <a:pt x="1414" y="966"/>
                    </a:lnTo>
                    <a:lnTo>
                      <a:pt x="1357" y="973"/>
                    </a:lnTo>
                    <a:lnTo>
                      <a:pt x="1291" y="979"/>
                    </a:lnTo>
                    <a:lnTo>
                      <a:pt x="1262" y="1036"/>
                    </a:lnTo>
                    <a:lnTo>
                      <a:pt x="1228" y="1088"/>
                    </a:lnTo>
                    <a:lnTo>
                      <a:pt x="1253" y="1145"/>
                    </a:lnTo>
                    <a:lnTo>
                      <a:pt x="1275" y="1195"/>
                    </a:lnTo>
                    <a:lnTo>
                      <a:pt x="1293" y="1240"/>
                    </a:lnTo>
                    <a:lnTo>
                      <a:pt x="1308" y="1279"/>
                    </a:lnTo>
                    <a:lnTo>
                      <a:pt x="1320" y="1312"/>
                    </a:lnTo>
                    <a:lnTo>
                      <a:pt x="1328" y="1339"/>
                    </a:lnTo>
                    <a:lnTo>
                      <a:pt x="1333" y="1361"/>
                    </a:lnTo>
                    <a:lnTo>
                      <a:pt x="1335" y="1377"/>
                    </a:lnTo>
                    <a:lnTo>
                      <a:pt x="1333" y="1382"/>
                    </a:lnTo>
                    <a:lnTo>
                      <a:pt x="1331" y="1387"/>
                    </a:lnTo>
                    <a:lnTo>
                      <a:pt x="1326" y="1392"/>
                    </a:lnTo>
                    <a:lnTo>
                      <a:pt x="1278" y="1420"/>
                    </a:lnTo>
                    <a:lnTo>
                      <a:pt x="1234" y="1445"/>
                    </a:lnTo>
                    <a:lnTo>
                      <a:pt x="1196" y="1467"/>
                    </a:lnTo>
                    <a:lnTo>
                      <a:pt x="1162" y="1486"/>
                    </a:lnTo>
                    <a:lnTo>
                      <a:pt x="1134" y="1503"/>
                    </a:lnTo>
                    <a:lnTo>
                      <a:pt x="1111" y="1516"/>
                    </a:lnTo>
                    <a:lnTo>
                      <a:pt x="1093" y="1527"/>
                    </a:lnTo>
                    <a:lnTo>
                      <a:pt x="1079" y="1534"/>
                    </a:lnTo>
                    <a:lnTo>
                      <a:pt x="1071" y="1539"/>
                    </a:lnTo>
                    <a:lnTo>
                      <a:pt x="1068" y="1540"/>
                    </a:lnTo>
                    <a:lnTo>
                      <a:pt x="1061" y="1538"/>
                    </a:lnTo>
                    <a:lnTo>
                      <a:pt x="1050" y="1529"/>
                    </a:lnTo>
                    <a:lnTo>
                      <a:pt x="1035" y="1516"/>
                    </a:lnTo>
                    <a:lnTo>
                      <a:pt x="1018" y="1496"/>
                    </a:lnTo>
                    <a:lnTo>
                      <a:pt x="996" y="1472"/>
                    </a:lnTo>
                    <a:lnTo>
                      <a:pt x="972" y="1442"/>
                    </a:lnTo>
                    <a:lnTo>
                      <a:pt x="942" y="1404"/>
                    </a:lnTo>
                    <a:lnTo>
                      <a:pt x="917" y="1372"/>
                    </a:lnTo>
                    <a:lnTo>
                      <a:pt x="895" y="1343"/>
                    </a:lnTo>
                    <a:lnTo>
                      <a:pt x="876" y="1320"/>
                    </a:lnTo>
                    <a:lnTo>
                      <a:pt x="863" y="1300"/>
                    </a:lnTo>
                    <a:lnTo>
                      <a:pt x="837" y="1301"/>
                    </a:lnTo>
                    <a:lnTo>
                      <a:pt x="816" y="1304"/>
                    </a:lnTo>
                    <a:lnTo>
                      <a:pt x="801" y="1304"/>
                    </a:lnTo>
                    <a:lnTo>
                      <a:pt x="785" y="1304"/>
                    </a:lnTo>
                    <a:lnTo>
                      <a:pt x="764" y="1301"/>
                    </a:lnTo>
                    <a:lnTo>
                      <a:pt x="738" y="1300"/>
                    </a:lnTo>
                    <a:lnTo>
                      <a:pt x="725" y="1320"/>
                    </a:lnTo>
                    <a:lnTo>
                      <a:pt x="707" y="1343"/>
                    </a:lnTo>
                    <a:lnTo>
                      <a:pt x="685" y="1372"/>
                    </a:lnTo>
                    <a:lnTo>
                      <a:pt x="659" y="1404"/>
                    </a:lnTo>
                    <a:lnTo>
                      <a:pt x="630" y="1442"/>
                    </a:lnTo>
                    <a:lnTo>
                      <a:pt x="605" y="1472"/>
                    </a:lnTo>
                    <a:lnTo>
                      <a:pt x="584" y="1496"/>
                    </a:lnTo>
                    <a:lnTo>
                      <a:pt x="566" y="1516"/>
                    </a:lnTo>
                    <a:lnTo>
                      <a:pt x="551" y="1529"/>
                    </a:lnTo>
                    <a:lnTo>
                      <a:pt x="542" y="1538"/>
                    </a:lnTo>
                    <a:lnTo>
                      <a:pt x="534" y="1540"/>
                    </a:lnTo>
                    <a:lnTo>
                      <a:pt x="531" y="1539"/>
                    </a:lnTo>
                    <a:lnTo>
                      <a:pt x="522" y="1534"/>
                    </a:lnTo>
                    <a:lnTo>
                      <a:pt x="509" y="1527"/>
                    </a:lnTo>
                    <a:lnTo>
                      <a:pt x="490" y="1516"/>
                    </a:lnTo>
                    <a:lnTo>
                      <a:pt x="467" y="1503"/>
                    </a:lnTo>
                    <a:lnTo>
                      <a:pt x="439" y="1486"/>
                    </a:lnTo>
                    <a:lnTo>
                      <a:pt x="405" y="1467"/>
                    </a:lnTo>
                    <a:lnTo>
                      <a:pt x="367" y="1445"/>
                    </a:lnTo>
                    <a:lnTo>
                      <a:pt x="324" y="1420"/>
                    </a:lnTo>
                    <a:lnTo>
                      <a:pt x="275" y="1392"/>
                    </a:lnTo>
                    <a:lnTo>
                      <a:pt x="270" y="1387"/>
                    </a:lnTo>
                    <a:lnTo>
                      <a:pt x="268" y="1382"/>
                    </a:lnTo>
                    <a:lnTo>
                      <a:pt x="267" y="1377"/>
                    </a:lnTo>
                    <a:lnTo>
                      <a:pt x="268" y="1361"/>
                    </a:lnTo>
                    <a:lnTo>
                      <a:pt x="274" y="1339"/>
                    </a:lnTo>
                    <a:lnTo>
                      <a:pt x="281" y="1312"/>
                    </a:lnTo>
                    <a:lnTo>
                      <a:pt x="294" y="1279"/>
                    </a:lnTo>
                    <a:lnTo>
                      <a:pt x="308" y="1240"/>
                    </a:lnTo>
                    <a:lnTo>
                      <a:pt x="327" y="1195"/>
                    </a:lnTo>
                    <a:lnTo>
                      <a:pt x="349" y="1145"/>
                    </a:lnTo>
                    <a:lnTo>
                      <a:pt x="373" y="1088"/>
                    </a:lnTo>
                    <a:lnTo>
                      <a:pt x="339" y="1036"/>
                    </a:lnTo>
                    <a:lnTo>
                      <a:pt x="311" y="979"/>
                    </a:lnTo>
                    <a:lnTo>
                      <a:pt x="246" y="973"/>
                    </a:lnTo>
                    <a:lnTo>
                      <a:pt x="187" y="966"/>
                    </a:lnTo>
                    <a:lnTo>
                      <a:pt x="138" y="959"/>
                    </a:lnTo>
                    <a:lnTo>
                      <a:pt x="96" y="951"/>
                    </a:lnTo>
                    <a:lnTo>
                      <a:pt x="61" y="944"/>
                    </a:lnTo>
                    <a:lnTo>
                      <a:pt x="35" y="938"/>
                    </a:lnTo>
                    <a:lnTo>
                      <a:pt x="15" y="930"/>
                    </a:lnTo>
                    <a:lnTo>
                      <a:pt x="4" y="923"/>
                    </a:lnTo>
                    <a:lnTo>
                      <a:pt x="0" y="916"/>
                    </a:lnTo>
                    <a:lnTo>
                      <a:pt x="0" y="623"/>
                    </a:lnTo>
                    <a:lnTo>
                      <a:pt x="4" y="614"/>
                    </a:lnTo>
                    <a:lnTo>
                      <a:pt x="15" y="607"/>
                    </a:lnTo>
                    <a:lnTo>
                      <a:pt x="35" y="601"/>
                    </a:lnTo>
                    <a:lnTo>
                      <a:pt x="61" y="594"/>
                    </a:lnTo>
                    <a:lnTo>
                      <a:pt x="96" y="586"/>
                    </a:lnTo>
                    <a:lnTo>
                      <a:pt x="138" y="579"/>
                    </a:lnTo>
                    <a:lnTo>
                      <a:pt x="187" y="572"/>
                    </a:lnTo>
                    <a:lnTo>
                      <a:pt x="246" y="564"/>
                    </a:lnTo>
                    <a:lnTo>
                      <a:pt x="311" y="558"/>
                    </a:lnTo>
                    <a:lnTo>
                      <a:pt x="329" y="519"/>
                    </a:lnTo>
                    <a:lnTo>
                      <a:pt x="351" y="482"/>
                    </a:lnTo>
                    <a:lnTo>
                      <a:pt x="373" y="449"/>
                    </a:lnTo>
                    <a:lnTo>
                      <a:pt x="349" y="393"/>
                    </a:lnTo>
                    <a:lnTo>
                      <a:pt x="327" y="343"/>
                    </a:lnTo>
                    <a:lnTo>
                      <a:pt x="308" y="297"/>
                    </a:lnTo>
                    <a:lnTo>
                      <a:pt x="294" y="258"/>
                    </a:lnTo>
                    <a:lnTo>
                      <a:pt x="281" y="225"/>
                    </a:lnTo>
                    <a:lnTo>
                      <a:pt x="274" y="198"/>
                    </a:lnTo>
                    <a:lnTo>
                      <a:pt x="268" y="176"/>
                    </a:lnTo>
                    <a:lnTo>
                      <a:pt x="267" y="160"/>
                    </a:lnTo>
                    <a:lnTo>
                      <a:pt x="268" y="155"/>
                    </a:lnTo>
                    <a:lnTo>
                      <a:pt x="270" y="150"/>
                    </a:lnTo>
                    <a:lnTo>
                      <a:pt x="275" y="145"/>
                    </a:lnTo>
                    <a:lnTo>
                      <a:pt x="280" y="143"/>
                    </a:lnTo>
                    <a:lnTo>
                      <a:pt x="291" y="137"/>
                    </a:lnTo>
                    <a:lnTo>
                      <a:pt x="306" y="128"/>
                    </a:lnTo>
                    <a:lnTo>
                      <a:pt x="324" y="117"/>
                    </a:lnTo>
                    <a:lnTo>
                      <a:pt x="349" y="104"/>
                    </a:lnTo>
                    <a:lnTo>
                      <a:pt x="411" y="67"/>
                    </a:lnTo>
                    <a:lnTo>
                      <a:pt x="471" y="33"/>
                    </a:lnTo>
                    <a:lnTo>
                      <a:pt x="493" y="21"/>
                    </a:lnTo>
                    <a:lnTo>
                      <a:pt x="510" y="12"/>
                    </a:lnTo>
                    <a:lnTo>
                      <a:pt x="522" y="5"/>
                    </a:lnTo>
                    <a:lnTo>
                      <a:pt x="529" y="1"/>
                    </a:lnTo>
                    <a:lnTo>
                      <a:pt x="534" y="0"/>
                    </a:lnTo>
                    <a:close/>
                  </a:path>
                </a:pathLst>
              </a:custGeom>
              <a:solidFill>
                <a:schemeClr val="bg1">
                  <a:lumMod val="95000"/>
                </a:schemeClr>
              </a:solidFill>
              <a:ln w="0">
                <a:no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prstClr val="black"/>
                  </a:solidFill>
                  <a:effectLst/>
                  <a:uLnTx/>
                  <a:uFillTx/>
                  <a:latin typeface="Raleway" panose="020B0503030101060003" pitchFamily="34" charset="0"/>
                </a:endParaRPr>
              </a:p>
            </p:txBody>
          </p:sp>
          <p:sp>
            <p:nvSpPr>
              <p:cNvPr id="35" name="Freeform 72">
                <a:extLst>
                  <a:ext uri="{FF2B5EF4-FFF2-40B4-BE49-F238E27FC236}">
                    <a16:creationId xmlns:a16="http://schemas.microsoft.com/office/drawing/2014/main" id="{78E28A03-0905-4C79-BC0D-F2792FD9C848}"/>
                  </a:ext>
                </a:extLst>
              </p:cNvPr>
              <p:cNvSpPr>
                <a:spLocks noEditPoints="1"/>
              </p:cNvSpPr>
              <p:nvPr/>
            </p:nvSpPr>
            <p:spPr bwMode="auto">
              <a:xfrm>
                <a:off x="3937" y="1697"/>
                <a:ext cx="400" cy="385"/>
              </a:xfrm>
              <a:custGeom>
                <a:avLst/>
                <a:gdLst>
                  <a:gd name="T0" fmla="*/ 681 w 1602"/>
                  <a:gd name="T1" fmla="*/ 531 h 1541"/>
                  <a:gd name="T2" fmla="*/ 562 w 1602"/>
                  <a:gd name="T3" fmla="*/ 649 h 1541"/>
                  <a:gd name="T4" fmla="*/ 537 w 1602"/>
                  <a:gd name="T5" fmla="*/ 812 h 1541"/>
                  <a:gd name="T6" fmla="*/ 612 w 1602"/>
                  <a:gd name="T7" fmla="*/ 958 h 1541"/>
                  <a:gd name="T8" fmla="*/ 758 w 1602"/>
                  <a:gd name="T9" fmla="*/ 1034 h 1541"/>
                  <a:gd name="T10" fmla="*/ 922 w 1602"/>
                  <a:gd name="T11" fmla="*/ 1008 h 1541"/>
                  <a:gd name="T12" fmla="*/ 1039 w 1602"/>
                  <a:gd name="T13" fmla="*/ 891 h 1541"/>
                  <a:gd name="T14" fmla="*/ 1065 w 1602"/>
                  <a:gd name="T15" fmla="*/ 726 h 1541"/>
                  <a:gd name="T16" fmla="*/ 989 w 1602"/>
                  <a:gd name="T17" fmla="*/ 581 h 1541"/>
                  <a:gd name="T18" fmla="*/ 843 w 1602"/>
                  <a:gd name="T19" fmla="*/ 505 h 1541"/>
                  <a:gd name="T20" fmla="*/ 551 w 1602"/>
                  <a:gd name="T21" fmla="*/ 11 h 1541"/>
                  <a:gd name="T22" fmla="*/ 630 w 1602"/>
                  <a:gd name="T23" fmla="*/ 97 h 1541"/>
                  <a:gd name="T24" fmla="*/ 725 w 1602"/>
                  <a:gd name="T25" fmla="*/ 218 h 1541"/>
                  <a:gd name="T26" fmla="*/ 801 w 1602"/>
                  <a:gd name="T27" fmla="*/ 234 h 1541"/>
                  <a:gd name="T28" fmla="*/ 904 w 1602"/>
                  <a:gd name="T29" fmla="*/ 182 h 1541"/>
                  <a:gd name="T30" fmla="*/ 1055 w 1602"/>
                  <a:gd name="T31" fmla="*/ 4 h 1541"/>
                  <a:gd name="T32" fmla="*/ 1100 w 1602"/>
                  <a:gd name="T33" fmla="*/ 16 h 1541"/>
                  <a:gd name="T34" fmla="*/ 1227 w 1602"/>
                  <a:gd name="T35" fmla="*/ 89 h 1541"/>
                  <a:gd name="T36" fmla="*/ 1333 w 1602"/>
                  <a:gd name="T37" fmla="*/ 156 h 1541"/>
                  <a:gd name="T38" fmla="*/ 1320 w 1602"/>
                  <a:gd name="T39" fmla="*/ 226 h 1541"/>
                  <a:gd name="T40" fmla="*/ 1253 w 1602"/>
                  <a:gd name="T41" fmla="*/ 393 h 1541"/>
                  <a:gd name="T42" fmla="*/ 1291 w 1602"/>
                  <a:gd name="T43" fmla="*/ 559 h 1541"/>
                  <a:gd name="T44" fmla="*/ 1506 w 1602"/>
                  <a:gd name="T45" fmla="*/ 587 h 1541"/>
                  <a:gd name="T46" fmla="*/ 1597 w 1602"/>
                  <a:gd name="T47" fmla="*/ 615 h 1541"/>
                  <a:gd name="T48" fmla="*/ 1586 w 1602"/>
                  <a:gd name="T49" fmla="*/ 930 h 1541"/>
                  <a:gd name="T50" fmla="*/ 1464 w 1602"/>
                  <a:gd name="T51" fmla="*/ 959 h 1541"/>
                  <a:gd name="T52" fmla="*/ 1262 w 1602"/>
                  <a:gd name="T53" fmla="*/ 1036 h 1541"/>
                  <a:gd name="T54" fmla="*/ 1293 w 1602"/>
                  <a:gd name="T55" fmla="*/ 1241 h 1541"/>
                  <a:gd name="T56" fmla="*/ 1333 w 1602"/>
                  <a:gd name="T57" fmla="*/ 1362 h 1541"/>
                  <a:gd name="T58" fmla="*/ 1326 w 1602"/>
                  <a:gd name="T59" fmla="*/ 1393 h 1541"/>
                  <a:gd name="T60" fmla="*/ 1162 w 1602"/>
                  <a:gd name="T61" fmla="*/ 1487 h 1541"/>
                  <a:gd name="T62" fmla="*/ 1079 w 1602"/>
                  <a:gd name="T63" fmla="*/ 1535 h 1541"/>
                  <a:gd name="T64" fmla="*/ 1050 w 1602"/>
                  <a:gd name="T65" fmla="*/ 1530 h 1541"/>
                  <a:gd name="T66" fmla="*/ 972 w 1602"/>
                  <a:gd name="T67" fmla="*/ 1443 h 1541"/>
                  <a:gd name="T68" fmla="*/ 876 w 1602"/>
                  <a:gd name="T69" fmla="*/ 1320 h 1541"/>
                  <a:gd name="T70" fmla="*/ 801 w 1602"/>
                  <a:gd name="T71" fmla="*/ 1304 h 1541"/>
                  <a:gd name="T72" fmla="*/ 725 w 1602"/>
                  <a:gd name="T73" fmla="*/ 1320 h 1541"/>
                  <a:gd name="T74" fmla="*/ 630 w 1602"/>
                  <a:gd name="T75" fmla="*/ 1443 h 1541"/>
                  <a:gd name="T76" fmla="*/ 551 w 1602"/>
                  <a:gd name="T77" fmla="*/ 1530 h 1541"/>
                  <a:gd name="T78" fmla="*/ 522 w 1602"/>
                  <a:gd name="T79" fmla="*/ 1535 h 1541"/>
                  <a:gd name="T80" fmla="*/ 439 w 1602"/>
                  <a:gd name="T81" fmla="*/ 1487 h 1541"/>
                  <a:gd name="T82" fmla="*/ 275 w 1602"/>
                  <a:gd name="T83" fmla="*/ 1393 h 1541"/>
                  <a:gd name="T84" fmla="*/ 268 w 1602"/>
                  <a:gd name="T85" fmla="*/ 1362 h 1541"/>
                  <a:gd name="T86" fmla="*/ 308 w 1602"/>
                  <a:gd name="T87" fmla="*/ 1241 h 1541"/>
                  <a:gd name="T88" fmla="*/ 339 w 1602"/>
                  <a:gd name="T89" fmla="*/ 1036 h 1541"/>
                  <a:gd name="T90" fmla="*/ 138 w 1602"/>
                  <a:gd name="T91" fmla="*/ 959 h 1541"/>
                  <a:gd name="T92" fmla="*/ 15 w 1602"/>
                  <a:gd name="T93" fmla="*/ 930 h 1541"/>
                  <a:gd name="T94" fmla="*/ 4 w 1602"/>
                  <a:gd name="T95" fmla="*/ 615 h 1541"/>
                  <a:gd name="T96" fmla="*/ 96 w 1602"/>
                  <a:gd name="T97" fmla="*/ 587 h 1541"/>
                  <a:gd name="T98" fmla="*/ 311 w 1602"/>
                  <a:gd name="T99" fmla="*/ 559 h 1541"/>
                  <a:gd name="T100" fmla="*/ 349 w 1602"/>
                  <a:gd name="T101" fmla="*/ 393 h 1541"/>
                  <a:gd name="T102" fmla="*/ 281 w 1602"/>
                  <a:gd name="T103" fmla="*/ 226 h 1541"/>
                  <a:gd name="T104" fmla="*/ 268 w 1602"/>
                  <a:gd name="T105" fmla="*/ 156 h 1541"/>
                  <a:gd name="T106" fmla="*/ 291 w 1602"/>
                  <a:gd name="T107" fmla="*/ 137 h 1541"/>
                  <a:gd name="T108" fmla="*/ 411 w 1602"/>
                  <a:gd name="T109" fmla="*/ 68 h 1541"/>
                  <a:gd name="T110" fmla="*/ 522 w 1602"/>
                  <a:gd name="T111" fmla="*/ 5 h 15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602" h="1541">
                    <a:moveTo>
                      <a:pt x="801" y="501"/>
                    </a:moveTo>
                    <a:lnTo>
                      <a:pt x="758" y="505"/>
                    </a:lnTo>
                    <a:lnTo>
                      <a:pt x="719" y="515"/>
                    </a:lnTo>
                    <a:lnTo>
                      <a:pt x="681" y="531"/>
                    </a:lnTo>
                    <a:lnTo>
                      <a:pt x="645" y="553"/>
                    </a:lnTo>
                    <a:lnTo>
                      <a:pt x="612" y="581"/>
                    </a:lnTo>
                    <a:lnTo>
                      <a:pt x="584" y="614"/>
                    </a:lnTo>
                    <a:lnTo>
                      <a:pt x="562" y="649"/>
                    </a:lnTo>
                    <a:lnTo>
                      <a:pt x="546" y="687"/>
                    </a:lnTo>
                    <a:lnTo>
                      <a:pt x="537" y="726"/>
                    </a:lnTo>
                    <a:lnTo>
                      <a:pt x="533" y="769"/>
                    </a:lnTo>
                    <a:lnTo>
                      <a:pt x="537" y="812"/>
                    </a:lnTo>
                    <a:lnTo>
                      <a:pt x="546" y="853"/>
                    </a:lnTo>
                    <a:lnTo>
                      <a:pt x="562" y="891"/>
                    </a:lnTo>
                    <a:lnTo>
                      <a:pt x="583" y="926"/>
                    </a:lnTo>
                    <a:lnTo>
                      <a:pt x="612" y="958"/>
                    </a:lnTo>
                    <a:lnTo>
                      <a:pt x="644" y="986"/>
                    </a:lnTo>
                    <a:lnTo>
                      <a:pt x="680" y="1008"/>
                    </a:lnTo>
                    <a:lnTo>
                      <a:pt x="718" y="1024"/>
                    </a:lnTo>
                    <a:lnTo>
                      <a:pt x="758" y="1034"/>
                    </a:lnTo>
                    <a:lnTo>
                      <a:pt x="801" y="1036"/>
                    </a:lnTo>
                    <a:lnTo>
                      <a:pt x="843" y="1034"/>
                    </a:lnTo>
                    <a:lnTo>
                      <a:pt x="884" y="1024"/>
                    </a:lnTo>
                    <a:lnTo>
                      <a:pt x="922" y="1008"/>
                    </a:lnTo>
                    <a:lnTo>
                      <a:pt x="957" y="986"/>
                    </a:lnTo>
                    <a:lnTo>
                      <a:pt x="990" y="958"/>
                    </a:lnTo>
                    <a:lnTo>
                      <a:pt x="1018" y="926"/>
                    </a:lnTo>
                    <a:lnTo>
                      <a:pt x="1039" y="891"/>
                    </a:lnTo>
                    <a:lnTo>
                      <a:pt x="1055" y="853"/>
                    </a:lnTo>
                    <a:lnTo>
                      <a:pt x="1065" y="812"/>
                    </a:lnTo>
                    <a:lnTo>
                      <a:pt x="1068" y="769"/>
                    </a:lnTo>
                    <a:lnTo>
                      <a:pt x="1065" y="726"/>
                    </a:lnTo>
                    <a:lnTo>
                      <a:pt x="1055" y="687"/>
                    </a:lnTo>
                    <a:lnTo>
                      <a:pt x="1039" y="649"/>
                    </a:lnTo>
                    <a:lnTo>
                      <a:pt x="1017" y="614"/>
                    </a:lnTo>
                    <a:lnTo>
                      <a:pt x="989" y="581"/>
                    </a:lnTo>
                    <a:lnTo>
                      <a:pt x="956" y="553"/>
                    </a:lnTo>
                    <a:lnTo>
                      <a:pt x="920" y="531"/>
                    </a:lnTo>
                    <a:lnTo>
                      <a:pt x="882" y="515"/>
                    </a:lnTo>
                    <a:lnTo>
                      <a:pt x="843" y="505"/>
                    </a:lnTo>
                    <a:lnTo>
                      <a:pt x="801" y="501"/>
                    </a:lnTo>
                    <a:close/>
                    <a:moveTo>
                      <a:pt x="534" y="0"/>
                    </a:moveTo>
                    <a:lnTo>
                      <a:pt x="542" y="3"/>
                    </a:lnTo>
                    <a:lnTo>
                      <a:pt x="551" y="11"/>
                    </a:lnTo>
                    <a:lnTo>
                      <a:pt x="566" y="25"/>
                    </a:lnTo>
                    <a:lnTo>
                      <a:pt x="584" y="43"/>
                    </a:lnTo>
                    <a:lnTo>
                      <a:pt x="605" y="68"/>
                    </a:lnTo>
                    <a:lnTo>
                      <a:pt x="630" y="97"/>
                    </a:lnTo>
                    <a:lnTo>
                      <a:pt x="659" y="134"/>
                    </a:lnTo>
                    <a:lnTo>
                      <a:pt x="685" y="167"/>
                    </a:lnTo>
                    <a:lnTo>
                      <a:pt x="707" y="195"/>
                    </a:lnTo>
                    <a:lnTo>
                      <a:pt x="725" y="218"/>
                    </a:lnTo>
                    <a:lnTo>
                      <a:pt x="738" y="238"/>
                    </a:lnTo>
                    <a:lnTo>
                      <a:pt x="764" y="235"/>
                    </a:lnTo>
                    <a:lnTo>
                      <a:pt x="785" y="234"/>
                    </a:lnTo>
                    <a:lnTo>
                      <a:pt x="801" y="234"/>
                    </a:lnTo>
                    <a:lnTo>
                      <a:pt x="816" y="234"/>
                    </a:lnTo>
                    <a:lnTo>
                      <a:pt x="837" y="235"/>
                    </a:lnTo>
                    <a:lnTo>
                      <a:pt x="863" y="238"/>
                    </a:lnTo>
                    <a:lnTo>
                      <a:pt x="904" y="182"/>
                    </a:lnTo>
                    <a:lnTo>
                      <a:pt x="945" y="130"/>
                    </a:lnTo>
                    <a:lnTo>
                      <a:pt x="984" y="82"/>
                    </a:lnTo>
                    <a:lnTo>
                      <a:pt x="1021" y="41"/>
                    </a:lnTo>
                    <a:lnTo>
                      <a:pt x="1055" y="4"/>
                    </a:lnTo>
                    <a:lnTo>
                      <a:pt x="1068" y="0"/>
                    </a:lnTo>
                    <a:lnTo>
                      <a:pt x="1072" y="2"/>
                    </a:lnTo>
                    <a:lnTo>
                      <a:pt x="1083" y="8"/>
                    </a:lnTo>
                    <a:lnTo>
                      <a:pt x="1100" y="16"/>
                    </a:lnTo>
                    <a:lnTo>
                      <a:pt x="1123" y="29"/>
                    </a:lnTo>
                    <a:lnTo>
                      <a:pt x="1151" y="46"/>
                    </a:lnTo>
                    <a:lnTo>
                      <a:pt x="1187" y="65"/>
                    </a:lnTo>
                    <a:lnTo>
                      <a:pt x="1227" y="89"/>
                    </a:lnTo>
                    <a:lnTo>
                      <a:pt x="1273" y="115"/>
                    </a:lnTo>
                    <a:lnTo>
                      <a:pt x="1326" y="146"/>
                    </a:lnTo>
                    <a:lnTo>
                      <a:pt x="1331" y="151"/>
                    </a:lnTo>
                    <a:lnTo>
                      <a:pt x="1333" y="156"/>
                    </a:lnTo>
                    <a:lnTo>
                      <a:pt x="1335" y="161"/>
                    </a:lnTo>
                    <a:lnTo>
                      <a:pt x="1333" y="177"/>
                    </a:lnTo>
                    <a:lnTo>
                      <a:pt x="1328" y="199"/>
                    </a:lnTo>
                    <a:lnTo>
                      <a:pt x="1320" y="226"/>
                    </a:lnTo>
                    <a:lnTo>
                      <a:pt x="1308" y="259"/>
                    </a:lnTo>
                    <a:lnTo>
                      <a:pt x="1293" y="298"/>
                    </a:lnTo>
                    <a:lnTo>
                      <a:pt x="1275" y="343"/>
                    </a:lnTo>
                    <a:lnTo>
                      <a:pt x="1253" y="393"/>
                    </a:lnTo>
                    <a:lnTo>
                      <a:pt x="1228" y="450"/>
                    </a:lnTo>
                    <a:lnTo>
                      <a:pt x="1251" y="483"/>
                    </a:lnTo>
                    <a:lnTo>
                      <a:pt x="1272" y="520"/>
                    </a:lnTo>
                    <a:lnTo>
                      <a:pt x="1291" y="559"/>
                    </a:lnTo>
                    <a:lnTo>
                      <a:pt x="1357" y="565"/>
                    </a:lnTo>
                    <a:lnTo>
                      <a:pt x="1414" y="572"/>
                    </a:lnTo>
                    <a:lnTo>
                      <a:pt x="1464" y="580"/>
                    </a:lnTo>
                    <a:lnTo>
                      <a:pt x="1506" y="587"/>
                    </a:lnTo>
                    <a:lnTo>
                      <a:pt x="1540" y="594"/>
                    </a:lnTo>
                    <a:lnTo>
                      <a:pt x="1567" y="600"/>
                    </a:lnTo>
                    <a:lnTo>
                      <a:pt x="1586" y="608"/>
                    </a:lnTo>
                    <a:lnTo>
                      <a:pt x="1597" y="615"/>
                    </a:lnTo>
                    <a:lnTo>
                      <a:pt x="1602" y="622"/>
                    </a:lnTo>
                    <a:lnTo>
                      <a:pt x="1602" y="915"/>
                    </a:lnTo>
                    <a:lnTo>
                      <a:pt x="1597" y="922"/>
                    </a:lnTo>
                    <a:lnTo>
                      <a:pt x="1586" y="930"/>
                    </a:lnTo>
                    <a:lnTo>
                      <a:pt x="1567" y="937"/>
                    </a:lnTo>
                    <a:lnTo>
                      <a:pt x="1540" y="944"/>
                    </a:lnTo>
                    <a:lnTo>
                      <a:pt x="1506" y="952"/>
                    </a:lnTo>
                    <a:lnTo>
                      <a:pt x="1464" y="959"/>
                    </a:lnTo>
                    <a:lnTo>
                      <a:pt x="1414" y="966"/>
                    </a:lnTo>
                    <a:lnTo>
                      <a:pt x="1357" y="974"/>
                    </a:lnTo>
                    <a:lnTo>
                      <a:pt x="1291" y="980"/>
                    </a:lnTo>
                    <a:lnTo>
                      <a:pt x="1262" y="1036"/>
                    </a:lnTo>
                    <a:lnTo>
                      <a:pt x="1228" y="1089"/>
                    </a:lnTo>
                    <a:lnTo>
                      <a:pt x="1253" y="1145"/>
                    </a:lnTo>
                    <a:lnTo>
                      <a:pt x="1275" y="1195"/>
                    </a:lnTo>
                    <a:lnTo>
                      <a:pt x="1293" y="1241"/>
                    </a:lnTo>
                    <a:lnTo>
                      <a:pt x="1308" y="1280"/>
                    </a:lnTo>
                    <a:lnTo>
                      <a:pt x="1320" y="1313"/>
                    </a:lnTo>
                    <a:lnTo>
                      <a:pt x="1328" y="1340"/>
                    </a:lnTo>
                    <a:lnTo>
                      <a:pt x="1333" y="1362"/>
                    </a:lnTo>
                    <a:lnTo>
                      <a:pt x="1335" y="1378"/>
                    </a:lnTo>
                    <a:lnTo>
                      <a:pt x="1333" y="1383"/>
                    </a:lnTo>
                    <a:lnTo>
                      <a:pt x="1331" y="1388"/>
                    </a:lnTo>
                    <a:lnTo>
                      <a:pt x="1326" y="1393"/>
                    </a:lnTo>
                    <a:lnTo>
                      <a:pt x="1278" y="1421"/>
                    </a:lnTo>
                    <a:lnTo>
                      <a:pt x="1234" y="1445"/>
                    </a:lnTo>
                    <a:lnTo>
                      <a:pt x="1196" y="1467"/>
                    </a:lnTo>
                    <a:lnTo>
                      <a:pt x="1162" y="1487"/>
                    </a:lnTo>
                    <a:lnTo>
                      <a:pt x="1134" y="1504"/>
                    </a:lnTo>
                    <a:lnTo>
                      <a:pt x="1111" y="1516"/>
                    </a:lnTo>
                    <a:lnTo>
                      <a:pt x="1093" y="1527"/>
                    </a:lnTo>
                    <a:lnTo>
                      <a:pt x="1079" y="1535"/>
                    </a:lnTo>
                    <a:lnTo>
                      <a:pt x="1071" y="1540"/>
                    </a:lnTo>
                    <a:lnTo>
                      <a:pt x="1068" y="1541"/>
                    </a:lnTo>
                    <a:lnTo>
                      <a:pt x="1061" y="1538"/>
                    </a:lnTo>
                    <a:lnTo>
                      <a:pt x="1050" y="1530"/>
                    </a:lnTo>
                    <a:lnTo>
                      <a:pt x="1035" y="1516"/>
                    </a:lnTo>
                    <a:lnTo>
                      <a:pt x="1018" y="1497"/>
                    </a:lnTo>
                    <a:lnTo>
                      <a:pt x="996" y="1472"/>
                    </a:lnTo>
                    <a:lnTo>
                      <a:pt x="972" y="1443"/>
                    </a:lnTo>
                    <a:lnTo>
                      <a:pt x="942" y="1405"/>
                    </a:lnTo>
                    <a:lnTo>
                      <a:pt x="917" y="1373"/>
                    </a:lnTo>
                    <a:lnTo>
                      <a:pt x="895" y="1344"/>
                    </a:lnTo>
                    <a:lnTo>
                      <a:pt x="876" y="1320"/>
                    </a:lnTo>
                    <a:lnTo>
                      <a:pt x="863" y="1301"/>
                    </a:lnTo>
                    <a:lnTo>
                      <a:pt x="837" y="1302"/>
                    </a:lnTo>
                    <a:lnTo>
                      <a:pt x="816" y="1304"/>
                    </a:lnTo>
                    <a:lnTo>
                      <a:pt x="801" y="1304"/>
                    </a:lnTo>
                    <a:lnTo>
                      <a:pt x="785" y="1304"/>
                    </a:lnTo>
                    <a:lnTo>
                      <a:pt x="764" y="1302"/>
                    </a:lnTo>
                    <a:lnTo>
                      <a:pt x="738" y="1301"/>
                    </a:lnTo>
                    <a:lnTo>
                      <a:pt x="725" y="1320"/>
                    </a:lnTo>
                    <a:lnTo>
                      <a:pt x="707" y="1344"/>
                    </a:lnTo>
                    <a:lnTo>
                      <a:pt x="685" y="1373"/>
                    </a:lnTo>
                    <a:lnTo>
                      <a:pt x="659" y="1405"/>
                    </a:lnTo>
                    <a:lnTo>
                      <a:pt x="630" y="1443"/>
                    </a:lnTo>
                    <a:lnTo>
                      <a:pt x="605" y="1472"/>
                    </a:lnTo>
                    <a:lnTo>
                      <a:pt x="584" y="1497"/>
                    </a:lnTo>
                    <a:lnTo>
                      <a:pt x="566" y="1516"/>
                    </a:lnTo>
                    <a:lnTo>
                      <a:pt x="551" y="1530"/>
                    </a:lnTo>
                    <a:lnTo>
                      <a:pt x="542" y="1538"/>
                    </a:lnTo>
                    <a:lnTo>
                      <a:pt x="534" y="1541"/>
                    </a:lnTo>
                    <a:lnTo>
                      <a:pt x="531" y="1540"/>
                    </a:lnTo>
                    <a:lnTo>
                      <a:pt x="522" y="1535"/>
                    </a:lnTo>
                    <a:lnTo>
                      <a:pt x="509" y="1527"/>
                    </a:lnTo>
                    <a:lnTo>
                      <a:pt x="490" y="1516"/>
                    </a:lnTo>
                    <a:lnTo>
                      <a:pt x="467" y="1504"/>
                    </a:lnTo>
                    <a:lnTo>
                      <a:pt x="439" y="1487"/>
                    </a:lnTo>
                    <a:lnTo>
                      <a:pt x="405" y="1467"/>
                    </a:lnTo>
                    <a:lnTo>
                      <a:pt x="367" y="1445"/>
                    </a:lnTo>
                    <a:lnTo>
                      <a:pt x="324" y="1421"/>
                    </a:lnTo>
                    <a:lnTo>
                      <a:pt x="275" y="1393"/>
                    </a:lnTo>
                    <a:lnTo>
                      <a:pt x="270" y="1388"/>
                    </a:lnTo>
                    <a:lnTo>
                      <a:pt x="268" y="1383"/>
                    </a:lnTo>
                    <a:lnTo>
                      <a:pt x="267" y="1378"/>
                    </a:lnTo>
                    <a:lnTo>
                      <a:pt x="268" y="1362"/>
                    </a:lnTo>
                    <a:lnTo>
                      <a:pt x="274" y="1340"/>
                    </a:lnTo>
                    <a:lnTo>
                      <a:pt x="281" y="1313"/>
                    </a:lnTo>
                    <a:lnTo>
                      <a:pt x="294" y="1280"/>
                    </a:lnTo>
                    <a:lnTo>
                      <a:pt x="308" y="1241"/>
                    </a:lnTo>
                    <a:lnTo>
                      <a:pt x="327" y="1195"/>
                    </a:lnTo>
                    <a:lnTo>
                      <a:pt x="349" y="1145"/>
                    </a:lnTo>
                    <a:lnTo>
                      <a:pt x="373" y="1089"/>
                    </a:lnTo>
                    <a:lnTo>
                      <a:pt x="339" y="1036"/>
                    </a:lnTo>
                    <a:lnTo>
                      <a:pt x="311" y="980"/>
                    </a:lnTo>
                    <a:lnTo>
                      <a:pt x="246" y="974"/>
                    </a:lnTo>
                    <a:lnTo>
                      <a:pt x="187" y="966"/>
                    </a:lnTo>
                    <a:lnTo>
                      <a:pt x="138" y="959"/>
                    </a:lnTo>
                    <a:lnTo>
                      <a:pt x="96" y="952"/>
                    </a:lnTo>
                    <a:lnTo>
                      <a:pt x="61" y="944"/>
                    </a:lnTo>
                    <a:lnTo>
                      <a:pt x="35" y="937"/>
                    </a:lnTo>
                    <a:lnTo>
                      <a:pt x="15" y="930"/>
                    </a:lnTo>
                    <a:lnTo>
                      <a:pt x="4" y="922"/>
                    </a:lnTo>
                    <a:lnTo>
                      <a:pt x="0" y="915"/>
                    </a:lnTo>
                    <a:lnTo>
                      <a:pt x="0" y="622"/>
                    </a:lnTo>
                    <a:lnTo>
                      <a:pt x="4" y="615"/>
                    </a:lnTo>
                    <a:lnTo>
                      <a:pt x="15" y="608"/>
                    </a:lnTo>
                    <a:lnTo>
                      <a:pt x="35" y="600"/>
                    </a:lnTo>
                    <a:lnTo>
                      <a:pt x="61" y="594"/>
                    </a:lnTo>
                    <a:lnTo>
                      <a:pt x="96" y="587"/>
                    </a:lnTo>
                    <a:lnTo>
                      <a:pt x="138" y="580"/>
                    </a:lnTo>
                    <a:lnTo>
                      <a:pt x="187" y="572"/>
                    </a:lnTo>
                    <a:lnTo>
                      <a:pt x="246" y="565"/>
                    </a:lnTo>
                    <a:lnTo>
                      <a:pt x="311" y="559"/>
                    </a:lnTo>
                    <a:lnTo>
                      <a:pt x="329" y="520"/>
                    </a:lnTo>
                    <a:lnTo>
                      <a:pt x="351" y="483"/>
                    </a:lnTo>
                    <a:lnTo>
                      <a:pt x="373" y="450"/>
                    </a:lnTo>
                    <a:lnTo>
                      <a:pt x="349" y="393"/>
                    </a:lnTo>
                    <a:lnTo>
                      <a:pt x="327" y="343"/>
                    </a:lnTo>
                    <a:lnTo>
                      <a:pt x="308" y="298"/>
                    </a:lnTo>
                    <a:lnTo>
                      <a:pt x="294" y="259"/>
                    </a:lnTo>
                    <a:lnTo>
                      <a:pt x="281" y="226"/>
                    </a:lnTo>
                    <a:lnTo>
                      <a:pt x="274" y="199"/>
                    </a:lnTo>
                    <a:lnTo>
                      <a:pt x="268" y="177"/>
                    </a:lnTo>
                    <a:lnTo>
                      <a:pt x="267" y="161"/>
                    </a:lnTo>
                    <a:lnTo>
                      <a:pt x="268" y="156"/>
                    </a:lnTo>
                    <a:lnTo>
                      <a:pt x="270" y="151"/>
                    </a:lnTo>
                    <a:lnTo>
                      <a:pt x="275" y="146"/>
                    </a:lnTo>
                    <a:lnTo>
                      <a:pt x="280" y="144"/>
                    </a:lnTo>
                    <a:lnTo>
                      <a:pt x="291" y="137"/>
                    </a:lnTo>
                    <a:lnTo>
                      <a:pt x="306" y="129"/>
                    </a:lnTo>
                    <a:lnTo>
                      <a:pt x="324" y="118"/>
                    </a:lnTo>
                    <a:lnTo>
                      <a:pt x="349" y="104"/>
                    </a:lnTo>
                    <a:lnTo>
                      <a:pt x="411" y="68"/>
                    </a:lnTo>
                    <a:lnTo>
                      <a:pt x="471" y="33"/>
                    </a:lnTo>
                    <a:lnTo>
                      <a:pt x="493" y="21"/>
                    </a:lnTo>
                    <a:lnTo>
                      <a:pt x="510" y="13"/>
                    </a:lnTo>
                    <a:lnTo>
                      <a:pt x="522" y="5"/>
                    </a:lnTo>
                    <a:lnTo>
                      <a:pt x="529" y="2"/>
                    </a:lnTo>
                    <a:lnTo>
                      <a:pt x="534" y="0"/>
                    </a:lnTo>
                    <a:close/>
                  </a:path>
                </a:pathLst>
              </a:custGeom>
              <a:solidFill>
                <a:schemeClr val="bg1">
                  <a:lumMod val="95000"/>
                </a:schemeClr>
              </a:solidFill>
              <a:ln w="0">
                <a:no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prstClr val="black"/>
                  </a:solidFill>
                  <a:effectLst/>
                  <a:uLnTx/>
                  <a:uFillTx/>
                  <a:latin typeface="Raleway" panose="020B0503030101060003" pitchFamily="34" charset="0"/>
                </a:endParaRPr>
              </a:p>
            </p:txBody>
          </p:sp>
        </p:grpSp>
      </p:grpSp>
      <p:grpSp>
        <p:nvGrpSpPr>
          <p:cNvPr id="36" name="Group 4">
            <a:extLst>
              <a:ext uri="{FF2B5EF4-FFF2-40B4-BE49-F238E27FC236}">
                <a16:creationId xmlns:a16="http://schemas.microsoft.com/office/drawing/2014/main" id="{81B56726-B0E0-4C0C-A57E-7292EAA5D083}"/>
              </a:ext>
            </a:extLst>
          </p:cNvPr>
          <p:cNvGrpSpPr>
            <a:grpSpLocks noChangeAspect="1"/>
          </p:cNvGrpSpPr>
          <p:nvPr/>
        </p:nvGrpSpPr>
        <p:grpSpPr bwMode="auto">
          <a:xfrm>
            <a:off x="6170025" y="2031541"/>
            <a:ext cx="808037" cy="792533"/>
            <a:chOff x="1338" y="112"/>
            <a:chExt cx="3075" cy="3016"/>
          </a:xfrm>
          <a:solidFill>
            <a:schemeClr val="accent1"/>
          </a:solidFill>
        </p:grpSpPr>
        <p:sp>
          <p:nvSpPr>
            <p:cNvPr id="37" name="Freeform 5">
              <a:extLst>
                <a:ext uri="{FF2B5EF4-FFF2-40B4-BE49-F238E27FC236}">
                  <a16:creationId xmlns:a16="http://schemas.microsoft.com/office/drawing/2014/main" id="{33540859-080C-4A53-BC04-D19E8ECB12B4}"/>
                </a:ext>
              </a:extLst>
            </p:cNvPr>
            <p:cNvSpPr>
              <a:spLocks/>
            </p:cNvSpPr>
            <p:nvPr/>
          </p:nvSpPr>
          <p:spPr bwMode="auto">
            <a:xfrm>
              <a:off x="3000" y="1339"/>
              <a:ext cx="1413" cy="1789"/>
            </a:xfrm>
            <a:custGeom>
              <a:avLst/>
              <a:gdLst>
                <a:gd name="T0" fmla="*/ 1803 w 2944"/>
                <a:gd name="T1" fmla="*/ 2984 h 3728"/>
                <a:gd name="T2" fmla="*/ 1951 w 2944"/>
                <a:gd name="T3" fmla="*/ 3728 h 3728"/>
                <a:gd name="T4" fmla="*/ 1256 w 2944"/>
                <a:gd name="T5" fmla="*/ 3023 h 3728"/>
                <a:gd name="T6" fmla="*/ 0 w 2944"/>
                <a:gd name="T7" fmla="*/ 2024 h 3728"/>
                <a:gd name="T8" fmla="*/ 1404 w 2944"/>
                <a:gd name="T9" fmla="*/ 2 h 3728"/>
                <a:gd name="T10" fmla="*/ 1427 w 2944"/>
                <a:gd name="T11" fmla="*/ 0 h 3728"/>
                <a:gd name="T12" fmla="*/ 2944 w 2944"/>
                <a:gd name="T13" fmla="*/ 1517 h 3728"/>
                <a:gd name="T14" fmla="*/ 1803 w 2944"/>
                <a:gd name="T15" fmla="*/ 2984 h 37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44" h="3728">
                  <a:moveTo>
                    <a:pt x="1803" y="2984"/>
                  </a:moveTo>
                  <a:lnTo>
                    <a:pt x="1951" y="3728"/>
                  </a:lnTo>
                  <a:lnTo>
                    <a:pt x="1256" y="3023"/>
                  </a:lnTo>
                  <a:cubicBezTo>
                    <a:pt x="672" y="2957"/>
                    <a:pt x="190" y="2561"/>
                    <a:pt x="0" y="2024"/>
                  </a:cubicBezTo>
                  <a:cubicBezTo>
                    <a:pt x="752" y="1626"/>
                    <a:pt x="1291" y="881"/>
                    <a:pt x="1404" y="2"/>
                  </a:cubicBezTo>
                  <a:cubicBezTo>
                    <a:pt x="1412" y="2"/>
                    <a:pt x="1419" y="0"/>
                    <a:pt x="1427" y="0"/>
                  </a:cubicBezTo>
                  <a:cubicBezTo>
                    <a:pt x="2265" y="0"/>
                    <a:pt x="2944" y="679"/>
                    <a:pt x="2944" y="1517"/>
                  </a:cubicBezTo>
                  <a:cubicBezTo>
                    <a:pt x="2944" y="2224"/>
                    <a:pt x="2458" y="2816"/>
                    <a:pt x="1803" y="29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latin typeface="Raleway" panose="020B0503030101060003" pitchFamily="34" charset="0"/>
              </a:endParaRPr>
            </a:p>
          </p:txBody>
        </p:sp>
        <p:sp>
          <p:nvSpPr>
            <p:cNvPr id="38" name="Freeform 6">
              <a:extLst>
                <a:ext uri="{FF2B5EF4-FFF2-40B4-BE49-F238E27FC236}">
                  <a16:creationId xmlns:a16="http://schemas.microsoft.com/office/drawing/2014/main" id="{A1C40CAE-DD33-47DB-9116-A4F85F22286A}"/>
                </a:ext>
              </a:extLst>
            </p:cNvPr>
            <p:cNvSpPr>
              <a:spLocks/>
            </p:cNvSpPr>
            <p:nvPr/>
          </p:nvSpPr>
          <p:spPr bwMode="auto">
            <a:xfrm>
              <a:off x="1338" y="112"/>
              <a:ext cx="2123" cy="2621"/>
            </a:xfrm>
            <a:custGeom>
              <a:avLst/>
              <a:gdLst>
                <a:gd name="T0" fmla="*/ 4423 w 4423"/>
                <a:gd name="T1" fmla="*/ 2211 h 5461"/>
                <a:gd name="T2" fmla="*/ 4380 w 4423"/>
                <a:gd name="T3" fmla="*/ 2645 h 5461"/>
                <a:gd name="T4" fmla="*/ 3373 w 4423"/>
                <a:gd name="T5" fmla="*/ 4091 h 5461"/>
                <a:gd name="T6" fmla="*/ 2211 w 4423"/>
                <a:gd name="T7" fmla="*/ 4423 h 5461"/>
                <a:gd name="T8" fmla="*/ 1802 w 4423"/>
                <a:gd name="T9" fmla="*/ 4384 h 5461"/>
                <a:gd name="T10" fmla="*/ 1421 w 4423"/>
                <a:gd name="T11" fmla="*/ 4770 h 5461"/>
                <a:gd name="T12" fmla="*/ 741 w 4423"/>
                <a:gd name="T13" fmla="*/ 5461 h 5461"/>
                <a:gd name="T14" fmla="*/ 920 w 4423"/>
                <a:gd name="T15" fmla="*/ 4557 h 5461"/>
                <a:gd name="T16" fmla="*/ 1016 w 4423"/>
                <a:gd name="T17" fmla="*/ 4072 h 5461"/>
                <a:gd name="T18" fmla="*/ 1019 w 4423"/>
                <a:gd name="T19" fmla="*/ 4072 h 5461"/>
                <a:gd name="T20" fmla="*/ 0 w 4423"/>
                <a:gd name="T21" fmla="*/ 2211 h 5461"/>
                <a:gd name="T22" fmla="*/ 2211 w 4423"/>
                <a:gd name="T23" fmla="*/ 0 h 5461"/>
                <a:gd name="T24" fmla="*/ 4423 w 4423"/>
                <a:gd name="T25" fmla="*/ 2211 h 54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23" h="5461">
                  <a:moveTo>
                    <a:pt x="4423" y="2211"/>
                  </a:moveTo>
                  <a:cubicBezTo>
                    <a:pt x="4423" y="2359"/>
                    <a:pt x="4408" y="2504"/>
                    <a:pt x="4380" y="2645"/>
                  </a:cubicBezTo>
                  <a:cubicBezTo>
                    <a:pt x="4259" y="3255"/>
                    <a:pt x="3885" y="3773"/>
                    <a:pt x="3373" y="4091"/>
                  </a:cubicBezTo>
                  <a:cubicBezTo>
                    <a:pt x="3035" y="4300"/>
                    <a:pt x="2638" y="4423"/>
                    <a:pt x="2211" y="4423"/>
                  </a:cubicBezTo>
                  <a:cubicBezTo>
                    <a:pt x="2071" y="4423"/>
                    <a:pt x="1935" y="4409"/>
                    <a:pt x="1802" y="4384"/>
                  </a:cubicBezTo>
                  <a:lnTo>
                    <a:pt x="1421" y="4770"/>
                  </a:lnTo>
                  <a:lnTo>
                    <a:pt x="741" y="5461"/>
                  </a:lnTo>
                  <a:lnTo>
                    <a:pt x="920" y="4557"/>
                  </a:lnTo>
                  <a:lnTo>
                    <a:pt x="1016" y="4072"/>
                  </a:lnTo>
                  <a:lnTo>
                    <a:pt x="1019" y="4072"/>
                  </a:lnTo>
                  <a:cubicBezTo>
                    <a:pt x="406" y="3679"/>
                    <a:pt x="0" y="2993"/>
                    <a:pt x="0" y="2211"/>
                  </a:cubicBezTo>
                  <a:cubicBezTo>
                    <a:pt x="0" y="990"/>
                    <a:pt x="989" y="0"/>
                    <a:pt x="2211" y="0"/>
                  </a:cubicBezTo>
                  <a:cubicBezTo>
                    <a:pt x="3433" y="0"/>
                    <a:pt x="4423" y="990"/>
                    <a:pt x="4423" y="22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latin typeface="Raleway" panose="020B0503030101060003" pitchFamily="34" charset="0"/>
              </a:endParaRPr>
            </a:p>
          </p:txBody>
        </p:sp>
      </p:grpSp>
    </p:spTree>
    <p:extLst>
      <p:ext uri="{BB962C8B-B14F-4D97-AF65-F5344CB8AC3E}">
        <p14:creationId xmlns:p14="http://schemas.microsoft.com/office/powerpoint/2010/main" val="321637663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DA479DF6-2A7C-EAE7-FA45-0581C445B33B}"/>
              </a:ext>
            </a:extLst>
          </p:cNvPr>
          <p:cNvSpPr/>
          <p:nvPr/>
        </p:nvSpPr>
        <p:spPr>
          <a:xfrm>
            <a:off x="-13074" y="3797262"/>
            <a:ext cx="6096000" cy="3070786"/>
          </a:xfrm>
          <a:prstGeom prst="rect">
            <a:avLst/>
          </a:prstGeom>
          <a:solidFill>
            <a:srgbClr val="E6EFF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72000" rIns="108000" bIns="108000" rtlCol="0" anchor="t" anchorCtr="0">
            <a:noAutofit/>
          </a:bodyPr>
          <a:lstStyle/>
          <a:p>
            <a:pPr indent="0" algn="l">
              <a:lnSpc>
                <a:spcPct val="120000"/>
              </a:lnSpc>
            </a:pPr>
            <a:endParaRPr lang="en-US" sz="1400" err="1">
              <a:solidFill>
                <a:schemeClr val="bg2"/>
              </a:solidFill>
            </a:endParaRPr>
          </a:p>
        </p:txBody>
      </p:sp>
      <p:sp>
        <p:nvSpPr>
          <p:cNvPr id="6" name="Rectangle 5">
            <a:extLst>
              <a:ext uri="{FF2B5EF4-FFF2-40B4-BE49-F238E27FC236}">
                <a16:creationId xmlns:a16="http://schemas.microsoft.com/office/drawing/2014/main" id="{C87F9A19-C50B-1E0D-1D7E-35020B895B6A}"/>
              </a:ext>
            </a:extLst>
          </p:cNvPr>
          <p:cNvSpPr/>
          <p:nvPr/>
        </p:nvSpPr>
        <p:spPr>
          <a:xfrm>
            <a:off x="-10048" y="1395296"/>
            <a:ext cx="6096000" cy="2402981"/>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72000" rIns="108000" bIns="108000" rtlCol="0" anchor="t" anchorCtr="0">
            <a:noAutofit/>
          </a:bodyPr>
          <a:lstStyle/>
          <a:p>
            <a:pPr indent="0" algn="l">
              <a:lnSpc>
                <a:spcPct val="120000"/>
              </a:lnSpc>
            </a:pPr>
            <a:endParaRPr lang="en-US" sz="1400" err="1">
              <a:solidFill>
                <a:schemeClr val="bg2"/>
              </a:solidFill>
            </a:endParaRPr>
          </a:p>
        </p:txBody>
      </p:sp>
      <p:sp>
        <p:nvSpPr>
          <p:cNvPr id="8" name="Rectangle 7">
            <a:extLst>
              <a:ext uri="{FF2B5EF4-FFF2-40B4-BE49-F238E27FC236}">
                <a16:creationId xmlns:a16="http://schemas.microsoft.com/office/drawing/2014/main" id="{9A75F33E-5FA7-1C45-BC17-7C24FB9A61A3}"/>
              </a:ext>
            </a:extLst>
          </p:cNvPr>
          <p:cNvSpPr/>
          <p:nvPr/>
        </p:nvSpPr>
        <p:spPr>
          <a:xfrm>
            <a:off x="6082926" y="1375200"/>
            <a:ext cx="6096000" cy="5482800"/>
          </a:xfrm>
          <a:prstGeom prst="rect">
            <a:avLst/>
          </a:prstGeom>
          <a:solidFill>
            <a:schemeClr val="tx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72000" rIns="108000" bIns="108000" rtlCol="0" anchor="t" anchorCtr="0">
            <a:noAutofit/>
          </a:bodyPr>
          <a:lstStyle/>
          <a:p>
            <a:pPr indent="0" algn="l">
              <a:lnSpc>
                <a:spcPct val="120000"/>
              </a:lnSpc>
            </a:pPr>
            <a:endParaRPr lang="en-US" sz="1400">
              <a:solidFill>
                <a:schemeClr val="bg2"/>
              </a:solidFill>
            </a:endParaRPr>
          </a:p>
        </p:txBody>
      </p:sp>
      <p:sp>
        <p:nvSpPr>
          <p:cNvPr id="2" name="Title 1">
            <a:extLst>
              <a:ext uri="{FF2B5EF4-FFF2-40B4-BE49-F238E27FC236}">
                <a16:creationId xmlns:a16="http://schemas.microsoft.com/office/drawing/2014/main" id="{2C2BFAE1-45D3-4B3B-81D2-0BF25FA84FB8}"/>
              </a:ext>
            </a:extLst>
          </p:cNvPr>
          <p:cNvSpPr>
            <a:spLocks noGrp="1"/>
          </p:cNvSpPr>
          <p:nvPr>
            <p:ph type="title"/>
          </p:nvPr>
        </p:nvSpPr>
        <p:spPr>
          <a:xfrm>
            <a:off x="504000" y="403200"/>
            <a:ext cx="11760272" cy="972000"/>
          </a:xfrm>
        </p:spPr>
        <p:txBody>
          <a:bodyPr/>
          <a:lstStyle/>
          <a:p>
            <a:r>
              <a:rPr lang="en-US"/>
              <a:t>For this business question, we propose an extended two-step approach:</a:t>
            </a:r>
          </a:p>
        </p:txBody>
      </p:sp>
      <p:sp>
        <p:nvSpPr>
          <p:cNvPr id="85" name="TextBox 84">
            <a:extLst>
              <a:ext uri="{FF2B5EF4-FFF2-40B4-BE49-F238E27FC236}">
                <a16:creationId xmlns:a16="http://schemas.microsoft.com/office/drawing/2014/main" id="{45636991-E41A-4DC2-91BA-3529B602B3EB}"/>
              </a:ext>
            </a:extLst>
          </p:cNvPr>
          <p:cNvSpPr txBox="1">
            <a:spLocks/>
          </p:cNvSpPr>
          <p:nvPr/>
        </p:nvSpPr>
        <p:spPr>
          <a:xfrm>
            <a:off x="1217189" y="4316987"/>
            <a:ext cx="4629905" cy="2311530"/>
          </a:xfrm>
          <a:prstGeom prst="rect">
            <a:avLst/>
          </a:prstGeom>
          <a:noFill/>
        </p:spPr>
        <p:txBody>
          <a:bodyPr wrap="square" lIns="0" rIns="0" rtlCol="0" anchor="t">
            <a:spAutoFit/>
          </a:bodyPr>
          <a:lstStyle/>
          <a:p>
            <a:pPr algn="ctr"/>
            <a:r>
              <a:rPr lang="en-GB" sz="1400" i="0" u="none" strike="noStrike">
                <a:effectLst/>
                <a:latin typeface="Rawline" panose="00000500000000000000" pitchFamily="2" charset="0"/>
              </a:rPr>
              <a:t>Have a workshop with key stakeholders and other expert views </a:t>
            </a:r>
            <a:r>
              <a:rPr lang="en-GB" sz="1400">
                <a:latin typeface="Rawline" panose="00000500000000000000" pitchFamily="2" charset="0"/>
              </a:rPr>
              <a:t>that work on creating claims together. </a:t>
            </a:r>
          </a:p>
          <a:p>
            <a:pPr algn="ctr"/>
            <a:endParaRPr lang="en-GB" sz="1400" i="0" u="none" strike="noStrike">
              <a:effectLst/>
              <a:latin typeface="Rawline" panose="00000500000000000000" pitchFamily="2" charset="0"/>
            </a:endParaRPr>
          </a:p>
          <a:p>
            <a:pPr algn="ctr"/>
            <a:r>
              <a:rPr lang="en-GB" sz="1400" i="0" u="none" strike="noStrike">
                <a:effectLst/>
                <a:latin typeface="Rawline" panose="00000500000000000000" pitchFamily="2" charset="0"/>
              </a:rPr>
              <a:t>Participants will immerse themselves in the topic of sustainability claims, and ideate and refine claims. </a:t>
            </a:r>
            <a:r>
              <a:rPr lang="en-GB" sz="1400">
                <a:latin typeface="Rawline" panose="00000500000000000000" pitchFamily="2" charset="0"/>
              </a:rPr>
              <a:t>The output of the workshop is a list of claims that can go to a copywriter (and legal if needed) for a final refinement. </a:t>
            </a:r>
            <a:endParaRPr lang="en-GB" sz="1400" i="0" u="none" strike="noStrike">
              <a:effectLst/>
              <a:latin typeface="Rawline" panose="00000500000000000000" pitchFamily="2" charset="0"/>
            </a:endParaRPr>
          </a:p>
        </p:txBody>
      </p:sp>
      <p:sp>
        <p:nvSpPr>
          <p:cNvPr id="112" name="Google Shape;585;p56">
            <a:extLst>
              <a:ext uri="{FF2B5EF4-FFF2-40B4-BE49-F238E27FC236}">
                <a16:creationId xmlns:a16="http://schemas.microsoft.com/office/drawing/2014/main" id="{C8079A7A-F0C3-4A51-8FD6-A93F419B601D}"/>
              </a:ext>
            </a:extLst>
          </p:cNvPr>
          <p:cNvSpPr/>
          <p:nvPr/>
        </p:nvSpPr>
        <p:spPr>
          <a:xfrm>
            <a:off x="1738030" y="3928102"/>
            <a:ext cx="2619939" cy="376996"/>
          </a:xfrm>
          <a:prstGeom prst="rect">
            <a:avLst/>
          </a:prstGeom>
          <a:noFill/>
          <a:ln>
            <a:noFill/>
          </a:ln>
        </p:spPr>
        <p:txBody>
          <a:bodyPr spcFirstLastPara="1" wrap="none" lIns="68575" tIns="34275" rIns="68575" bIns="34275" anchor="ctr" anchorCtr="0">
            <a:spAutoFit/>
          </a:bodyPr>
          <a:lstStyle/>
          <a:p>
            <a:pPr marL="0" marR="0" lvl="0" indent="0" algn="ctr" rtl="0">
              <a:lnSpc>
                <a:spcPct val="100000"/>
              </a:lnSpc>
              <a:spcBef>
                <a:spcPts val="0"/>
              </a:spcBef>
              <a:spcAft>
                <a:spcPts val="0"/>
              </a:spcAft>
              <a:buClr>
                <a:srgbClr val="000000"/>
              </a:buClr>
              <a:buSzPts val="1200"/>
              <a:buFont typeface="Arial"/>
              <a:buNone/>
            </a:pPr>
            <a:r>
              <a:rPr lang="en-IN" sz="2000" b="1">
                <a:solidFill>
                  <a:schemeClr val="bg2"/>
                </a:solidFill>
                <a:latin typeface="+mj-lt"/>
                <a:ea typeface="Roboto"/>
                <a:cs typeface="Roboto"/>
                <a:sym typeface="Roboto"/>
              </a:rPr>
              <a:t>Phase </a:t>
            </a:r>
            <a:r>
              <a:rPr lang="en-IN" sz="2000" b="1" i="0" u="none" strike="noStrike" cap="none">
                <a:solidFill>
                  <a:schemeClr val="bg2"/>
                </a:solidFill>
                <a:latin typeface="+mj-lt"/>
                <a:ea typeface="Roboto"/>
                <a:cs typeface="Roboto"/>
                <a:sym typeface="Roboto"/>
              </a:rPr>
              <a:t>1b: </a:t>
            </a:r>
            <a:r>
              <a:rPr lang="en-IN" sz="2000" b="1">
                <a:solidFill>
                  <a:schemeClr val="bg2"/>
                </a:solidFill>
                <a:latin typeface="+mj-lt"/>
                <a:ea typeface="Roboto"/>
                <a:cs typeface="Roboto"/>
                <a:sym typeface="Roboto"/>
              </a:rPr>
              <a:t>Workshop</a:t>
            </a:r>
            <a:endParaRPr lang="en-IN" sz="2000" b="1" i="0" u="none" strike="noStrike" cap="none">
              <a:solidFill>
                <a:schemeClr val="bg2"/>
              </a:solidFill>
              <a:latin typeface="+mj-lt"/>
              <a:ea typeface="Roboto"/>
              <a:cs typeface="Roboto"/>
              <a:sym typeface="Roboto"/>
            </a:endParaRPr>
          </a:p>
        </p:txBody>
      </p:sp>
      <p:sp>
        <p:nvSpPr>
          <p:cNvPr id="88" name="TextBox 87">
            <a:extLst>
              <a:ext uri="{FF2B5EF4-FFF2-40B4-BE49-F238E27FC236}">
                <a16:creationId xmlns:a16="http://schemas.microsoft.com/office/drawing/2014/main" id="{57D87B14-E0FE-44C7-8D74-6F716D41E664}"/>
              </a:ext>
            </a:extLst>
          </p:cNvPr>
          <p:cNvSpPr txBox="1">
            <a:spLocks/>
          </p:cNvSpPr>
          <p:nvPr/>
        </p:nvSpPr>
        <p:spPr>
          <a:xfrm>
            <a:off x="6560372" y="3088904"/>
            <a:ext cx="5206248" cy="3281026"/>
          </a:xfrm>
          <a:prstGeom prst="rect">
            <a:avLst/>
          </a:prstGeom>
          <a:noFill/>
        </p:spPr>
        <p:txBody>
          <a:bodyPr wrap="square" lIns="0" rIns="0" rtlCol="0" anchor="t">
            <a:spAutoFit/>
          </a:bodyPr>
          <a:lstStyle/>
          <a:p>
            <a:pPr algn="ctr"/>
            <a:r>
              <a:rPr lang="en-US" sz="1400" noProof="1">
                <a:latin typeface="Rawline" panose="00000500000000000000" pitchFamily="2" charset="0"/>
              </a:rPr>
              <a:t>Inputs from Phase 1 will be evaluated in order to shed light on the most relevant and impactful claims for consumers.</a:t>
            </a:r>
          </a:p>
          <a:p>
            <a:pPr algn="ctr"/>
            <a:endParaRPr lang="en-US" sz="1400" noProof="1">
              <a:latin typeface="Rawline" panose="00000500000000000000" pitchFamily="2" charset="0"/>
            </a:endParaRPr>
          </a:p>
          <a:p>
            <a:pPr algn="ctr"/>
            <a:r>
              <a:rPr lang="en-US" sz="1400" noProof="1">
                <a:latin typeface="Rawline" panose="00000500000000000000" pitchFamily="2" charset="0"/>
              </a:rPr>
              <a:t>Here, we can understand:</a:t>
            </a:r>
          </a:p>
          <a:p>
            <a:pPr>
              <a:buFont typeface="Arial" panose="020B0604020202020204" pitchFamily="34" charset="0"/>
              <a:buChar char="•"/>
            </a:pPr>
            <a:r>
              <a:rPr lang="en-US" sz="1400" noProof="1">
                <a:latin typeface="Rawline" panose="00000500000000000000" pitchFamily="2" charset="0"/>
              </a:rPr>
              <a:t>Which claims are most motivating to buy Alpro</a:t>
            </a:r>
          </a:p>
          <a:p>
            <a:pPr marL="285750" indent="-285750">
              <a:buFont typeface="Arial" panose="020B0604020202020204" pitchFamily="34" charset="0"/>
              <a:buChar char="•"/>
            </a:pPr>
            <a:r>
              <a:rPr lang="en-US" sz="1400" noProof="1">
                <a:latin typeface="Rawline" panose="00000500000000000000" pitchFamily="2" charset="0"/>
              </a:rPr>
              <a:t>Why certain claims are more/less motivating</a:t>
            </a:r>
          </a:p>
          <a:p>
            <a:pPr marL="285750" indent="-285750">
              <a:buFont typeface="Arial" panose="020B0604020202020204" pitchFamily="34" charset="0"/>
              <a:buChar char="•"/>
            </a:pPr>
            <a:r>
              <a:rPr lang="en-US" sz="1400" noProof="1">
                <a:latin typeface="Rawline" panose="00000500000000000000" pitchFamily="2" charset="0"/>
              </a:rPr>
              <a:t>How the claims perform on specific KPIs (e.g,. purchase intent, relevance, uniqueness, brand fit)</a:t>
            </a:r>
          </a:p>
          <a:p>
            <a:pPr marL="285750" indent="-285750">
              <a:buFont typeface="Arial" panose="020B0604020202020204" pitchFamily="34" charset="0"/>
              <a:buChar char="•"/>
            </a:pPr>
            <a:r>
              <a:rPr lang="en-US" sz="1400" noProof="1">
                <a:latin typeface="Rawline" panose="00000500000000000000" pitchFamily="2" charset="0"/>
              </a:rPr>
              <a:t>Which claims ladder up to cue health / taste benefits</a:t>
            </a:r>
          </a:p>
          <a:p>
            <a:pPr marL="285750" indent="-285750">
              <a:buFont typeface="Arial" panose="020B0604020202020204" pitchFamily="34" charset="0"/>
              <a:buChar char="•"/>
            </a:pPr>
            <a:r>
              <a:rPr lang="en-US" sz="1400" noProof="1">
                <a:latin typeface="Rawline" panose="00000500000000000000" pitchFamily="2" charset="0"/>
              </a:rPr>
              <a:t>What is the impact of cueing health / taste benefits</a:t>
            </a:r>
          </a:p>
        </p:txBody>
      </p:sp>
      <p:sp>
        <p:nvSpPr>
          <p:cNvPr id="113" name="Google Shape;591;p56">
            <a:extLst>
              <a:ext uri="{FF2B5EF4-FFF2-40B4-BE49-F238E27FC236}">
                <a16:creationId xmlns:a16="http://schemas.microsoft.com/office/drawing/2014/main" id="{E9647C95-E02A-4BF7-97EE-76A641F68736}"/>
              </a:ext>
            </a:extLst>
          </p:cNvPr>
          <p:cNvSpPr/>
          <p:nvPr/>
        </p:nvSpPr>
        <p:spPr>
          <a:xfrm>
            <a:off x="7309378" y="1607005"/>
            <a:ext cx="3679523" cy="376996"/>
          </a:xfrm>
          <a:prstGeom prst="rect">
            <a:avLst/>
          </a:prstGeom>
          <a:noFill/>
          <a:ln>
            <a:noFill/>
          </a:ln>
        </p:spPr>
        <p:txBody>
          <a:bodyPr spcFirstLastPara="1" wrap="none" lIns="68575" tIns="34275" rIns="68575" bIns="34275" anchor="ctr" anchorCtr="0">
            <a:spAutoFit/>
          </a:bodyPr>
          <a:lstStyle/>
          <a:p>
            <a:pPr marL="0" marR="0" lvl="0" indent="0" algn="ctr" rtl="0">
              <a:lnSpc>
                <a:spcPct val="100000"/>
              </a:lnSpc>
              <a:spcBef>
                <a:spcPts val="0"/>
              </a:spcBef>
              <a:spcAft>
                <a:spcPts val="0"/>
              </a:spcAft>
              <a:buClr>
                <a:srgbClr val="000000"/>
              </a:buClr>
              <a:buSzPts val="1200"/>
              <a:buFont typeface="Arial"/>
              <a:buNone/>
            </a:pPr>
            <a:r>
              <a:rPr lang="en-IN" sz="2000" b="1">
                <a:solidFill>
                  <a:schemeClr val="bg2"/>
                </a:solidFill>
                <a:latin typeface="+mj-lt"/>
                <a:ea typeface="Roboto"/>
                <a:cs typeface="Roboto"/>
                <a:sym typeface="Roboto"/>
              </a:rPr>
              <a:t>Phase </a:t>
            </a:r>
            <a:r>
              <a:rPr lang="en-IN" sz="2000" b="1" i="0" u="none" strike="noStrike" cap="none">
                <a:solidFill>
                  <a:schemeClr val="bg2"/>
                </a:solidFill>
                <a:latin typeface="+mj-lt"/>
                <a:ea typeface="Roboto"/>
                <a:cs typeface="Roboto"/>
                <a:sym typeface="Roboto"/>
              </a:rPr>
              <a:t>2: Consumer feedback</a:t>
            </a:r>
          </a:p>
        </p:txBody>
      </p:sp>
      <p:pic>
        <p:nvPicPr>
          <p:cNvPr id="1026" name="Picture 2">
            <a:extLst>
              <a:ext uri="{FF2B5EF4-FFF2-40B4-BE49-F238E27FC236}">
                <a16:creationId xmlns:a16="http://schemas.microsoft.com/office/drawing/2014/main" id="{D27CC5EF-C555-E84F-4CE0-0A7E0B7CAF8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307195" y="2347200"/>
            <a:ext cx="2049107" cy="376847"/>
          </a:xfrm>
          <a:prstGeom prst="rect">
            <a:avLst/>
          </a:prstGeom>
          <a:noFill/>
          <a:extLst>
            <a:ext uri="{909E8E84-426E-40DD-AFC4-6F175D3DCCD1}">
              <a14:hiddenFill xmlns:a14="http://schemas.microsoft.com/office/drawing/2010/main">
                <a:solidFill>
                  <a:srgbClr val="FFFFFF"/>
                </a:solidFill>
              </a14:hiddenFill>
            </a:ext>
          </a:extLst>
        </p:spPr>
      </p:pic>
      <p:pic>
        <p:nvPicPr>
          <p:cNvPr id="5" name="Image 41">
            <a:extLst>
              <a:ext uri="{FF2B5EF4-FFF2-40B4-BE49-F238E27FC236}">
                <a16:creationId xmlns:a16="http://schemas.microsoft.com/office/drawing/2014/main" id="{7C0D8467-517C-CED5-188E-A9F33DDE9F7D}"/>
              </a:ext>
            </a:extLst>
          </p:cNvPr>
          <p:cNvPicPr>
            <a:picLocks noChangeAspect="1"/>
          </p:cNvPicPr>
          <p:nvPr/>
        </p:nvPicPr>
        <p:blipFill rotWithShape="1">
          <a:blip r:embed="rId4"/>
          <a:srcRect b="13301"/>
          <a:stretch/>
        </p:blipFill>
        <p:spPr>
          <a:xfrm>
            <a:off x="179661" y="5040916"/>
            <a:ext cx="801784" cy="818403"/>
          </a:xfrm>
          <a:prstGeom prst="rect">
            <a:avLst/>
          </a:prstGeom>
        </p:spPr>
      </p:pic>
      <p:sp>
        <p:nvSpPr>
          <p:cNvPr id="3" name="Google Shape;585;p56">
            <a:extLst>
              <a:ext uri="{FF2B5EF4-FFF2-40B4-BE49-F238E27FC236}">
                <a16:creationId xmlns:a16="http://schemas.microsoft.com/office/drawing/2014/main" id="{A55D8138-6E56-A856-B6A8-F66622429A92}"/>
              </a:ext>
            </a:extLst>
          </p:cNvPr>
          <p:cNvSpPr/>
          <p:nvPr/>
        </p:nvSpPr>
        <p:spPr>
          <a:xfrm>
            <a:off x="1731791" y="1607005"/>
            <a:ext cx="2539789" cy="376996"/>
          </a:xfrm>
          <a:prstGeom prst="rect">
            <a:avLst/>
          </a:prstGeom>
          <a:noFill/>
          <a:ln>
            <a:noFill/>
          </a:ln>
        </p:spPr>
        <p:txBody>
          <a:bodyPr spcFirstLastPara="1" wrap="none" lIns="68575" tIns="34275" rIns="68575" bIns="34275" anchor="ctr" anchorCtr="0">
            <a:spAutoFit/>
          </a:bodyPr>
          <a:lstStyle/>
          <a:p>
            <a:pPr marL="0" marR="0" lvl="0" indent="0" algn="ctr" rtl="0">
              <a:lnSpc>
                <a:spcPct val="100000"/>
              </a:lnSpc>
              <a:spcBef>
                <a:spcPts val="0"/>
              </a:spcBef>
              <a:spcAft>
                <a:spcPts val="0"/>
              </a:spcAft>
              <a:buClr>
                <a:srgbClr val="000000"/>
              </a:buClr>
              <a:buSzPts val="1200"/>
              <a:buFont typeface="Arial"/>
              <a:buNone/>
            </a:pPr>
            <a:r>
              <a:rPr lang="en-IN" sz="2000" b="1">
                <a:solidFill>
                  <a:schemeClr val="bg2"/>
                </a:solidFill>
                <a:latin typeface="+mj-lt"/>
                <a:ea typeface="Roboto"/>
                <a:cs typeface="Roboto"/>
                <a:sym typeface="Roboto"/>
              </a:rPr>
              <a:t>Phase 1a</a:t>
            </a:r>
            <a:r>
              <a:rPr lang="en-IN" sz="2000" b="1" i="0" u="none" strike="noStrike" cap="none">
                <a:solidFill>
                  <a:schemeClr val="bg2"/>
                </a:solidFill>
                <a:latin typeface="+mj-lt"/>
                <a:ea typeface="Roboto"/>
                <a:cs typeface="Roboto"/>
                <a:sym typeface="Roboto"/>
              </a:rPr>
              <a:t>: </a:t>
            </a:r>
            <a:r>
              <a:rPr lang="en-IN" sz="2000" b="1" i="0" u="none" strike="noStrike" cap="none" err="1">
                <a:solidFill>
                  <a:schemeClr val="bg2"/>
                </a:solidFill>
                <a:latin typeface="+mj-lt"/>
                <a:ea typeface="Roboto"/>
                <a:cs typeface="Roboto"/>
                <a:sym typeface="Roboto"/>
              </a:rPr>
              <a:t>QualBites</a:t>
            </a:r>
            <a:endParaRPr lang="en-IN" sz="2000" b="1" i="0" u="none" strike="noStrike" cap="none">
              <a:solidFill>
                <a:schemeClr val="bg2"/>
              </a:solidFill>
              <a:latin typeface="+mj-lt"/>
              <a:ea typeface="Roboto"/>
              <a:cs typeface="Roboto"/>
              <a:sym typeface="Roboto"/>
            </a:endParaRPr>
          </a:p>
        </p:txBody>
      </p:sp>
      <p:pic>
        <p:nvPicPr>
          <p:cNvPr id="4" name="Picture 3" descr="Logo&#10;&#10;Description automatically generated">
            <a:extLst>
              <a:ext uri="{FF2B5EF4-FFF2-40B4-BE49-F238E27FC236}">
                <a16:creationId xmlns:a16="http://schemas.microsoft.com/office/drawing/2014/main" id="{AF3FCC6D-25E0-6A80-E890-04B338D0E1D8}"/>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64242" y="2541663"/>
            <a:ext cx="632623" cy="440501"/>
          </a:xfrm>
          <a:prstGeom prst="rect">
            <a:avLst/>
          </a:prstGeom>
        </p:spPr>
      </p:pic>
      <p:sp>
        <p:nvSpPr>
          <p:cNvPr id="9" name="TextBox 8">
            <a:extLst>
              <a:ext uri="{FF2B5EF4-FFF2-40B4-BE49-F238E27FC236}">
                <a16:creationId xmlns:a16="http://schemas.microsoft.com/office/drawing/2014/main" id="{E5996B5F-E251-3955-B083-5466AFB3844F}"/>
              </a:ext>
            </a:extLst>
          </p:cNvPr>
          <p:cNvSpPr txBox="1"/>
          <p:nvPr/>
        </p:nvSpPr>
        <p:spPr>
          <a:xfrm>
            <a:off x="1217189" y="2067150"/>
            <a:ext cx="4629905" cy="1665199"/>
          </a:xfrm>
          <a:prstGeom prst="rect">
            <a:avLst/>
          </a:prstGeom>
          <a:noFill/>
        </p:spPr>
        <p:txBody>
          <a:bodyPr wrap="square">
            <a:spAutoFit/>
          </a:bodyPr>
          <a:lstStyle/>
          <a:p>
            <a:pPr algn="ctr"/>
            <a:r>
              <a:rPr lang="en-GB" sz="1400" i="0" u="none" strike="noStrike">
                <a:effectLst/>
                <a:latin typeface="Rawline" panose="00000500000000000000" pitchFamily="2" charset="0"/>
              </a:rPr>
              <a:t>A Qual-inspired methodology at quantitative pace and scale. This pre-phase will help us explore consumers’ understanding of the link between sustainability and taste/health. This can serve as inspiration for the claims ideation in the workshop.</a:t>
            </a:r>
          </a:p>
        </p:txBody>
      </p:sp>
    </p:spTree>
    <p:extLst>
      <p:ext uri="{BB962C8B-B14F-4D97-AF65-F5344CB8AC3E}">
        <p14:creationId xmlns:p14="http://schemas.microsoft.com/office/powerpoint/2010/main" val="395877108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Placeholder 7">
            <a:extLst>
              <a:ext uri="{FF2B5EF4-FFF2-40B4-BE49-F238E27FC236}">
                <a16:creationId xmlns:a16="http://schemas.microsoft.com/office/drawing/2014/main" id="{3694ECD8-7F0E-4438-8524-59131EF51DCF}"/>
              </a:ext>
            </a:extLst>
          </p:cNvPr>
          <p:cNvPicPr>
            <a:picLocks noGrp="1" noChangeAspect="1"/>
          </p:cNvPicPr>
          <p:nvPr>
            <p:ph type="pic" sz="quarter" idx="13"/>
          </p:nvPr>
        </p:nvPicPr>
        <p:blipFill>
          <a:blip r:embed="rId2">
            <a:extLst>
              <a:ext uri="{28A0092B-C50C-407E-A947-70E740481C1C}">
                <a14:useLocalDpi xmlns:a14="http://schemas.microsoft.com/office/drawing/2010/main" val="0"/>
              </a:ext>
            </a:extLst>
          </a:blip>
          <a:srcRect t="7" b="7"/>
          <a:stretch>
            <a:fillRect/>
          </a:stretch>
        </p:blipFill>
        <p:spPr/>
      </p:pic>
      <p:sp>
        <p:nvSpPr>
          <p:cNvPr id="11" name="doOverlay">
            <a:extLst>
              <a:ext uri="{FF2B5EF4-FFF2-40B4-BE49-F238E27FC236}">
                <a16:creationId xmlns:a16="http://schemas.microsoft.com/office/drawing/2014/main" id="{5F50AAB9-526D-417D-A483-3DB895E3F74F}"/>
              </a:ext>
            </a:extLst>
          </p:cNvPr>
          <p:cNvSpPr/>
          <p:nvPr/>
        </p:nvSpPr>
        <p:spPr>
          <a:xfrm>
            <a:off x="-1588" y="0"/>
            <a:ext cx="12192000" cy="6858000"/>
          </a:xfrm>
          <a:prstGeom prst="rect">
            <a:avLst/>
          </a:prstGeom>
          <a:solidFill>
            <a:schemeClr val="accent1">
              <a:alpha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54000" bIns="54000" rtlCol="0" anchor="t" anchorCtr="0">
            <a:noAutofit/>
          </a:bodyPr>
          <a:lstStyle/>
          <a:p>
            <a:pPr algn="l">
              <a:lnSpc>
                <a:spcPct val="110000"/>
              </a:lnSpc>
            </a:pPr>
            <a:endParaRPr lang="en-US" sz="1400">
              <a:solidFill>
                <a:schemeClr val="tx1"/>
              </a:solidFill>
            </a:endParaRPr>
          </a:p>
        </p:txBody>
      </p:sp>
      <p:sp>
        <p:nvSpPr>
          <p:cNvPr id="4" name="Title 3">
            <a:extLst>
              <a:ext uri="{FF2B5EF4-FFF2-40B4-BE49-F238E27FC236}">
                <a16:creationId xmlns:a16="http://schemas.microsoft.com/office/drawing/2014/main" id="{825F0A6F-9FCE-4813-A5D2-652158B907C3}"/>
              </a:ext>
            </a:extLst>
          </p:cNvPr>
          <p:cNvSpPr>
            <a:spLocks noGrp="1"/>
          </p:cNvSpPr>
          <p:nvPr>
            <p:ph type="ctrTitle"/>
          </p:nvPr>
        </p:nvSpPr>
        <p:spPr/>
        <p:txBody>
          <a:bodyPr/>
          <a:lstStyle/>
          <a:p>
            <a:r>
              <a:rPr lang="en-US"/>
              <a:t>Phase 1: </a:t>
            </a:r>
            <a:r>
              <a:rPr lang="en-US">
                <a:solidFill>
                  <a:schemeClr val="accent2"/>
                </a:solidFill>
              </a:rPr>
              <a:t>Optional</a:t>
            </a:r>
            <a:br>
              <a:rPr lang="en-US"/>
            </a:br>
            <a:r>
              <a:rPr lang="en-US"/>
              <a:t>Qual Bites</a:t>
            </a:r>
          </a:p>
        </p:txBody>
      </p:sp>
      <p:pic>
        <p:nvPicPr>
          <p:cNvPr id="12" name="doLogoWhite">
            <a:extLst>
              <a:ext uri="{FF2B5EF4-FFF2-40B4-BE49-F238E27FC236}">
                <a16:creationId xmlns:a16="http://schemas.microsoft.com/office/drawing/2014/main" id="{5EB8363A-7E68-44C5-8ECD-AF3C7E3E07FE}"/>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559600" y="6364799"/>
            <a:ext cx="386197" cy="266610"/>
          </a:xfrm>
          <a:prstGeom prst="rect">
            <a:avLst/>
          </a:prstGeom>
        </p:spPr>
      </p:pic>
    </p:spTree>
    <p:extLst>
      <p:ext uri="{BB962C8B-B14F-4D97-AF65-F5344CB8AC3E}">
        <p14:creationId xmlns:p14="http://schemas.microsoft.com/office/powerpoint/2010/main" val="424122077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37F013B1-49DE-49CF-B51C-B7AF5A5091C4}"/>
              </a:ext>
            </a:extLst>
          </p:cNvPr>
          <p:cNvSpPr>
            <a:spLocks noGrp="1"/>
          </p:cNvSpPr>
          <p:nvPr>
            <p:ph type="body" sz="quarter" idx="27"/>
          </p:nvPr>
        </p:nvSpPr>
        <p:spPr>
          <a:xfrm>
            <a:off x="503235" y="1377934"/>
            <a:ext cx="3125788" cy="4948814"/>
          </a:xfrm>
        </p:spPr>
        <p:txBody>
          <a:bodyPr/>
          <a:lstStyle/>
          <a:p>
            <a:r>
              <a:rPr lang="en-GB" b="1" i="0" u="none" strike="noStrike">
                <a:solidFill>
                  <a:schemeClr val="bg2"/>
                </a:solidFill>
                <a:effectLst/>
                <a:latin typeface="Rawline" panose="00000500000000000000" pitchFamily="2" charset="0"/>
              </a:rPr>
              <a:t>Qual-inspired methodology, at quantitative pace and scale  </a:t>
            </a:r>
          </a:p>
        </p:txBody>
      </p:sp>
      <p:sp>
        <p:nvSpPr>
          <p:cNvPr id="10" name="TextBox 9">
            <a:extLst>
              <a:ext uri="{FF2B5EF4-FFF2-40B4-BE49-F238E27FC236}">
                <a16:creationId xmlns:a16="http://schemas.microsoft.com/office/drawing/2014/main" id="{79BBF029-6E9B-62D3-DC45-DF86AC78A98F}"/>
              </a:ext>
            </a:extLst>
          </p:cNvPr>
          <p:cNvSpPr txBox="1"/>
          <p:nvPr/>
        </p:nvSpPr>
        <p:spPr>
          <a:xfrm>
            <a:off x="503236" y="2297986"/>
            <a:ext cx="3235644" cy="3929794"/>
          </a:xfrm>
          <a:prstGeom prst="rect">
            <a:avLst/>
          </a:prstGeom>
          <a:noFill/>
        </p:spPr>
        <p:txBody>
          <a:bodyPr wrap="square">
            <a:spAutoFit/>
          </a:bodyPr>
          <a:lstStyle/>
          <a:p>
            <a:pPr marL="287338" indent="-287338" algn="l" rtl="0" fontAlgn="base">
              <a:buFont typeface="Wingdings" panose="05000000000000000000" pitchFamily="2" charset="2"/>
              <a:buChar char="ü"/>
            </a:pPr>
            <a:r>
              <a:rPr lang="en-US" sz="1400" b="1" i="0">
                <a:solidFill>
                  <a:srgbClr val="1C6D7D"/>
                </a:solidFill>
                <a:effectLst/>
                <a:latin typeface="Rawline" panose="00000500000000000000" pitchFamily="2" charset="0"/>
              </a:rPr>
              <a:t>More illuminating open ends </a:t>
            </a:r>
            <a:r>
              <a:rPr lang="en-US" sz="1400">
                <a:solidFill>
                  <a:srgbClr val="263133"/>
                </a:solidFill>
                <a:latin typeface="Rawline" panose="00000500000000000000" pitchFamily="2" charset="0"/>
              </a:rPr>
              <a:t>versus regular surveys</a:t>
            </a:r>
            <a:endParaRPr lang="en-US" sz="1400" b="0" i="0">
              <a:solidFill>
                <a:srgbClr val="263133"/>
              </a:solidFill>
              <a:effectLst/>
              <a:latin typeface="Arial" panose="020B0604020202020204" pitchFamily="34" charset="0"/>
            </a:endParaRPr>
          </a:p>
          <a:p>
            <a:pPr marL="287338" indent="-287338" algn="l" rtl="0" fontAlgn="base">
              <a:buFont typeface="Wingdings" panose="05000000000000000000" pitchFamily="2" charset="2"/>
              <a:buChar char="ü"/>
            </a:pPr>
            <a:r>
              <a:rPr lang="en-US" sz="1400" b="0" i="0">
                <a:solidFill>
                  <a:srgbClr val="263133"/>
                </a:solidFill>
                <a:effectLst/>
                <a:latin typeface="Rawline" panose="00000500000000000000" pitchFamily="2" charset="0"/>
              </a:rPr>
              <a:t>A way to </a:t>
            </a:r>
            <a:r>
              <a:rPr lang="en-US" sz="1400" b="1" i="0">
                <a:solidFill>
                  <a:srgbClr val="1C6D7D"/>
                </a:solidFill>
                <a:effectLst/>
                <a:latin typeface="Rawline" panose="00000500000000000000" pitchFamily="2" charset="0"/>
              </a:rPr>
              <a:t>scratch the surface more into the ‘why</a:t>
            </a:r>
            <a:r>
              <a:rPr lang="en-US" sz="1400" b="0" i="0">
                <a:solidFill>
                  <a:srgbClr val="263133"/>
                </a:solidFill>
                <a:effectLst/>
                <a:latin typeface="Rawline" panose="00000500000000000000" pitchFamily="2" charset="0"/>
              </a:rPr>
              <a:t>​’</a:t>
            </a:r>
            <a:endParaRPr lang="en-US" sz="1400" b="0" i="0">
              <a:solidFill>
                <a:srgbClr val="263133"/>
              </a:solidFill>
              <a:effectLst/>
              <a:latin typeface="Arial" panose="020B0604020202020204" pitchFamily="34" charset="0"/>
            </a:endParaRPr>
          </a:p>
          <a:p>
            <a:pPr marL="287338" indent="-287338" algn="l" rtl="0" fontAlgn="base">
              <a:buFont typeface="Wingdings" panose="05000000000000000000" pitchFamily="2" charset="2"/>
              <a:buChar char="ü"/>
            </a:pPr>
            <a:r>
              <a:rPr lang="en-US" sz="1400" b="0" i="0">
                <a:solidFill>
                  <a:srgbClr val="263133"/>
                </a:solidFill>
                <a:effectLst/>
                <a:latin typeface="Rawline" panose="00000500000000000000" pitchFamily="2" charset="0"/>
              </a:rPr>
              <a:t>A way to get more </a:t>
            </a:r>
            <a:r>
              <a:rPr lang="en-US" sz="1400" b="1" i="0">
                <a:solidFill>
                  <a:srgbClr val="1C6D7D"/>
                </a:solidFill>
                <a:effectLst/>
                <a:latin typeface="Rawline" panose="00000500000000000000" pitchFamily="2" charset="0"/>
              </a:rPr>
              <a:t>consumer language</a:t>
            </a:r>
            <a:r>
              <a:rPr lang="en-US" sz="1400" b="0" i="0">
                <a:solidFill>
                  <a:srgbClr val="1C6D7D"/>
                </a:solidFill>
                <a:effectLst/>
                <a:latin typeface="Rawline" panose="00000500000000000000" pitchFamily="2" charset="0"/>
              </a:rPr>
              <a:t> </a:t>
            </a:r>
            <a:r>
              <a:rPr lang="en-US" sz="1400" b="0" i="0">
                <a:solidFill>
                  <a:srgbClr val="263133"/>
                </a:solidFill>
                <a:effectLst/>
                <a:latin typeface="Rawline" panose="00000500000000000000" pitchFamily="2" charset="0"/>
              </a:rPr>
              <a:t>around a topic area​</a:t>
            </a:r>
            <a:endParaRPr lang="en-US" sz="1400" b="0" i="0">
              <a:solidFill>
                <a:srgbClr val="263133"/>
              </a:solidFill>
              <a:effectLst/>
              <a:latin typeface="Arial" panose="020B0604020202020204" pitchFamily="34" charset="0"/>
            </a:endParaRPr>
          </a:p>
          <a:p>
            <a:pPr marL="287338" indent="-287338" algn="l" rtl="0" fontAlgn="base">
              <a:buFont typeface="Wingdings" panose="05000000000000000000" pitchFamily="2" charset="2"/>
              <a:buChar char="ü"/>
            </a:pPr>
            <a:r>
              <a:rPr lang="en-US" sz="1400" b="0" i="0">
                <a:solidFill>
                  <a:srgbClr val="263133"/>
                </a:solidFill>
                <a:effectLst/>
                <a:latin typeface="Rawline" panose="00000500000000000000" pitchFamily="2" charset="0"/>
              </a:rPr>
              <a:t>Can send out to a </a:t>
            </a:r>
            <a:r>
              <a:rPr lang="en-US" sz="1400" b="1" i="0">
                <a:solidFill>
                  <a:srgbClr val="1C6D7D"/>
                </a:solidFill>
                <a:effectLst/>
                <a:latin typeface="Rawline" panose="00000500000000000000" pitchFamily="2" charset="0"/>
              </a:rPr>
              <a:t>larger sample </a:t>
            </a:r>
            <a:r>
              <a:rPr lang="en-US" sz="1400" b="0" i="0">
                <a:solidFill>
                  <a:srgbClr val="263133"/>
                </a:solidFill>
                <a:effectLst/>
                <a:latin typeface="Rawline" panose="00000500000000000000" pitchFamily="2" charset="0"/>
              </a:rPr>
              <a:t>​</a:t>
            </a:r>
            <a:endParaRPr lang="en-US" sz="1400" b="0" i="0">
              <a:solidFill>
                <a:srgbClr val="263133"/>
              </a:solidFill>
              <a:effectLst/>
              <a:latin typeface="Arial" panose="020B0604020202020204" pitchFamily="34" charset="0"/>
            </a:endParaRPr>
          </a:p>
          <a:p>
            <a:pPr marL="287338" indent="-287338" algn="l" rtl="0" fontAlgn="base">
              <a:buFont typeface="Wingdings" panose="05000000000000000000" pitchFamily="2" charset="2"/>
              <a:buChar char="ü"/>
            </a:pPr>
            <a:r>
              <a:rPr lang="en-US" sz="1400" b="1" i="0">
                <a:solidFill>
                  <a:srgbClr val="1C6D7D"/>
                </a:solidFill>
                <a:effectLst/>
                <a:latin typeface="Rawline" panose="00000500000000000000" pitchFamily="2" charset="0"/>
              </a:rPr>
              <a:t>Short &amp; engaging</a:t>
            </a:r>
            <a:r>
              <a:rPr lang="en-US" sz="1400" b="0" i="0">
                <a:solidFill>
                  <a:srgbClr val="263133"/>
                </a:solidFill>
                <a:effectLst/>
                <a:latin typeface="Rawline" panose="00000500000000000000" pitchFamily="2" charset="0"/>
              </a:rPr>
              <a:t>, easy to understand ​</a:t>
            </a:r>
            <a:endParaRPr lang="en-US" sz="1400" b="0" i="0">
              <a:solidFill>
                <a:srgbClr val="263133"/>
              </a:solidFill>
              <a:effectLst/>
              <a:latin typeface="Arial" panose="020B0604020202020204" pitchFamily="34" charset="0"/>
            </a:endParaRPr>
          </a:p>
          <a:p>
            <a:pPr marL="287338" indent="-287338" algn="l" rtl="0" fontAlgn="base">
              <a:buFont typeface="Wingdings" panose="05000000000000000000" pitchFamily="2" charset="2"/>
              <a:buChar char="ü"/>
            </a:pPr>
            <a:r>
              <a:rPr lang="en-US" sz="1400" b="0" i="0">
                <a:solidFill>
                  <a:srgbClr val="263133"/>
                </a:solidFill>
                <a:effectLst/>
                <a:latin typeface="Rawline" panose="00000500000000000000" pitchFamily="2" charset="0"/>
              </a:rPr>
              <a:t>Written using </a:t>
            </a:r>
            <a:r>
              <a:rPr lang="en-US" sz="1400" b="1" i="0">
                <a:solidFill>
                  <a:srgbClr val="1C6D7D"/>
                </a:solidFill>
                <a:effectLst/>
                <a:latin typeface="Rawline" panose="00000500000000000000" pitchFamily="2" charset="0"/>
              </a:rPr>
              <a:t>qualitative / projective questioning techniques </a:t>
            </a:r>
            <a:r>
              <a:rPr lang="en-US" sz="1400" b="0" i="0">
                <a:solidFill>
                  <a:srgbClr val="263133"/>
                </a:solidFill>
                <a:effectLst/>
                <a:latin typeface="Rawline" panose="00000500000000000000" pitchFamily="2" charset="0"/>
              </a:rPr>
              <a:t>​</a:t>
            </a:r>
            <a:endParaRPr lang="en-US" sz="1400" b="0" i="0">
              <a:solidFill>
                <a:srgbClr val="263133"/>
              </a:solidFill>
              <a:effectLst/>
              <a:latin typeface="Arial" panose="020B0604020202020204" pitchFamily="34" charset="0"/>
            </a:endParaRPr>
          </a:p>
        </p:txBody>
      </p:sp>
      <p:sp>
        <p:nvSpPr>
          <p:cNvPr id="14" name="TextBox 13">
            <a:extLst>
              <a:ext uri="{FF2B5EF4-FFF2-40B4-BE49-F238E27FC236}">
                <a16:creationId xmlns:a16="http://schemas.microsoft.com/office/drawing/2014/main" id="{58E65016-8B9C-CCA9-159E-222493D96BBB}"/>
              </a:ext>
            </a:extLst>
          </p:cNvPr>
          <p:cNvSpPr txBox="1"/>
          <p:nvPr/>
        </p:nvSpPr>
        <p:spPr>
          <a:xfrm>
            <a:off x="4629405" y="4450811"/>
            <a:ext cx="2099652" cy="1018869"/>
          </a:xfrm>
          <a:prstGeom prst="rect">
            <a:avLst/>
          </a:prstGeom>
          <a:noFill/>
        </p:spPr>
        <p:txBody>
          <a:bodyPr wrap="square">
            <a:spAutoFit/>
          </a:bodyPr>
          <a:lstStyle/>
          <a:p>
            <a:pPr algn="ctr">
              <a:lnSpc>
                <a:spcPct val="150000"/>
              </a:lnSpc>
            </a:pPr>
            <a:r>
              <a:rPr lang="en-US" sz="1400">
                <a:solidFill>
                  <a:schemeClr val="bg2"/>
                </a:solidFill>
              </a:rPr>
              <a:t>Only 3 questions are asked, using the Funnel Approach</a:t>
            </a:r>
          </a:p>
        </p:txBody>
      </p:sp>
      <p:pic>
        <p:nvPicPr>
          <p:cNvPr id="30" name="Picture 29">
            <a:extLst>
              <a:ext uri="{FF2B5EF4-FFF2-40B4-BE49-F238E27FC236}">
                <a16:creationId xmlns:a16="http://schemas.microsoft.com/office/drawing/2014/main" id="{42AC800E-819F-D803-79E9-72BF036EA43A}"/>
              </a:ext>
            </a:extLst>
          </p:cNvPr>
          <p:cNvPicPr>
            <a:picLocks noChangeAspect="1"/>
          </p:cNvPicPr>
          <p:nvPr/>
        </p:nvPicPr>
        <p:blipFill>
          <a:blip r:embed="rId2"/>
          <a:stretch>
            <a:fillRect/>
          </a:stretch>
        </p:blipFill>
        <p:spPr>
          <a:xfrm>
            <a:off x="6590643" y="3909584"/>
            <a:ext cx="4863035" cy="2160023"/>
          </a:xfrm>
          <a:prstGeom prst="rect">
            <a:avLst/>
          </a:prstGeom>
        </p:spPr>
      </p:pic>
      <p:sp>
        <p:nvSpPr>
          <p:cNvPr id="34" name="TextBox 33">
            <a:extLst>
              <a:ext uri="{FF2B5EF4-FFF2-40B4-BE49-F238E27FC236}">
                <a16:creationId xmlns:a16="http://schemas.microsoft.com/office/drawing/2014/main" id="{87D8440D-3754-2EA0-1A14-BDF880853FC4}"/>
              </a:ext>
            </a:extLst>
          </p:cNvPr>
          <p:cNvSpPr txBox="1"/>
          <p:nvPr/>
        </p:nvSpPr>
        <p:spPr>
          <a:xfrm>
            <a:off x="8398774" y="2347129"/>
            <a:ext cx="3488639" cy="738664"/>
          </a:xfrm>
          <a:prstGeom prst="rect">
            <a:avLst/>
          </a:prstGeom>
        </p:spPr>
        <p:txBody>
          <a:bodyPr wrap="square" anchor="b">
            <a:spAutoFit/>
          </a:bodyPr>
          <a:lstStyle>
            <a:defPPr>
              <a:defRPr lang="en-US"/>
            </a:defPPr>
            <a:lvl1pPr algn="ctr">
              <a:lnSpc>
                <a:spcPct val="100000"/>
              </a:lnSpc>
              <a:defRPr b="1">
                <a:solidFill>
                  <a:schemeClr val="tx1">
                    <a:lumMod val="90000"/>
                    <a:lumOff val="10000"/>
                  </a:schemeClr>
                </a:solidFill>
              </a:defRPr>
            </a:lvl1pPr>
          </a:lstStyle>
          <a:p>
            <a:pPr algn="l"/>
            <a:r>
              <a:rPr lang="en-US" sz="1400" b="0">
                <a:solidFill>
                  <a:schemeClr val="accent2"/>
                </a:solidFill>
              </a:rPr>
              <a:t>Respondents are asked to write/tell a story, respond to a situation or explain associations </a:t>
            </a:r>
          </a:p>
        </p:txBody>
      </p:sp>
      <p:sp>
        <p:nvSpPr>
          <p:cNvPr id="35" name="TextBox 34">
            <a:extLst>
              <a:ext uri="{FF2B5EF4-FFF2-40B4-BE49-F238E27FC236}">
                <a16:creationId xmlns:a16="http://schemas.microsoft.com/office/drawing/2014/main" id="{1417B90E-7DF1-EBA1-005A-FF23BC1D2049}"/>
              </a:ext>
            </a:extLst>
          </p:cNvPr>
          <p:cNvSpPr txBox="1"/>
          <p:nvPr/>
        </p:nvSpPr>
        <p:spPr>
          <a:xfrm>
            <a:off x="4709984" y="2410235"/>
            <a:ext cx="1366058" cy="523220"/>
          </a:xfrm>
          <a:prstGeom prst="rect">
            <a:avLst/>
          </a:prstGeom>
        </p:spPr>
        <p:txBody>
          <a:bodyPr wrap="square" anchor="b">
            <a:spAutoFit/>
          </a:bodyPr>
          <a:lstStyle>
            <a:defPPr>
              <a:defRPr lang="en-US"/>
            </a:defPPr>
            <a:lvl1pPr algn="ctr">
              <a:lnSpc>
                <a:spcPct val="100000"/>
              </a:lnSpc>
              <a:defRPr b="1">
                <a:solidFill>
                  <a:schemeClr val="tx1">
                    <a:lumMod val="90000"/>
                    <a:lumOff val="10000"/>
                  </a:schemeClr>
                </a:solidFill>
              </a:defRPr>
            </a:lvl1pPr>
          </a:lstStyle>
          <a:p>
            <a:pPr algn="r"/>
            <a:r>
              <a:rPr lang="en-US" sz="1400" b="0">
                <a:solidFill>
                  <a:schemeClr val="accent3"/>
                </a:solidFill>
              </a:rPr>
              <a:t>Sent to a quant panel</a:t>
            </a:r>
          </a:p>
        </p:txBody>
      </p:sp>
      <p:sp>
        <p:nvSpPr>
          <p:cNvPr id="36" name="TextBox 35">
            <a:extLst>
              <a:ext uri="{FF2B5EF4-FFF2-40B4-BE49-F238E27FC236}">
                <a16:creationId xmlns:a16="http://schemas.microsoft.com/office/drawing/2014/main" id="{DAAA0B3B-97A6-E05D-53EA-6CE955A5BA9E}"/>
              </a:ext>
            </a:extLst>
          </p:cNvPr>
          <p:cNvSpPr txBox="1"/>
          <p:nvPr/>
        </p:nvSpPr>
        <p:spPr>
          <a:xfrm>
            <a:off x="7762938" y="1155972"/>
            <a:ext cx="3615689" cy="738664"/>
          </a:xfrm>
          <a:prstGeom prst="rect">
            <a:avLst/>
          </a:prstGeom>
        </p:spPr>
        <p:txBody>
          <a:bodyPr wrap="square" anchor="b">
            <a:spAutoFit/>
          </a:bodyPr>
          <a:lstStyle>
            <a:defPPr>
              <a:defRPr lang="en-US"/>
            </a:defPPr>
            <a:lvl1pPr algn="ctr">
              <a:defRPr b="1">
                <a:solidFill>
                  <a:schemeClr val="tx1">
                    <a:lumMod val="90000"/>
                    <a:lumOff val="10000"/>
                  </a:schemeClr>
                </a:solidFill>
              </a:defRPr>
            </a:lvl1pPr>
          </a:lstStyle>
          <a:p>
            <a:pPr>
              <a:lnSpc>
                <a:spcPct val="100000"/>
              </a:lnSpc>
            </a:pPr>
            <a:r>
              <a:rPr lang="en-US" sz="1400" b="0">
                <a:solidFill>
                  <a:schemeClr val="bg2"/>
                </a:solidFill>
              </a:rPr>
              <a:t>An open-ended question survey, containing </a:t>
            </a:r>
            <a:r>
              <a:rPr lang="en-US" sz="1400">
                <a:solidFill>
                  <a:schemeClr val="bg2"/>
                </a:solidFill>
              </a:rPr>
              <a:t>maximum 3 questions</a:t>
            </a:r>
            <a:r>
              <a:rPr lang="en-US" sz="1400" b="0">
                <a:solidFill>
                  <a:schemeClr val="bg2"/>
                </a:solidFill>
              </a:rPr>
              <a:t>.</a:t>
            </a:r>
          </a:p>
          <a:p>
            <a:pPr>
              <a:lnSpc>
                <a:spcPct val="100000"/>
              </a:lnSpc>
            </a:pPr>
            <a:r>
              <a:rPr lang="en-US" sz="1400" b="0">
                <a:solidFill>
                  <a:schemeClr val="bg2"/>
                </a:solidFill>
              </a:rPr>
              <a:t>(plus, a short screener if needed)</a:t>
            </a:r>
          </a:p>
        </p:txBody>
      </p:sp>
      <p:grpSp>
        <p:nvGrpSpPr>
          <p:cNvPr id="37" name="Group 36">
            <a:extLst>
              <a:ext uri="{FF2B5EF4-FFF2-40B4-BE49-F238E27FC236}">
                <a16:creationId xmlns:a16="http://schemas.microsoft.com/office/drawing/2014/main" id="{2C268DCC-B9EC-E578-A039-BB805B291FF6}"/>
              </a:ext>
            </a:extLst>
          </p:cNvPr>
          <p:cNvGrpSpPr/>
          <p:nvPr/>
        </p:nvGrpSpPr>
        <p:grpSpPr>
          <a:xfrm>
            <a:off x="6227374" y="1249805"/>
            <a:ext cx="2070904" cy="1978011"/>
            <a:chOff x="4226561" y="2629717"/>
            <a:chExt cx="3811675" cy="3693232"/>
          </a:xfrm>
        </p:grpSpPr>
        <p:sp>
          <p:nvSpPr>
            <p:cNvPr id="38" name="Freeform: Shape 37">
              <a:extLst>
                <a:ext uri="{FF2B5EF4-FFF2-40B4-BE49-F238E27FC236}">
                  <a16:creationId xmlns:a16="http://schemas.microsoft.com/office/drawing/2014/main" id="{B40DD7AA-A659-7EED-91F1-719C16CD2048}"/>
                </a:ext>
              </a:extLst>
            </p:cNvPr>
            <p:cNvSpPr/>
            <p:nvPr/>
          </p:nvSpPr>
          <p:spPr>
            <a:xfrm>
              <a:off x="4895188" y="2629717"/>
              <a:ext cx="2400344" cy="1334888"/>
            </a:xfrm>
            <a:custGeom>
              <a:avLst/>
              <a:gdLst>
                <a:gd name="connsiteX0" fmla="*/ 1257300 w 2514600"/>
                <a:gd name="connsiteY0" fmla="*/ 0 h 1398430"/>
                <a:gd name="connsiteX1" fmla="*/ 2514600 w 2514600"/>
                <a:gd name="connsiteY1" fmla="*/ 1257300 h 1398430"/>
                <a:gd name="connsiteX2" fmla="*/ 2511256 w 2514600"/>
                <a:gd name="connsiteY2" fmla="*/ 1323525 h 1398430"/>
                <a:gd name="connsiteX3" fmla="*/ 2503051 w 2514600"/>
                <a:gd name="connsiteY3" fmla="*/ 1319573 h 1398430"/>
                <a:gd name="connsiteX4" fmla="*/ 1957754 w 2514600"/>
                <a:gd name="connsiteY4" fmla="*/ 1209483 h 1398430"/>
                <a:gd name="connsiteX5" fmla="*/ 1289998 w 2514600"/>
                <a:gd name="connsiteY5" fmla="*/ 1378565 h 1398430"/>
                <a:gd name="connsiteX6" fmla="*/ 1257300 w 2514600"/>
                <a:gd name="connsiteY6" fmla="*/ 1398430 h 1398430"/>
                <a:gd name="connsiteX7" fmla="*/ 1224602 w 2514600"/>
                <a:gd name="connsiteY7" fmla="*/ 1378565 h 1398430"/>
                <a:gd name="connsiteX8" fmla="*/ 556846 w 2514600"/>
                <a:gd name="connsiteY8" fmla="*/ 1209483 h 1398430"/>
                <a:gd name="connsiteX9" fmla="*/ 11549 w 2514600"/>
                <a:gd name="connsiteY9" fmla="*/ 1319573 h 1398430"/>
                <a:gd name="connsiteX10" fmla="*/ 3344 w 2514600"/>
                <a:gd name="connsiteY10" fmla="*/ 1323525 h 1398430"/>
                <a:gd name="connsiteX11" fmla="*/ 0 w 2514600"/>
                <a:gd name="connsiteY11" fmla="*/ 1257300 h 1398430"/>
                <a:gd name="connsiteX12" fmla="*/ 1257300 w 2514600"/>
                <a:gd name="connsiteY12" fmla="*/ 0 h 13984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514600" h="1398430">
                  <a:moveTo>
                    <a:pt x="1257300" y="0"/>
                  </a:moveTo>
                  <a:cubicBezTo>
                    <a:pt x="1951688" y="0"/>
                    <a:pt x="2514600" y="562912"/>
                    <a:pt x="2514600" y="1257300"/>
                  </a:cubicBezTo>
                  <a:lnTo>
                    <a:pt x="2511256" y="1323525"/>
                  </a:lnTo>
                  <a:lnTo>
                    <a:pt x="2503051" y="1319573"/>
                  </a:lnTo>
                  <a:cubicBezTo>
                    <a:pt x="2335448" y="1248683"/>
                    <a:pt x="2151179" y="1209483"/>
                    <a:pt x="1957754" y="1209483"/>
                  </a:cubicBezTo>
                  <a:cubicBezTo>
                    <a:pt x="1715973" y="1209483"/>
                    <a:pt x="1488498" y="1270734"/>
                    <a:pt x="1289998" y="1378565"/>
                  </a:cubicBezTo>
                  <a:lnTo>
                    <a:pt x="1257300" y="1398430"/>
                  </a:lnTo>
                  <a:lnTo>
                    <a:pt x="1224602" y="1378565"/>
                  </a:lnTo>
                  <a:cubicBezTo>
                    <a:pt x="1026103" y="1270734"/>
                    <a:pt x="798627" y="1209483"/>
                    <a:pt x="556846" y="1209483"/>
                  </a:cubicBezTo>
                  <a:cubicBezTo>
                    <a:pt x="363421" y="1209483"/>
                    <a:pt x="179152" y="1248683"/>
                    <a:pt x="11549" y="1319573"/>
                  </a:cubicBezTo>
                  <a:lnTo>
                    <a:pt x="3344" y="1323525"/>
                  </a:lnTo>
                  <a:lnTo>
                    <a:pt x="0" y="1257300"/>
                  </a:lnTo>
                  <a:cubicBezTo>
                    <a:pt x="0" y="562912"/>
                    <a:pt x="562912" y="0"/>
                    <a:pt x="1257300" y="0"/>
                  </a:cubicBezTo>
                  <a:close/>
                </a:path>
              </a:pathLst>
            </a:custGeom>
            <a:noFill/>
            <a:ln w="254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solidFill>
                  <a:schemeClr val="tx1">
                    <a:lumMod val="90000"/>
                    <a:lumOff val="10000"/>
                  </a:schemeClr>
                </a:solidFill>
              </a:endParaRPr>
            </a:p>
          </p:txBody>
        </p:sp>
        <p:sp>
          <p:nvSpPr>
            <p:cNvPr id="39" name="Freeform: Shape 38">
              <a:extLst>
                <a:ext uri="{FF2B5EF4-FFF2-40B4-BE49-F238E27FC236}">
                  <a16:creationId xmlns:a16="http://schemas.microsoft.com/office/drawing/2014/main" id="{A5DE2EFE-74F3-8201-C307-B186FFC3808C}"/>
                </a:ext>
              </a:extLst>
            </p:cNvPr>
            <p:cNvSpPr/>
            <p:nvPr/>
          </p:nvSpPr>
          <p:spPr>
            <a:xfrm>
              <a:off x="6223671" y="3920047"/>
              <a:ext cx="1052920" cy="924213"/>
            </a:xfrm>
            <a:custGeom>
              <a:avLst/>
              <a:gdLst>
                <a:gd name="connsiteX0" fmla="*/ 566037 w 1103039"/>
                <a:gd name="connsiteY0" fmla="*/ 0 h 968206"/>
                <a:gd name="connsiteX1" fmla="*/ 1055957 w 1103039"/>
                <a:gd name="connsiteY1" fmla="*/ 98910 h 968206"/>
                <a:gd name="connsiteX2" fmla="*/ 1103039 w 1103039"/>
                <a:gd name="connsiteY2" fmla="*/ 121591 h 968206"/>
                <a:gd name="connsiteX3" fmla="*/ 1097339 w 1103039"/>
                <a:gd name="connsiteY3" fmla="*/ 158939 h 968206"/>
                <a:gd name="connsiteX4" fmla="*/ 568552 w 1103039"/>
                <a:gd name="connsiteY4" fmla="*/ 948122 h 968206"/>
                <a:gd name="connsiteX5" fmla="*/ 535493 w 1103039"/>
                <a:gd name="connsiteY5" fmla="*/ 968206 h 968206"/>
                <a:gd name="connsiteX6" fmla="*/ 503055 w 1103039"/>
                <a:gd name="connsiteY6" fmla="*/ 842053 h 968206"/>
                <a:gd name="connsiteX7" fmla="*/ 56237 w 1103039"/>
                <a:gd name="connsiteY7" fmla="*/ 177631 h 968206"/>
                <a:gd name="connsiteX8" fmla="*/ 0 w 1103039"/>
                <a:gd name="connsiteY8" fmla="*/ 135578 h 968206"/>
                <a:gd name="connsiteX9" fmla="*/ 76117 w 1103039"/>
                <a:gd name="connsiteY9" fmla="*/ 98910 h 968206"/>
                <a:gd name="connsiteX10" fmla="*/ 566037 w 1103039"/>
                <a:gd name="connsiteY10" fmla="*/ 0 h 9682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03039" h="968206">
                  <a:moveTo>
                    <a:pt x="566037" y="0"/>
                  </a:moveTo>
                  <a:cubicBezTo>
                    <a:pt x="739819" y="0"/>
                    <a:pt x="905375" y="35220"/>
                    <a:pt x="1055957" y="98910"/>
                  </a:cubicBezTo>
                  <a:lnTo>
                    <a:pt x="1103039" y="121591"/>
                  </a:lnTo>
                  <a:lnTo>
                    <a:pt x="1097339" y="158939"/>
                  </a:lnTo>
                  <a:cubicBezTo>
                    <a:pt x="1030346" y="486328"/>
                    <a:pt x="836107" y="767365"/>
                    <a:pt x="568552" y="948122"/>
                  </a:cubicBezTo>
                  <a:lnTo>
                    <a:pt x="535493" y="968206"/>
                  </a:lnTo>
                  <a:lnTo>
                    <a:pt x="503055" y="842053"/>
                  </a:lnTo>
                  <a:cubicBezTo>
                    <a:pt x="421192" y="578853"/>
                    <a:pt x="263802" y="348930"/>
                    <a:pt x="56237" y="177631"/>
                  </a:cubicBezTo>
                  <a:lnTo>
                    <a:pt x="0" y="135578"/>
                  </a:lnTo>
                  <a:lnTo>
                    <a:pt x="76117" y="98910"/>
                  </a:lnTo>
                  <a:cubicBezTo>
                    <a:pt x="226699" y="35220"/>
                    <a:pt x="392255" y="0"/>
                    <a:pt x="566037" y="0"/>
                  </a:cubicBez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solidFill>
                  <a:schemeClr val="tx1">
                    <a:lumMod val="90000"/>
                    <a:lumOff val="10000"/>
                  </a:schemeClr>
                </a:solidFill>
              </a:endParaRPr>
            </a:p>
          </p:txBody>
        </p:sp>
        <p:sp>
          <p:nvSpPr>
            <p:cNvPr id="40" name="Freeform: Shape 39">
              <a:extLst>
                <a:ext uri="{FF2B5EF4-FFF2-40B4-BE49-F238E27FC236}">
                  <a16:creationId xmlns:a16="http://schemas.microsoft.com/office/drawing/2014/main" id="{9C921F40-7DC2-C010-F9A8-C450DFF15F78}"/>
                </a:ext>
              </a:extLst>
            </p:cNvPr>
            <p:cNvSpPr/>
            <p:nvPr/>
          </p:nvSpPr>
          <p:spPr>
            <a:xfrm>
              <a:off x="4914331" y="3921326"/>
              <a:ext cx="1051565" cy="922934"/>
            </a:xfrm>
            <a:custGeom>
              <a:avLst/>
              <a:gdLst>
                <a:gd name="connsiteX0" fmla="*/ 536791 w 1101620"/>
                <a:gd name="connsiteY0" fmla="*/ 0 h 966866"/>
                <a:gd name="connsiteX1" fmla="*/ 1026189 w 1101620"/>
                <a:gd name="connsiteY1" fmla="*/ 98805 h 966866"/>
                <a:gd name="connsiteX2" fmla="*/ 1101620 w 1101620"/>
                <a:gd name="connsiteY2" fmla="*/ 135142 h 966866"/>
                <a:gd name="connsiteX3" fmla="*/ 1046591 w 1101620"/>
                <a:gd name="connsiteY3" fmla="*/ 176291 h 966866"/>
                <a:gd name="connsiteX4" fmla="*/ 599773 w 1101620"/>
                <a:gd name="connsiteY4" fmla="*/ 840713 h 966866"/>
                <a:gd name="connsiteX5" fmla="*/ 567335 w 1101620"/>
                <a:gd name="connsiteY5" fmla="*/ 966866 h 966866"/>
                <a:gd name="connsiteX6" fmla="*/ 534276 w 1101620"/>
                <a:gd name="connsiteY6" fmla="*/ 946782 h 966866"/>
                <a:gd name="connsiteX7" fmla="*/ 5489 w 1101620"/>
                <a:gd name="connsiteY7" fmla="*/ 157599 h 966866"/>
                <a:gd name="connsiteX8" fmla="*/ 0 w 1101620"/>
                <a:gd name="connsiteY8" fmla="*/ 121635 h 966866"/>
                <a:gd name="connsiteX9" fmla="*/ 47393 w 1101620"/>
                <a:gd name="connsiteY9" fmla="*/ 98805 h 966866"/>
                <a:gd name="connsiteX10" fmla="*/ 536791 w 1101620"/>
                <a:gd name="connsiteY10" fmla="*/ 0 h 9668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01620" h="966866">
                  <a:moveTo>
                    <a:pt x="536791" y="0"/>
                  </a:moveTo>
                  <a:cubicBezTo>
                    <a:pt x="710388" y="0"/>
                    <a:pt x="875768" y="35182"/>
                    <a:pt x="1026189" y="98805"/>
                  </a:cubicBezTo>
                  <a:lnTo>
                    <a:pt x="1101620" y="135142"/>
                  </a:lnTo>
                  <a:lnTo>
                    <a:pt x="1046591" y="176291"/>
                  </a:lnTo>
                  <a:cubicBezTo>
                    <a:pt x="839026" y="347590"/>
                    <a:pt x="681637" y="577513"/>
                    <a:pt x="599773" y="840713"/>
                  </a:cubicBezTo>
                  <a:lnTo>
                    <a:pt x="567335" y="966866"/>
                  </a:lnTo>
                  <a:lnTo>
                    <a:pt x="534276" y="946782"/>
                  </a:lnTo>
                  <a:cubicBezTo>
                    <a:pt x="266721" y="766025"/>
                    <a:pt x="72482" y="484988"/>
                    <a:pt x="5489" y="157599"/>
                  </a:cubicBezTo>
                  <a:lnTo>
                    <a:pt x="0" y="121635"/>
                  </a:lnTo>
                  <a:lnTo>
                    <a:pt x="47393" y="98805"/>
                  </a:lnTo>
                  <a:cubicBezTo>
                    <a:pt x="197814" y="35182"/>
                    <a:pt x="363194" y="0"/>
                    <a:pt x="536791" y="0"/>
                  </a:cubicBez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solidFill>
                  <a:schemeClr val="tx1">
                    <a:lumMod val="90000"/>
                    <a:lumOff val="10000"/>
                  </a:schemeClr>
                </a:solidFill>
              </a:endParaRPr>
            </a:p>
          </p:txBody>
        </p:sp>
        <p:sp>
          <p:nvSpPr>
            <p:cNvPr id="41" name="Freeform: Shape 40">
              <a:extLst>
                <a:ext uri="{FF2B5EF4-FFF2-40B4-BE49-F238E27FC236}">
                  <a16:creationId xmlns:a16="http://schemas.microsoft.com/office/drawing/2014/main" id="{8D4B34B6-32EA-156F-9FA5-388B23963E39}"/>
                </a:ext>
              </a:extLst>
            </p:cNvPr>
            <p:cNvSpPr/>
            <p:nvPr/>
          </p:nvSpPr>
          <p:spPr>
            <a:xfrm>
              <a:off x="6223668" y="4105833"/>
              <a:ext cx="1741771" cy="2217116"/>
            </a:xfrm>
            <a:custGeom>
              <a:avLst/>
              <a:gdLst>
                <a:gd name="connsiteX0" fmla="*/ 1236297 w 1824679"/>
                <a:gd name="connsiteY0" fmla="*/ 0 h 2322653"/>
                <a:gd name="connsiteX1" fmla="*/ 1269757 w 1824679"/>
                <a:gd name="connsiteY1" fmla="*/ 20327 h 2322653"/>
                <a:gd name="connsiteX2" fmla="*/ 1824679 w 1824679"/>
                <a:gd name="connsiteY2" fmla="*/ 1064012 h 2322653"/>
                <a:gd name="connsiteX3" fmla="*/ 566039 w 1824679"/>
                <a:gd name="connsiteY3" fmla="*/ 2322653 h 2322653"/>
                <a:gd name="connsiteX4" fmla="*/ 76119 w 1824679"/>
                <a:gd name="connsiteY4" fmla="*/ 2223743 h 2322653"/>
                <a:gd name="connsiteX5" fmla="*/ 0 w 1824679"/>
                <a:gd name="connsiteY5" fmla="*/ 2187075 h 2322653"/>
                <a:gd name="connsiteX6" fmla="*/ 56239 w 1824679"/>
                <a:gd name="connsiteY6" fmla="*/ 2145020 h 2322653"/>
                <a:gd name="connsiteX7" fmla="*/ 566039 w 1824679"/>
                <a:gd name="connsiteY7" fmla="*/ 1064011 h 2322653"/>
                <a:gd name="connsiteX8" fmla="*/ 559125 w 1824679"/>
                <a:gd name="connsiteY8" fmla="*/ 927082 h 2322653"/>
                <a:gd name="connsiteX9" fmla="*/ 648846 w 1824679"/>
                <a:gd name="connsiteY9" fmla="*/ 872575 h 2322653"/>
                <a:gd name="connsiteX10" fmla="*/ 1203511 w 1824679"/>
                <a:gd name="connsiteY10" fmla="*/ 127507 h 2322653"/>
                <a:gd name="connsiteX11" fmla="*/ 1236297 w 1824679"/>
                <a:gd name="connsiteY11" fmla="*/ 0 h 2322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824679" h="2322653">
                  <a:moveTo>
                    <a:pt x="1236297" y="0"/>
                  </a:moveTo>
                  <a:lnTo>
                    <a:pt x="1269757" y="20327"/>
                  </a:lnTo>
                  <a:cubicBezTo>
                    <a:pt x="1604557" y="246514"/>
                    <a:pt x="1824679" y="629557"/>
                    <a:pt x="1824679" y="1064012"/>
                  </a:cubicBezTo>
                  <a:cubicBezTo>
                    <a:pt x="1824679" y="1759140"/>
                    <a:pt x="1261167" y="2322653"/>
                    <a:pt x="566039" y="2322653"/>
                  </a:cubicBezTo>
                  <a:cubicBezTo>
                    <a:pt x="392257" y="2322653"/>
                    <a:pt x="226701" y="2287434"/>
                    <a:pt x="76119" y="2223743"/>
                  </a:cubicBezTo>
                  <a:lnTo>
                    <a:pt x="0" y="2187075"/>
                  </a:lnTo>
                  <a:lnTo>
                    <a:pt x="56239" y="2145020"/>
                  </a:lnTo>
                  <a:cubicBezTo>
                    <a:pt x="367587" y="1888073"/>
                    <a:pt x="566039" y="1499217"/>
                    <a:pt x="566039" y="1064011"/>
                  </a:cubicBezTo>
                  <a:lnTo>
                    <a:pt x="559125" y="927082"/>
                  </a:lnTo>
                  <a:lnTo>
                    <a:pt x="648846" y="872575"/>
                  </a:lnTo>
                  <a:cubicBezTo>
                    <a:pt x="909697" y="696348"/>
                    <a:pt x="1108004" y="434573"/>
                    <a:pt x="1203511" y="127507"/>
                  </a:cubicBezTo>
                  <a:lnTo>
                    <a:pt x="1236297" y="0"/>
                  </a:lnTo>
                  <a:close/>
                </a:path>
              </a:pathLst>
            </a:custGeom>
            <a:noFill/>
            <a:ln w="254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solidFill>
                  <a:schemeClr val="tx1">
                    <a:lumMod val="90000"/>
                    <a:lumOff val="10000"/>
                  </a:schemeClr>
                </a:solidFill>
              </a:endParaRPr>
            </a:p>
          </p:txBody>
        </p:sp>
        <p:sp>
          <p:nvSpPr>
            <p:cNvPr id="42" name="Freeform: Shape 41">
              <a:extLst>
                <a:ext uri="{FF2B5EF4-FFF2-40B4-BE49-F238E27FC236}">
                  <a16:creationId xmlns:a16="http://schemas.microsoft.com/office/drawing/2014/main" id="{756E392F-3C0E-1C73-A149-5BFD7A6C93A7}"/>
                </a:ext>
              </a:extLst>
            </p:cNvPr>
            <p:cNvSpPr/>
            <p:nvPr/>
          </p:nvSpPr>
          <p:spPr>
            <a:xfrm>
              <a:off x="4226561" y="4107119"/>
              <a:ext cx="1739337" cy="2214543"/>
            </a:xfrm>
            <a:custGeom>
              <a:avLst/>
              <a:gdLst>
                <a:gd name="connsiteX0" fmla="*/ 587390 w 1822129"/>
                <a:gd name="connsiteY0" fmla="*/ 0 h 2319957"/>
                <a:gd name="connsiteX1" fmla="*/ 619828 w 1822129"/>
                <a:gd name="connsiteY1" fmla="*/ 126153 h 2319957"/>
                <a:gd name="connsiteX2" fmla="*/ 1174493 w 1822129"/>
                <a:gd name="connsiteY2" fmla="*/ 871221 h 2319957"/>
                <a:gd name="connsiteX3" fmla="*/ 1264214 w 1822129"/>
                <a:gd name="connsiteY3" fmla="*/ 925728 h 2319957"/>
                <a:gd name="connsiteX4" fmla="*/ 1257300 w 1822129"/>
                <a:gd name="connsiteY4" fmla="*/ 1062657 h 2319957"/>
                <a:gd name="connsiteX5" fmla="*/ 1767100 w 1822129"/>
                <a:gd name="connsiteY5" fmla="*/ 2143666 h 2319957"/>
                <a:gd name="connsiteX6" fmla="*/ 1822129 w 1822129"/>
                <a:gd name="connsiteY6" fmla="*/ 2184816 h 2319957"/>
                <a:gd name="connsiteX7" fmla="*/ 1746698 w 1822129"/>
                <a:gd name="connsiteY7" fmla="*/ 2221152 h 2319957"/>
                <a:gd name="connsiteX8" fmla="*/ 1257300 w 1822129"/>
                <a:gd name="connsiteY8" fmla="*/ 2319957 h 2319957"/>
                <a:gd name="connsiteX9" fmla="*/ 0 w 1822129"/>
                <a:gd name="connsiteY9" fmla="*/ 1062657 h 2319957"/>
                <a:gd name="connsiteX10" fmla="*/ 554331 w 1822129"/>
                <a:gd name="connsiteY10" fmla="*/ 20084 h 2319957"/>
                <a:gd name="connsiteX11" fmla="*/ 587390 w 1822129"/>
                <a:gd name="connsiteY11" fmla="*/ 0 h 23199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822129" h="2319957">
                  <a:moveTo>
                    <a:pt x="587390" y="0"/>
                  </a:moveTo>
                  <a:lnTo>
                    <a:pt x="619828" y="126153"/>
                  </a:lnTo>
                  <a:cubicBezTo>
                    <a:pt x="715335" y="433219"/>
                    <a:pt x="913642" y="694994"/>
                    <a:pt x="1174493" y="871221"/>
                  </a:cubicBezTo>
                  <a:lnTo>
                    <a:pt x="1264214" y="925728"/>
                  </a:lnTo>
                  <a:lnTo>
                    <a:pt x="1257300" y="1062657"/>
                  </a:lnTo>
                  <a:cubicBezTo>
                    <a:pt x="1257300" y="1497863"/>
                    <a:pt x="1455753" y="1886719"/>
                    <a:pt x="1767100" y="2143666"/>
                  </a:cubicBezTo>
                  <a:lnTo>
                    <a:pt x="1822129" y="2184816"/>
                  </a:lnTo>
                  <a:lnTo>
                    <a:pt x="1746698" y="2221152"/>
                  </a:lnTo>
                  <a:cubicBezTo>
                    <a:pt x="1596277" y="2284775"/>
                    <a:pt x="1430897" y="2319957"/>
                    <a:pt x="1257300" y="2319957"/>
                  </a:cubicBezTo>
                  <a:cubicBezTo>
                    <a:pt x="562912" y="2319957"/>
                    <a:pt x="0" y="1757045"/>
                    <a:pt x="0" y="1062657"/>
                  </a:cubicBezTo>
                  <a:cubicBezTo>
                    <a:pt x="0" y="628665"/>
                    <a:pt x="219887" y="246030"/>
                    <a:pt x="554331" y="20084"/>
                  </a:cubicBezTo>
                  <a:lnTo>
                    <a:pt x="587390" y="0"/>
                  </a:lnTo>
                  <a:close/>
                </a:path>
              </a:pathLst>
            </a:custGeom>
            <a:noFill/>
            <a:ln w="254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solidFill>
                  <a:schemeClr val="tx1">
                    <a:lumMod val="90000"/>
                    <a:lumOff val="10000"/>
                  </a:schemeClr>
                </a:solidFill>
              </a:endParaRPr>
            </a:p>
          </p:txBody>
        </p:sp>
        <p:sp>
          <p:nvSpPr>
            <p:cNvPr id="43" name="Freeform: Shape 42">
              <a:extLst>
                <a:ext uri="{FF2B5EF4-FFF2-40B4-BE49-F238E27FC236}">
                  <a16:creationId xmlns:a16="http://schemas.microsoft.com/office/drawing/2014/main" id="{EE047D81-F2DD-76B6-2E0A-53C4CF45D706}"/>
                </a:ext>
              </a:extLst>
            </p:cNvPr>
            <p:cNvSpPr/>
            <p:nvPr/>
          </p:nvSpPr>
          <p:spPr>
            <a:xfrm>
              <a:off x="5562535" y="5059405"/>
              <a:ext cx="1064368" cy="1061226"/>
            </a:xfrm>
            <a:custGeom>
              <a:avLst/>
              <a:gdLst>
                <a:gd name="connsiteX0" fmla="*/ 3376 w 1115032"/>
                <a:gd name="connsiteY0" fmla="*/ 0 h 1111741"/>
                <a:gd name="connsiteX1" fmla="*/ 12889 w 1115032"/>
                <a:gd name="connsiteY1" fmla="*/ 4583 h 1111741"/>
                <a:gd name="connsiteX2" fmla="*/ 558186 w 1115032"/>
                <a:gd name="connsiteY2" fmla="*/ 114673 h 1111741"/>
                <a:gd name="connsiteX3" fmla="*/ 1103483 w 1115032"/>
                <a:gd name="connsiteY3" fmla="*/ 4583 h 1111741"/>
                <a:gd name="connsiteX4" fmla="*/ 1111688 w 1115032"/>
                <a:gd name="connsiteY4" fmla="*/ 631 h 1111741"/>
                <a:gd name="connsiteX5" fmla="*/ 1115032 w 1115032"/>
                <a:gd name="connsiteY5" fmla="*/ 66856 h 1111741"/>
                <a:gd name="connsiteX6" fmla="*/ 560701 w 1115032"/>
                <a:gd name="connsiteY6" fmla="*/ 1109429 h 1111741"/>
                <a:gd name="connsiteX7" fmla="*/ 556896 w 1115032"/>
                <a:gd name="connsiteY7" fmla="*/ 1111741 h 1111741"/>
                <a:gd name="connsiteX8" fmla="*/ 554922 w 1115032"/>
                <a:gd name="connsiteY8" fmla="*/ 1110542 h 1111741"/>
                <a:gd name="connsiteX9" fmla="*/ 0 w 1115032"/>
                <a:gd name="connsiteY9" fmla="*/ 66857 h 1111741"/>
                <a:gd name="connsiteX10" fmla="*/ 3376 w 1115032"/>
                <a:gd name="connsiteY10" fmla="*/ 0 h 11117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15032" h="1111741">
                  <a:moveTo>
                    <a:pt x="3376" y="0"/>
                  </a:moveTo>
                  <a:lnTo>
                    <a:pt x="12889" y="4583"/>
                  </a:lnTo>
                  <a:cubicBezTo>
                    <a:pt x="180492" y="75473"/>
                    <a:pt x="364761" y="114673"/>
                    <a:pt x="558186" y="114673"/>
                  </a:cubicBezTo>
                  <a:cubicBezTo>
                    <a:pt x="751611" y="114673"/>
                    <a:pt x="935880" y="75473"/>
                    <a:pt x="1103483" y="4583"/>
                  </a:cubicBezTo>
                  <a:lnTo>
                    <a:pt x="1111688" y="631"/>
                  </a:lnTo>
                  <a:lnTo>
                    <a:pt x="1115032" y="66856"/>
                  </a:lnTo>
                  <a:cubicBezTo>
                    <a:pt x="1115032" y="500849"/>
                    <a:pt x="895145" y="883483"/>
                    <a:pt x="560701" y="1109429"/>
                  </a:cubicBezTo>
                  <a:lnTo>
                    <a:pt x="556896" y="1111741"/>
                  </a:lnTo>
                  <a:lnTo>
                    <a:pt x="554922" y="1110542"/>
                  </a:lnTo>
                  <a:cubicBezTo>
                    <a:pt x="220122" y="884355"/>
                    <a:pt x="0" y="501312"/>
                    <a:pt x="0" y="66857"/>
                  </a:cubicBezTo>
                  <a:lnTo>
                    <a:pt x="3376" y="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solidFill>
                  <a:schemeClr val="tx1">
                    <a:lumMod val="90000"/>
                    <a:lumOff val="10000"/>
                  </a:schemeClr>
                </a:solidFill>
              </a:endParaRPr>
            </a:p>
          </p:txBody>
        </p:sp>
        <p:sp>
          <p:nvSpPr>
            <p:cNvPr id="44" name="Rectangle 43">
              <a:extLst>
                <a:ext uri="{FF2B5EF4-FFF2-40B4-BE49-F238E27FC236}">
                  <a16:creationId xmlns:a16="http://schemas.microsoft.com/office/drawing/2014/main" id="{375D9470-DEBB-E1BC-DE86-B5131F582B9A}"/>
                </a:ext>
              </a:extLst>
            </p:cNvPr>
            <p:cNvSpPr/>
            <p:nvPr/>
          </p:nvSpPr>
          <p:spPr>
            <a:xfrm>
              <a:off x="5441498" y="2850135"/>
              <a:ext cx="1416814" cy="772565"/>
            </a:xfrm>
            <a:prstGeom prst="rect">
              <a:avLst/>
            </a:prstGeom>
          </p:spPr>
          <p:txBody>
            <a:bodyPr wrap="none" anchor="b">
              <a:spAutoFit/>
            </a:bodyPr>
            <a:lstStyle/>
            <a:p>
              <a:pPr algn="ctr"/>
              <a:r>
                <a:rPr lang="en-US" b="1">
                  <a:solidFill>
                    <a:schemeClr val="bg2"/>
                  </a:solidFill>
                </a:rPr>
                <a:t>What </a:t>
              </a:r>
            </a:p>
          </p:txBody>
        </p:sp>
        <p:sp>
          <p:nvSpPr>
            <p:cNvPr id="45" name="Rectangle 44">
              <a:extLst>
                <a:ext uri="{FF2B5EF4-FFF2-40B4-BE49-F238E27FC236}">
                  <a16:creationId xmlns:a16="http://schemas.microsoft.com/office/drawing/2014/main" id="{5E47703B-3766-1459-6126-654C9249180E}"/>
                </a:ext>
              </a:extLst>
            </p:cNvPr>
            <p:cNvSpPr/>
            <p:nvPr/>
          </p:nvSpPr>
          <p:spPr>
            <a:xfrm>
              <a:off x="4293144" y="4869930"/>
              <a:ext cx="1286992" cy="772565"/>
            </a:xfrm>
            <a:prstGeom prst="rect">
              <a:avLst/>
            </a:prstGeom>
          </p:spPr>
          <p:txBody>
            <a:bodyPr wrap="none" anchor="b">
              <a:spAutoFit/>
            </a:bodyPr>
            <a:lstStyle/>
            <a:p>
              <a:pPr algn="r"/>
              <a:r>
                <a:rPr lang="en-US" b="1">
                  <a:solidFill>
                    <a:schemeClr val="accent3"/>
                  </a:solidFill>
                </a:rPr>
                <a:t>Who </a:t>
              </a:r>
            </a:p>
          </p:txBody>
        </p:sp>
        <p:sp>
          <p:nvSpPr>
            <p:cNvPr id="46" name="Rectangle 45">
              <a:extLst>
                <a:ext uri="{FF2B5EF4-FFF2-40B4-BE49-F238E27FC236}">
                  <a16:creationId xmlns:a16="http://schemas.microsoft.com/office/drawing/2014/main" id="{83D5D7C5-9287-9C72-0BAC-90475625EDE0}"/>
                </a:ext>
              </a:extLst>
            </p:cNvPr>
            <p:cNvSpPr/>
            <p:nvPr/>
          </p:nvSpPr>
          <p:spPr>
            <a:xfrm>
              <a:off x="6780748" y="4844802"/>
              <a:ext cx="1257488" cy="772565"/>
            </a:xfrm>
            <a:prstGeom prst="rect">
              <a:avLst/>
            </a:prstGeom>
          </p:spPr>
          <p:txBody>
            <a:bodyPr wrap="none" anchor="b">
              <a:spAutoFit/>
            </a:bodyPr>
            <a:lstStyle/>
            <a:p>
              <a:r>
                <a:rPr lang="en-US" b="1">
                  <a:solidFill>
                    <a:schemeClr val="tx2"/>
                  </a:solidFill>
                </a:rPr>
                <a:t>How </a:t>
              </a:r>
            </a:p>
          </p:txBody>
        </p:sp>
      </p:grpSp>
      <p:pic>
        <p:nvPicPr>
          <p:cNvPr id="12" name="Picture 11" descr="Logo, icon&#10;&#10;Description automatically generated">
            <a:extLst>
              <a:ext uri="{FF2B5EF4-FFF2-40B4-BE49-F238E27FC236}">
                <a16:creationId xmlns:a16="http://schemas.microsoft.com/office/drawing/2014/main" id="{00E3E40E-27A4-3C50-F08B-5508D5AB06ED}"/>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32400" y="597726"/>
            <a:ext cx="2333801" cy="485877"/>
          </a:xfrm>
          <a:prstGeom prst="rect">
            <a:avLst/>
          </a:prstGeom>
        </p:spPr>
      </p:pic>
    </p:spTree>
    <p:extLst>
      <p:ext uri="{BB962C8B-B14F-4D97-AF65-F5344CB8AC3E}">
        <p14:creationId xmlns:p14="http://schemas.microsoft.com/office/powerpoint/2010/main" val="145904769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0214171D-B1A9-7F03-1092-085943567140}"/>
              </a:ext>
            </a:extLst>
          </p:cNvPr>
          <p:cNvSpPr/>
          <p:nvPr/>
        </p:nvSpPr>
        <p:spPr>
          <a:xfrm>
            <a:off x="2899771" y="5246256"/>
            <a:ext cx="8203813" cy="113518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72000" rIns="108000" bIns="108000" rtlCol="0" anchor="t" anchorCtr="0">
            <a:noAutofit/>
          </a:bodyPr>
          <a:lstStyle/>
          <a:p>
            <a:pPr indent="0" algn="l">
              <a:lnSpc>
                <a:spcPct val="120000"/>
              </a:lnSpc>
            </a:pPr>
            <a:endParaRPr lang="en-GB" sz="1400" err="1">
              <a:solidFill>
                <a:schemeClr val="bg2"/>
              </a:solidFill>
            </a:endParaRPr>
          </a:p>
        </p:txBody>
      </p:sp>
      <p:sp>
        <p:nvSpPr>
          <p:cNvPr id="15" name="Rectangle 14">
            <a:extLst>
              <a:ext uri="{FF2B5EF4-FFF2-40B4-BE49-F238E27FC236}">
                <a16:creationId xmlns:a16="http://schemas.microsoft.com/office/drawing/2014/main" id="{74ACC62B-8411-0B9F-D929-C1CA48AB07A2}"/>
              </a:ext>
            </a:extLst>
          </p:cNvPr>
          <p:cNvSpPr/>
          <p:nvPr/>
        </p:nvSpPr>
        <p:spPr>
          <a:xfrm>
            <a:off x="3272520" y="4122330"/>
            <a:ext cx="7831064" cy="1135189"/>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72000" rIns="108000" bIns="108000" rtlCol="0" anchor="t" anchorCtr="0">
            <a:noAutofit/>
          </a:bodyPr>
          <a:lstStyle/>
          <a:p>
            <a:pPr indent="0" algn="l">
              <a:lnSpc>
                <a:spcPct val="120000"/>
              </a:lnSpc>
            </a:pPr>
            <a:endParaRPr lang="en-GB" sz="1400" err="1">
              <a:solidFill>
                <a:schemeClr val="bg2"/>
              </a:solidFill>
            </a:endParaRPr>
          </a:p>
        </p:txBody>
      </p:sp>
      <p:sp>
        <p:nvSpPr>
          <p:cNvPr id="14" name="Rectangle 13">
            <a:extLst>
              <a:ext uri="{FF2B5EF4-FFF2-40B4-BE49-F238E27FC236}">
                <a16:creationId xmlns:a16="http://schemas.microsoft.com/office/drawing/2014/main" id="{91228973-CA43-D874-6D1B-B1BDDD9A880F}"/>
              </a:ext>
            </a:extLst>
          </p:cNvPr>
          <p:cNvSpPr/>
          <p:nvPr/>
        </p:nvSpPr>
        <p:spPr>
          <a:xfrm>
            <a:off x="3272520" y="2990495"/>
            <a:ext cx="7831064" cy="1135189"/>
          </a:xfrm>
          <a:prstGeom prst="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72000" rIns="108000" bIns="108000" rtlCol="0" anchor="t" anchorCtr="0">
            <a:noAutofit/>
          </a:bodyPr>
          <a:lstStyle/>
          <a:p>
            <a:pPr indent="0" algn="l">
              <a:lnSpc>
                <a:spcPct val="120000"/>
              </a:lnSpc>
            </a:pPr>
            <a:endParaRPr lang="en-GB" sz="1400" err="1">
              <a:solidFill>
                <a:schemeClr val="bg2"/>
              </a:solidFill>
            </a:endParaRPr>
          </a:p>
        </p:txBody>
      </p:sp>
      <p:sp>
        <p:nvSpPr>
          <p:cNvPr id="3" name="Title 2">
            <a:extLst>
              <a:ext uri="{FF2B5EF4-FFF2-40B4-BE49-F238E27FC236}">
                <a16:creationId xmlns:a16="http://schemas.microsoft.com/office/drawing/2014/main" id="{F596F9F6-04C0-8784-F590-E0CFD7371B52}"/>
              </a:ext>
            </a:extLst>
          </p:cNvPr>
          <p:cNvSpPr>
            <a:spLocks noGrp="1"/>
          </p:cNvSpPr>
          <p:nvPr>
            <p:ph type="title"/>
          </p:nvPr>
        </p:nvSpPr>
        <p:spPr/>
        <p:txBody>
          <a:bodyPr/>
          <a:lstStyle/>
          <a:p>
            <a:r>
              <a:rPr lang="en-GB"/>
              <a:t>Qual Bite thought starters </a:t>
            </a:r>
          </a:p>
        </p:txBody>
      </p:sp>
      <p:sp>
        <p:nvSpPr>
          <p:cNvPr id="5" name="Content Placeholder 4">
            <a:extLst>
              <a:ext uri="{FF2B5EF4-FFF2-40B4-BE49-F238E27FC236}">
                <a16:creationId xmlns:a16="http://schemas.microsoft.com/office/drawing/2014/main" id="{9B7D31BE-F8F9-8F85-76AB-2DA76A5FDACD}"/>
              </a:ext>
            </a:extLst>
          </p:cNvPr>
          <p:cNvSpPr>
            <a:spLocks noGrp="1"/>
          </p:cNvSpPr>
          <p:nvPr>
            <p:ph idx="10"/>
          </p:nvPr>
        </p:nvSpPr>
        <p:spPr>
          <a:xfrm>
            <a:off x="4984215" y="3263051"/>
            <a:ext cx="5824774" cy="697483"/>
          </a:xfrm>
        </p:spPr>
        <p:txBody>
          <a:bodyPr/>
          <a:lstStyle/>
          <a:p>
            <a:pPr marL="0" indent="0">
              <a:buNone/>
            </a:pPr>
            <a:r>
              <a:rPr lang="en-US" sz="1200">
                <a:solidFill>
                  <a:schemeClr val="bg2"/>
                </a:solidFill>
              </a:rPr>
              <a:t>Meet Hellen. Hellen needs some help to understand what sustainability in food products means. Please describe what the first things are that come to mind for you in helping her understand this topic. </a:t>
            </a:r>
          </a:p>
        </p:txBody>
      </p:sp>
      <p:graphicFrame>
        <p:nvGraphicFramePr>
          <p:cNvPr id="9" name="Content Placeholder 5">
            <a:extLst>
              <a:ext uri="{FF2B5EF4-FFF2-40B4-BE49-F238E27FC236}">
                <a16:creationId xmlns:a16="http://schemas.microsoft.com/office/drawing/2014/main" id="{48BF1A17-501E-05F7-6BA9-ABD0FCCA5A5A}"/>
              </a:ext>
            </a:extLst>
          </p:cNvPr>
          <p:cNvGraphicFramePr>
            <a:graphicFrameLocks/>
          </p:cNvGraphicFramePr>
          <p:nvPr/>
        </p:nvGraphicFramePr>
        <p:xfrm>
          <a:off x="831057" y="2990495"/>
          <a:ext cx="4137428" cy="340843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12" name="TextBox 11">
            <a:extLst>
              <a:ext uri="{FF2B5EF4-FFF2-40B4-BE49-F238E27FC236}">
                <a16:creationId xmlns:a16="http://schemas.microsoft.com/office/drawing/2014/main" id="{19921D63-0410-E800-A37A-A1A85D89F7B1}"/>
              </a:ext>
            </a:extLst>
          </p:cNvPr>
          <p:cNvSpPr txBox="1"/>
          <p:nvPr/>
        </p:nvSpPr>
        <p:spPr>
          <a:xfrm>
            <a:off x="406512" y="1195818"/>
            <a:ext cx="11084399" cy="1317325"/>
          </a:xfrm>
          <a:prstGeom prst="rect">
            <a:avLst/>
          </a:prstGeom>
          <a:noFill/>
        </p:spPr>
        <p:txBody>
          <a:bodyPr wrap="square" lIns="108000" tIns="72000" rIns="108000" bIns="108000" rtlCol="0">
            <a:spAutoFit/>
          </a:bodyPr>
          <a:lstStyle/>
          <a:p>
            <a:pPr indent="0" algn="l">
              <a:lnSpc>
                <a:spcPct val="120000"/>
              </a:lnSpc>
              <a:spcAft>
                <a:spcPts val="1000"/>
              </a:spcAft>
            </a:pPr>
            <a:r>
              <a:rPr lang="en-US" sz="1400"/>
              <a:t>Starting with qual bites will help us </a:t>
            </a:r>
            <a:r>
              <a:rPr lang="en-US" sz="1400" b="1"/>
              <a:t>understand </a:t>
            </a:r>
            <a:r>
              <a:rPr lang="en-US" sz="1400"/>
              <a:t>what language consumers use to talk about sustainability and which words they use to make the association to health. </a:t>
            </a:r>
          </a:p>
          <a:p>
            <a:pPr indent="0" algn="l">
              <a:lnSpc>
                <a:spcPct val="120000"/>
              </a:lnSpc>
              <a:spcAft>
                <a:spcPts val="1000"/>
              </a:spcAft>
            </a:pPr>
            <a:r>
              <a:rPr lang="en-US" sz="1400"/>
              <a:t>Learnings from this phase can allow us to </a:t>
            </a:r>
            <a:r>
              <a:rPr lang="en-US" sz="1400" b="1"/>
              <a:t>aid the process in the Claims Lab </a:t>
            </a:r>
            <a:r>
              <a:rPr lang="en-US" sz="1400"/>
              <a:t>when trying to ideate sustainability claims that ladder up to health benefits. </a:t>
            </a:r>
            <a:endParaRPr lang="en-GB" sz="1400"/>
          </a:p>
        </p:txBody>
      </p:sp>
      <p:cxnSp>
        <p:nvCxnSpPr>
          <p:cNvPr id="18" name="Straight Connector 17">
            <a:extLst>
              <a:ext uri="{FF2B5EF4-FFF2-40B4-BE49-F238E27FC236}">
                <a16:creationId xmlns:a16="http://schemas.microsoft.com/office/drawing/2014/main" id="{58199F7D-DE2D-1527-26AC-A0A01D8DED79}"/>
              </a:ext>
            </a:extLst>
          </p:cNvPr>
          <p:cNvCxnSpPr>
            <a:endCxn id="9" idx="2"/>
          </p:cNvCxnSpPr>
          <p:nvPr/>
        </p:nvCxnSpPr>
        <p:spPr>
          <a:xfrm flipH="1">
            <a:off x="2899771" y="2990495"/>
            <a:ext cx="2087248" cy="3408430"/>
          </a:xfrm>
          <a:prstGeom prst="line">
            <a:avLst/>
          </a:prstGeom>
          <a:ln w="57150">
            <a:solidFill>
              <a:schemeClr val="bg1"/>
            </a:solidFill>
          </a:ln>
        </p:spPr>
        <p:style>
          <a:lnRef idx="1">
            <a:schemeClr val="accent1"/>
          </a:lnRef>
          <a:fillRef idx="0">
            <a:schemeClr val="accent1"/>
          </a:fillRef>
          <a:effectRef idx="0">
            <a:schemeClr val="accent1"/>
          </a:effectRef>
          <a:fontRef idx="minor">
            <a:schemeClr val="tx1"/>
          </a:fontRef>
        </p:style>
      </p:cxnSp>
      <p:sp>
        <p:nvSpPr>
          <p:cNvPr id="19" name="Content Placeholder 4">
            <a:extLst>
              <a:ext uri="{FF2B5EF4-FFF2-40B4-BE49-F238E27FC236}">
                <a16:creationId xmlns:a16="http://schemas.microsoft.com/office/drawing/2014/main" id="{46FF4123-EA78-C72C-EC99-E71ACFB3434C}"/>
              </a:ext>
            </a:extLst>
          </p:cNvPr>
          <p:cNvSpPr txBox="1">
            <a:spLocks/>
          </p:cNvSpPr>
          <p:nvPr/>
        </p:nvSpPr>
        <p:spPr>
          <a:xfrm>
            <a:off x="4271201" y="4484695"/>
            <a:ext cx="6537788" cy="707106"/>
          </a:xfrm>
          <a:prstGeom prst="rect">
            <a:avLst/>
          </a:prstGeom>
        </p:spPr>
        <p:txBody>
          <a:bodyPr vert="horz" lIns="0" tIns="0" rIns="0" bIns="0" rtlCol="0">
            <a:noAutofit/>
          </a:bodyPr>
          <a:lstStyle>
            <a:lvl1pPr marL="288000" indent="-288000" algn="l" defTabSz="914400" rtl="0" eaLnBrk="1" latinLnBrk="0" hangingPunct="1">
              <a:lnSpc>
                <a:spcPct val="120000"/>
              </a:lnSpc>
              <a:spcBef>
                <a:spcPts val="0"/>
              </a:spcBef>
              <a:spcAft>
                <a:spcPts val="1000"/>
              </a:spcAft>
              <a:buClr>
                <a:schemeClr val="bg2"/>
              </a:buClr>
              <a:buFont typeface="Courier New" panose="02070309020205020404" pitchFamily="49" charset="0"/>
              <a:buChar char="o"/>
              <a:defRPr sz="1600" kern="1200">
                <a:solidFill>
                  <a:schemeClr val="tx1"/>
                </a:solidFill>
                <a:latin typeface="+mn-lt"/>
                <a:ea typeface="+mn-ea"/>
                <a:cs typeface="+mn-cs"/>
              </a:defRPr>
            </a:lvl1pPr>
            <a:lvl2pPr marL="576000" indent="-288000" algn="l" defTabSz="914400" rtl="0" eaLnBrk="1" latinLnBrk="0" hangingPunct="1">
              <a:lnSpc>
                <a:spcPct val="120000"/>
              </a:lnSpc>
              <a:spcBef>
                <a:spcPts val="0"/>
              </a:spcBef>
              <a:spcAft>
                <a:spcPts val="1000"/>
              </a:spcAft>
              <a:buClr>
                <a:schemeClr val="accent1"/>
              </a:buClr>
              <a:buFont typeface="Wingdings" panose="05000000000000000000" pitchFamily="2" charset="2"/>
              <a:buChar char="§"/>
              <a:defRPr sz="1400" kern="1200">
                <a:solidFill>
                  <a:schemeClr val="tx1"/>
                </a:solidFill>
                <a:latin typeface="+mn-lt"/>
                <a:ea typeface="+mn-ea"/>
                <a:cs typeface="+mn-cs"/>
              </a:defRPr>
            </a:lvl2pPr>
            <a:lvl3pPr marL="864000" indent="-288000" algn="l" defTabSz="914400" rtl="0" eaLnBrk="1" latinLnBrk="0" hangingPunct="1">
              <a:lnSpc>
                <a:spcPct val="120000"/>
              </a:lnSpc>
              <a:spcBef>
                <a:spcPts val="0"/>
              </a:spcBef>
              <a:spcAft>
                <a:spcPts val="1000"/>
              </a:spcAft>
              <a:buClr>
                <a:schemeClr val="accent1"/>
              </a:buClr>
              <a:buFont typeface="Wingdings" panose="05000000000000000000" pitchFamily="2" charset="2"/>
              <a:buChar char="§"/>
              <a:defRPr sz="1200" kern="1200">
                <a:solidFill>
                  <a:schemeClr val="tx1"/>
                </a:solidFill>
                <a:latin typeface="+mn-lt"/>
                <a:ea typeface="+mn-ea"/>
                <a:cs typeface="+mn-cs"/>
              </a:defRPr>
            </a:lvl3pPr>
            <a:lvl4pPr marL="1152000" indent="-288000" algn="l" defTabSz="914400" rtl="0" eaLnBrk="1" latinLnBrk="0" hangingPunct="1">
              <a:lnSpc>
                <a:spcPct val="120000"/>
              </a:lnSpc>
              <a:spcBef>
                <a:spcPts val="0"/>
              </a:spcBef>
              <a:spcAft>
                <a:spcPts val="1000"/>
              </a:spcAft>
              <a:buClr>
                <a:schemeClr val="accent1"/>
              </a:buClr>
              <a:buSzPct val="100000"/>
              <a:buFont typeface="Wingdings" panose="05000000000000000000" pitchFamily="2" charset="2"/>
              <a:buChar char="§"/>
              <a:defRPr sz="1200" kern="1200">
                <a:solidFill>
                  <a:schemeClr val="tx1"/>
                </a:solidFill>
                <a:latin typeface="+mn-lt"/>
                <a:ea typeface="+mn-ea"/>
                <a:cs typeface="+mn-cs"/>
              </a:defRPr>
            </a:lvl4pPr>
            <a:lvl5pPr marL="1152000" indent="-288000" algn="l" defTabSz="914400" rtl="0" eaLnBrk="1" latinLnBrk="0" hangingPunct="1">
              <a:lnSpc>
                <a:spcPct val="120000"/>
              </a:lnSpc>
              <a:spcBef>
                <a:spcPts val="0"/>
              </a:spcBef>
              <a:spcAft>
                <a:spcPts val="1000"/>
              </a:spcAft>
              <a:buClr>
                <a:schemeClr val="bg2"/>
              </a:buClr>
              <a:buFont typeface="Wingdings" panose="05000000000000000000" pitchFamily="2" charset="2"/>
              <a:buChar char="§"/>
              <a:defRPr sz="1200" kern="1200">
                <a:solidFill>
                  <a:schemeClr val="tx1"/>
                </a:solidFill>
                <a:latin typeface="+mn-lt"/>
                <a:ea typeface="+mn-ea"/>
                <a:cs typeface="+mn-cs"/>
              </a:defRPr>
            </a:lvl5pPr>
            <a:lvl6pPr marL="1152000" indent="-288000" algn="l" defTabSz="914400" rtl="0" eaLnBrk="1" latinLnBrk="0" hangingPunct="1">
              <a:lnSpc>
                <a:spcPct val="120000"/>
              </a:lnSpc>
              <a:spcBef>
                <a:spcPts val="0"/>
              </a:spcBef>
              <a:spcAft>
                <a:spcPts val="1000"/>
              </a:spcAft>
              <a:buClr>
                <a:schemeClr val="bg2"/>
              </a:buClr>
              <a:buFont typeface="Wingdings" panose="05000000000000000000" pitchFamily="2" charset="2"/>
              <a:buChar char="§"/>
              <a:defRPr sz="1200" kern="1200">
                <a:solidFill>
                  <a:schemeClr val="tx1"/>
                </a:solidFill>
                <a:latin typeface="+mn-lt"/>
                <a:ea typeface="+mn-ea"/>
                <a:cs typeface="+mn-cs"/>
              </a:defRPr>
            </a:lvl6pPr>
            <a:lvl7pPr marL="1152000" indent="-288000" algn="l" defTabSz="914400" rtl="0" eaLnBrk="1" latinLnBrk="0" hangingPunct="1">
              <a:lnSpc>
                <a:spcPct val="120000"/>
              </a:lnSpc>
              <a:spcBef>
                <a:spcPts val="0"/>
              </a:spcBef>
              <a:spcAft>
                <a:spcPts val="1000"/>
              </a:spcAft>
              <a:buClr>
                <a:schemeClr val="bg2"/>
              </a:buClr>
              <a:buFont typeface="Wingdings" panose="05000000000000000000" pitchFamily="2" charset="2"/>
              <a:buChar char="§"/>
              <a:defRPr sz="1200" kern="1200">
                <a:solidFill>
                  <a:schemeClr val="tx1"/>
                </a:solidFill>
                <a:latin typeface="+mn-lt"/>
                <a:ea typeface="+mn-ea"/>
                <a:cs typeface="+mn-cs"/>
              </a:defRPr>
            </a:lvl7pPr>
            <a:lvl8pPr marL="1152000" indent="-288000" algn="l" defTabSz="914400" rtl="0" eaLnBrk="1" latinLnBrk="0" hangingPunct="1">
              <a:lnSpc>
                <a:spcPct val="120000"/>
              </a:lnSpc>
              <a:spcBef>
                <a:spcPts val="0"/>
              </a:spcBef>
              <a:spcAft>
                <a:spcPts val="1000"/>
              </a:spcAft>
              <a:buClr>
                <a:schemeClr val="bg2"/>
              </a:buClr>
              <a:buFont typeface="Wingdings" panose="05000000000000000000" pitchFamily="2" charset="2"/>
              <a:buChar char="§"/>
              <a:defRPr sz="1200" kern="1200">
                <a:solidFill>
                  <a:schemeClr val="tx1"/>
                </a:solidFill>
                <a:latin typeface="+mn-lt"/>
                <a:ea typeface="+mn-ea"/>
                <a:cs typeface="+mn-cs"/>
              </a:defRPr>
            </a:lvl8pPr>
            <a:lvl9pPr marL="1152000" indent="-288000" algn="l" defTabSz="914400" rtl="0" eaLnBrk="1" latinLnBrk="0" hangingPunct="1">
              <a:lnSpc>
                <a:spcPct val="120000"/>
              </a:lnSpc>
              <a:spcBef>
                <a:spcPts val="0"/>
              </a:spcBef>
              <a:spcAft>
                <a:spcPts val="1000"/>
              </a:spcAft>
              <a:buClr>
                <a:schemeClr val="bg2"/>
              </a:buClr>
              <a:buFont typeface="Wingdings" panose="05000000000000000000" pitchFamily="2" charset="2"/>
              <a:buChar char="§"/>
              <a:defRPr sz="1200" kern="1200">
                <a:solidFill>
                  <a:schemeClr val="tx1"/>
                </a:solidFill>
                <a:latin typeface="+mn-lt"/>
                <a:ea typeface="+mn-ea"/>
                <a:cs typeface="+mn-cs"/>
              </a:defRPr>
            </a:lvl9pPr>
          </a:lstStyle>
          <a:p>
            <a:pPr marL="0" indent="0">
              <a:buNone/>
            </a:pPr>
            <a:r>
              <a:rPr lang="en-US" sz="1200">
                <a:solidFill>
                  <a:schemeClr val="bg2"/>
                </a:solidFill>
              </a:rPr>
              <a:t>Which words would you use to help Hellen understand the benefit of sustainability on her (and her family’s) health?</a:t>
            </a:r>
          </a:p>
        </p:txBody>
      </p:sp>
      <p:sp>
        <p:nvSpPr>
          <p:cNvPr id="20" name="Content Placeholder 4">
            <a:extLst>
              <a:ext uri="{FF2B5EF4-FFF2-40B4-BE49-F238E27FC236}">
                <a16:creationId xmlns:a16="http://schemas.microsoft.com/office/drawing/2014/main" id="{3C43686C-134D-1883-C401-2067BBE21A34}"/>
              </a:ext>
            </a:extLst>
          </p:cNvPr>
          <p:cNvSpPr txBox="1">
            <a:spLocks/>
          </p:cNvSpPr>
          <p:nvPr/>
        </p:nvSpPr>
        <p:spPr>
          <a:xfrm>
            <a:off x="3583110" y="5419314"/>
            <a:ext cx="7520474" cy="908435"/>
          </a:xfrm>
          <a:prstGeom prst="rect">
            <a:avLst/>
          </a:prstGeom>
        </p:spPr>
        <p:txBody>
          <a:bodyPr vert="horz" lIns="0" tIns="0" rIns="0" bIns="0" rtlCol="0">
            <a:noAutofit/>
          </a:bodyPr>
          <a:lstStyle>
            <a:lvl1pPr marL="288000" indent="-288000" algn="l" defTabSz="914400" rtl="0" eaLnBrk="1" latinLnBrk="0" hangingPunct="1">
              <a:lnSpc>
                <a:spcPct val="120000"/>
              </a:lnSpc>
              <a:spcBef>
                <a:spcPts val="0"/>
              </a:spcBef>
              <a:spcAft>
                <a:spcPts val="1000"/>
              </a:spcAft>
              <a:buClr>
                <a:schemeClr val="bg2"/>
              </a:buClr>
              <a:buFont typeface="Courier New" panose="02070309020205020404" pitchFamily="49" charset="0"/>
              <a:buChar char="o"/>
              <a:defRPr sz="1600" kern="1200">
                <a:solidFill>
                  <a:schemeClr val="tx1"/>
                </a:solidFill>
                <a:latin typeface="+mn-lt"/>
                <a:ea typeface="+mn-ea"/>
                <a:cs typeface="+mn-cs"/>
              </a:defRPr>
            </a:lvl1pPr>
            <a:lvl2pPr marL="576000" indent="-288000" algn="l" defTabSz="914400" rtl="0" eaLnBrk="1" latinLnBrk="0" hangingPunct="1">
              <a:lnSpc>
                <a:spcPct val="120000"/>
              </a:lnSpc>
              <a:spcBef>
                <a:spcPts val="0"/>
              </a:spcBef>
              <a:spcAft>
                <a:spcPts val="1000"/>
              </a:spcAft>
              <a:buClr>
                <a:schemeClr val="accent1"/>
              </a:buClr>
              <a:buFont typeface="Wingdings" panose="05000000000000000000" pitchFamily="2" charset="2"/>
              <a:buChar char="§"/>
              <a:defRPr sz="1400" kern="1200">
                <a:solidFill>
                  <a:schemeClr val="tx1"/>
                </a:solidFill>
                <a:latin typeface="+mn-lt"/>
                <a:ea typeface="+mn-ea"/>
                <a:cs typeface="+mn-cs"/>
              </a:defRPr>
            </a:lvl2pPr>
            <a:lvl3pPr marL="864000" indent="-288000" algn="l" defTabSz="914400" rtl="0" eaLnBrk="1" latinLnBrk="0" hangingPunct="1">
              <a:lnSpc>
                <a:spcPct val="120000"/>
              </a:lnSpc>
              <a:spcBef>
                <a:spcPts val="0"/>
              </a:spcBef>
              <a:spcAft>
                <a:spcPts val="1000"/>
              </a:spcAft>
              <a:buClr>
                <a:schemeClr val="accent1"/>
              </a:buClr>
              <a:buFont typeface="Wingdings" panose="05000000000000000000" pitchFamily="2" charset="2"/>
              <a:buChar char="§"/>
              <a:defRPr sz="1200" kern="1200">
                <a:solidFill>
                  <a:schemeClr val="tx1"/>
                </a:solidFill>
                <a:latin typeface="+mn-lt"/>
                <a:ea typeface="+mn-ea"/>
                <a:cs typeface="+mn-cs"/>
              </a:defRPr>
            </a:lvl3pPr>
            <a:lvl4pPr marL="1152000" indent="-288000" algn="l" defTabSz="914400" rtl="0" eaLnBrk="1" latinLnBrk="0" hangingPunct="1">
              <a:lnSpc>
                <a:spcPct val="120000"/>
              </a:lnSpc>
              <a:spcBef>
                <a:spcPts val="0"/>
              </a:spcBef>
              <a:spcAft>
                <a:spcPts val="1000"/>
              </a:spcAft>
              <a:buClr>
                <a:schemeClr val="accent1"/>
              </a:buClr>
              <a:buSzPct val="100000"/>
              <a:buFont typeface="Wingdings" panose="05000000000000000000" pitchFamily="2" charset="2"/>
              <a:buChar char="§"/>
              <a:defRPr sz="1200" kern="1200">
                <a:solidFill>
                  <a:schemeClr val="tx1"/>
                </a:solidFill>
                <a:latin typeface="+mn-lt"/>
                <a:ea typeface="+mn-ea"/>
                <a:cs typeface="+mn-cs"/>
              </a:defRPr>
            </a:lvl4pPr>
            <a:lvl5pPr marL="1152000" indent="-288000" algn="l" defTabSz="914400" rtl="0" eaLnBrk="1" latinLnBrk="0" hangingPunct="1">
              <a:lnSpc>
                <a:spcPct val="120000"/>
              </a:lnSpc>
              <a:spcBef>
                <a:spcPts val="0"/>
              </a:spcBef>
              <a:spcAft>
                <a:spcPts val="1000"/>
              </a:spcAft>
              <a:buClr>
                <a:schemeClr val="bg2"/>
              </a:buClr>
              <a:buFont typeface="Wingdings" panose="05000000000000000000" pitchFamily="2" charset="2"/>
              <a:buChar char="§"/>
              <a:defRPr sz="1200" kern="1200">
                <a:solidFill>
                  <a:schemeClr val="tx1"/>
                </a:solidFill>
                <a:latin typeface="+mn-lt"/>
                <a:ea typeface="+mn-ea"/>
                <a:cs typeface="+mn-cs"/>
              </a:defRPr>
            </a:lvl5pPr>
            <a:lvl6pPr marL="1152000" indent="-288000" algn="l" defTabSz="914400" rtl="0" eaLnBrk="1" latinLnBrk="0" hangingPunct="1">
              <a:lnSpc>
                <a:spcPct val="120000"/>
              </a:lnSpc>
              <a:spcBef>
                <a:spcPts val="0"/>
              </a:spcBef>
              <a:spcAft>
                <a:spcPts val="1000"/>
              </a:spcAft>
              <a:buClr>
                <a:schemeClr val="bg2"/>
              </a:buClr>
              <a:buFont typeface="Wingdings" panose="05000000000000000000" pitchFamily="2" charset="2"/>
              <a:buChar char="§"/>
              <a:defRPr sz="1200" kern="1200">
                <a:solidFill>
                  <a:schemeClr val="tx1"/>
                </a:solidFill>
                <a:latin typeface="+mn-lt"/>
                <a:ea typeface="+mn-ea"/>
                <a:cs typeface="+mn-cs"/>
              </a:defRPr>
            </a:lvl6pPr>
            <a:lvl7pPr marL="1152000" indent="-288000" algn="l" defTabSz="914400" rtl="0" eaLnBrk="1" latinLnBrk="0" hangingPunct="1">
              <a:lnSpc>
                <a:spcPct val="120000"/>
              </a:lnSpc>
              <a:spcBef>
                <a:spcPts val="0"/>
              </a:spcBef>
              <a:spcAft>
                <a:spcPts val="1000"/>
              </a:spcAft>
              <a:buClr>
                <a:schemeClr val="bg2"/>
              </a:buClr>
              <a:buFont typeface="Wingdings" panose="05000000000000000000" pitchFamily="2" charset="2"/>
              <a:buChar char="§"/>
              <a:defRPr sz="1200" kern="1200">
                <a:solidFill>
                  <a:schemeClr val="tx1"/>
                </a:solidFill>
                <a:latin typeface="+mn-lt"/>
                <a:ea typeface="+mn-ea"/>
                <a:cs typeface="+mn-cs"/>
              </a:defRPr>
            </a:lvl7pPr>
            <a:lvl8pPr marL="1152000" indent="-288000" algn="l" defTabSz="914400" rtl="0" eaLnBrk="1" latinLnBrk="0" hangingPunct="1">
              <a:lnSpc>
                <a:spcPct val="120000"/>
              </a:lnSpc>
              <a:spcBef>
                <a:spcPts val="0"/>
              </a:spcBef>
              <a:spcAft>
                <a:spcPts val="1000"/>
              </a:spcAft>
              <a:buClr>
                <a:schemeClr val="bg2"/>
              </a:buClr>
              <a:buFont typeface="Wingdings" panose="05000000000000000000" pitchFamily="2" charset="2"/>
              <a:buChar char="§"/>
              <a:defRPr sz="1200" kern="1200">
                <a:solidFill>
                  <a:schemeClr val="tx1"/>
                </a:solidFill>
                <a:latin typeface="+mn-lt"/>
                <a:ea typeface="+mn-ea"/>
                <a:cs typeface="+mn-cs"/>
              </a:defRPr>
            </a:lvl8pPr>
            <a:lvl9pPr marL="1152000" indent="-288000" algn="l" defTabSz="914400" rtl="0" eaLnBrk="1" latinLnBrk="0" hangingPunct="1">
              <a:lnSpc>
                <a:spcPct val="120000"/>
              </a:lnSpc>
              <a:spcBef>
                <a:spcPts val="0"/>
              </a:spcBef>
              <a:spcAft>
                <a:spcPts val="1000"/>
              </a:spcAft>
              <a:buClr>
                <a:schemeClr val="bg2"/>
              </a:buClr>
              <a:buFont typeface="Wingdings" panose="05000000000000000000" pitchFamily="2" charset="2"/>
              <a:buChar char="§"/>
              <a:defRPr sz="1200" kern="1200">
                <a:solidFill>
                  <a:schemeClr val="tx1"/>
                </a:solidFill>
                <a:latin typeface="+mn-lt"/>
                <a:ea typeface="+mn-ea"/>
                <a:cs typeface="+mn-cs"/>
              </a:defRPr>
            </a:lvl9pPr>
          </a:lstStyle>
          <a:p>
            <a:pPr marL="0" indent="0">
              <a:buNone/>
            </a:pPr>
            <a:r>
              <a:rPr lang="en-US" sz="1200">
                <a:solidFill>
                  <a:schemeClr val="bg1"/>
                </a:solidFill>
              </a:rPr>
              <a:t>Hellen read somewhere about regenerative agriculture. However, she is not entirely sure what the benefits of regenerative agriculture are. Tell us which benefits you think are important coming from regenerative agriculture? Can you also link this to health?</a:t>
            </a:r>
          </a:p>
        </p:txBody>
      </p:sp>
      <p:pic>
        <p:nvPicPr>
          <p:cNvPr id="6" name="Picture 5" descr="Logo&#10;&#10;Description automatically generated">
            <a:extLst>
              <a:ext uri="{FF2B5EF4-FFF2-40B4-BE49-F238E27FC236}">
                <a16:creationId xmlns:a16="http://schemas.microsoft.com/office/drawing/2014/main" id="{255BEB2B-837E-AFF2-D867-9C8D38EB3CC4}"/>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5230981" y="340848"/>
            <a:ext cx="752189" cy="523756"/>
          </a:xfrm>
          <a:prstGeom prst="rect">
            <a:avLst/>
          </a:prstGeom>
        </p:spPr>
      </p:pic>
      <p:sp>
        <p:nvSpPr>
          <p:cNvPr id="7" name="TextBox 6">
            <a:extLst>
              <a:ext uri="{FF2B5EF4-FFF2-40B4-BE49-F238E27FC236}">
                <a16:creationId xmlns:a16="http://schemas.microsoft.com/office/drawing/2014/main" id="{632525D4-880A-B890-A7E0-A161EF068315}"/>
              </a:ext>
            </a:extLst>
          </p:cNvPr>
          <p:cNvSpPr txBox="1"/>
          <p:nvPr/>
        </p:nvSpPr>
        <p:spPr>
          <a:xfrm>
            <a:off x="3861550" y="6435900"/>
            <a:ext cx="5248333" cy="380402"/>
          </a:xfrm>
          <a:prstGeom prst="rect">
            <a:avLst/>
          </a:prstGeom>
          <a:noFill/>
        </p:spPr>
        <p:txBody>
          <a:bodyPr wrap="none" lIns="108000" tIns="72000" rIns="108000" bIns="108000" rtlCol="0">
            <a:spAutoFit/>
          </a:bodyPr>
          <a:lstStyle/>
          <a:p>
            <a:pPr indent="0" algn="l">
              <a:lnSpc>
                <a:spcPct val="120000"/>
              </a:lnSpc>
              <a:spcAft>
                <a:spcPts val="1000"/>
              </a:spcAft>
            </a:pPr>
            <a:r>
              <a:rPr lang="en-US" sz="1200">
                <a:solidFill>
                  <a:schemeClr val="accent1"/>
                </a:solidFill>
              </a:rPr>
              <a:t>NOTE: These questions serve as an example and can/will be adjusted. </a:t>
            </a:r>
          </a:p>
        </p:txBody>
      </p:sp>
      <p:sp>
        <p:nvSpPr>
          <p:cNvPr id="2" name="Content Placeholder 4">
            <a:extLst>
              <a:ext uri="{FF2B5EF4-FFF2-40B4-BE49-F238E27FC236}">
                <a16:creationId xmlns:a16="http://schemas.microsoft.com/office/drawing/2014/main" id="{CD1FC070-F117-3C87-B68F-8AB0EE2E5A65}"/>
              </a:ext>
            </a:extLst>
          </p:cNvPr>
          <p:cNvSpPr txBox="1">
            <a:spLocks/>
          </p:cNvSpPr>
          <p:nvPr/>
        </p:nvSpPr>
        <p:spPr>
          <a:xfrm>
            <a:off x="4953123" y="235480"/>
            <a:ext cx="6537788" cy="523756"/>
          </a:xfrm>
          <a:prstGeom prst="rect">
            <a:avLst/>
          </a:prstGeom>
        </p:spPr>
        <p:txBody>
          <a:bodyPr vert="horz" lIns="0" tIns="0" rIns="0" bIns="0" rtlCol="0">
            <a:noAutofit/>
          </a:bodyPr>
          <a:lstStyle>
            <a:lvl1pPr marL="288000" indent="-288000" algn="l" defTabSz="914400" rtl="0" eaLnBrk="1" latinLnBrk="0" hangingPunct="1">
              <a:lnSpc>
                <a:spcPct val="120000"/>
              </a:lnSpc>
              <a:spcBef>
                <a:spcPts val="0"/>
              </a:spcBef>
              <a:spcAft>
                <a:spcPts val="1000"/>
              </a:spcAft>
              <a:buClr>
                <a:schemeClr val="bg2"/>
              </a:buClr>
              <a:buFont typeface="Courier New" panose="02070309020205020404" pitchFamily="49" charset="0"/>
              <a:buChar char="o"/>
              <a:defRPr sz="1600" kern="1200">
                <a:solidFill>
                  <a:schemeClr val="tx1"/>
                </a:solidFill>
                <a:latin typeface="+mn-lt"/>
                <a:ea typeface="+mn-ea"/>
                <a:cs typeface="+mn-cs"/>
              </a:defRPr>
            </a:lvl1pPr>
            <a:lvl2pPr marL="576000" indent="-288000" algn="l" defTabSz="914400" rtl="0" eaLnBrk="1" latinLnBrk="0" hangingPunct="1">
              <a:lnSpc>
                <a:spcPct val="120000"/>
              </a:lnSpc>
              <a:spcBef>
                <a:spcPts val="0"/>
              </a:spcBef>
              <a:spcAft>
                <a:spcPts val="1000"/>
              </a:spcAft>
              <a:buClr>
                <a:schemeClr val="accent1"/>
              </a:buClr>
              <a:buFont typeface="Wingdings" panose="05000000000000000000" pitchFamily="2" charset="2"/>
              <a:buChar char="§"/>
              <a:defRPr sz="1400" kern="1200">
                <a:solidFill>
                  <a:schemeClr val="tx1"/>
                </a:solidFill>
                <a:latin typeface="+mn-lt"/>
                <a:ea typeface="+mn-ea"/>
                <a:cs typeface="+mn-cs"/>
              </a:defRPr>
            </a:lvl2pPr>
            <a:lvl3pPr marL="864000" indent="-288000" algn="l" defTabSz="914400" rtl="0" eaLnBrk="1" latinLnBrk="0" hangingPunct="1">
              <a:lnSpc>
                <a:spcPct val="120000"/>
              </a:lnSpc>
              <a:spcBef>
                <a:spcPts val="0"/>
              </a:spcBef>
              <a:spcAft>
                <a:spcPts val="1000"/>
              </a:spcAft>
              <a:buClr>
                <a:schemeClr val="accent1"/>
              </a:buClr>
              <a:buFont typeface="Wingdings" panose="05000000000000000000" pitchFamily="2" charset="2"/>
              <a:buChar char="§"/>
              <a:defRPr sz="1200" kern="1200">
                <a:solidFill>
                  <a:schemeClr val="tx1"/>
                </a:solidFill>
                <a:latin typeface="+mn-lt"/>
                <a:ea typeface="+mn-ea"/>
                <a:cs typeface="+mn-cs"/>
              </a:defRPr>
            </a:lvl3pPr>
            <a:lvl4pPr marL="1152000" indent="-288000" algn="l" defTabSz="914400" rtl="0" eaLnBrk="1" latinLnBrk="0" hangingPunct="1">
              <a:lnSpc>
                <a:spcPct val="120000"/>
              </a:lnSpc>
              <a:spcBef>
                <a:spcPts val="0"/>
              </a:spcBef>
              <a:spcAft>
                <a:spcPts val="1000"/>
              </a:spcAft>
              <a:buClr>
                <a:schemeClr val="accent1"/>
              </a:buClr>
              <a:buSzPct val="100000"/>
              <a:buFont typeface="Wingdings" panose="05000000000000000000" pitchFamily="2" charset="2"/>
              <a:buChar char="§"/>
              <a:defRPr sz="1200" kern="1200">
                <a:solidFill>
                  <a:schemeClr val="tx1"/>
                </a:solidFill>
                <a:latin typeface="+mn-lt"/>
                <a:ea typeface="+mn-ea"/>
                <a:cs typeface="+mn-cs"/>
              </a:defRPr>
            </a:lvl4pPr>
            <a:lvl5pPr marL="1152000" indent="-288000" algn="l" defTabSz="914400" rtl="0" eaLnBrk="1" latinLnBrk="0" hangingPunct="1">
              <a:lnSpc>
                <a:spcPct val="120000"/>
              </a:lnSpc>
              <a:spcBef>
                <a:spcPts val="0"/>
              </a:spcBef>
              <a:spcAft>
                <a:spcPts val="1000"/>
              </a:spcAft>
              <a:buClr>
                <a:schemeClr val="bg2"/>
              </a:buClr>
              <a:buFont typeface="Wingdings" panose="05000000000000000000" pitchFamily="2" charset="2"/>
              <a:buChar char="§"/>
              <a:defRPr sz="1200" kern="1200">
                <a:solidFill>
                  <a:schemeClr val="tx1"/>
                </a:solidFill>
                <a:latin typeface="+mn-lt"/>
                <a:ea typeface="+mn-ea"/>
                <a:cs typeface="+mn-cs"/>
              </a:defRPr>
            </a:lvl5pPr>
            <a:lvl6pPr marL="1152000" indent="-288000" algn="l" defTabSz="914400" rtl="0" eaLnBrk="1" latinLnBrk="0" hangingPunct="1">
              <a:lnSpc>
                <a:spcPct val="120000"/>
              </a:lnSpc>
              <a:spcBef>
                <a:spcPts val="0"/>
              </a:spcBef>
              <a:spcAft>
                <a:spcPts val="1000"/>
              </a:spcAft>
              <a:buClr>
                <a:schemeClr val="bg2"/>
              </a:buClr>
              <a:buFont typeface="Wingdings" panose="05000000000000000000" pitchFamily="2" charset="2"/>
              <a:buChar char="§"/>
              <a:defRPr sz="1200" kern="1200">
                <a:solidFill>
                  <a:schemeClr val="tx1"/>
                </a:solidFill>
                <a:latin typeface="+mn-lt"/>
                <a:ea typeface="+mn-ea"/>
                <a:cs typeface="+mn-cs"/>
              </a:defRPr>
            </a:lvl6pPr>
            <a:lvl7pPr marL="1152000" indent="-288000" algn="l" defTabSz="914400" rtl="0" eaLnBrk="1" latinLnBrk="0" hangingPunct="1">
              <a:lnSpc>
                <a:spcPct val="120000"/>
              </a:lnSpc>
              <a:spcBef>
                <a:spcPts val="0"/>
              </a:spcBef>
              <a:spcAft>
                <a:spcPts val="1000"/>
              </a:spcAft>
              <a:buClr>
                <a:schemeClr val="bg2"/>
              </a:buClr>
              <a:buFont typeface="Wingdings" panose="05000000000000000000" pitchFamily="2" charset="2"/>
              <a:buChar char="§"/>
              <a:defRPr sz="1200" kern="1200">
                <a:solidFill>
                  <a:schemeClr val="tx1"/>
                </a:solidFill>
                <a:latin typeface="+mn-lt"/>
                <a:ea typeface="+mn-ea"/>
                <a:cs typeface="+mn-cs"/>
              </a:defRPr>
            </a:lvl7pPr>
            <a:lvl8pPr marL="1152000" indent="-288000" algn="l" defTabSz="914400" rtl="0" eaLnBrk="1" latinLnBrk="0" hangingPunct="1">
              <a:lnSpc>
                <a:spcPct val="120000"/>
              </a:lnSpc>
              <a:spcBef>
                <a:spcPts val="0"/>
              </a:spcBef>
              <a:spcAft>
                <a:spcPts val="1000"/>
              </a:spcAft>
              <a:buClr>
                <a:schemeClr val="bg2"/>
              </a:buClr>
              <a:buFont typeface="Wingdings" panose="05000000000000000000" pitchFamily="2" charset="2"/>
              <a:buChar char="§"/>
              <a:defRPr sz="1200" kern="1200">
                <a:solidFill>
                  <a:schemeClr val="tx1"/>
                </a:solidFill>
                <a:latin typeface="+mn-lt"/>
                <a:ea typeface="+mn-ea"/>
                <a:cs typeface="+mn-cs"/>
              </a:defRPr>
            </a:lvl8pPr>
            <a:lvl9pPr marL="1152000" indent="-288000" algn="l" defTabSz="914400" rtl="0" eaLnBrk="1" latinLnBrk="0" hangingPunct="1">
              <a:lnSpc>
                <a:spcPct val="120000"/>
              </a:lnSpc>
              <a:spcBef>
                <a:spcPts val="0"/>
              </a:spcBef>
              <a:spcAft>
                <a:spcPts val="1000"/>
              </a:spcAft>
              <a:buClr>
                <a:schemeClr val="bg2"/>
              </a:buClr>
              <a:buFont typeface="Wingdings" panose="05000000000000000000" pitchFamily="2" charset="2"/>
              <a:buChar char="§"/>
              <a:defRPr sz="1200" kern="1200">
                <a:solidFill>
                  <a:schemeClr val="tx1"/>
                </a:solidFill>
                <a:latin typeface="+mn-lt"/>
                <a:ea typeface="+mn-ea"/>
                <a:cs typeface="+mn-cs"/>
              </a:defRPr>
            </a:lvl9pPr>
          </a:lstStyle>
          <a:p>
            <a:pPr marL="0" indent="0">
              <a:buFont typeface="Courier New" panose="02070309020205020404" pitchFamily="49" charset="0"/>
              <a:buNone/>
            </a:pPr>
            <a:endParaRPr lang="en-GB" sz="1400">
              <a:solidFill>
                <a:schemeClr val="bg2"/>
              </a:solidFill>
            </a:endParaRPr>
          </a:p>
        </p:txBody>
      </p:sp>
    </p:spTree>
    <p:extLst>
      <p:ext uri="{BB962C8B-B14F-4D97-AF65-F5344CB8AC3E}">
        <p14:creationId xmlns:p14="http://schemas.microsoft.com/office/powerpoint/2010/main" val="210057186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ECEDE052-5183-63DF-10C4-E226B11D4A8E}"/>
              </a:ext>
            </a:extLst>
          </p:cNvPr>
          <p:cNvSpPr>
            <a:spLocks noGrp="1"/>
          </p:cNvSpPr>
          <p:nvPr>
            <p:ph type="title"/>
          </p:nvPr>
        </p:nvSpPr>
        <p:spPr>
          <a:xfrm>
            <a:off x="2683378" y="728573"/>
            <a:ext cx="3312546" cy="509450"/>
          </a:xfrm>
        </p:spPr>
        <p:txBody>
          <a:bodyPr/>
          <a:lstStyle/>
          <a:p>
            <a:r>
              <a:rPr lang="en-GB"/>
              <a:t>output examples</a:t>
            </a:r>
          </a:p>
        </p:txBody>
      </p:sp>
      <p:pic>
        <p:nvPicPr>
          <p:cNvPr id="18" name="Picture 17">
            <a:extLst>
              <a:ext uri="{FF2B5EF4-FFF2-40B4-BE49-F238E27FC236}">
                <a16:creationId xmlns:a16="http://schemas.microsoft.com/office/drawing/2014/main" id="{5C32B41D-F09A-B8BA-1C58-49BE329F409F}"/>
              </a:ext>
            </a:extLst>
          </p:cNvPr>
          <p:cNvPicPr>
            <a:picLocks noChangeAspect="1"/>
          </p:cNvPicPr>
          <p:nvPr/>
        </p:nvPicPr>
        <p:blipFill>
          <a:blip r:embed="rId2"/>
          <a:stretch>
            <a:fillRect/>
          </a:stretch>
        </p:blipFill>
        <p:spPr>
          <a:xfrm>
            <a:off x="9108585" y="3115544"/>
            <a:ext cx="2608174" cy="1317326"/>
          </a:xfrm>
          <a:prstGeom prst="rect">
            <a:avLst/>
          </a:prstGeom>
        </p:spPr>
      </p:pic>
      <p:sp>
        <p:nvSpPr>
          <p:cNvPr id="20" name="TextBox 19">
            <a:extLst>
              <a:ext uri="{FF2B5EF4-FFF2-40B4-BE49-F238E27FC236}">
                <a16:creationId xmlns:a16="http://schemas.microsoft.com/office/drawing/2014/main" id="{B3FE4F03-6E59-C888-8A15-FBB78F290071}"/>
              </a:ext>
            </a:extLst>
          </p:cNvPr>
          <p:cNvSpPr txBox="1"/>
          <p:nvPr/>
        </p:nvSpPr>
        <p:spPr>
          <a:xfrm>
            <a:off x="398040" y="1444399"/>
            <a:ext cx="5185559" cy="2014183"/>
          </a:xfrm>
          <a:prstGeom prst="rect">
            <a:avLst/>
          </a:prstGeom>
          <a:noFill/>
        </p:spPr>
        <p:txBody>
          <a:bodyPr wrap="square" lIns="108000" tIns="72000" rIns="108000" bIns="108000" rtlCol="0">
            <a:spAutoFit/>
          </a:bodyPr>
          <a:lstStyle/>
          <a:p>
            <a:pPr marL="285750" indent="-285750" algn="l">
              <a:lnSpc>
                <a:spcPct val="120000"/>
              </a:lnSpc>
              <a:spcAft>
                <a:spcPts val="1000"/>
              </a:spcAft>
              <a:buFont typeface="Arial" panose="020B0604020202020204" pitchFamily="34" charset="0"/>
              <a:buChar char="•"/>
            </a:pPr>
            <a:r>
              <a:rPr lang="en-GB">
                <a:solidFill>
                  <a:schemeClr val="accent1"/>
                </a:solidFill>
              </a:rPr>
              <a:t>Consumer generated </a:t>
            </a:r>
            <a:r>
              <a:rPr lang="en-GB" b="1">
                <a:solidFill>
                  <a:schemeClr val="accent1"/>
                </a:solidFill>
              </a:rPr>
              <a:t>functional and emotional themes </a:t>
            </a:r>
          </a:p>
          <a:p>
            <a:pPr marL="285750" indent="-285750" algn="l">
              <a:lnSpc>
                <a:spcPct val="120000"/>
              </a:lnSpc>
              <a:spcAft>
                <a:spcPts val="1000"/>
              </a:spcAft>
              <a:buFont typeface="Arial" panose="020B0604020202020204" pitchFamily="34" charset="0"/>
              <a:buChar char="•"/>
            </a:pPr>
            <a:r>
              <a:rPr lang="en-GB" b="1">
                <a:solidFill>
                  <a:schemeClr val="accent1"/>
                </a:solidFill>
              </a:rPr>
              <a:t>Consumer stories </a:t>
            </a:r>
            <a:r>
              <a:rPr lang="en-GB">
                <a:solidFill>
                  <a:schemeClr val="accent1"/>
                </a:solidFill>
              </a:rPr>
              <a:t>that contextualise the themes</a:t>
            </a:r>
            <a:endParaRPr lang="en-GB" b="1">
              <a:solidFill>
                <a:schemeClr val="accent1"/>
              </a:solidFill>
            </a:endParaRPr>
          </a:p>
          <a:p>
            <a:pPr marL="285750" indent="-285750" algn="l">
              <a:lnSpc>
                <a:spcPct val="120000"/>
              </a:lnSpc>
              <a:spcAft>
                <a:spcPts val="1000"/>
              </a:spcAft>
              <a:buFont typeface="Arial" panose="020B0604020202020204" pitchFamily="34" charset="0"/>
              <a:buChar char="•"/>
            </a:pPr>
            <a:r>
              <a:rPr lang="en-GB" b="1">
                <a:solidFill>
                  <a:schemeClr val="accent1"/>
                </a:solidFill>
              </a:rPr>
              <a:t>Cultural differences </a:t>
            </a:r>
            <a:r>
              <a:rPr lang="en-GB">
                <a:solidFill>
                  <a:schemeClr val="accent1"/>
                </a:solidFill>
              </a:rPr>
              <a:t>in reactions to a topic </a:t>
            </a:r>
          </a:p>
          <a:p>
            <a:pPr marL="285750" indent="-285750" algn="l">
              <a:lnSpc>
                <a:spcPct val="120000"/>
              </a:lnSpc>
              <a:spcAft>
                <a:spcPts val="1000"/>
              </a:spcAft>
              <a:buFont typeface="Arial" panose="020B0604020202020204" pitchFamily="34" charset="0"/>
              <a:buChar char="•"/>
            </a:pPr>
            <a:r>
              <a:rPr lang="en-GB">
                <a:solidFill>
                  <a:schemeClr val="accent1"/>
                </a:solidFill>
              </a:rPr>
              <a:t>Identify popular </a:t>
            </a:r>
            <a:r>
              <a:rPr lang="en-GB" b="1">
                <a:solidFill>
                  <a:schemeClr val="accent1"/>
                </a:solidFill>
              </a:rPr>
              <a:t>consumer language</a:t>
            </a:r>
          </a:p>
        </p:txBody>
      </p:sp>
      <p:pic>
        <p:nvPicPr>
          <p:cNvPr id="10" name="Picture 2">
            <a:extLst>
              <a:ext uri="{FF2B5EF4-FFF2-40B4-BE49-F238E27FC236}">
                <a16:creationId xmlns:a16="http://schemas.microsoft.com/office/drawing/2014/main" id="{05AC6C16-C0BB-76AC-807F-07F0FC7756A4}"/>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rot="176143">
            <a:off x="6190965" y="48936"/>
            <a:ext cx="4692240" cy="2821338"/>
          </a:xfrm>
          <a:prstGeom prst="rect">
            <a:avLst/>
          </a:prstGeom>
          <a:noFill/>
          <a:extLst>
            <a:ext uri="{909E8E84-426E-40DD-AFC4-6F175D3DCCD1}">
              <a14:hiddenFill xmlns:a14="http://schemas.microsoft.com/office/drawing/2010/main">
                <a:solidFill>
                  <a:srgbClr val="FFFFFF"/>
                </a:solidFill>
              </a14:hiddenFill>
            </a:ext>
          </a:extLst>
        </p:spPr>
      </p:pic>
      <p:sp>
        <p:nvSpPr>
          <p:cNvPr id="11" name="TextBox 10">
            <a:extLst>
              <a:ext uri="{FF2B5EF4-FFF2-40B4-BE49-F238E27FC236}">
                <a16:creationId xmlns:a16="http://schemas.microsoft.com/office/drawing/2014/main" id="{6CE5DC0E-E3B0-16B7-402A-66CFAEAC2CAB}"/>
              </a:ext>
            </a:extLst>
          </p:cNvPr>
          <p:cNvSpPr txBox="1"/>
          <p:nvPr/>
        </p:nvSpPr>
        <p:spPr>
          <a:xfrm>
            <a:off x="398040" y="4241002"/>
            <a:ext cx="5185559" cy="1317325"/>
          </a:xfrm>
          <a:prstGeom prst="rect">
            <a:avLst/>
          </a:prstGeom>
          <a:noFill/>
        </p:spPr>
        <p:txBody>
          <a:bodyPr wrap="square" lIns="108000" tIns="72000" rIns="108000" bIns="108000" rtlCol="0">
            <a:spAutoFit/>
          </a:bodyPr>
          <a:lstStyle/>
          <a:p>
            <a:pPr indent="0">
              <a:lnSpc>
                <a:spcPct val="120000"/>
              </a:lnSpc>
              <a:spcAft>
                <a:spcPts val="1000"/>
              </a:spcAft>
            </a:pPr>
            <a:r>
              <a:rPr lang="en-GB" sz="1400">
                <a:solidFill>
                  <a:schemeClr val="accent1"/>
                </a:solidFill>
              </a:rPr>
              <a:t>In contrast with traditional survey open ends, the responses we receive from Qual Bites are more detailed.</a:t>
            </a:r>
          </a:p>
          <a:p>
            <a:pPr indent="0">
              <a:lnSpc>
                <a:spcPct val="120000"/>
              </a:lnSpc>
              <a:spcAft>
                <a:spcPts val="1000"/>
              </a:spcAft>
            </a:pPr>
            <a:r>
              <a:rPr lang="en-GB" sz="1400">
                <a:solidFill>
                  <a:schemeClr val="accent1"/>
                </a:solidFill>
              </a:rPr>
              <a:t>Responses to projective story-based questions around brand personalities should yield rich insights.</a:t>
            </a:r>
          </a:p>
        </p:txBody>
      </p:sp>
      <p:pic>
        <p:nvPicPr>
          <p:cNvPr id="5" name="Picture 4">
            <a:extLst>
              <a:ext uri="{FF2B5EF4-FFF2-40B4-BE49-F238E27FC236}">
                <a16:creationId xmlns:a16="http://schemas.microsoft.com/office/drawing/2014/main" id="{69F4943D-261A-9C97-1E6C-6EEC6CC63DA6}"/>
              </a:ext>
            </a:extLst>
          </p:cNvPr>
          <p:cNvPicPr>
            <a:picLocks noChangeAspect="1"/>
          </p:cNvPicPr>
          <p:nvPr/>
        </p:nvPicPr>
        <p:blipFill rotWithShape="1">
          <a:blip r:embed="rId4"/>
          <a:srcRect r="3093"/>
          <a:stretch/>
        </p:blipFill>
        <p:spPr>
          <a:xfrm>
            <a:off x="6243830" y="4464309"/>
            <a:ext cx="4082959" cy="2258212"/>
          </a:xfrm>
          <a:prstGeom prst="rect">
            <a:avLst/>
          </a:prstGeom>
          <a:noFill/>
        </p:spPr>
      </p:pic>
      <p:cxnSp>
        <p:nvCxnSpPr>
          <p:cNvPr id="9" name="Straight Connector 8">
            <a:extLst>
              <a:ext uri="{FF2B5EF4-FFF2-40B4-BE49-F238E27FC236}">
                <a16:creationId xmlns:a16="http://schemas.microsoft.com/office/drawing/2014/main" id="{ACB9CAB7-2046-14AF-44A9-F75F6D2E67C9}"/>
              </a:ext>
            </a:extLst>
          </p:cNvPr>
          <p:cNvCxnSpPr/>
          <p:nvPr/>
        </p:nvCxnSpPr>
        <p:spPr>
          <a:xfrm>
            <a:off x="314325" y="3895725"/>
            <a:ext cx="5269274" cy="0"/>
          </a:xfrm>
          <a:prstGeom prst="line">
            <a:avLst/>
          </a:prstGeom>
        </p:spPr>
        <p:style>
          <a:lnRef idx="1">
            <a:schemeClr val="accent1"/>
          </a:lnRef>
          <a:fillRef idx="0">
            <a:schemeClr val="accent1"/>
          </a:fillRef>
          <a:effectRef idx="0">
            <a:schemeClr val="accent1"/>
          </a:effectRef>
          <a:fontRef idx="minor">
            <a:schemeClr val="tx1"/>
          </a:fontRef>
        </p:style>
      </p:cxnSp>
      <p:pic>
        <p:nvPicPr>
          <p:cNvPr id="3" name="Picture 2" descr="Logo&#10;&#10;Description automatically generated">
            <a:extLst>
              <a:ext uri="{FF2B5EF4-FFF2-40B4-BE49-F238E27FC236}">
                <a16:creationId xmlns:a16="http://schemas.microsoft.com/office/drawing/2014/main" id="{5283ECAC-AB7B-B00C-397D-2652923EB477}"/>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1184658" y="206258"/>
            <a:ext cx="837311" cy="583027"/>
          </a:xfrm>
          <a:prstGeom prst="rect">
            <a:avLst/>
          </a:prstGeom>
        </p:spPr>
      </p:pic>
      <p:pic>
        <p:nvPicPr>
          <p:cNvPr id="7" name="Picture 6" descr="Logo, icon&#10;&#10;Description automatically generated">
            <a:extLst>
              <a:ext uri="{FF2B5EF4-FFF2-40B4-BE49-F238E27FC236}">
                <a16:creationId xmlns:a16="http://schemas.microsoft.com/office/drawing/2014/main" id="{E47F3FAE-7285-1E8D-31F1-62EB315D6491}"/>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293155" y="619131"/>
            <a:ext cx="2264353" cy="471418"/>
          </a:xfrm>
          <a:prstGeom prst="rect">
            <a:avLst/>
          </a:prstGeom>
        </p:spPr>
      </p:pic>
    </p:spTree>
    <p:extLst>
      <p:ext uri="{BB962C8B-B14F-4D97-AF65-F5344CB8AC3E}">
        <p14:creationId xmlns:p14="http://schemas.microsoft.com/office/powerpoint/2010/main" val="178163539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Placeholder 10" descr="Close-up of hands shaking&#10;&#10;Description automatically generated">
            <a:extLst>
              <a:ext uri="{FF2B5EF4-FFF2-40B4-BE49-F238E27FC236}">
                <a16:creationId xmlns:a16="http://schemas.microsoft.com/office/drawing/2014/main" id="{FD2E791A-1899-4C04-A3B1-847C446EB9F5}"/>
              </a:ext>
            </a:extLst>
          </p:cNvPr>
          <p:cNvPicPr>
            <a:picLocks noGrp="1" noChangeAspect="1"/>
          </p:cNvPicPr>
          <p:nvPr>
            <p:ph type="pic" sz="quarter" idx="13"/>
          </p:nvPr>
        </p:nvPicPr>
        <p:blipFill>
          <a:blip r:embed="rId3" cstate="print">
            <a:extLst>
              <a:ext uri="{28A0092B-C50C-407E-A947-70E740481C1C}">
                <a14:useLocalDpi xmlns:a14="http://schemas.microsoft.com/office/drawing/2010/main" val="0"/>
              </a:ext>
            </a:extLst>
          </a:blip>
          <a:srcRect t="29" b="29"/>
          <a:stretch>
            <a:fillRect/>
          </a:stretch>
        </p:blipFill>
        <p:spPr/>
      </p:pic>
      <p:sp>
        <p:nvSpPr>
          <p:cNvPr id="14" name="doOverlay">
            <a:extLst>
              <a:ext uri="{FF2B5EF4-FFF2-40B4-BE49-F238E27FC236}">
                <a16:creationId xmlns:a16="http://schemas.microsoft.com/office/drawing/2014/main" id="{F9676D48-E47E-40B3-842A-7C73E985CBB6}"/>
              </a:ext>
            </a:extLst>
          </p:cNvPr>
          <p:cNvSpPr/>
          <p:nvPr/>
        </p:nvSpPr>
        <p:spPr>
          <a:xfrm>
            <a:off x="6096000" y="0"/>
            <a:ext cx="6096000" cy="6858000"/>
          </a:xfrm>
          <a:prstGeom prst="rect">
            <a:avLst/>
          </a:prstGeom>
          <a:solidFill>
            <a:schemeClr val="accent1">
              <a:alpha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72000" rIns="108000" bIns="108000" rtlCol="0" anchor="t" anchorCtr="0">
            <a:noAutofit/>
          </a:bodyPr>
          <a:lstStyle/>
          <a:p>
            <a:pPr indent="0" algn="l">
              <a:lnSpc>
                <a:spcPct val="120000"/>
              </a:lnSpc>
            </a:pPr>
            <a:endParaRPr lang="en-SG" sz="1400" err="1">
              <a:solidFill>
                <a:schemeClr val="bg2"/>
              </a:solidFill>
            </a:endParaRPr>
          </a:p>
        </p:txBody>
      </p:sp>
      <p:sp>
        <p:nvSpPr>
          <p:cNvPr id="4" name="Title 3">
            <a:extLst>
              <a:ext uri="{FF2B5EF4-FFF2-40B4-BE49-F238E27FC236}">
                <a16:creationId xmlns:a16="http://schemas.microsoft.com/office/drawing/2014/main" id="{CE79507E-F87E-4776-BF36-0065C067DF7A}"/>
              </a:ext>
            </a:extLst>
          </p:cNvPr>
          <p:cNvSpPr>
            <a:spLocks noGrp="1"/>
          </p:cNvSpPr>
          <p:nvPr>
            <p:ph type="ctrTitle"/>
          </p:nvPr>
        </p:nvSpPr>
        <p:spPr/>
        <p:txBody>
          <a:bodyPr/>
          <a:lstStyle/>
          <a:p>
            <a:r>
              <a:rPr lang="en-US"/>
              <a:t>Nice to be working together again!</a:t>
            </a:r>
          </a:p>
        </p:txBody>
      </p:sp>
      <p:sp>
        <p:nvSpPr>
          <p:cNvPr id="6" name="Text Placeholder 5">
            <a:extLst>
              <a:ext uri="{FF2B5EF4-FFF2-40B4-BE49-F238E27FC236}">
                <a16:creationId xmlns:a16="http://schemas.microsoft.com/office/drawing/2014/main" id="{4741614F-E4FF-4F35-90BE-F525A062C2B7}"/>
              </a:ext>
            </a:extLst>
          </p:cNvPr>
          <p:cNvSpPr>
            <a:spLocks noGrp="1"/>
          </p:cNvSpPr>
          <p:nvPr>
            <p:ph type="body" sz="quarter" idx="14"/>
          </p:nvPr>
        </p:nvSpPr>
        <p:spPr/>
        <p:txBody>
          <a:bodyPr/>
          <a:lstStyle/>
          <a:p>
            <a:pPr>
              <a:lnSpc>
                <a:spcPct val="150000"/>
              </a:lnSpc>
            </a:pPr>
            <a:r>
              <a:rPr lang="en-US"/>
              <a:t>Thank you for giving us the opportunity to share our view on how to further drive the growth of Alpro by getting the consumers’ perspective on sustainability claims.</a:t>
            </a:r>
          </a:p>
        </p:txBody>
      </p:sp>
      <p:pic>
        <p:nvPicPr>
          <p:cNvPr id="9" name="doLogoWhite">
            <a:extLst>
              <a:ext uri="{FF2B5EF4-FFF2-40B4-BE49-F238E27FC236}">
                <a16:creationId xmlns:a16="http://schemas.microsoft.com/office/drawing/2014/main" id="{68C15312-2F68-4AF7-8342-C46AED579E3E}"/>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1559600" y="6364799"/>
            <a:ext cx="386197" cy="266610"/>
          </a:xfrm>
          <a:prstGeom prst="rect">
            <a:avLst/>
          </a:prstGeom>
        </p:spPr>
      </p:pic>
    </p:spTree>
    <p:extLst>
      <p:ext uri="{BB962C8B-B14F-4D97-AF65-F5344CB8AC3E}">
        <p14:creationId xmlns:p14="http://schemas.microsoft.com/office/powerpoint/2010/main" val="262740084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F950756-6A2F-4E32-9809-1780C4B863FE}"/>
              </a:ext>
            </a:extLst>
          </p:cNvPr>
          <p:cNvSpPr>
            <a:spLocks noGrp="1"/>
          </p:cNvSpPr>
          <p:nvPr>
            <p:ph type="title"/>
          </p:nvPr>
        </p:nvSpPr>
        <p:spPr>
          <a:xfrm>
            <a:off x="4562386" y="403392"/>
            <a:ext cx="7247681" cy="972000"/>
          </a:xfrm>
        </p:spPr>
        <p:txBody>
          <a:bodyPr/>
          <a:lstStyle/>
          <a:p>
            <a:pPr>
              <a:tabLst>
                <a:tab pos="5738670" algn="l"/>
              </a:tabLst>
            </a:pPr>
            <a:r>
              <a:rPr lang="en-US"/>
              <a:t>We recommend (initially) focusing on one market for </a:t>
            </a:r>
            <a:r>
              <a:rPr lang="en-US" err="1"/>
              <a:t>QualBites</a:t>
            </a:r>
            <a:endParaRPr lang="en-SG"/>
          </a:p>
        </p:txBody>
      </p:sp>
      <p:sp>
        <p:nvSpPr>
          <p:cNvPr id="4" name="Text Placeholder 3">
            <a:extLst>
              <a:ext uri="{FF2B5EF4-FFF2-40B4-BE49-F238E27FC236}">
                <a16:creationId xmlns:a16="http://schemas.microsoft.com/office/drawing/2014/main" id="{5E0C903E-E6BE-4D69-939E-B12BCF730C11}"/>
              </a:ext>
            </a:extLst>
          </p:cNvPr>
          <p:cNvSpPr>
            <a:spLocks noGrp="1"/>
          </p:cNvSpPr>
          <p:nvPr>
            <p:ph type="body" sz="quarter" idx="26"/>
          </p:nvPr>
        </p:nvSpPr>
        <p:spPr>
          <a:xfrm>
            <a:off x="381934" y="403225"/>
            <a:ext cx="3247092" cy="971550"/>
          </a:xfrm>
        </p:spPr>
        <p:txBody>
          <a:bodyPr/>
          <a:lstStyle/>
          <a:p>
            <a:r>
              <a:rPr lang="en-US">
                <a:solidFill>
                  <a:schemeClr val="accent1"/>
                </a:solidFill>
                <a:latin typeface="+mj-lt"/>
                <a:cs typeface="Segoe UI Semilight" panose="020B0402040204020203" pitchFamily="34" charset="0"/>
              </a:rPr>
              <a:t>Who we will speak to</a:t>
            </a:r>
          </a:p>
          <a:p>
            <a:endParaRPr lang="en-US">
              <a:latin typeface="+mj-lt"/>
            </a:endParaRPr>
          </a:p>
        </p:txBody>
      </p:sp>
      <p:sp>
        <p:nvSpPr>
          <p:cNvPr id="5" name="Text Placeholder 4">
            <a:extLst>
              <a:ext uri="{FF2B5EF4-FFF2-40B4-BE49-F238E27FC236}">
                <a16:creationId xmlns:a16="http://schemas.microsoft.com/office/drawing/2014/main" id="{591F9373-603D-41EE-AF78-28D3D7F77833}"/>
              </a:ext>
            </a:extLst>
          </p:cNvPr>
          <p:cNvSpPr>
            <a:spLocks noGrp="1"/>
          </p:cNvSpPr>
          <p:nvPr>
            <p:ph type="body" sz="quarter" idx="27"/>
          </p:nvPr>
        </p:nvSpPr>
        <p:spPr>
          <a:xfrm>
            <a:off x="387351" y="1478304"/>
            <a:ext cx="3407478" cy="4410075"/>
          </a:xfrm>
        </p:spPr>
        <p:txBody>
          <a:bodyPr/>
          <a:lstStyle/>
          <a:p>
            <a:pPr>
              <a:spcAft>
                <a:spcPts val="600"/>
              </a:spcAft>
            </a:pPr>
            <a:r>
              <a:rPr lang="en-GB" sz="1800" b="1"/>
              <a:t>Screening Criteria</a:t>
            </a:r>
            <a:endParaRPr lang="en-GB" sz="1800"/>
          </a:p>
          <a:p>
            <a:pPr marL="171446" indent="-171446">
              <a:buFont typeface="Arial" panose="020B0604020202020204" pitchFamily="34" charset="0"/>
              <a:buChar char="•"/>
            </a:pPr>
            <a:r>
              <a:rPr lang="en-US">
                <a:solidFill>
                  <a:srgbClr val="222222"/>
                </a:solidFill>
              </a:rPr>
              <a:t>Women, Men</a:t>
            </a:r>
          </a:p>
          <a:p>
            <a:pPr marL="171446" indent="-171446">
              <a:buFont typeface="Arial" panose="020B0604020202020204" pitchFamily="34" charset="0"/>
              <a:buChar char="•"/>
            </a:pPr>
            <a:r>
              <a:rPr lang="en-US">
                <a:solidFill>
                  <a:srgbClr val="222222"/>
                </a:solidFill>
              </a:rPr>
              <a:t>Age &gt; 18 </a:t>
            </a:r>
            <a:r>
              <a:rPr lang="en-US" err="1">
                <a:solidFill>
                  <a:srgbClr val="222222"/>
                </a:solidFill>
              </a:rPr>
              <a:t>yo</a:t>
            </a:r>
            <a:endParaRPr lang="en-US">
              <a:solidFill>
                <a:srgbClr val="222222"/>
              </a:solidFill>
            </a:endParaRPr>
          </a:p>
          <a:p>
            <a:pPr marL="171446" indent="-171446">
              <a:buFont typeface="Arial" panose="020B0604020202020204" pitchFamily="34" charset="0"/>
              <a:buChar char="•"/>
            </a:pPr>
            <a:r>
              <a:rPr lang="en-US">
                <a:solidFill>
                  <a:srgbClr val="222222"/>
                </a:solidFill>
              </a:rPr>
              <a:t>Responsible for HH shopping</a:t>
            </a:r>
          </a:p>
          <a:p>
            <a:pPr marL="171446" indent="-171446">
              <a:buFont typeface="Arial" panose="020B0604020202020204" pitchFamily="34" charset="0"/>
              <a:buChar char="•"/>
            </a:pPr>
            <a:r>
              <a:rPr lang="en-US">
                <a:solidFill>
                  <a:srgbClr val="222222"/>
                </a:solidFill>
              </a:rPr>
              <a:t>Users and Non-rejecters of </a:t>
            </a:r>
            <a:r>
              <a:rPr lang="en-US" err="1">
                <a:solidFill>
                  <a:srgbClr val="222222"/>
                </a:solidFill>
              </a:rPr>
              <a:t>Alpro</a:t>
            </a:r>
            <a:endParaRPr lang="en-US" sz="1200">
              <a:solidFill>
                <a:srgbClr val="222222"/>
              </a:solidFill>
            </a:endParaRPr>
          </a:p>
        </p:txBody>
      </p:sp>
      <p:grpSp>
        <p:nvGrpSpPr>
          <p:cNvPr id="3" name="Groep 75">
            <a:extLst>
              <a:ext uri="{FF2B5EF4-FFF2-40B4-BE49-F238E27FC236}">
                <a16:creationId xmlns:a16="http://schemas.microsoft.com/office/drawing/2014/main" id="{6AE27E38-6E64-94E1-BA23-7DD3D12B3948}"/>
              </a:ext>
            </a:extLst>
          </p:cNvPr>
          <p:cNvGrpSpPr/>
          <p:nvPr/>
        </p:nvGrpSpPr>
        <p:grpSpPr>
          <a:xfrm>
            <a:off x="6095997" y="1524254"/>
            <a:ext cx="4453277" cy="3912058"/>
            <a:chOff x="1345421" y="762000"/>
            <a:chExt cx="5605448" cy="5409215"/>
          </a:xfrm>
        </p:grpSpPr>
        <p:sp>
          <p:nvSpPr>
            <p:cNvPr id="6" name="Freeform 100">
              <a:extLst>
                <a:ext uri="{FF2B5EF4-FFF2-40B4-BE49-F238E27FC236}">
                  <a16:creationId xmlns:a16="http://schemas.microsoft.com/office/drawing/2014/main" id="{E171CFD5-F267-828C-4D0F-32C64B966BEB}"/>
                </a:ext>
              </a:extLst>
            </p:cNvPr>
            <p:cNvSpPr>
              <a:spLocks noEditPoints="1"/>
            </p:cNvSpPr>
            <p:nvPr/>
          </p:nvSpPr>
          <p:spPr bwMode="auto">
            <a:xfrm>
              <a:off x="4794820" y="3210083"/>
              <a:ext cx="300069" cy="150817"/>
            </a:xfrm>
            <a:custGeom>
              <a:avLst/>
              <a:gdLst>
                <a:gd name="T0" fmla="*/ 44 w 104"/>
                <a:gd name="T1" fmla="*/ 1 h 54"/>
                <a:gd name="T2" fmla="*/ 48 w 104"/>
                <a:gd name="T3" fmla="*/ 4 h 54"/>
                <a:gd name="T4" fmla="*/ 51 w 104"/>
                <a:gd name="T5" fmla="*/ 5 h 54"/>
                <a:gd name="T6" fmla="*/ 57 w 104"/>
                <a:gd name="T7" fmla="*/ 8 h 54"/>
                <a:gd name="T8" fmla="*/ 69 w 104"/>
                <a:gd name="T9" fmla="*/ 9 h 54"/>
                <a:gd name="T10" fmla="*/ 71 w 104"/>
                <a:gd name="T11" fmla="*/ 7 h 54"/>
                <a:gd name="T12" fmla="*/ 75 w 104"/>
                <a:gd name="T13" fmla="*/ 6 h 54"/>
                <a:gd name="T14" fmla="*/ 82 w 104"/>
                <a:gd name="T15" fmla="*/ 4 h 54"/>
                <a:gd name="T16" fmla="*/ 85 w 104"/>
                <a:gd name="T17" fmla="*/ 8 h 54"/>
                <a:gd name="T18" fmla="*/ 87 w 104"/>
                <a:gd name="T19" fmla="*/ 8 h 54"/>
                <a:gd name="T20" fmla="*/ 91 w 104"/>
                <a:gd name="T21" fmla="*/ 12 h 54"/>
                <a:gd name="T22" fmla="*/ 94 w 104"/>
                <a:gd name="T23" fmla="*/ 15 h 54"/>
                <a:gd name="T24" fmla="*/ 92 w 104"/>
                <a:gd name="T25" fmla="*/ 22 h 54"/>
                <a:gd name="T26" fmla="*/ 92 w 104"/>
                <a:gd name="T27" fmla="*/ 25 h 54"/>
                <a:gd name="T28" fmla="*/ 92 w 104"/>
                <a:gd name="T29" fmla="*/ 35 h 54"/>
                <a:gd name="T30" fmla="*/ 95 w 104"/>
                <a:gd name="T31" fmla="*/ 39 h 54"/>
                <a:gd name="T32" fmla="*/ 95 w 104"/>
                <a:gd name="T33" fmla="*/ 40 h 54"/>
                <a:gd name="T34" fmla="*/ 99 w 104"/>
                <a:gd name="T35" fmla="*/ 39 h 54"/>
                <a:gd name="T36" fmla="*/ 100 w 104"/>
                <a:gd name="T37" fmla="*/ 38 h 54"/>
                <a:gd name="T38" fmla="*/ 99 w 104"/>
                <a:gd name="T39" fmla="*/ 39 h 54"/>
                <a:gd name="T40" fmla="*/ 90 w 104"/>
                <a:gd name="T41" fmla="*/ 41 h 54"/>
                <a:gd name="T42" fmla="*/ 82 w 104"/>
                <a:gd name="T43" fmla="*/ 46 h 54"/>
                <a:gd name="T44" fmla="*/ 61 w 104"/>
                <a:gd name="T45" fmla="*/ 48 h 54"/>
                <a:gd name="T46" fmla="*/ 46 w 104"/>
                <a:gd name="T47" fmla="*/ 49 h 54"/>
                <a:gd name="T48" fmla="*/ 37 w 104"/>
                <a:gd name="T49" fmla="*/ 51 h 54"/>
                <a:gd name="T50" fmla="*/ 24 w 104"/>
                <a:gd name="T51" fmla="*/ 52 h 54"/>
                <a:gd name="T52" fmla="*/ 17 w 104"/>
                <a:gd name="T53" fmla="*/ 52 h 54"/>
                <a:gd name="T54" fmla="*/ 4 w 104"/>
                <a:gd name="T55" fmla="*/ 53 h 54"/>
                <a:gd name="T56" fmla="*/ 5 w 104"/>
                <a:gd name="T57" fmla="*/ 49 h 54"/>
                <a:gd name="T58" fmla="*/ 13 w 104"/>
                <a:gd name="T59" fmla="*/ 40 h 54"/>
                <a:gd name="T60" fmla="*/ 8 w 104"/>
                <a:gd name="T61" fmla="*/ 38 h 54"/>
                <a:gd name="T62" fmla="*/ 4 w 104"/>
                <a:gd name="T63" fmla="*/ 35 h 54"/>
                <a:gd name="T64" fmla="*/ 9 w 104"/>
                <a:gd name="T65" fmla="*/ 22 h 54"/>
                <a:gd name="T66" fmla="*/ 25 w 104"/>
                <a:gd name="T67" fmla="*/ 25 h 54"/>
                <a:gd name="T68" fmla="*/ 38 w 104"/>
                <a:gd name="T69" fmla="*/ 8 h 54"/>
                <a:gd name="T70" fmla="*/ 40 w 104"/>
                <a:gd name="T71" fmla="*/ 1 h 54"/>
                <a:gd name="T72" fmla="*/ 44 w 104"/>
                <a:gd name="T73" fmla="*/ 1 h 54"/>
                <a:gd name="T74" fmla="*/ 102 w 104"/>
                <a:gd name="T75" fmla="*/ 37 h 54"/>
                <a:gd name="T76" fmla="*/ 102 w 104"/>
                <a:gd name="T77" fmla="*/ 37 h 54"/>
                <a:gd name="T78" fmla="*/ 102 w 104"/>
                <a:gd name="T79" fmla="*/ 37 h 54"/>
                <a:gd name="T80" fmla="*/ 102 w 104"/>
                <a:gd name="T81" fmla="*/ 38 h 54"/>
                <a:gd name="T82" fmla="*/ 102 w 104"/>
                <a:gd name="T83" fmla="*/ 37 h 54"/>
                <a:gd name="T84" fmla="*/ 102 w 104"/>
                <a:gd name="T85" fmla="*/ 37 h 54"/>
                <a:gd name="T86" fmla="*/ 102 w 104"/>
                <a:gd name="T87" fmla="*/ 38 h 54"/>
                <a:gd name="T88" fmla="*/ 102 w 104"/>
                <a:gd name="T89" fmla="*/ 38 h 54"/>
                <a:gd name="T90" fmla="*/ 104 w 104"/>
                <a:gd name="T91" fmla="*/ 42 h 54"/>
                <a:gd name="T92" fmla="*/ 104 w 104"/>
                <a:gd name="T93" fmla="*/ 42 h 54"/>
                <a:gd name="T94" fmla="*/ 102 w 104"/>
                <a:gd name="T95" fmla="*/ 38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04" h="54">
                  <a:moveTo>
                    <a:pt x="44" y="1"/>
                  </a:moveTo>
                  <a:cubicBezTo>
                    <a:pt x="48" y="4"/>
                    <a:pt x="48" y="4"/>
                    <a:pt x="48" y="4"/>
                  </a:cubicBezTo>
                  <a:cubicBezTo>
                    <a:pt x="51" y="5"/>
                    <a:pt x="51" y="5"/>
                    <a:pt x="51" y="5"/>
                  </a:cubicBezTo>
                  <a:cubicBezTo>
                    <a:pt x="57" y="8"/>
                    <a:pt x="57" y="8"/>
                    <a:pt x="57" y="8"/>
                  </a:cubicBezTo>
                  <a:cubicBezTo>
                    <a:pt x="69" y="9"/>
                    <a:pt x="69" y="9"/>
                    <a:pt x="69" y="9"/>
                  </a:cubicBezTo>
                  <a:cubicBezTo>
                    <a:pt x="71" y="7"/>
                    <a:pt x="71" y="7"/>
                    <a:pt x="71" y="7"/>
                  </a:cubicBezTo>
                  <a:cubicBezTo>
                    <a:pt x="75" y="6"/>
                    <a:pt x="75" y="6"/>
                    <a:pt x="75" y="6"/>
                  </a:cubicBezTo>
                  <a:cubicBezTo>
                    <a:pt x="82" y="4"/>
                    <a:pt x="82" y="4"/>
                    <a:pt x="82" y="4"/>
                  </a:cubicBezTo>
                  <a:cubicBezTo>
                    <a:pt x="85" y="8"/>
                    <a:pt x="85" y="8"/>
                    <a:pt x="85" y="8"/>
                  </a:cubicBezTo>
                  <a:cubicBezTo>
                    <a:pt x="87" y="8"/>
                    <a:pt x="87" y="8"/>
                    <a:pt x="87" y="8"/>
                  </a:cubicBezTo>
                  <a:cubicBezTo>
                    <a:pt x="87" y="8"/>
                    <a:pt x="89" y="10"/>
                    <a:pt x="91" y="12"/>
                  </a:cubicBezTo>
                  <a:cubicBezTo>
                    <a:pt x="92" y="14"/>
                    <a:pt x="94" y="15"/>
                    <a:pt x="94" y="15"/>
                  </a:cubicBezTo>
                  <a:cubicBezTo>
                    <a:pt x="92" y="22"/>
                    <a:pt x="92" y="22"/>
                    <a:pt x="92" y="22"/>
                  </a:cubicBezTo>
                  <a:cubicBezTo>
                    <a:pt x="92" y="25"/>
                    <a:pt x="92" y="25"/>
                    <a:pt x="92" y="25"/>
                  </a:cubicBezTo>
                  <a:cubicBezTo>
                    <a:pt x="92" y="35"/>
                    <a:pt x="92" y="35"/>
                    <a:pt x="92" y="35"/>
                  </a:cubicBezTo>
                  <a:cubicBezTo>
                    <a:pt x="95" y="39"/>
                    <a:pt x="95" y="39"/>
                    <a:pt x="95" y="39"/>
                  </a:cubicBezTo>
                  <a:cubicBezTo>
                    <a:pt x="95" y="40"/>
                    <a:pt x="95" y="40"/>
                    <a:pt x="95" y="40"/>
                  </a:cubicBezTo>
                  <a:cubicBezTo>
                    <a:pt x="99" y="39"/>
                    <a:pt x="99" y="39"/>
                    <a:pt x="99" y="39"/>
                  </a:cubicBezTo>
                  <a:cubicBezTo>
                    <a:pt x="99" y="39"/>
                    <a:pt x="100" y="39"/>
                    <a:pt x="100" y="38"/>
                  </a:cubicBezTo>
                  <a:cubicBezTo>
                    <a:pt x="100" y="39"/>
                    <a:pt x="99" y="39"/>
                    <a:pt x="99" y="39"/>
                  </a:cubicBezTo>
                  <a:cubicBezTo>
                    <a:pt x="90" y="41"/>
                    <a:pt x="90" y="41"/>
                    <a:pt x="90" y="41"/>
                  </a:cubicBezTo>
                  <a:cubicBezTo>
                    <a:pt x="82" y="46"/>
                    <a:pt x="82" y="46"/>
                    <a:pt x="82" y="46"/>
                  </a:cubicBezTo>
                  <a:cubicBezTo>
                    <a:pt x="82" y="46"/>
                    <a:pt x="63" y="48"/>
                    <a:pt x="61" y="48"/>
                  </a:cubicBezTo>
                  <a:cubicBezTo>
                    <a:pt x="60" y="48"/>
                    <a:pt x="48" y="49"/>
                    <a:pt x="46" y="49"/>
                  </a:cubicBezTo>
                  <a:cubicBezTo>
                    <a:pt x="45" y="50"/>
                    <a:pt x="39" y="51"/>
                    <a:pt x="37" y="51"/>
                  </a:cubicBezTo>
                  <a:cubicBezTo>
                    <a:pt x="35" y="51"/>
                    <a:pt x="26" y="52"/>
                    <a:pt x="24" y="52"/>
                  </a:cubicBezTo>
                  <a:cubicBezTo>
                    <a:pt x="22" y="52"/>
                    <a:pt x="17" y="52"/>
                    <a:pt x="17" y="52"/>
                  </a:cubicBezTo>
                  <a:cubicBezTo>
                    <a:pt x="17" y="52"/>
                    <a:pt x="7" y="53"/>
                    <a:pt x="4" y="53"/>
                  </a:cubicBezTo>
                  <a:cubicBezTo>
                    <a:pt x="1" y="54"/>
                    <a:pt x="5" y="49"/>
                    <a:pt x="5" y="49"/>
                  </a:cubicBezTo>
                  <a:cubicBezTo>
                    <a:pt x="5" y="49"/>
                    <a:pt x="17" y="39"/>
                    <a:pt x="13" y="40"/>
                  </a:cubicBezTo>
                  <a:cubicBezTo>
                    <a:pt x="8" y="38"/>
                    <a:pt x="8" y="38"/>
                    <a:pt x="8" y="38"/>
                  </a:cubicBezTo>
                  <a:cubicBezTo>
                    <a:pt x="4" y="35"/>
                    <a:pt x="4" y="35"/>
                    <a:pt x="4" y="35"/>
                  </a:cubicBezTo>
                  <a:cubicBezTo>
                    <a:pt x="0" y="26"/>
                    <a:pt x="5" y="22"/>
                    <a:pt x="9" y="22"/>
                  </a:cubicBezTo>
                  <a:cubicBezTo>
                    <a:pt x="12" y="22"/>
                    <a:pt x="20" y="25"/>
                    <a:pt x="25" y="25"/>
                  </a:cubicBezTo>
                  <a:cubicBezTo>
                    <a:pt x="43" y="25"/>
                    <a:pt x="39" y="19"/>
                    <a:pt x="38" y="8"/>
                  </a:cubicBezTo>
                  <a:cubicBezTo>
                    <a:pt x="38" y="5"/>
                    <a:pt x="39" y="2"/>
                    <a:pt x="40" y="1"/>
                  </a:cubicBezTo>
                  <a:cubicBezTo>
                    <a:pt x="41" y="0"/>
                    <a:pt x="43" y="2"/>
                    <a:pt x="44" y="1"/>
                  </a:cubicBezTo>
                  <a:close/>
                  <a:moveTo>
                    <a:pt x="102" y="37"/>
                  </a:moveTo>
                  <a:cubicBezTo>
                    <a:pt x="102" y="37"/>
                    <a:pt x="102" y="37"/>
                    <a:pt x="102" y="37"/>
                  </a:cubicBezTo>
                  <a:cubicBezTo>
                    <a:pt x="102" y="37"/>
                    <a:pt x="102" y="37"/>
                    <a:pt x="102" y="37"/>
                  </a:cubicBezTo>
                  <a:cubicBezTo>
                    <a:pt x="102" y="38"/>
                    <a:pt x="102" y="38"/>
                    <a:pt x="102" y="38"/>
                  </a:cubicBezTo>
                  <a:cubicBezTo>
                    <a:pt x="102" y="37"/>
                    <a:pt x="102" y="37"/>
                    <a:pt x="102" y="37"/>
                  </a:cubicBezTo>
                  <a:cubicBezTo>
                    <a:pt x="102" y="37"/>
                    <a:pt x="102" y="37"/>
                    <a:pt x="102" y="37"/>
                  </a:cubicBezTo>
                  <a:close/>
                  <a:moveTo>
                    <a:pt x="102" y="38"/>
                  </a:moveTo>
                  <a:cubicBezTo>
                    <a:pt x="102" y="38"/>
                    <a:pt x="102" y="38"/>
                    <a:pt x="102" y="38"/>
                  </a:cubicBezTo>
                  <a:cubicBezTo>
                    <a:pt x="103" y="39"/>
                    <a:pt x="104" y="41"/>
                    <a:pt x="104" y="42"/>
                  </a:cubicBezTo>
                  <a:cubicBezTo>
                    <a:pt x="104" y="42"/>
                    <a:pt x="104" y="42"/>
                    <a:pt x="104" y="42"/>
                  </a:cubicBezTo>
                  <a:cubicBezTo>
                    <a:pt x="104" y="41"/>
                    <a:pt x="103" y="39"/>
                    <a:pt x="102" y="38"/>
                  </a:cubicBezTo>
                  <a:close/>
                </a:path>
              </a:pathLst>
            </a:custGeom>
            <a:solidFill>
              <a:srgbClr val="E6EFF1"/>
            </a:solidFill>
            <a:ln w="12700" cap="rnd" cmpd="sng">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Lato Light"/>
              </a:endParaRPr>
            </a:p>
          </p:txBody>
        </p:sp>
        <p:sp>
          <p:nvSpPr>
            <p:cNvPr id="7" name="Freeform 23">
              <a:extLst>
                <a:ext uri="{FF2B5EF4-FFF2-40B4-BE49-F238E27FC236}">
                  <a16:creationId xmlns:a16="http://schemas.microsoft.com/office/drawing/2014/main" id="{F6660A3F-7D8B-806A-F14E-9B8779041E2E}"/>
                </a:ext>
              </a:extLst>
            </p:cNvPr>
            <p:cNvSpPr>
              <a:spLocks/>
            </p:cNvSpPr>
            <p:nvPr/>
          </p:nvSpPr>
          <p:spPr bwMode="auto">
            <a:xfrm>
              <a:off x="5100446" y="5003729"/>
              <a:ext cx="216716" cy="218146"/>
            </a:xfrm>
            <a:custGeom>
              <a:avLst/>
              <a:gdLst>
                <a:gd name="T0" fmla="*/ 70 w 75"/>
                <a:gd name="T1" fmla="*/ 49 h 78"/>
                <a:gd name="T2" fmla="*/ 52 w 75"/>
                <a:gd name="T3" fmla="*/ 56 h 78"/>
                <a:gd name="T4" fmla="*/ 40 w 75"/>
                <a:gd name="T5" fmla="*/ 65 h 78"/>
                <a:gd name="T6" fmla="*/ 38 w 75"/>
                <a:gd name="T7" fmla="*/ 77 h 78"/>
                <a:gd name="T8" fmla="*/ 32 w 75"/>
                <a:gd name="T9" fmla="*/ 76 h 78"/>
                <a:gd name="T10" fmla="*/ 31 w 75"/>
                <a:gd name="T11" fmla="*/ 70 h 78"/>
                <a:gd name="T12" fmla="*/ 30 w 75"/>
                <a:gd name="T13" fmla="*/ 66 h 78"/>
                <a:gd name="T14" fmla="*/ 26 w 75"/>
                <a:gd name="T15" fmla="*/ 60 h 78"/>
                <a:gd name="T16" fmla="*/ 21 w 75"/>
                <a:gd name="T17" fmla="*/ 57 h 78"/>
                <a:gd name="T18" fmla="*/ 19 w 75"/>
                <a:gd name="T19" fmla="*/ 57 h 78"/>
                <a:gd name="T20" fmla="*/ 15 w 75"/>
                <a:gd name="T21" fmla="*/ 55 h 78"/>
                <a:gd name="T22" fmla="*/ 13 w 75"/>
                <a:gd name="T23" fmla="*/ 49 h 78"/>
                <a:gd name="T24" fmla="*/ 9 w 75"/>
                <a:gd name="T25" fmla="*/ 46 h 78"/>
                <a:gd name="T26" fmla="*/ 6 w 75"/>
                <a:gd name="T27" fmla="*/ 44 h 78"/>
                <a:gd name="T28" fmla="*/ 1 w 75"/>
                <a:gd name="T29" fmla="*/ 34 h 78"/>
                <a:gd name="T30" fmla="*/ 10 w 75"/>
                <a:gd name="T31" fmla="*/ 29 h 78"/>
                <a:gd name="T32" fmla="*/ 16 w 75"/>
                <a:gd name="T33" fmla="*/ 27 h 78"/>
                <a:gd name="T34" fmla="*/ 20 w 75"/>
                <a:gd name="T35" fmla="*/ 24 h 78"/>
                <a:gd name="T36" fmla="*/ 25 w 75"/>
                <a:gd name="T37" fmla="*/ 15 h 78"/>
                <a:gd name="T38" fmla="*/ 24 w 75"/>
                <a:gd name="T39" fmla="*/ 8 h 78"/>
                <a:gd name="T40" fmla="*/ 25 w 75"/>
                <a:gd name="T41" fmla="*/ 4 h 78"/>
                <a:gd name="T42" fmla="*/ 32 w 75"/>
                <a:gd name="T43" fmla="*/ 2 h 78"/>
                <a:gd name="T44" fmla="*/ 39 w 75"/>
                <a:gd name="T45" fmla="*/ 7 h 78"/>
                <a:gd name="T46" fmla="*/ 47 w 75"/>
                <a:gd name="T47" fmla="*/ 11 h 78"/>
                <a:gd name="T48" fmla="*/ 50 w 75"/>
                <a:gd name="T49" fmla="*/ 17 h 78"/>
                <a:gd name="T50" fmla="*/ 59 w 75"/>
                <a:gd name="T51" fmla="*/ 23 h 78"/>
                <a:gd name="T52" fmla="*/ 67 w 75"/>
                <a:gd name="T53" fmla="*/ 26 h 78"/>
                <a:gd name="T54" fmla="*/ 75 w 75"/>
                <a:gd name="T55" fmla="*/ 26 h 78"/>
                <a:gd name="T56" fmla="*/ 73 w 75"/>
                <a:gd name="T57" fmla="*/ 31 h 78"/>
                <a:gd name="T58" fmla="*/ 70 w 75"/>
                <a:gd name="T59" fmla="*/ 37 h 78"/>
                <a:gd name="T60" fmla="*/ 70 w 75"/>
                <a:gd name="T61" fmla="*/ 43 h 78"/>
                <a:gd name="T62" fmla="*/ 70 w 75"/>
                <a:gd name="T63" fmla="*/ 4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5" h="78">
                  <a:moveTo>
                    <a:pt x="71" y="48"/>
                  </a:moveTo>
                  <a:cubicBezTo>
                    <a:pt x="70" y="49"/>
                    <a:pt x="70" y="49"/>
                    <a:pt x="70" y="49"/>
                  </a:cubicBezTo>
                  <a:cubicBezTo>
                    <a:pt x="66" y="51"/>
                    <a:pt x="61" y="49"/>
                    <a:pt x="60" y="56"/>
                  </a:cubicBezTo>
                  <a:cubicBezTo>
                    <a:pt x="60" y="68"/>
                    <a:pt x="56" y="56"/>
                    <a:pt x="52" y="56"/>
                  </a:cubicBezTo>
                  <a:cubicBezTo>
                    <a:pt x="49" y="56"/>
                    <a:pt x="49" y="58"/>
                    <a:pt x="47" y="60"/>
                  </a:cubicBezTo>
                  <a:cubicBezTo>
                    <a:pt x="44" y="62"/>
                    <a:pt x="41" y="63"/>
                    <a:pt x="40" y="65"/>
                  </a:cubicBezTo>
                  <a:cubicBezTo>
                    <a:pt x="40" y="67"/>
                    <a:pt x="39" y="69"/>
                    <a:pt x="39" y="71"/>
                  </a:cubicBezTo>
                  <a:cubicBezTo>
                    <a:pt x="40" y="74"/>
                    <a:pt x="40" y="77"/>
                    <a:pt x="38" y="77"/>
                  </a:cubicBezTo>
                  <a:cubicBezTo>
                    <a:pt x="37" y="77"/>
                    <a:pt x="34" y="78"/>
                    <a:pt x="32" y="77"/>
                  </a:cubicBezTo>
                  <a:cubicBezTo>
                    <a:pt x="32" y="76"/>
                    <a:pt x="32" y="76"/>
                    <a:pt x="32" y="76"/>
                  </a:cubicBezTo>
                  <a:cubicBezTo>
                    <a:pt x="33" y="73"/>
                    <a:pt x="33" y="73"/>
                    <a:pt x="33" y="73"/>
                  </a:cubicBezTo>
                  <a:cubicBezTo>
                    <a:pt x="31" y="70"/>
                    <a:pt x="31" y="70"/>
                    <a:pt x="31" y="70"/>
                  </a:cubicBezTo>
                  <a:cubicBezTo>
                    <a:pt x="31" y="70"/>
                    <a:pt x="31" y="70"/>
                    <a:pt x="31" y="69"/>
                  </a:cubicBezTo>
                  <a:cubicBezTo>
                    <a:pt x="30" y="68"/>
                    <a:pt x="30" y="66"/>
                    <a:pt x="30" y="66"/>
                  </a:cubicBezTo>
                  <a:cubicBezTo>
                    <a:pt x="29" y="63"/>
                    <a:pt x="29" y="63"/>
                    <a:pt x="29" y="63"/>
                  </a:cubicBezTo>
                  <a:cubicBezTo>
                    <a:pt x="29" y="63"/>
                    <a:pt x="27" y="61"/>
                    <a:pt x="26" y="60"/>
                  </a:cubicBezTo>
                  <a:cubicBezTo>
                    <a:pt x="26" y="60"/>
                    <a:pt x="26" y="59"/>
                    <a:pt x="24" y="58"/>
                  </a:cubicBezTo>
                  <a:cubicBezTo>
                    <a:pt x="23" y="58"/>
                    <a:pt x="21" y="57"/>
                    <a:pt x="21" y="57"/>
                  </a:cubicBezTo>
                  <a:cubicBezTo>
                    <a:pt x="20" y="57"/>
                    <a:pt x="20" y="57"/>
                    <a:pt x="20" y="57"/>
                  </a:cubicBezTo>
                  <a:cubicBezTo>
                    <a:pt x="20" y="57"/>
                    <a:pt x="19" y="57"/>
                    <a:pt x="19" y="57"/>
                  </a:cubicBezTo>
                  <a:cubicBezTo>
                    <a:pt x="17" y="55"/>
                    <a:pt x="17" y="55"/>
                    <a:pt x="17" y="55"/>
                  </a:cubicBezTo>
                  <a:cubicBezTo>
                    <a:pt x="15" y="55"/>
                    <a:pt x="15" y="55"/>
                    <a:pt x="15" y="55"/>
                  </a:cubicBezTo>
                  <a:cubicBezTo>
                    <a:pt x="14" y="52"/>
                    <a:pt x="14" y="52"/>
                    <a:pt x="14" y="52"/>
                  </a:cubicBezTo>
                  <a:cubicBezTo>
                    <a:pt x="13" y="49"/>
                    <a:pt x="13" y="49"/>
                    <a:pt x="13" y="49"/>
                  </a:cubicBezTo>
                  <a:cubicBezTo>
                    <a:pt x="11" y="47"/>
                    <a:pt x="11" y="47"/>
                    <a:pt x="11" y="47"/>
                  </a:cubicBezTo>
                  <a:cubicBezTo>
                    <a:pt x="9" y="46"/>
                    <a:pt x="9" y="46"/>
                    <a:pt x="9" y="46"/>
                  </a:cubicBezTo>
                  <a:cubicBezTo>
                    <a:pt x="8" y="45"/>
                    <a:pt x="8" y="45"/>
                    <a:pt x="8" y="45"/>
                  </a:cubicBezTo>
                  <a:cubicBezTo>
                    <a:pt x="6" y="44"/>
                    <a:pt x="6" y="44"/>
                    <a:pt x="6" y="44"/>
                  </a:cubicBezTo>
                  <a:cubicBezTo>
                    <a:pt x="5" y="42"/>
                    <a:pt x="7" y="40"/>
                    <a:pt x="6" y="38"/>
                  </a:cubicBezTo>
                  <a:cubicBezTo>
                    <a:pt x="4" y="36"/>
                    <a:pt x="0" y="34"/>
                    <a:pt x="1" y="34"/>
                  </a:cubicBezTo>
                  <a:cubicBezTo>
                    <a:pt x="2" y="32"/>
                    <a:pt x="6" y="33"/>
                    <a:pt x="8" y="32"/>
                  </a:cubicBezTo>
                  <a:cubicBezTo>
                    <a:pt x="9" y="32"/>
                    <a:pt x="9" y="30"/>
                    <a:pt x="10" y="29"/>
                  </a:cubicBezTo>
                  <a:cubicBezTo>
                    <a:pt x="11" y="29"/>
                    <a:pt x="13" y="30"/>
                    <a:pt x="13" y="28"/>
                  </a:cubicBezTo>
                  <a:cubicBezTo>
                    <a:pt x="13" y="26"/>
                    <a:pt x="15" y="26"/>
                    <a:pt x="16" y="27"/>
                  </a:cubicBezTo>
                  <a:cubicBezTo>
                    <a:pt x="16" y="27"/>
                    <a:pt x="17" y="27"/>
                    <a:pt x="19" y="25"/>
                  </a:cubicBezTo>
                  <a:cubicBezTo>
                    <a:pt x="22" y="24"/>
                    <a:pt x="20" y="24"/>
                    <a:pt x="20" y="24"/>
                  </a:cubicBezTo>
                  <a:cubicBezTo>
                    <a:pt x="19" y="21"/>
                    <a:pt x="19" y="21"/>
                    <a:pt x="19" y="21"/>
                  </a:cubicBezTo>
                  <a:cubicBezTo>
                    <a:pt x="25" y="15"/>
                    <a:pt x="25" y="15"/>
                    <a:pt x="25" y="15"/>
                  </a:cubicBezTo>
                  <a:cubicBezTo>
                    <a:pt x="26" y="10"/>
                    <a:pt x="26" y="10"/>
                    <a:pt x="26" y="10"/>
                  </a:cubicBezTo>
                  <a:cubicBezTo>
                    <a:pt x="26" y="10"/>
                    <a:pt x="25" y="9"/>
                    <a:pt x="24" y="8"/>
                  </a:cubicBezTo>
                  <a:cubicBezTo>
                    <a:pt x="22" y="6"/>
                    <a:pt x="23" y="6"/>
                    <a:pt x="23" y="5"/>
                  </a:cubicBezTo>
                  <a:cubicBezTo>
                    <a:pt x="24" y="4"/>
                    <a:pt x="25" y="4"/>
                    <a:pt x="25" y="4"/>
                  </a:cubicBezTo>
                  <a:cubicBezTo>
                    <a:pt x="26" y="3"/>
                    <a:pt x="28" y="3"/>
                    <a:pt x="30" y="1"/>
                  </a:cubicBezTo>
                  <a:cubicBezTo>
                    <a:pt x="32" y="0"/>
                    <a:pt x="32" y="2"/>
                    <a:pt x="32" y="2"/>
                  </a:cubicBezTo>
                  <a:cubicBezTo>
                    <a:pt x="32" y="2"/>
                    <a:pt x="33" y="5"/>
                    <a:pt x="36" y="6"/>
                  </a:cubicBezTo>
                  <a:cubicBezTo>
                    <a:pt x="38" y="7"/>
                    <a:pt x="39" y="7"/>
                    <a:pt x="39" y="7"/>
                  </a:cubicBezTo>
                  <a:cubicBezTo>
                    <a:pt x="42" y="7"/>
                    <a:pt x="42" y="7"/>
                    <a:pt x="42" y="7"/>
                  </a:cubicBezTo>
                  <a:cubicBezTo>
                    <a:pt x="47" y="11"/>
                    <a:pt x="47" y="11"/>
                    <a:pt x="47" y="11"/>
                  </a:cubicBezTo>
                  <a:cubicBezTo>
                    <a:pt x="47" y="11"/>
                    <a:pt x="47" y="11"/>
                    <a:pt x="48" y="12"/>
                  </a:cubicBezTo>
                  <a:cubicBezTo>
                    <a:pt x="49" y="13"/>
                    <a:pt x="50" y="17"/>
                    <a:pt x="50" y="17"/>
                  </a:cubicBezTo>
                  <a:cubicBezTo>
                    <a:pt x="58" y="19"/>
                    <a:pt x="58" y="19"/>
                    <a:pt x="58" y="19"/>
                  </a:cubicBezTo>
                  <a:cubicBezTo>
                    <a:pt x="59" y="23"/>
                    <a:pt x="59" y="23"/>
                    <a:pt x="59" y="23"/>
                  </a:cubicBezTo>
                  <a:cubicBezTo>
                    <a:pt x="59" y="23"/>
                    <a:pt x="63" y="23"/>
                    <a:pt x="65" y="24"/>
                  </a:cubicBezTo>
                  <a:cubicBezTo>
                    <a:pt x="67" y="24"/>
                    <a:pt x="67" y="26"/>
                    <a:pt x="67" y="26"/>
                  </a:cubicBezTo>
                  <a:cubicBezTo>
                    <a:pt x="70" y="25"/>
                    <a:pt x="70" y="25"/>
                    <a:pt x="70" y="25"/>
                  </a:cubicBezTo>
                  <a:cubicBezTo>
                    <a:pt x="75" y="26"/>
                    <a:pt x="75" y="26"/>
                    <a:pt x="75" y="26"/>
                  </a:cubicBezTo>
                  <a:cubicBezTo>
                    <a:pt x="75" y="26"/>
                    <a:pt x="75" y="27"/>
                    <a:pt x="74" y="28"/>
                  </a:cubicBezTo>
                  <a:cubicBezTo>
                    <a:pt x="73" y="28"/>
                    <a:pt x="73" y="30"/>
                    <a:pt x="73" y="31"/>
                  </a:cubicBezTo>
                  <a:cubicBezTo>
                    <a:pt x="73" y="33"/>
                    <a:pt x="73" y="34"/>
                    <a:pt x="73" y="35"/>
                  </a:cubicBezTo>
                  <a:cubicBezTo>
                    <a:pt x="72" y="37"/>
                    <a:pt x="71" y="36"/>
                    <a:pt x="70" y="37"/>
                  </a:cubicBezTo>
                  <a:cubicBezTo>
                    <a:pt x="69" y="37"/>
                    <a:pt x="70" y="39"/>
                    <a:pt x="71" y="41"/>
                  </a:cubicBezTo>
                  <a:cubicBezTo>
                    <a:pt x="71" y="42"/>
                    <a:pt x="71" y="42"/>
                    <a:pt x="70" y="43"/>
                  </a:cubicBezTo>
                  <a:cubicBezTo>
                    <a:pt x="68" y="45"/>
                    <a:pt x="67" y="45"/>
                    <a:pt x="67" y="45"/>
                  </a:cubicBezTo>
                  <a:cubicBezTo>
                    <a:pt x="70" y="48"/>
                    <a:pt x="70" y="48"/>
                    <a:pt x="70" y="48"/>
                  </a:cubicBezTo>
                  <a:cubicBezTo>
                    <a:pt x="70" y="48"/>
                    <a:pt x="70" y="48"/>
                    <a:pt x="71" y="48"/>
                  </a:cubicBezTo>
                  <a:close/>
                </a:path>
              </a:pathLst>
            </a:custGeom>
            <a:solidFill>
              <a:srgbClr val="E6EFF1"/>
            </a:solidFill>
            <a:ln w="12700" cap="rnd" cmpd="sng">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Lato Light"/>
              </a:endParaRPr>
            </a:p>
          </p:txBody>
        </p:sp>
        <p:sp>
          <p:nvSpPr>
            <p:cNvPr id="8" name="Freeform 5">
              <a:extLst>
                <a:ext uri="{FF2B5EF4-FFF2-40B4-BE49-F238E27FC236}">
                  <a16:creationId xmlns:a16="http://schemas.microsoft.com/office/drawing/2014/main" id="{0A1FEFA5-1C59-CE95-5693-9783EC9722D0}"/>
                </a:ext>
              </a:extLst>
            </p:cNvPr>
            <p:cNvSpPr>
              <a:spLocks/>
            </p:cNvSpPr>
            <p:nvPr/>
          </p:nvSpPr>
          <p:spPr bwMode="auto">
            <a:xfrm>
              <a:off x="5035154" y="5115496"/>
              <a:ext cx="244501" cy="447065"/>
            </a:xfrm>
            <a:custGeom>
              <a:avLst/>
              <a:gdLst>
                <a:gd name="T0" fmla="*/ 57 w 85"/>
                <a:gd name="T1" fmla="*/ 158 h 160"/>
                <a:gd name="T2" fmla="*/ 58 w 85"/>
                <a:gd name="T3" fmla="*/ 151 h 160"/>
                <a:gd name="T4" fmla="*/ 63 w 85"/>
                <a:gd name="T5" fmla="*/ 149 h 160"/>
                <a:gd name="T6" fmla="*/ 58 w 85"/>
                <a:gd name="T7" fmla="*/ 142 h 160"/>
                <a:gd name="T8" fmla="*/ 61 w 85"/>
                <a:gd name="T9" fmla="*/ 137 h 160"/>
                <a:gd name="T10" fmla="*/ 75 w 85"/>
                <a:gd name="T11" fmla="*/ 124 h 160"/>
                <a:gd name="T12" fmla="*/ 84 w 85"/>
                <a:gd name="T13" fmla="*/ 96 h 160"/>
                <a:gd name="T14" fmla="*/ 79 w 85"/>
                <a:gd name="T15" fmla="*/ 91 h 160"/>
                <a:gd name="T16" fmla="*/ 73 w 85"/>
                <a:gd name="T17" fmla="*/ 88 h 160"/>
                <a:gd name="T18" fmla="*/ 68 w 85"/>
                <a:gd name="T19" fmla="*/ 90 h 160"/>
                <a:gd name="T20" fmla="*/ 68 w 85"/>
                <a:gd name="T21" fmla="*/ 90 h 160"/>
                <a:gd name="T22" fmla="*/ 68 w 85"/>
                <a:gd name="T23" fmla="*/ 90 h 160"/>
                <a:gd name="T24" fmla="*/ 65 w 85"/>
                <a:gd name="T25" fmla="*/ 81 h 160"/>
                <a:gd name="T26" fmla="*/ 59 w 85"/>
                <a:gd name="T27" fmla="*/ 76 h 160"/>
                <a:gd name="T28" fmla="*/ 55 w 85"/>
                <a:gd name="T29" fmla="*/ 68 h 160"/>
                <a:gd name="T30" fmla="*/ 52 w 85"/>
                <a:gd name="T31" fmla="*/ 59 h 160"/>
                <a:gd name="T32" fmla="*/ 56 w 85"/>
                <a:gd name="T33" fmla="*/ 53 h 160"/>
                <a:gd name="T34" fmla="*/ 54 w 85"/>
                <a:gd name="T35" fmla="*/ 43 h 160"/>
                <a:gd name="T36" fmla="*/ 55 w 85"/>
                <a:gd name="T37" fmla="*/ 36 h 160"/>
                <a:gd name="T38" fmla="*/ 53 w 85"/>
                <a:gd name="T39" fmla="*/ 26 h 160"/>
                <a:gd name="T40" fmla="*/ 44 w 85"/>
                <a:gd name="T41" fmla="*/ 17 h 160"/>
                <a:gd name="T42" fmla="*/ 37 w 85"/>
                <a:gd name="T43" fmla="*/ 12 h 160"/>
                <a:gd name="T44" fmla="*/ 31 w 85"/>
                <a:gd name="T45" fmla="*/ 5 h 160"/>
                <a:gd name="T46" fmla="*/ 24 w 85"/>
                <a:gd name="T47" fmla="*/ 7 h 160"/>
                <a:gd name="T48" fmla="*/ 19 w 85"/>
                <a:gd name="T49" fmla="*/ 9 h 160"/>
                <a:gd name="T50" fmla="*/ 17 w 85"/>
                <a:gd name="T51" fmla="*/ 3 h 160"/>
                <a:gd name="T52" fmla="*/ 14 w 85"/>
                <a:gd name="T53" fmla="*/ 0 h 160"/>
                <a:gd name="T54" fmla="*/ 9 w 85"/>
                <a:gd name="T55" fmla="*/ 9 h 160"/>
                <a:gd name="T56" fmla="*/ 5 w 85"/>
                <a:gd name="T57" fmla="*/ 15 h 160"/>
                <a:gd name="T58" fmla="*/ 3 w 85"/>
                <a:gd name="T59" fmla="*/ 21 h 160"/>
                <a:gd name="T60" fmla="*/ 1 w 85"/>
                <a:gd name="T61" fmla="*/ 28 h 160"/>
                <a:gd name="T62" fmla="*/ 5 w 85"/>
                <a:gd name="T63" fmla="*/ 33 h 160"/>
                <a:gd name="T64" fmla="*/ 5 w 85"/>
                <a:gd name="T65" fmla="*/ 39 h 160"/>
                <a:gd name="T66" fmla="*/ 6 w 85"/>
                <a:gd name="T67" fmla="*/ 45 h 160"/>
                <a:gd name="T68" fmla="*/ 14 w 85"/>
                <a:gd name="T69" fmla="*/ 45 h 160"/>
                <a:gd name="T70" fmla="*/ 14 w 85"/>
                <a:gd name="T71" fmla="*/ 54 h 160"/>
                <a:gd name="T72" fmla="*/ 13 w 85"/>
                <a:gd name="T73" fmla="*/ 59 h 160"/>
                <a:gd name="T74" fmla="*/ 14 w 85"/>
                <a:gd name="T75" fmla="*/ 61 h 160"/>
                <a:gd name="T76" fmla="*/ 11 w 85"/>
                <a:gd name="T77" fmla="*/ 67 h 160"/>
                <a:gd name="T78" fmla="*/ 11 w 85"/>
                <a:gd name="T79" fmla="*/ 71 h 160"/>
                <a:gd name="T80" fmla="*/ 14 w 85"/>
                <a:gd name="T81" fmla="*/ 77 h 160"/>
                <a:gd name="T82" fmla="*/ 14 w 85"/>
                <a:gd name="T83" fmla="*/ 87 h 160"/>
                <a:gd name="T84" fmla="*/ 14 w 85"/>
                <a:gd name="T85" fmla="*/ 93 h 160"/>
                <a:gd name="T86" fmla="*/ 13 w 85"/>
                <a:gd name="T87" fmla="*/ 97 h 160"/>
                <a:gd name="T88" fmla="*/ 11 w 85"/>
                <a:gd name="T89" fmla="*/ 101 h 160"/>
                <a:gd name="T90" fmla="*/ 12 w 85"/>
                <a:gd name="T91" fmla="*/ 111 h 160"/>
                <a:gd name="T92" fmla="*/ 19 w 85"/>
                <a:gd name="T93" fmla="*/ 119 h 160"/>
                <a:gd name="T94" fmla="*/ 18 w 85"/>
                <a:gd name="T95" fmla="*/ 126 h 160"/>
                <a:gd name="T96" fmla="*/ 13 w 85"/>
                <a:gd name="T97" fmla="*/ 120 h 160"/>
                <a:gd name="T98" fmla="*/ 14 w 85"/>
                <a:gd name="T99" fmla="*/ 124 h 160"/>
                <a:gd name="T100" fmla="*/ 19 w 85"/>
                <a:gd name="T101" fmla="*/ 131 h 160"/>
                <a:gd name="T102" fmla="*/ 32 w 85"/>
                <a:gd name="T103" fmla="*/ 138 h 160"/>
                <a:gd name="T104" fmla="*/ 38 w 85"/>
                <a:gd name="T105" fmla="*/ 139 h 160"/>
                <a:gd name="T106" fmla="*/ 44 w 85"/>
                <a:gd name="T107" fmla="*/ 151 h 160"/>
                <a:gd name="T108" fmla="*/ 46 w 85"/>
                <a:gd name="T109" fmla="*/ 155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85" h="160">
                  <a:moveTo>
                    <a:pt x="49" y="158"/>
                  </a:moveTo>
                  <a:cubicBezTo>
                    <a:pt x="52" y="160"/>
                    <a:pt x="52" y="160"/>
                    <a:pt x="52" y="160"/>
                  </a:cubicBezTo>
                  <a:cubicBezTo>
                    <a:pt x="55" y="159"/>
                    <a:pt x="55" y="159"/>
                    <a:pt x="55" y="159"/>
                  </a:cubicBezTo>
                  <a:cubicBezTo>
                    <a:pt x="57" y="158"/>
                    <a:pt x="57" y="158"/>
                    <a:pt x="57" y="158"/>
                  </a:cubicBezTo>
                  <a:cubicBezTo>
                    <a:pt x="57" y="158"/>
                    <a:pt x="59" y="156"/>
                    <a:pt x="59" y="156"/>
                  </a:cubicBezTo>
                  <a:cubicBezTo>
                    <a:pt x="59" y="156"/>
                    <a:pt x="59" y="154"/>
                    <a:pt x="59" y="154"/>
                  </a:cubicBezTo>
                  <a:cubicBezTo>
                    <a:pt x="58" y="153"/>
                    <a:pt x="58" y="153"/>
                    <a:pt x="58" y="153"/>
                  </a:cubicBezTo>
                  <a:cubicBezTo>
                    <a:pt x="58" y="153"/>
                    <a:pt x="57" y="151"/>
                    <a:pt x="58" y="151"/>
                  </a:cubicBezTo>
                  <a:cubicBezTo>
                    <a:pt x="59" y="151"/>
                    <a:pt x="60" y="150"/>
                    <a:pt x="60" y="151"/>
                  </a:cubicBezTo>
                  <a:cubicBezTo>
                    <a:pt x="61" y="151"/>
                    <a:pt x="60" y="151"/>
                    <a:pt x="61" y="151"/>
                  </a:cubicBezTo>
                  <a:cubicBezTo>
                    <a:pt x="62" y="151"/>
                    <a:pt x="63" y="150"/>
                    <a:pt x="63" y="150"/>
                  </a:cubicBezTo>
                  <a:cubicBezTo>
                    <a:pt x="63" y="149"/>
                    <a:pt x="63" y="149"/>
                    <a:pt x="63" y="149"/>
                  </a:cubicBezTo>
                  <a:cubicBezTo>
                    <a:pt x="63" y="149"/>
                    <a:pt x="63" y="149"/>
                    <a:pt x="63" y="149"/>
                  </a:cubicBezTo>
                  <a:cubicBezTo>
                    <a:pt x="62" y="148"/>
                    <a:pt x="59" y="146"/>
                    <a:pt x="58" y="146"/>
                  </a:cubicBezTo>
                  <a:cubicBezTo>
                    <a:pt x="58" y="145"/>
                    <a:pt x="57" y="144"/>
                    <a:pt x="57" y="144"/>
                  </a:cubicBezTo>
                  <a:cubicBezTo>
                    <a:pt x="57" y="143"/>
                    <a:pt x="58" y="142"/>
                    <a:pt x="58" y="142"/>
                  </a:cubicBezTo>
                  <a:cubicBezTo>
                    <a:pt x="57" y="141"/>
                    <a:pt x="57" y="141"/>
                    <a:pt x="57" y="141"/>
                  </a:cubicBezTo>
                  <a:cubicBezTo>
                    <a:pt x="57" y="141"/>
                    <a:pt x="58" y="140"/>
                    <a:pt x="59" y="140"/>
                  </a:cubicBezTo>
                  <a:cubicBezTo>
                    <a:pt x="59" y="140"/>
                    <a:pt x="60" y="140"/>
                    <a:pt x="60" y="140"/>
                  </a:cubicBezTo>
                  <a:cubicBezTo>
                    <a:pt x="61" y="137"/>
                    <a:pt x="61" y="137"/>
                    <a:pt x="61" y="137"/>
                  </a:cubicBezTo>
                  <a:cubicBezTo>
                    <a:pt x="61" y="137"/>
                    <a:pt x="61" y="136"/>
                    <a:pt x="62" y="136"/>
                  </a:cubicBezTo>
                  <a:cubicBezTo>
                    <a:pt x="62" y="136"/>
                    <a:pt x="63" y="136"/>
                    <a:pt x="63" y="136"/>
                  </a:cubicBezTo>
                  <a:cubicBezTo>
                    <a:pt x="70" y="132"/>
                    <a:pt x="70" y="132"/>
                    <a:pt x="70" y="132"/>
                  </a:cubicBezTo>
                  <a:cubicBezTo>
                    <a:pt x="75" y="124"/>
                    <a:pt x="75" y="124"/>
                    <a:pt x="75" y="124"/>
                  </a:cubicBezTo>
                  <a:cubicBezTo>
                    <a:pt x="77" y="115"/>
                    <a:pt x="77" y="115"/>
                    <a:pt x="77" y="115"/>
                  </a:cubicBezTo>
                  <a:cubicBezTo>
                    <a:pt x="80" y="107"/>
                    <a:pt x="80" y="107"/>
                    <a:pt x="80" y="107"/>
                  </a:cubicBezTo>
                  <a:cubicBezTo>
                    <a:pt x="80" y="107"/>
                    <a:pt x="84" y="103"/>
                    <a:pt x="84" y="104"/>
                  </a:cubicBezTo>
                  <a:cubicBezTo>
                    <a:pt x="85" y="105"/>
                    <a:pt x="84" y="96"/>
                    <a:pt x="84" y="96"/>
                  </a:cubicBezTo>
                  <a:cubicBezTo>
                    <a:pt x="81" y="93"/>
                    <a:pt x="81" y="93"/>
                    <a:pt x="81" y="93"/>
                  </a:cubicBezTo>
                  <a:cubicBezTo>
                    <a:pt x="81" y="91"/>
                    <a:pt x="81" y="91"/>
                    <a:pt x="81" y="91"/>
                  </a:cubicBezTo>
                  <a:cubicBezTo>
                    <a:pt x="81" y="91"/>
                    <a:pt x="80" y="91"/>
                    <a:pt x="80" y="91"/>
                  </a:cubicBezTo>
                  <a:cubicBezTo>
                    <a:pt x="80" y="91"/>
                    <a:pt x="80" y="91"/>
                    <a:pt x="79" y="91"/>
                  </a:cubicBezTo>
                  <a:cubicBezTo>
                    <a:pt x="79" y="90"/>
                    <a:pt x="79" y="90"/>
                    <a:pt x="79" y="90"/>
                  </a:cubicBezTo>
                  <a:cubicBezTo>
                    <a:pt x="77" y="88"/>
                    <a:pt x="77" y="88"/>
                    <a:pt x="77" y="88"/>
                  </a:cubicBezTo>
                  <a:cubicBezTo>
                    <a:pt x="77" y="88"/>
                    <a:pt x="76" y="89"/>
                    <a:pt x="75" y="89"/>
                  </a:cubicBezTo>
                  <a:cubicBezTo>
                    <a:pt x="74" y="89"/>
                    <a:pt x="74" y="88"/>
                    <a:pt x="73" y="88"/>
                  </a:cubicBezTo>
                  <a:cubicBezTo>
                    <a:pt x="73" y="88"/>
                    <a:pt x="73" y="88"/>
                    <a:pt x="73" y="88"/>
                  </a:cubicBezTo>
                  <a:cubicBezTo>
                    <a:pt x="73" y="88"/>
                    <a:pt x="72" y="88"/>
                    <a:pt x="71" y="88"/>
                  </a:cubicBezTo>
                  <a:cubicBezTo>
                    <a:pt x="70" y="88"/>
                    <a:pt x="69" y="90"/>
                    <a:pt x="68" y="90"/>
                  </a:cubicBezTo>
                  <a:cubicBezTo>
                    <a:pt x="68" y="90"/>
                    <a:pt x="68" y="90"/>
                    <a:pt x="68" y="90"/>
                  </a:cubicBezTo>
                  <a:cubicBezTo>
                    <a:pt x="68" y="90"/>
                    <a:pt x="68" y="90"/>
                    <a:pt x="68" y="90"/>
                  </a:cubicBezTo>
                  <a:cubicBezTo>
                    <a:pt x="68" y="90"/>
                    <a:pt x="68" y="90"/>
                    <a:pt x="68" y="90"/>
                  </a:cubicBezTo>
                  <a:cubicBezTo>
                    <a:pt x="68" y="90"/>
                    <a:pt x="68" y="90"/>
                    <a:pt x="68" y="90"/>
                  </a:cubicBezTo>
                  <a:cubicBezTo>
                    <a:pt x="68" y="90"/>
                    <a:pt x="68" y="90"/>
                    <a:pt x="68" y="90"/>
                  </a:cubicBezTo>
                  <a:cubicBezTo>
                    <a:pt x="68" y="90"/>
                    <a:pt x="68" y="90"/>
                    <a:pt x="68" y="90"/>
                  </a:cubicBezTo>
                  <a:cubicBezTo>
                    <a:pt x="68" y="90"/>
                    <a:pt x="68" y="90"/>
                    <a:pt x="68" y="90"/>
                  </a:cubicBezTo>
                  <a:cubicBezTo>
                    <a:pt x="68" y="90"/>
                    <a:pt x="68" y="90"/>
                    <a:pt x="68" y="90"/>
                  </a:cubicBezTo>
                  <a:cubicBezTo>
                    <a:pt x="68" y="90"/>
                    <a:pt x="68" y="90"/>
                    <a:pt x="68" y="90"/>
                  </a:cubicBezTo>
                  <a:cubicBezTo>
                    <a:pt x="68" y="89"/>
                    <a:pt x="68" y="89"/>
                    <a:pt x="68" y="89"/>
                  </a:cubicBezTo>
                  <a:cubicBezTo>
                    <a:pt x="68" y="88"/>
                    <a:pt x="68" y="88"/>
                    <a:pt x="67" y="87"/>
                  </a:cubicBezTo>
                  <a:cubicBezTo>
                    <a:pt x="67" y="86"/>
                    <a:pt x="67" y="84"/>
                    <a:pt x="66" y="83"/>
                  </a:cubicBezTo>
                  <a:cubicBezTo>
                    <a:pt x="65" y="82"/>
                    <a:pt x="65" y="81"/>
                    <a:pt x="65" y="81"/>
                  </a:cubicBezTo>
                  <a:cubicBezTo>
                    <a:pt x="65" y="81"/>
                    <a:pt x="63" y="81"/>
                    <a:pt x="62" y="81"/>
                  </a:cubicBezTo>
                  <a:cubicBezTo>
                    <a:pt x="62" y="81"/>
                    <a:pt x="61" y="81"/>
                    <a:pt x="61" y="81"/>
                  </a:cubicBezTo>
                  <a:cubicBezTo>
                    <a:pt x="61" y="81"/>
                    <a:pt x="60" y="79"/>
                    <a:pt x="61" y="79"/>
                  </a:cubicBezTo>
                  <a:cubicBezTo>
                    <a:pt x="61" y="78"/>
                    <a:pt x="60" y="77"/>
                    <a:pt x="59" y="76"/>
                  </a:cubicBezTo>
                  <a:cubicBezTo>
                    <a:pt x="59" y="76"/>
                    <a:pt x="57" y="73"/>
                    <a:pt x="57" y="73"/>
                  </a:cubicBezTo>
                  <a:cubicBezTo>
                    <a:pt x="57" y="73"/>
                    <a:pt x="56" y="73"/>
                    <a:pt x="56" y="72"/>
                  </a:cubicBezTo>
                  <a:cubicBezTo>
                    <a:pt x="56" y="71"/>
                    <a:pt x="56" y="70"/>
                    <a:pt x="56" y="70"/>
                  </a:cubicBezTo>
                  <a:cubicBezTo>
                    <a:pt x="55" y="68"/>
                    <a:pt x="55" y="68"/>
                    <a:pt x="55" y="68"/>
                  </a:cubicBezTo>
                  <a:cubicBezTo>
                    <a:pt x="55" y="68"/>
                    <a:pt x="57" y="67"/>
                    <a:pt x="57" y="66"/>
                  </a:cubicBezTo>
                  <a:cubicBezTo>
                    <a:pt x="57" y="66"/>
                    <a:pt x="58" y="65"/>
                    <a:pt x="57" y="64"/>
                  </a:cubicBezTo>
                  <a:cubicBezTo>
                    <a:pt x="57" y="63"/>
                    <a:pt x="55" y="62"/>
                    <a:pt x="55" y="62"/>
                  </a:cubicBezTo>
                  <a:cubicBezTo>
                    <a:pt x="54" y="61"/>
                    <a:pt x="53" y="60"/>
                    <a:pt x="52" y="59"/>
                  </a:cubicBezTo>
                  <a:cubicBezTo>
                    <a:pt x="52" y="58"/>
                    <a:pt x="52" y="57"/>
                    <a:pt x="52" y="57"/>
                  </a:cubicBezTo>
                  <a:cubicBezTo>
                    <a:pt x="52" y="57"/>
                    <a:pt x="52" y="56"/>
                    <a:pt x="53" y="56"/>
                  </a:cubicBezTo>
                  <a:cubicBezTo>
                    <a:pt x="54" y="55"/>
                    <a:pt x="55" y="55"/>
                    <a:pt x="55" y="54"/>
                  </a:cubicBezTo>
                  <a:cubicBezTo>
                    <a:pt x="55" y="54"/>
                    <a:pt x="56" y="54"/>
                    <a:pt x="56" y="53"/>
                  </a:cubicBezTo>
                  <a:cubicBezTo>
                    <a:pt x="55" y="52"/>
                    <a:pt x="54" y="51"/>
                    <a:pt x="54" y="51"/>
                  </a:cubicBezTo>
                  <a:cubicBezTo>
                    <a:pt x="55" y="48"/>
                    <a:pt x="55" y="48"/>
                    <a:pt x="55" y="48"/>
                  </a:cubicBezTo>
                  <a:cubicBezTo>
                    <a:pt x="54" y="47"/>
                    <a:pt x="54" y="47"/>
                    <a:pt x="54" y="47"/>
                  </a:cubicBezTo>
                  <a:cubicBezTo>
                    <a:pt x="54" y="43"/>
                    <a:pt x="54" y="43"/>
                    <a:pt x="54" y="43"/>
                  </a:cubicBezTo>
                  <a:cubicBezTo>
                    <a:pt x="54" y="42"/>
                    <a:pt x="54" y="42"/>
                    <a:pt x="54" y="42"/>
                  </a:cubicBezTo>
                  <a:cubicBezTo>
                    <a:pt x="54" y="42"/>
                    <a:pt x="55" y="40"/>
                    <a:pt x="55" y="40"/>
                  </a:cubicBezTo>
                  <a:cubicBezTo>
                    <a:pt x="55" y="39"/>
                    <a:pt x="55" y="37"/>
                    <a:pt x="55" y="37"/>
                  </a:cubicBezTo>
                  <a:cubicBezTo>
                    <a:pt x="55" y="36"/>
                    <a:pt x="55" y="36"/>
                    <a:pt x="55" y="36"/>
                  </a:cubicBezTo>
                  <a:cubicBezTo>
                    <a:pt x="56" y="33"/>
                    <a:pt x="56" y="33"/>
                    <a:pt x="56" y="33"/>
                  </a:cubicBezTo>
                  <a:cubicBezTo>
                    <a:pt x="54" y="30"/>
                    <a:pt x="54" y="30"/>
                    <a:pt x="54" y="30"/>
                  </a:cubicBezTo>
                  <a:cubicBezTo>
                    <a:pt x="54" y="30"/>
                    <a:pt x="54" y="30"/>
                    <a:pt x="54" y="29"/>
                  </a:cubicBezTo>
                  <a:cubicBezTo>
                    <a:pt x="53" y="28"/>
                    <a:pt x="53" y="26"/>
                    <a:pt x="53" y="26"/>
                  </a:cubicBezTo>
                  <a:cubicBezTo>
                    <a:pt x="52" y="23"/>
                    <a:pt x="52" y="23"/>
                    <a:pt x="52" y="23"/>
                  </a:cubicBezTo>
                  <a:cubicBezTo>
                    <a:pt x="52" y="23"/>
                    <a:pt x="50" y="21"/>
                    <a:pt x="49" y="20"/>
                  </a:cubicBezTo>
                  <a:cubicBezTo>
                    <a:pt x="49" y="20"/>
                    <a:pt x="49" y="19"/>
                    <a:pt x="47" y="18"/>
                  </a:cubicBezTo>
                  <a:cubicBezTo>
                    <a:pt x="46" y="18"/>
                    <a:pt x="44" y="17"/>
                    <a:pt x="44" y="17"/>
                  </a:cubicBezTo>
                  <a:cubicBezTo>
                    <a:pt x="42" y="17"/>
                    <a:pt x="42" y="17"/>
                    <a:pt x="42" y="17"/>
                  </a:cubicBezTo>
                  <a:cubicBezTo>
                    <a:pt x="40" y="15"/>
                    <a:pt x="40" y="15"/>
                    <a:pt x="40" y="15"/>
                  </a:cubicBezTo>
                  <a:cubicBezTo>
                    <a:pt x="38" y="15"/>
                    <a:pt x="38" y="15"/>
                    <a:pt x="38" y="15"/>
                  </a:cubicBezTo>
                  <a:cubicBezTo>
                    <a:pt x="37" y="12"/>
                    <a:pt x="37" y="12"/>
                    <a:pt x="37" y="12"/>
                  </a:cubicBezTo>
                  <a:cubicBezTo>
                    <a:pt x="36" y="9"/>
                    <a:pt x="36" y="9"/>
                    <a:pt x="36" y="9"/>
                  </a:cubicBezTo>
                  <a:cubicBezTo>
                    <a:pt x="34" y="7"/>
                    <a:pt x="34" y="7"/>
                    <a:pt x="34" y="7"/>
                  </a:cubicBezTo>
                  <a:cubicBezTo>
                    <a:pt x="32" y="6"/>
                    <a:pt x="32" y="6"/>
                    <a:pt x="32" y="6"/>
                  </a:cubicBezTo>
                  <a:cubicBezTo>
                    <a:pt x="31" y="5"/>
                    <a:pt x="31" y="5"/>
                    <a:pt x="31" y="5"/>
                  </a:cubicBezTo>
                  <a:cubicBezTo>
                    <a:pt x="29" y="4"/>
                    <a:pt x="29" y="4"/>
                    <a:pt x="29" y="4"/>
                  </a:cubicBezTo>
                  <a:cubicBezTo>
                    <a:pt x="28" y="4"/>
                    <a:pt x="28" y="4"/>
                    <a:pt x="28" y="4"/>
                  </a:cubicBezTo>
                  <a:cubicBezTo>
                    <a:pt x="28" y="4"/>
                    <a:pt x="27" y="6"/>
                    <a:pt x="27" y="6"/>
                  </a:cubicBezTo>
                  <a:cubicBezTo>
                    <a:pt x="27" y="6"/>
                    <a:pt x="24" y="7"/>
                    <a:pt x="24" y="7"/>
                  </a:cubicBezTo>
                  <a:cubicBezTo>
                    <a:pt x="22" y="9"/>
                    <a:pt x="22" y="9"/>
                    <a:pt x="22" y="9"/>
                  </a:cubicBezTo>
                  <a:cubicBezTo>
                    <a:pt x="20" y="10"/>
                    <a:pt x="20" y="10"/>
                    <a:pt x="20" y="10"/>
                  </a:cubicBezTo>
                  <a:cubicBezTo>
                    <a:pt x="20" y="10"/>
                    <a:pt x="20" y="10"/>
                    <a:pt x="20" y="9"/>
                  </a:cubicBezTo>
                  <a:cubicBezTo>
                    <a:pt x="19" y="9"/>
                    <a:pt x="19" y="9"/>
                    <a:pt x="19" y="9"/>
                  </a:cubicBezTo>
                  <a:cubicBezTo>
                    <a:pt x="19" y="9"/>
                    <a:pt x="18" y="8"/>
                    <a:pt x="18" y="7"/>
                  </a:cubicBezTo>
                  <a:cubicBezTo>
                    <a:pt x="18" y="7"/>
                    <a:pt x="17" y="6"/>
                    <a:pt x="17" y="6"/>
                  </a:cubicBezTo>
                  <a:cubicBezTo>
                    <a:pt x="17" y="6"/>
                    <a:pt x="17" y="5"/>
                    <a:pt x="17" y="5"/>
                  </a:cubicBezTo>
                  <a:cubicBezTo>
                    <a:pt x="17" y="4"/>
                    <a:pt x="17" y="3"/>
                    <a:pt x="17" y="3"/>
                  </a:cubicBezTo>
                  <a:cubicBezTo>
                    <a:pt x="17" y="2"/>
                    <a:pt x="17" y="2"/>
                    <a:pt x="17" y="2"/>
                  </a:cubicBezTo>
                  <a:cubicBezTo>
                    <a:pt x="16" y="1"/>
                    <a:pt x="16" y="1"/>
                    <a:pt x="16" y="1"/>
                  </a:cubicBezTo>
                  <a:cubicBezTo>
                    <a:pt x="16" y="0"/>
                    <a:pt x="16" y="0"/>
                    <a:pt x="16" y="0"/>
                  </a:cubicBezTo>
                  <a:cubicBezTo>
                    <a:pt x="16" y="0"/>
                    <a:pt x="14" y="0"/>
                    <a:pt x="14" y="0"/>
                  </a:cubicBezTo>
                  <a:cubicBezTo>
                    <a:pt x="14" y="0"/>
                    <a:pt x="10" y="4"/>
                    <a:pt x="10" y="4"/>
                  </a:cubicBezTo>
                  <a:cubicBezTo>
                    <a:pt x="11" y="5"/>
                    <a:pt x="11" y="5"/>
                    <a:pt x="11" y="5"/>
                  </a:cubicBezTo>
                  <a:cubicBezTo>
                    <a:pt x="10" y="7"/>
                    <a:pt x="10" y="7"/>
                    <a:pt x="10" y="7"/>
                  </a:cubicBezTo>
                  <a:cubicBezTo>
                    <a:pt x="9" y="9"/>
                    <a:pt x="9" y="9"/>
                    <a:pt x="9" y="9"/>
                  </a:cubicBezTo>
                  <a:cubicBezTo>
                    <a:pt x="8" y="11"/>
                    <a:pt x="8" y="11"/>
                    <a:pt x="8" y="11"/>
                  </a:cubicBezTo>
                  <a:cubicBezTo>
                    <a:pt x="8" y="11"/>
                    <a:pt x="7" y="12"/>
                    <a:pt x="7" y="13"/>
                  </a:cubicBezTo>
                  <a:cubicBezTo>
                    <a:pt x="7" y="13"/>
                    <a:pt x="6" y="14"/>
                    <a:pt x="6" y="14"/>
                  </a:cubicBezTo>
                  <a:cubicBezTo>
                    <a:pt x="5" y="15"/>
                    <a:pt x="5" y="15"/>
                    <a:pt x="5" y="15"/>
                  </a:cubicBezTo>
                  <a:cubicBezTo>
                    <a:pt x="4" y="16"/>
                    <a:pt x="4" y="16"/>
                    <a:pt x="4" y="16"/>
                  </a:cubicBezTo>
                  <a:cubicBezTo>
                    <a:pt x="4" y="18"/>
                    <a:pt x="4" y="18"/>
                    <a:pt x="4" y="18"/>
                  </a:cubicBezTo>
                  <a:cubicBezTo>
                    <a:pt x="4" y="18"/>
                    <a:pt x="4" y="19"/>
                    <a:pt x="4" y="20"/>
                  </a:cubicBezTo>
                  <a:cubicBezTo>
                    <a:pt x="4" y="20"/>
                    <a:pt x="3" y="21"/>
                    <a:pt x="3" y="21"/>
                  </a:cubicBezTo>
                  <a:cubicBezTo>
                    <a:pt x="2" y="23"/>
                    <a:pt x="2" y="23"/>
                    <a:pt x="2" y="23"/>
                  </a:cubicBezTo>
                  <a:cubicBezTo>
                    <a:pt x="0" y="25"/>
                    <a:pt x="0" y="25"/>
                    <a:pt x="0" y="25"/>
                  </a:cubicBezTo>
                  <a:cubicBezTo>
                    <a:pt x="0" y="27"/>
                    <a:pt x="0" y="27"/>
                    <a:pt x="0" y="27"/>
                  </a:cubicBezTo>
                  <a:cubicBezTo>
                    <a:pt x="1" y="28"/>
                    <a:pt x="1" y="28"/>
                    <a:pt x="1" y="28"/>
                  </a:cubicBezTo>
                  <a:cubicBezTo>
                    <a:pt x="3" y="29"/>
                    <a:pt x="3" y="29"/>
                    <a:pt x="3" y="29"/>
                  </a:cubicBezTo>
                  <a:cubicBezTo>
                    <a:pt x="5" y="30"/>
                    <a:pt x="5" y="30"/>
                    <a:pt x="5" y="30"/>
                  </a:cubicBezTo>
                  <a:cubicBezTo>
                    <a:pt x="5" y="30"/>
                    <a:pt x="5" y="31"/>
                    <a:pt x="5" y="32"/>
                  </a:cubicBezTo>
                  <a:cubicBezTo>
                    <a:pt x="5" y="32"/>
                    <a:pt x="5" y="33"/>
                    <a:pt x="5" y="33"/>
                  </a:cubicBezTo>
                  <a:cubicBezTo>
                    <a:pt x="4" y="35"/>
                    <a:pt x="4" y="35"/>
                    <a:pt x="4" y="35"/>
                  </a:cubicBezTo>
                  <a:cubicBezTo>
                    <a:pt x="4" y="35"/>
                    <a:pt x="5" y="36"/>
                    <a:pt x="5" y="36"/>
                  </a:cubicBezTo>
                  <a:cubicBezTo>
                    <a:pt x="5" y="36"/>
                    <a:pt x="5" y="37"/>
                    <a:pt x="5" y="37"/>
                  </a:cubicBezTo>
                  <a:cubicBezTo>
                    <a:pt x="5" y="37"/>
                    <a:pt x="5" y="39"/>
                    <a:pt x="5" y="39"/>
                  </a:cubicBezTo>
                  <a:cubicBezTo>
                    <a:pt x="4" y="40"/>
                    <a:pt x="4" y="40"/>
                    <a:pt x="4" y="40"/>
                  </a:cubicBezTo>
                  <a:cubicBezTo>
                    <a:pt x="4" y="40"/>
                    <a:pt x="5" y="41"/>
                    <a:pt x="5" y="42"/>
                  </a:cubicBezTo>
                  <a:cubicBezTo>
                    <a:pt x="5" y="42"/>
                    <a:pt x="5" y="43"/>
                    <a:pt x="5" y="43"/>
                  </a:cubicBezTo>
                  <a:cubicBezTo>
                    <a:pt x="4" y="43"/>
                    <a:pt x="6" y="45"/>
                    <a:pt x="6" y="45"/>
                  </a:cubicBezTo>
                  <a:cubicBezTo>
                    <a:pt x="6" y="45"/>
                    <a:pt x="7" y="44"/>
                    <a:pt x="8" y="44"/>
                  </a:cubicBezTo>
                  <a:cubicBezTo>
                    <a:pt x="8" y="44"/>
                    <a:pt x="10" y="44"/>
                    <a:pt x="10" y="44"/>
                  </a:cubicBezTo>
                  <a:cubicBezTo>
                    <a:pt x="12" y="45"/>
                    <a:pt x="12" y="45"/>
                    <a:pt x="12" y="45"/>
                  </a:cubicBezTo>
                  <a:cubicBezTo>
                    <a:pt x="14" y="45"/>
                    <a:pt x="14" y="45"/>
                    <a:pt x="14" y="45"/>
                  </a:cubicBezTo>
                  <a:cubicBezTo>
                    <a:pt x="15" y="47"/>
                    <a:pt x="15" y="47"/>
                    <a:pt x="15" y="47"/>
                  </a:cubicBezTo>
                  <a:cubicBezTo>
                    <a:pt x="15" y="49"/>
                    <a:pt x="15" y="49"/>
                    <a:pt x="15" y="49"/>
                  </a:cubicBezTo>
                  <a:cubicBezTo>
                    <a:pt x="15" y="52"/>
                    <a:pt x="15" y="52"/>
                    <a:pt x="15" y="52"/>
                  </a:cubicBezTo>
                  <a:cubicBezTo>
                    <a:pt x="14" y="54"/>
                    <a:pt x="14" y="54"/>
                    <a:pt x="14" y="54"/>
                  </a:cubicBezTo>
                  <a:cubicBezTo>
                    <a:pt x="16" y="55"/>
                    <a:pt x="16" y="55"/>
                    <a:pt x="16" y="55"/>
                  </a:cubicBezTo>
                  <a:cubicBezTo>
                    <a:pt x="16" y="55"/>
                    <a:pt x="16" y="55"/>
                    <a:pt x="16" y="55"/>
                  </a:cubicBezTo>
                  <a:cubicBezTo>
                    <a:pt x="16" y="55"/>
                    <a:pt x="16" y="57"/>
                    <a:pt x="16" y="58"/>
                  </a:cubicBezTo>
                  <a:cubicBezTo>
                    <a:pt x="15" y="58"/>
                    <a:pt x="14" y="58"/>
                    <a:pt x="13" y="59"/>
                  </a:cubicBezTo>
                  <a:cubicBezTo>
                    <a:pt x="12" y="59"/>
                    <a:pt x="11" y="59"/>
                    <a:pt x="11" y="59"/>
                  </a:cubicBezTo>
                  <a:cubicBezTo>
                    <a:pt x="11" y="60"/>
                    <a:pt x="11" y="60"/>
                    <a:pt x="11" y="60"/>
                  </a:cubicBezTo>
                  <a:cubicBezTo>
                    <a:pt x="13" y="61"/>
                    <a:pt x="13" y="61"/>
                    <a:pt x="13" y="61"/>
                  </a:cubicBezTo>
                  <a:cubicBezTo>
                    <a:pt x="13" y="61"/>
                    <a:pt x="14" y="61"/>
                    <a:pt x="14" y="61"/>
                  </a:cubicBezTo>
                  <a:cubicBezTo>
                    <a:pt x="14" y="62"/>
                    <a:pt x="14" y="64"/>
                    <a:pt x="14" y="64"/>
                  </a:cubicBezTo>
                  <a:cubicBezTo>
                    <a:pt x="14" y="64"/>
                    <a:pt x="14" y="65"/>
                    <a:pt x="13" y="65"/>
                  </a:cubicBezTo>
                  <a:cubicBezTo>
                    <a:pt x="13" y="65"/>
                    <a:pt x="12" y="66"/>
                    <a:pt x="12" y="66"/>
                  </a:cubicBezTo>
                  <a:cubicBezTo>
                    <a:pt x="11" y="67"/>
                    <a:pt x="11" y="67"/>
                    <a:pt x="11" y="67"/>
                  </a:cubicBezTo>
                  <a:cubicBezTo>
                    <a:pt x="10" y="68"/>
                    <a:pt x="10" y="68"/>
                    <a:pt x="10" y="68"/>
                  </a:cubicBezTo>
                  <a:cubicBezTo>
                    <a:pt x="8" y="69"/>
                    <a:pt x="8" y="69"/>
                    <a:pt x="8" y="69"/>
                  </a:cubicBezTo>
                  <a:cubicBezTo>
                    <a:pt x="10" y="71"/>
                    <a:pt x="10" y="71"/>
                    <a:pt x="10" y="71"/>
                  </a:cubicBezTo>
                  <a:cubicBezTo>
                    <a:pt x="11" y="71"/>
                    <a:pt x="11" y="71"/>
                    <a:pt x="11" y="71"/>
                  </a:cubicBezTo>
                  <a:cubicBezTo>
                    <a:pt x="11" y="71"/>
                    <a:pt x="12" y="72"/>
                    <a:pt x="12" y="72"/>
                  </a:cubicBezTo>
                  <a:cubicBezTo>
                    <a:pt x="12" y="72"/>
                    <a:pt x="15" y="74"/>
                    <a:pt x="15" y="74"/>
                  </a:cubicBezTo>
                  <a:cubicBezTo>
                    <a:pt x="14" y="75"/>
                    <a:pt x="14" y="75"/>
                    <a:pt x="14" y="75"/>
                  </a:cubicBezTo>
                  <a:cubicBezTo>
                    <a:pt x="14" y="75"/>
                    <a:pt x="14" y="76"/>
                    <a:pt x="14" y="77"/>
                  </a:cubicBezTo>
                  <a:cubicBezTo>
                    <a:pt x="14" y="78"/>
                    <a:pt x="14" y="81"/>
                    <a:pt x="14" y="81"/>
                  </a:cubicBezTo>
                  <a:cubicBezTo>
                    <a:pt x="13" y="82"/>
                    <a:pt x="13" y="82"/>
                    <a:pt x="13" y="82"/>
                  </a:cubicBezTo>
                  <a:cubicBezTo>
                    <a:pt x="13" y="83"/>
                    <a:pt x="14" y="86"/>
                    <a:pt x="14" y="86"/>
                  </a:cubicBezTo>
                  <a:cubicBezTo>
                    <a:pt x="14" y="87"/>
                    <a:pt x="14" y="87"/>
                    <a:pt x="14" y="87"/>
                  </a:cubicBezTo>
                  <a:cubicBezTo>
                    <a:pt x="13" y="88"/>
                    <a:pt x="13" y="88"/>
                    <a:pt x="13" y="88"/>
                  </a:cubicBezTo>
                  <a:cubicBezTo>
                    <a:pt x="17" y="90"/>
                    <a:pt x="17" y="90"/>
                    <a:pt x="17" y="90"/>
                  </a:cubicBezTo>
                  <a:cubicBezTo>
                    <a:pt x="16" y="92"/>
                    <a:pt x="16" y="92"/>
                    <a:pt x="16" y="92"/>
                  </a:cubicBezTo>
                  <a:cubicBezTo>
                    <a:pt x="14" y="93"/>
                    <a:pt x="14" y="93"/>
                    <a:pt x="14" y="93"/>
                  </a:cubicBezTo>
                  <a:cubicBezTo>
                    <a:pt x="14" y="93"/>
                    <a:pt x="13" y="93"/>
                    <a:pt x="13" y="93"/>
                  </a:cubicBezTo>
                  <a:cubicBezTo>
                    <a:pt x="13" y="94"/>
                    <a:pt x="13" y="95"/>
                    <a:pt x="13" y="95"/>
                  </a:cubicBezTo>
                  <a:cubicBezTo>
                    <a:pt x="14" y="96"/>
                    <a:pt x="14" y="96"/>
                    <a:pt x="14" y="96"/>
                  </a:cubicBezTo>
                  <a:cubicBezTo>
                    <a:pt x="13" y="97"/>
                    <a:pt x="13" y="97"/>
                    <a:pt x="13" y="97"/>
                  </a:cubicBezTo>
                  <a:cubicBezTo>
                    <a:pt x="13" y="97"/>
                    <a:pt x="13" y="97"/>
                    <a:pt x="13" y="97"/>
                  </a:cubicBezTo>
                  <a:cubicBezTo>
                    <a:pt x="13" y="97"/>
                    <a:pt x="13" y="99"/>
                    <a:pt x="13" y="99"/>
                  </a:cubicBezTo>
                  <a:cubicBezTo>
                    <a:pt x="13" y="99"/>
                    <a:pt x="13" y="100"/>
                    <a:pt x="12" y="100"/>
                  </a:cubicBezTo>
                  <a:cubicBezTo>
                    <a:pt x="12" y="100"/>
                    <a:pt x="11" y="101"/>
                    <a:pt x="11" y="101"/>
                  </a:cubicBezTo>
                  <a:cubicBezTo>
                    <a:pt x="12" y="103"/>
                    <a:pt x="12" y="103"/>
                    <a:pt x="12" y="103"/>
                  </a:cubicBezTo>
                  <a:cubicBezTo>
                    <a:pt x="11" y="107"/>
                    <a:pt x="11" y="107"/>
                    <a:pt x="11" y="107"/>
                  </a:cubicBezTo>
                  <a:cubicBezTo>
                    <a:pt x="11" y="108"/>
                    <a:pt x="11" y="108"/>
                    <a:pt x="11" y="108"/>
                  </a:cubicBezTo>
                  <a:cubicBezTo>
                    <a:pt x="12" y="111"/>
                    <a:pt x="12" y="111"/>
                    <a:pt x="12" y="111"/>
                  </a:cubicBezTo>
                  <a:cubicBezTo>
                    <a:pt x="14" y="114"/>
                    <a:pt x="14" y="114"/>
                    <a:pt x="14" y="114"/>
                  </a:cubicBezTo>
                  <a:cubicBezTo>
                    <a:pt x="16" y="116"/>
                    <a:pt x="16" y="116"/>
                    <a:pt x="16" y="116"/>
                  </a:cubicBezTo>
                  <a:cubicBezTo>
                    <a:pt x="17" y="118"/>
                    <a:pt x="17" y="118"/>
                    <a:pt x="17" y="118"/>
                  </a:cubicBezTo>
                  <a:cubicBezTo>
                    <a:pt x="19" y="119"/>
                    <a:pt x="19" y="119"/>
                    <a:pt x="19" y="119"/>
                  </a:cubicBezTo>
                  <a:cubicBezTo>
                    <a:pt x="18" y="122"/>
                    <a:pt x="18" y="122"/>
                    <a:pt x="18" y="122"/>
                  </a:cubicBezTo>
                  <a:cubicBezTo>
                    <a:pt x="19" y="123"/>
                    <a:pt x="19" y="123"/>
                    <a:pt x="19" y="123"/>
                  </a:cubicBezTo>
                  <a:cubicBezTo>
                    <a:pt x="19" y="125"/>
                    <a:pt x="19" y="125"/>
                    <a:pt x="19" y="125"/>
                  </a:cubicBezTo>
                  <a:cubicBezTo>
                    <a:pt x="19" y="125"/>
                    <a:pt x="19" y="125"/>
                    <a:pt x="18" y="126"/>
                  </a:cubicBezTo>
                  <a:cubicBezTo>
                    <a:pt x="18" y="126"/>
                    <a:pt x="18" y="126"/>
                    <a:pt x="17" y="125"/>
                  </a:cubicBezTo>
                  <a:cubicBezTo>
                    <a:pt x="16" y="125"/>
                    <a:pt x="15" y="123"/>
                    <a:pt x="15" y="123"/>
                  </a:cubicBezTo>
                  <a:cubicBezTo>
                    <a:pt x="15" y="123"/>
                    <a:pt x="14" y="121"/>
                    <a:pt x="14" y="121"/>
                  </a:cubicBezTo>
                  <a:cubicBezTo>
                    <a:pt x="14" y="121"/>
                    <a:pt x="13" y="120"/>
                    <a:pt x="13" y="120"/>
                  </a:cubicBezTo>
                  <a:cubicBezTo>
                    <a:pt x="11" y="120"/>
                    <a:pt x="11" y="120"/>
                    <a:pt x="11" y="120"/>
                  </a:cubicBezTo>
                  <a:cubicBezTo>
                    <a:pt x="11" y="120"/>
                    <a:pt x="11" y="121"/>
                    <a:pt x="11" y="121"/>
                  </a:cubicBezTo>
                  <a:cubicBezTo>
                    <a:pt x="11" y="122"/>
                    <a:pt x="11" y="122"/>
                    <a:pt x="12" y="123"/>
                  </a:cubicBezTo>
                  <a:cubicBezTo>
                    <a:pt x="13" y="124"/>
                    <a:pt x="13" y="124"/>
                    <a:pt x="14" y="124"/>
                  </a:cubicBezTo>
                  <a:cubicBezTo>
                    <a:pt x="14" y="124"/>
                    <a:pt x="14" y="125"/>
                    <a:pt x="15" y="125"/>
                  </a:cubicBezTo>
                  <a:cubicBezTo>
                    <a:pt x="15" y="126"/>
                    <a:pt x="15" y="128"/>
                    <a:pt x="15" y="128"/>
                  </a:cubicBezTo>
                  <a:cubicBezTo>
                    <a:pt x="17" y="130"/>
                    <a:pt x="17" y="130"/>
                    <a:pt x="17" y="130"/>
                  </a:cubicBezTo>
                  <a:cubicBezTo>
                    <a:pt x="19" y="131"/>
                    <a:pt x="19" y="131"/>
                    <a:pt x="19" y="131"/>
                  </a:cubicBezTo>
                  <a:cubicBezTo>
                    <a:pt x="27" y="135"/>
                    <a:pt x="27" y="135"/>
                    <a:pt x="27" y="135"/>
                  </a:cubicBezTo>
                  <a:cubicBezTo>
                    <a:pt x="30" y="136"/>
                    <a:pt x="30" y="136"/>
                    <a:pt x="30" y="136"/>
                  </a:cubicBezTo>
                  <a:cubicBezTo>
                    <a:pt x="31" y="136"/>
                    <a:pt x="31" y="136"/>
                    <a:pt x="31" y="136"/>
                  </a:cubicBezTo>
                  <a:cubicBezTo>
                    <a:pt x="32" y="138"/>
                    <a:pt x="32" y="138"/>
                    <a:pt x="32" y="138"/>
                  </a:cubicBezTo>
                  <a:cubicBezTo>
                    <a:pt x="33" y="139"/>
                    <a:pt x="33" y="139"/>
                    <a:pt x="33" y="139"/>
                  </a:cubicBezTo>
                  <a:cubicBezTo>
                    <a:pt x="33" y="139"/>
                    <a:pt x="34" y="139"/>
                    <a:pt x="35" y="139"/>
                  </a:cubicBezTo>
                  <a:cubicBezTo>
                    <a:pt x="35" y="139"/>
                    <a:pt x="37" y="139"/>
                    <a:pt x="37" y="139"/>
                  </a:cubicBezTo>
                  <a:cubicBezTo>
                    <a:pt x="37" y="139"/>
                    <a:pt x="38" y="138"/>
                    <a:pt x="38" y="139"/>
                  </a:cubicBezTo>
                  <a:cubicBezTo>
                    <a:pt x="38" y="140"/>
                    <a:pt x="41" y="145"/>
                    <a:pt x="41" y="145"/>
                  </a:cubicBezTo>
                  <a:cubicBezTo>
                    <a:pt x="41" y="145"/>
                    <a:pt x="41" y="146"/>
                    <a:pt x="42" y="147"/>
                  </a:cubicBezTo>
                  <a:cubicBezTo>
                    <a:pt x="43" y="148"/>
                    <a:pt x="45" y="149"/>
                    <a:pt x="45" y="149"/>
                  </a:cubicBezTo>
                  <a:cubicBezTo>
                    <a:pt x="45" y="149"/>
                    <a:pt x="44" y="150"/>
                    <a:pt x="44" y="151"/>
                  </a:cubicBezTo>
                  <a:cubicBezTo>
                    <a:pt x="45" y="152"/>
                    <a:pt x="44" y="152"/>
                    <a:pt x="45" y="152"/>
                  </a:cubicBezTo>
                  <a:cubicBezTo>
                    <a:pt x="45" y="153"/>
                    <a:pt x="45" y="153"/>
                    <a:pt x="45" y="153"/>
                  </a:cubicBezTo>
                  <a:cubicBezTo>
                    <a:pt x="45" y="153"/>
                    <a:pt x="45" y="153"/>
                    <a:pt x="45" y="154"/>
                  </a:cubicBezTo>
                  <a:cubicBezTo>
                    <a:pt x="46" y="154"/>
                    <a:pt x="46" y="155"/>
                    <a:pt x="46" y="155"/>
                  </a:cubicBezTo>
                  <a:cubicBezTo>
                    <a:pt x="46" y="158"/>
                    <a:pt x="46" y="158"/>
                    <a:pt x="46" y="158"/>
                  </a:cubicBezTo>
                  <a:cubicBezTo>
                    <a:pt x="48" y="158"/>
                    <a:pt x="48" y="158"/>
                    <a:pt x="48" y="158"/>
                  </a:cubicBezTo>
                  <a:lnTo>
                    <a:pt x="49" y="158"/>
                  </a:lnTo>
                  <a:close/>
                </a:path>
              </a:pathLst>
            </a:custGeom>
            <a:solidFill>
              <a:srgbClr val="E6EFF1"/>
            </a:solidFill>
            <a:ln w="12700" cap="rnd" cmpd="sng">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Lato Light"/>
              </a:endParaRPr>
            </a:p>
          </p:txBody>
        </p:sp>
        <p:sp>
          <p:nvSpPr>
            <p:cNvPr id="9" name="Freeform 6">
              <a:extLst>
                <a:ext uri="{FF2B5EF4-FFF2-40B4-BE49-F238E27FC236}">
                  <a16:creationId xmlns:a16="http://schemas.microsoft.com/office/drawing/2014/main" id="{D2F74C44-D499-149F-EE42-BA50E2BAF167}"/>
                </a:ext>
              </a:extLst>
            </p:cNvPr>
            <p:cNvSpPr>
              <a:spLocks noEditPoints="1"/>
            </p:cNvSpPr>
            <p:nvPr/>
          </p:nvSpPr>
          <p:spPr bwMode="auto">
            <a:xfrm>
              <a:off x="5035154" y="5115496"/>
              <a:ext cx="244501" cy="447065"/>
            </a:xfrm>
            <a:custGeom>
              <a:avLst/>
              <a:gdLst>
                <a:gd name="T0" fmla="*/ 45 w 85"/>
                <a:gd name="T1" fmla="*/ 154 h 160"/>
                <a:gd name="T2" fmla="*/ 41 w 85"/>
                <a:gd name="T3" fmla="*/ 145 h 160"/>
                <a:gd name="T4" fmla="*/ 15 w 85"/>
                <a:gd name="T5" fmla="*/ 128 h 160"/>
                <a:gd name="T6" fmla="*/ 14 w 85"/>
                <a:gd name="T7" fmla="*/ 121 h 160"/>
                <a:gd name="T8" fmla="*/ 18 w 85"/>
                <a:gd name="T9" fmla="*/ 119 h 160"/>
                <a:gd name="T10" fmla="*/ 12 w 85"/>
                <a:gd name="T11" fmla="*/ 100 h 160"/>
                <a:gd name="T12" fmla="*/ 14 w 85"/>
                <a:gd name="T13" fmla="*/ 93 h 160"/>
                <a:gd name="T14" fmla="*/ 14 w 85"/>
                <a:gd name="T15" fmla="*/ 77 h 160"/>
                <a:gd name="T16" fmla="*/ 11 w 85"/>
                <a:gd name="T17" fmla="*/ 67 h 160"/>
                <a:gd name="T18" fmla="*/ 13 w 85"/>
                <a:gd name="T19" fmla="*/ 58 h 160"/>
                <a:gd name="T20" fmla="*/ 14 w 85"/>
                <a:gd name="T21" fmla="*/ 46 h 160"/>
                <a:gd name="T22" fmla="*/ 4 w 85"/>
                <a:gd name="T23" fmla="*/ 39 h 160"/>
                <a:gd name="T24" fmla="*/ 0 w 85"/>
                <a:gd name="T25" fmla="*/ 27 h 160"/>
                <a:gd name="T26" fmla="*/ 4 w 85"/>
                <a:gd name="T27" fmla="*/ 15 h 160"/>
                <a:gd name="T28" fmla="*/ 16 w 85"/>
                <a:gd name="T29" fmla="*/ 0 h 160"/>
                <a:gd name="T30" fmla="*/ 19 w 85"/>
                <a:gd name="T31" fmla="*/ 8 h 160"/>
                <a:gd name="T32" fmla="*/ 31 w 85"/>
                <a:gd name="T33" fmla="*/ 4 h 160"/>
                <a:gd name="T34" fmla="*/ 42 w 85"/>
                <a:gd name="T35" fmla="*/ 16 h 160"/>
                <a:gd name="T36" fmla="*/ 54 w 85"/>
                <a:gd name="T37" fmla="*/ 30 h 160"/>
                <a:gd name="T38" fmla="*/ 55 w 85"/>
                <a:gd name="T39" fmla="*/ 48 h 160"/>
                <a:gd name="T40" fmla="*/ 52 w 85"/>
                <a:gd name="T41" fmla="*/ 59 h 160"/>
                <a:gd name="T42" fmla="*/ 57 w 85"/>
                <a:gd name="T43" fmla="*/ 73 h 160"/>
                <a:gd name="T44" fmla="*/ 68 w 85"/>
                <a:gd name="T45" fmla="*/ 87 h 160"/>
                <a:gd name="T46" fmla="*/ 77 w 85"/>
                <a:gd name="T47" fmla="*/ 88 h 160"/>
                <a:gd name="T48" fmla="*/ 80 w 85"/>
                <a:gd name="T49" fmla="*/ 107 h 160"/>
                <a:gd name="T50" fmla="*/ 60 w 85"/>
                <a:gd name="T51" fmla="*/ 140 h 160"/>
                <a:gd name="T52" fmla="*/ 61 w 85"/>
                <a:gd name="T53" fmla="*/ 147 h 160"/>
                <a:gd name="T54" fmla="*/ 59 w 85"/>
                <a:gd name="T55" fmla="*/ 154 h 160"/>
                <a:gd name="T56" fmla="*/ 49 w 85"/>
                <a:gd name="T57" fmla="*/ 158 h 160"/>
                <a:gd name="T58" fmla="*/ 57 w 85"/>
                <a:gd name="T59" fmla="*/ 151 h 160"/>
                <a:gd name="T60" fmla="*/ 63 w 85"/>
                <a:gd name="T61" fmla="*/ 149 h 160"/>
                <a:gd name="T62" fmla="*/ 59 w 85"/>
                <a:gd name="T63" fmla="*/ 140 h 160"/>
                <a:gd name="T64" fmla="*/ 75 w 85"/>
                <a:gd name="T65" fmla="*/ 124 h 160"/>
                <a:gd name="T66" fmla="*/ 80 w 85"/>
                <a:gd name="T67" fmla="*/ 91 h 160"/>
                <a:gd name="T68" fmla="*/ 69 w 85"/>
                <a:gd name="T69" fmla="*/ 90 h 160"/>
                <a:gd name="T70" fmla="*/ 65 w 85"/>
                <a:gd name="T71" fmla="*/ 81 h 160"/>
                <a:gd name="T72" fmla="*/ 55 w 85"/>
                <a:gd name="T73" fmla="*/ 68 h 160"/>
                <a:gd name="T74" fmla="*/ 54 w 85"/>
                <a:gd name="T75" fmla="*/ 55 h 160"/>
                <a:gd name="T76" fmla="*/ 54 w 85"/>
                <a:gd name="T77" fmla="*/ 42 h 160"/>
                <a:gd name="T78" fmla="*/ 52 w 85"/>
                <a:gd name="T79" fmla="*/ 26 h 160"/>
                <a:gd name="T80" fmla="*/ 40 w 85"/>
                <a:gd name="T81" fmla="*/ 15 h 160"/>
                <a:gd name="T82" fmla="*/ 24 w 85"/>
                <a:gd name="T83" fmla="*/ 7 h 160"/>
                <a:gd name="T84" fmla="*/ 17 w 85"/>
                <a:gd name="T85" fmla="*/ 5 h 160"/>
                <a:gd name="T86" fmla="*/ 9 w 85"/>
                <a:gd name="T87" fmla="*/ 9 h 160"/>
                <a:gd name="T88" fmla="*/ 4 w 85"/>
                <a:gd name="T89" fmla="*/ 20 h 160"/>
                <a:gd name="T90" fmla="*/ 6 w 85"/>
                <a:gd name="T91" fmla="*/ 32 h 160"/>
                <a:gd name="T92" fmla="*/ 5 w 85"/>
                <a:gd name="T93" fmla="*/ 41 h 160"/>
                <a:gd name="T94" fmla="*/ 15 w 85"/>
                <a:gd name="T95" fmla="*/ 46 h 160"/>
                <a:gd name="T96" fmla="*/ 13 w 85"/>
                <a:gd name="T97" fmla="*/ 59 h 160"/>
                <a:gd name="T98" fmla="*/ 12 w 85"/>
                <a:gd name="T99" fmla="*/ 66 h 160"/>
                <a:gd name="T100" fmla="*/ 15 w 85"/>
                <a:gd name="T101" fmla="*/ 75 h 160"/>
                <a:gd name="T102" fmla="*/ 17 w 85"/>
                <a:gd name="T103" fmla="*/ 92 h 160"/>
                <a:gd name="T104" fmla="*/ 13 w 85"/>
                <a:gd name="T105" fmla="*/ 101 h 160"/>
                <a:gd name="T106" fmla="*/ 18 w 85"/>
                <a:gd name="T107" fmla="*/ 122 h 160"/>
                <a:gd name="T108" fmla="*/ 13 w 85"/>
                <a:gd name="T109" fmla="*/ 120 h 160"/>
                <a:gd name="T110" fmla="*/ 27 w 85"/>
                <a:gd name="T111" fmla="*/ 135 h 160"/>
                <a:gd name="T112" fmla="*/ 38 w 85"/>
                <a:gd name="T113" fmla="*/ 139 h 160"/>
                <a:gd name="T114" fmla="*/ 47 w 85"/>
                <a:gd name="T115" fmla="*/ 155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85" h="160">
                  <a:moveTo>
                    <a:pt x="52" y="160"/>
                  </a:moveTo>
                  <a:cubicBezTo>
                    <a:pt x="52" y="160"/>
                    <a:pt x="52" y="160"/>
                    <a:pt x="52" y="160"/>
                  </a:cubicBezTo>
                  <a:cubicBezTo>
                    <a:pt x="49" y="158"/>
                    <a:pt x="49" y="158"/>
                    <a:pt x="49" y="158"/>
                  </a:cubicBezTo>
                  <a:cubicBezTo>
                    <a:pt x="48" y="159"/>
                    <a:pt x="48" y="159"/>
                    <a:pt x="48" y="159"/>
                  </a:cubicBezTo>
                  <a:cubicBezTo>
                    <a:pt x="46" y="158"/>
                    <a:pt x="46" y="158"/>
                    <a:pt x="46" y="158"/>
                  </a:cubicBezTo>
                  <a:cubicBezTo>
                    <a:pt x="46" y="155"/>
                    <a:pt x="46" y="155"/>
                    <a:pt x="46" y="155"/>
                  </a:cubicBezTo>
                  <a:cubicBezTo>
                    <a:pt x="46" y="155"/>
                    <a:pt x="45" y="155"/>
                    <a:pt x="45" y="154"/>
                  </a:cubicBezTo>
                  <a:cubicBezTo>
                    <a:pt x="45" y="152"/>
                    <a:pt x="45" y="152"/>
                    <a:pt x="45" y="152"/>
                  </a:cubicBezTo>
                  <a:cubicBezTo>
                    <a:pt x="44" y="153"/>
                    <a:pt x="44" y="153"/>
                    <a:pt x="44" y="153"/>
                  </a:cubicBezTo>
                  <a:cubicBezTo>
                    <a:pt x="44" y="152"/>
                    <a:pt x="44" y="152"/>
                    <a:pt x="44" y="152"/>
                  </a:cubicBezTo>
                  <a:cubicBezTo>
                    <a:pt x="44" y="151"/>
                    <a:pt x="44" y="151"/>
                    <a:pt x="44" y="151"/>
                  </a:cubicBezTo>
                  <a:cubicBezTo>
                    <a:pt x="44" y="150"/>
                    <a:pt x="44" y="149"/>
                    <a:pt x="45" y="149"/>
                  </a:cubicBezTo>
                  <a:cubicBezTo>
                    <a:pt x="44" y="149"/>
                    <a:pt x="42" y="148"/>
                    <a:pt x="42" y="147"/>
                  </a:cubicBezTo>
                  <a:cubicBezTo>
                    <a:pt x="41" y="147"/>
                    <a:pt x="41" y="145"/>
                    <a:pt x="41" y="145"/>
                  </a:cubicBezTo>
                  <a:cubicBezTo>
                    <a:pt x="40" y="145"/>
                    <a:pt x="38" y="141"/>
                    <a:pt x="38" y="139"/>
                  </a:cubicBezTo>
                  <a:cubicBezTo>
                    <a:pt x="36" y="139"/>
                    <a:pt x="35" y="139"/>
                    <a:pt x="35" y="139"/>
                  </a:cubicBezTo>
                  <a:cubicBezTo>
                    <a:pt x="34" y="139"/>
                    <a:pt x="33" y="139"/>
                    <a:pt x="33" y="139"/>
                  </a:cubicBezTo>
                  <a:cubicBezTo>
                    <a:pt x="32" y="138"/>
                    <a:pt x="32" y="138"/>
                    <a:pt x="32" y="138"/>
                  </a:cubicBezTo>
                  <a:cubicBezTo>
                    <a:pt x="31" y="137"/>
                    <a:pt x="31" y="137"/>
                    <a:pt x="31" y="137"/>
                  </a:cubicBezTo>
                  <a:cubicBezTo>
                    <a:pt x="27" y="135"/>
                    <a:pt x="27" y="135"/>
                    <a:pt x="27" y="135"/>
                  </a:cubicBezTo>
                  <a:cubicBezTo>
                    <a:pt x="15" y="128"/>
                    <a:pt x="15" y="128"/>
                    <a:pt x="15" y="128"/>
                  </a:cubicBezTo>
                  <a:cubicBezTo>
                    <a:pt x="15" y="128"/>
                    <a:pt x="14" y="126"/>
                    <a:pt x="14" y="125"/>
                  </a:cubicBezTo>
                  <a:cubicBezTo>
                    <a:pt x="14" y="125"/>
                    <a:pt x="14" y="125"/>
                    <a:pt x="14" y="124"/>
                  </a:cubicBezTo>
                  <a:cubicBezTo>
                    <a:pt x="13" y="124"/>
                    <a:pt x="12" y="124"/>
                    <a:pt x="12" y="123"/>
                  </a:cubicBezTo>
                  <a:cubicBezTo>
                    <a:pt x="11" y="123"/>
                    <a:pt x="11" y="122"/>
                    <a:pt x="10" y="121"/>
                  </a:cubicBezTo>
                  <a:cubicBezTo>
                    <a:pt x="10" y="121"/>
                    <a:pt x="10" y="120"/>
                    <a:pt x="10" y="120"/>
                  </a:cubicBezTo>
                  <a:cubicBezTo>
                    <a:pt x="13" y="120"/>
                    <a:pt x="13" y="120"/>
                    <a:pt x="13" y="120"/>
                  </a:cubicBezTo>
                  <a:cubicBezTo>
                    <a:pt x="13" y="120"/>
                    <a:pt x="14" y="121"/>
                    <a:pt x="14" y="121"/>
                  </a:cubicBezTo>
                  <a:cubicBezTo>
                    <a:pt x="15" y="121"/>
                    <a:pt x="15" y="123"/>
                    <a:pt x="15" y="123"/>
                  </a:cubicBezTo>
                  <a:cubicBezTo>
                    <a:pt x="15" y="123"/>
                    <a:pt x="16" y="125"/>
                    <a:pt x="17" y="125"/>
                  </a:cubicBezTo>
                  <a:cubicBezTo>
                    <a:pt x="17" y="125"/>
                    <a:pt x="18" y="125"/>
                    <a:pt x="18" y="125"/>
                  </a:cubicBezTo>
                  <a:cubicBezTo>
                    <a:pt x="18" y="125"/>
                    <a:pt x="18" y="125"/>
                    <a:pt x="18" y="125"/>
                  </a:cubicBezTo>
                  <a:cubicBezTo>
                    <a:pt x="19" y="123"/>
                    <a:pt x="19" y="123"/>
                    <a:pt x="19" y="123"/>
                  </a:cubicBezTo>
                  <a:cubicBezTo>
                    <a:pt x="18" y="122"/>
                    <a:pt x="18" y="122"/>
                    <a:pt x="18" y="122"/>
                  </a:cubicBezTo>
                  <a:cubicBezTo>
                    <a:pt x="18" y="119"/>
                    <a:pt x="18" y="119"/>
                    <a:pt x="18" y="119"/>
                  </a:cubicBezTo>
                  <a:cubicBezTo>
                    <a:pt x="17" y="118"/>
                    <a:pt x="17" y="118"/>
                    <a:pt x="17" y="118"/>
                  </a:cubicBezTo>
                  <a:cubicBezTo>
                    <a:pt x="16" y="116"/>
                    <a:pt x="16" y="116"/>
                    <a:pt x="16" y="116"/>
                  </a:cubicBezTo>
                  <a:cubicBezTo>
                    <a:pt x="12" y="111"/>
                    <a:pt x="12" y="111"/>
                    <a:pt x="12" y="111"/>
                  </a:cubicBezTo>
                  <a:cubicBezTo>
                    <a:pt x="10" y="108"/>
                    <a:pt x="10" y="108"/>
                    <a:pt x="10" y="108"/>
                  </a:cubicBezTo>
                  <a:cubicBezTo>
                    <a:pt x="12" y="103"/>
                    <a:pt x="12" y="103"/>
                    <a:pt x="12" y="103"/>
                  </a:cubicBezTo>
                  <a:cubicBezTo>
                    <a:pt x="11" y="101"/>
                    <a:pt x="11" y="101"/>
                    <a:pt x="11" y="101"/>
                  </a:cubicBezTo>
                  <a:cubicBezTo>
                    <a:pt x="11" y="101"/>
                    <a:pt x="12" y="100"/>
                    <a:pt x="12" y="100"/>
                  </a:cubicBezTo>
                  <a:cubicBezTo>
                    <a:pt x="12" y="100"/>
                    <a:pt x="13" y="99"/>
                    <a:pt x="13" y="99"/>
                  </a:cubicBezTo>
                  <a:cubicBezTo>
                    <a:pt x="13" y="99"/>
                    <a:pt x="13" y="98"/>
                    <a:pt x="13" y="98"/>
                  </a:cubicBezTo>
                  <a:cubicBezTo>
                    <a:pt x="13" y="97"/>
                    <a:pt x="13" y="97"/>
                    <a:pt x="13" y="97"/>
                  </a:cubicBezTo>
                  <a:cubicBezTo>
                    <a:pt x="14" y="95"/>
                    <a:pt x="14" y="95"/>
                    <a:pt x="14" y="95"/>
                  </a:cubicBezTo>
                  <a:cubicBezTo>
                    <a:pt x="12" y="95"/>
                    <a:pt x="12" y="95"/>
                    <a:pt x="12" y="95"/>
                  </a:cubicBezTo>
                  <a:cubicBezTo>
                    <a:pt x="12" y="94"/>
                    <a:pt x="13" y="93"/>
                    <a:pt x="13" y="93"/>
                  </a:cubicBezTo>
                  <a:cubicBezTo>
                    <a:pt x="13" y="93"/>
                    <a:pt x="13" y="93"/>
                    <a:pt x="14" y="93"/>
                  </a:cubicBezTo>
                  <a:cubicBezTo>
                    <a:pt x="16" y="91"/>
                    <a:pt x="16" y="91"/>
                    <a:pt x="16" y="91"/>
                  </a:cubicBezTo>
                  <a:cubicBezTo>
                    <a:pt x="16" y="90"/>
                    <a:pt x="16" y="90"/>
                    <a:pt x="16" y="90"/>
                  </a:cubicBezTo>
                  <a:cubicBezTo>
                    <a:pt x="13" y="89"/>
                    <a:pt x="13" y="89"/>
                    <a:pt x="13" y="89"/>
                  </a:cubicBezTo>
                  <a:cubicBezTo>
                    <a:pt x="14" y="86"/>
                    <a:pt x="14" y="86"/>
                    <a:pt x="14" y="86"/>
                  </a:cubicBezTo>
                  <a:cubicBezTo>
                    <a:pt x="13" y="85"/>
                    <a:pt x="12" y="83"/>
                    <a:pt x="12" y="83"/>
                  </a:cubicBezTo>
                  <a:cubicBezTo>
                    <a:pt x="13" y="81"/>
                    <a:pt x="13" y="81"/>
                    <a:pt x="13" y="81"/>
                  </a:cubicBezTo>
                  <a:cubicBezTo>
                    <a:pt x="13" y="81"/>
                    <a:pt x="14" y="78"/>
                    <a:pt x="14" y="77"/>
                  </a:cubicBezTo>
                  <a:cubicBezTo>
                    <a:pt x="14" y="76"/>
                    <a:pt x="14" y="75"/>
                    <a:pt x="14" y="75"/>
                  </a:cubicBezTo>
                  <a:cubicBezTo>
                    <a:pt x="14" y="74"/>
                    <a:pt x="14" y="74"/>
                    <a:pt x="14" y="74"/>
                  </a:cubicBezTo>
                  <a:cubicBezTo>
                    <a:pt x="13" y="73"/>
                    <a:pt x="12" y="72"/>
                    <a:pt x="12" y="72"/>
                  </a:cubicBezTo>
                  <a:cubicBezTo>
                    <a:pt x="12" y="72"/>
                    <a:pt x="11" y="72"/>
                    <a:pt x="11" y="71"/>
                  </a:cubicBezTo>
                  <a:cubicBezTo>
                    <a:pt x="10" y="71"/>
                    <a:pt x="10" y="71"/>
                    <a:pt x="10" y="71"/>
                  </a:cubicBezTo>
                  <a:cubicBezTo>
                    <a:pt x="8" y="69"/>
                    <a:pt x="8" y="69"/>
                    <a:pt x="8" y="69"/>
                  </a:cubicBezTo>
                  <a:cubicBezTo>
                    <a:pt x="11" y="67"/>
                    <a:pt x="11" y="67"/>
                    <a:pt x="11" y="67"/>
                  </a:cubicBezTo>
                  <a:cubicBezTo>
                    <a:pt x="11" y="66"/>
                    <a:pt x="11" y="66"/>
                    <a:pt x="11" y="66"/>
                  </a:cubicBezTo>
                  <a:cubicBezTo>
                    <a:pt x="12" y="65"/>
                    <a:pt x="13" y="65"/>
                    <a:pt x="13" y="65"/>
                  </a:cubicBezTo>
                  <a:cubicBezTo>
                    <a:pt x="13" y="65"/>
                    <a:pt x="14" y="64"/>
                    <a:pt x="14" y="64"/>
                  </a:cubicBezTo>
                  <a:cubicBezTo>
                    <a:pt x="14" y="63"/>
                    <a:pt x="14" y="62"/>
                    <a:pt x="14" y="61"/>
                  </a:cubicBezTo>
                  <a:cubicBezTo>
                    <a:pt x="11" y="60"/>
                    <a:pt x="11" y="60"/>
                    <a:pt x="11" y="60"/>
                  </a:cubicBezTo>
                  <a:cubicBezTo>
                    <a:pt x="11" y="59"/>
                    <a:pt x="11" y="59"/>
                    <a:pt x="11" y="59"/>
                  </a:cubicBezTo>
                  <a:cubicBezTo>
                    <a:pt x="11" y="59"/>
                    <a:pt x="12" y="59"/>
                    <a:pt x="13" y="58"/>
                  </a:cubicBezTo>
                  <a:cubicBezTo>
                    <a:pt x="14" y="58"/>
                    <a:pt x="15" y="57"/>
                    <a:pt x="15" y="57"/>
                  </a:cubicBezTo>
                  <a:cubicBezTo>
                    <a:pt x="16" y="57"/>
                    <a:pt x="16" y="56"/>
                    <a:pt x="16" y="55"/>
                  </a:cubicBezTo>
                  <a:cubicBezTo>
                    <a:pt x="14" y="54"/>
                    <a:pt x="14" y="54"/>
                    <a:pt x="14" y="54"/>
                  </a:cubicBezTo>
                  <a:cubicBezTo>
                    <a:pt x="15" y="52"/>
                    <a:pt x="15" y="52"/>
                    <a:pt x="15" y="52"/>
                  </a:cubicBezTo>
                  <a:cubicBezTo>
                    <a:pt x="14" y="49"/>
                    <a:pt x="14" y="49"/>
                    <a:pt x="14" y="49"/>
                  </a:cubicBezTo>
                  <a:cubicBezTo>
                    <a:pt x="15" y="47"/>
                    <a:pt x="15" y="47"/>
                    <a:pt x="15" y="47"/>
                  </a:cubicBezTo>
                  <a:cubicBezTo>
                    <a:pt x="14" y="46"/>
                    <a:pt x="14" y="46"/>
                    <a:pt x="14" y="46"/>
                  </a:cubicBezTo>
                  <a:cubicBezTo>
                    <a:pt x="10" y="44"/>
                    <a:pt x="10" y="44"/>
                    <a:pt x="10" y="44"/>
                  </a:cubicBezTo>
                  <a:cubicBezTo>
                    <a:pt x="9" y="44"/>
                    <a:pt x="9" y="44"/>
                    <a:pt x="9" y="44"/>
                  </a:cubicBezTo>
                  <a:cubicBezTo>
                    <a:pt x="8" y="44"/>
                    <a:pt x="7" y="45"/>
                    <a:pt x="7" y="45"/>
                  </a:cubicBezTo>
                  <a:cubicBezTo>
                    <a:pt x="4" y="44"/>
                    <a:pt x="4" y="43"/>
                    <a:pt x="4" y="43"/>
                  </a:cubicBezTo>
                  <a:cubicBezTo>
                    <a:pt x="5" y="43"/>
                    <a:pt x="5" y="42"/>
                    <a:pt x="5" y="42"/>
                  </a:cubicBezTo>
                  <a:cubicBezTo>
                    <a:pt x="4" y="41"/>
                    <a:pt x="4" y="41"/>
                    <a:pt x="4" y="41"/>
                  </a:cubicBezTo>
                  <a:cubicBezTo>
                    <a:pt x="4" y="39"/>
                    <a:pt x="4" y="39"/>
                    <a:pt x="4" y="39"/>
                  </a:cubicBezTo>
                  <a:cubicBezTo>
                    <a:pt x="4" y="39"/>
                    <a:pt x="5" y="37"/>
                    <a:pt x="5" y="37"/>
                  </a:cubicBezTo>
                  <a:cubicBezTo>
                    <a:pt x="4" y="36"/>
                    <a:pt x="4" y="35"/>
                    <a:pt x="4" y="35"/>
                  </a:cubicBezTo>
                  <a:cubicBezTo>
                    <a:pt x="5" y="33"/>
                    <a:pt x="5" y="33"/>
                    <a:pt x="5" y="33"/>
                  </a:cubicBezTo>
                  <a:cubicBezTo>
                    <a:pt x="5" y="32"/>
                    <a:pt x="5" y="32"/>
                    <a:pt x="5" y="32"/>
                  </a:cubicBezTo>
                  <a:cubicBezTo>
                    <a:pt x="5" y="31"/>
                    <a:pt x="5" y="30"/>
                    <a:pt x="5" y="30"/>
                  </a:cubicBezTo>
                  <a:cubicBezTo>
                    <a:pt x="1" y="28"/>
                    <a:pt x="1" y="28"/>
                    <a:pt x="1" y="28"/>
                  </a:cubicBezTo>
                  <a:cubicBezTo>
                    <a:pt x="0" y="27"/>
                    <a:pt x="0" y="27"/>
                    <a:pt x="0" y="27"/>
                  </a:cubicBezTo>
                  <a:cubicBezTo>
                    <a:pt x="0" y="25"/>
                    <a:pt x="0" y="25"/>
                    <a:pt x="0" y="25"/>
                  </a:cubicBezTo>
                  <a:cubicBezTo>
                    <a:pt x="2" y="23"/>
                    <a:pt x="2" y="23"/>
                    <a:pt x="2" y="23"/>
                  </a:cubicBezTo>
                  <a:cubicBezTo>
                    <a:pt x="3" y="21"/>
                    <a:pt x="3" y="21"/>
                    <a:pt x="3" y="21"/>
                  </a:cubicBezTo>
                  <a:cubicBezTo>
                    <a:pt x="3" y="20"/>
                    <a:pt x="3" y="20"/>
                    <a:pt x="3" y="19"/>
                  </a:cubicBezTo>
                  <a:cubicBezTo>
                    <a:pt x="3" y="19"/>
                    <a:pt x="4" y="18"/>
                    <a:pt x="4" y="18"/>
                  </a:cubicBezTo>
                  <a:cubicBezTo>
                    <a:pt x="4" y="16"/>
                    <a:pt x="4" y="16"/>
                    <a:pt x="4" y="16"/>
                  </a:cubicBezTo>
                  <a:cubicBezTo>
                    <a:pt x="4" y="15"/>
                    <a:pt x="4" y="15"/>
                    <a:pt x="4" y="15"/>
                  </a:cubicBezTo>
                  <a:cubicBezTo>
                    <a:pt x="5" y="14"/>
                    <a:pt x="5" y="14"/>
                    <a:pt x="5" y="14"/>
                  </a:cubicBezTo>
                  <a:cubicBezTo>
                    <a:pt x="5" y="14"/>
                    <a:pt x="6" y="13"/>
                    <a:pt x="7" y="13"/>
                  </a:cubicBezTo>
                  <a:cubicBezTo>
                    <a:pt x="7" y="12"/>
                    <a:pt x="7" y="11"/>
                    <a:pt x="7" y="11"/>
                  </a:cubicBezTo>
                  <a:cubicBezTo>
                    <a:pt x="11" y="5"/>
                    <a:pt x="11" y="5"/>
                    <a:pt x="11" y="5"/>
                  </a:cubicBezTo>
                  <a:cubicBezTo>
                    <a:pt x="10" y="4"/>
                    <a:pt x="10" y="4"/>
                    <a:pt x="10" y="4"/>
                  </a:cubicBezTo>
                  <a:cubicBezTo>
                    <a:pt x="13" y="0"/>
                    <a:pt x="14" y="0"/>
                    <a:pt x="14" y="0"/>
                  </a:cubicBezTo>
                  <a:cubicBezTo>
                    <a:pt x="15" y="0"/>
                    <a:pt x="16" y="0"/>
                    <a:pt x="16" y="0"/>
                  </a:cubicBezTo>
                  <a:cubicBezTo>
                    <a:pt x="17" y="1"/>
                    <a:pt x="17" y="1"/>
                    <a:pt x="17" y="1"/>
                  </a:cubicBezTo>
                  <a:cubicBezTo>
                    <a:pt x="18" y="2"/>
                    <a:pt x="18" y="2"/>
                    <a:pt x="18" y="2"/>
                  </a:cubicBezTo>
                  <a:cubicBezTo>
                    <a:pt x="18" y="3"/>
                    <a:pt x="18" y="3"/>
                    <a:pt x="18" y="3"/>
                  </a:cubicBezTo>
                  <a:cubicBezTo>
                    <a:pt x="18" y="4"/>
                    <a:pt x="17" y="4"/>
                    <a:pt x="17" y="5"/>
                  </a:cubicBezTo>
                  <a:cubicBezTo>
                    <a:pt x="18" y="5"/>
                    <a:pt x="17" y="6"/>
                    <a:pt x="17" y="6"/>
                  </a:cubicBezTo>
                  <a:cubicBezTo>
                    <a:pt x="18" y="6"/>
                    <a:pt x="18" y="7"/>
                    <a:pt x="18" y="7"/>
                  </a:cubicBezTo>
                  <a:cubicBezTo>
                    <a:pt x="19" y="8"/>
                    <a:pt x="19" y="8"/>
                    <a:pt x="19" y="8"/>
                  </a:cubicBezTo>
                  <a:cubicBezTo>
                    <a:pt x="19" y="9"/>
                    <a:pt x="20" y="9"/>
                    <a:pt x="20" y="9"/>
                  </a:cubicBezTo>
                  <a:cubicBezTo>
                    <a:pt x="22" y="8"/>
                    <a:pt x="22" y="8"/>
                    <a:pt x="22" y="8"/>
                  </a:cubicBezTo>
                  <a:cubicBezTo>
                    <a:pt x="24" y="7"/>
                    <a:pt x="24" y="7"/>
                    <a:pt x="24" y="7"/>
                  </a:cubicBezTo>
                  <a:cubicBezTo>
                    <a:pt x="24" y="7"/>
                    <a:pt x="26" y="6"/>
                    <a:pt x="27" y="6"/>
                  </a:cubicBezTo>
                  <a:cubicBezTo>
                    <a:pt x="27" y="6"/>
                    <a:pt x="27" y="5"/>
                    <a:pt x="28" y="4"/>
                  </a:cubicBezTo>
                  <a:cubicBezTo>
                    <a:pt x="29" y="4"/>
                    <a:pt x="29" y="4"/>
                    <a:pt x="29" y="4"/>
                  </a:cubicBezTo>
                  <a:cubicBezTo>
                    <a:pt x="31" y="4"/>
                    <a:pt x="31" y="4"/>
                    <a:pt x="31" y="4"/>
                  </a:cubicBezTo>
                  <a:cubicBezTo>
                    <a:pt x="32" y="6"/>
                    <a:pt x="32" y="6"/>
                    <a:pt x="32" y="6"/>
                  </a:cubicBezTo>
                  <a:cubicBezTo>
                    <a:pt x="34" y="7"/>
                    <a:pt x="34" y="7"/>
                    <a:pt x="34" y="7"/>
                  </a:cubicBezTo>
                  <a:cubicBezTo>
                    <a:pt x="36" y="9"/>
                    <a:pt x="36" y="9"/>
                    <a:pt x="36" y="9"/>
                  </a:cubicBezTo>
                  <a:cubicBezTo>
                    <a:pt x="37" y="12"/>
                    <a:pt x="37" y="12"/>
                    <a:pt x="37" y="12"/>
                  </a:cubicBezTo>
                  <a:cubicBezTo>
                    <a:pt x="39" y="15"/>
                    <a:pt x="39" y="15"/>
                    <a:pt x="39" y="15"/>
                  </a:cubicBezTo>
                  <a:cubicBezTo>
                    <a:pt x="40" y="14"/>
                    <a:pt x="40" y="14"/>
                    <a:pt x="40" y="14"/>
                  </a:cubicBezTo>
                  <a:cubicBezTo>
                    <a:pt x="42" y="16"/>
                    <a:pt x="42" y="16"/>
                    <a:pt x="42" y="16"/>
                  </a:cubicBezTo>
                  <a:cubicBezTo>
                    <a:pt x="44" y="17"/>
                    <a:pt x="44" y="17"/>
                    <a:pt x="44" y="17"/>
                  </a:cubicBezTo>
                  <a:cubicBezTo>
                    <a:pt x="44" y="17"/>
                    <a:pt x="46" y="17"/>
                    <a:pt x="48" y="18"/>
                  </a:cubicBezTo>
                  <a:cubicBezTo>
                    <a:pt x="49" y="18"/>
                    <a:pt x="49" y="19"/>
                    <a:pt x="49" y="19"/>
                  </a:cubicBezTo>
                  <a:cubicBezTo>
                    <a:pt x="50" y="21"/>
                    <a:pt x="52" y="23"/>
                    <a:pt x="52" y="23"/>
                  </a:cubicBezTo>
                  <a:cubicBezTo>
                    <a:pt x="53" y="26"/>
                    <a:pt x="53" y="26"/>
                    <a:pt x="53" y="26"/>
                  </a:cubicBezTo>
                  <a:cubicBezTo>
                    <a:pt x="53" y="26"/>
                    <a:pt x="54" y="28"/>
                    <a:pt x="54" y="29"/>
                  </a:cubicBezTo>
                  <a:cubicBezTo>
                    <a:pt x="54" y="29"/>
                    <a:pt x="54" y="30"/>
                    <a:pt x="54" y="30"/>
                  </a:cubicBezTo>
                  <a:cubicBezTo>
                    <a:pt x="57" y="33"/>
                    <a:pt x="57" y="33"/>
                    <a:pt x="57" y="33"/>
                  </a:cubicBezTo>
                  <a:cubicBezTo>
                    <a:pt x="56" y="36"/>
                    <a:pt x="56" y="36"/>
                    <a:pt x="56" y="36"/>
                  </a:cubicBezTo>
                  <a:cubicBezTo>
                    <a:pt x="55" y="38"/>
                    <a:pt x="55" y="38"/>
                    <a:pt x="55" y="38"/>
                  </a:cubicBezTo>
                  <a:cubicBezTo>
                    <a:pt x="55" y="38"/>
                    <a:pt x="55" y="40"/>
                    <a:pt x="55" y="40"/>
                  </a:cubicBezTo>
                  <a:cubicBezTo>
                    <a:pt x="55" y="40"/>
                    <a:pt x="55" y="42"/>
                    <a:pt x="55" y="42"/>
                  </a:cubicBezTo>
                  <a:cubicBezTo>
                    <a:pt x="54" y="43"/>
                    <a:pt x="54" y="43"/>
                    <a:pt x="54" y="43"/>
                  </a:cubicBezTo>
                  <a:cubicBezTo>
                    <a:pt x="55" y="48"/>
                    <a:pt x="55" y="48"/>
                    <a:pt x="55" y="48"/>
                  </a:cubicBezTo>
                  <a:cubicBezTo>
                    <a:pt x="54" y="51"/>
                    <a:pt x="54" y="51"/>
                    <a:pt x="54" y="51"/>
                  </a:cubicBezTo>
                  <a:cubicBezTo>
                    <a:pt x="55" y="51"/>
                    <a:pt x="56" y="52"/>
                    <a:pt x="56" y="53"/>
                  </a:cubicBezTo>
                  <a:cubicBezTo>
                    <a:pt x="57" y="53"/>
                    <a:pt x="56" y="54"/>
                    <a:pt x="56" y="54"/>
                  </a:cubicBezTo>
                  <a:cubicBezTo>
                    <a:pt x="55" y="55"/>
                    <a:pt x="55" y="55"/>
                    <a:pt x="54" y="56"/>
                  </a:cubicBezTo>
                  <a:cubicBezTo>
                    <a:pt x="53" y="56"/>
                    <a:pt x="53" y="56"/>
                    <a:pt x="53" y="56"/>
                  </a:cubicBezTo>
                  <a:cubicBezTo>
                    <a:pt x="53" y="57"/>
                    <a:pt x="52" y="57"/>
                    <a:pt x="52" y="57"/>
                  </a:cubicBezTo>
                  <a:cubicBezTo>
                    <a:pt x="52" y="57"/>
                    <a:pt x="52" y="58"/>
                    <a:pt x="52" y="59"/>
                  </a:cubicBezTo>
                  <a:cubicBezTo>
                    <a:pt x="53" y="60"/>
                    <a:pt x="55" y="61"/>
                    <a:pt x="55" y="61"/>
                  </a:cubicBezTo>
                  <a:cubicBezTo>
                    <a:pt x="55" y="61"/>
                    <a:pt x="57" y="63"/>
                    <a:pt x="57" y="64"/>
                  </a:cubicBezTo>
                  <a:cubicBezTo>
                    <a:pt x="58" y="64"/>
                    <a:pt x="57" y="65"/>
                    <a:pt x="57" y="66"/>
                  </a:cubicBezTo>
                  <a:cubicBezTo>
                    <a:pt x="57" y="66"/>
                    <a:pt x="57" y="67"/>
                    <a:pt x="55" y="68"/>
                  </a:cubicBezTo>
                  <a:cubicBezTo>
                    <a:pt x="56" y="69"/>
                    <a:pt x="56" y="69"/>
                    <a:pt x="56" y="69"/>
                  </a:cubicBezTo>
                  <a:cubicBezTo>
                    <a:pt x="57" y="72"/>
                    <a:pt x="57" y="72"/>
                    <a:pt x="57" y="72"/>
                  </a:cubicBezTo>
                  <a:cubicBezTo>
                    <a:pt x="57" y="72"/>
                    <a:pt x="57" y="73"/>
                    <a:pt x="57" y="73"/>
                  </a:cubicBezTo>
                  <a:cubicBezTo>
                    <a:pt x="58" y="74"/>
                    <a:pt x="59" y="76"/>
                    <a:pt x="60" y="76"/>
                  </a:cubicBezTo>
                  <a:cubicBezTo>
                    <a:pt x="60" y="76"/>
                    <a:pt x="61" y="78"/>
                    <a:pt x="61" y="79"/>
                  </a:cubicBezTo>
                  <a:cubicBezTo>
                    <a:pt x="61" y="79"/>
                    <a:pt x="61" y="80"/>
                    <a:pt x="61" y="80"/>
                  </a:cubicBezTo>
                  <a:cubicBezTo>
                    <a:pt x="61" y="80"/>
                    <a:pt x="62" y="80"/>
                    <a:pt x="62" y="80"/>
                  </a:cubicBezTo>
                  <a:cubicBezTo>
                    <a:pt x="63" y="81"/>
                    <a:pt x="65" y="81"/>
                    <a:pt x="65" y="81"/>
                  </a:cubicBezTo>
                  <a:cubicBezTo>
                    <a:pt x="65" y="81"/>
                    <a:pt x="66" y="82"/>
                    <a:pt x="66" y="83"/>
                  </a:cubicBezTo>
                  <a:cubicBezTo>
                    <a:pt x="67" y="84"/>
                    <a:pt x="68" y="86"/>
                    <a:pt x="68" y="87"/>
                  </a:cubicBezTo>
                  <a:cubicBezTo>
                    <a:pt x="68" y="87"/>
                    <a:pt x="68" y="88"/>
                    <a:pt x="68" y="88"/>
                  </a:cubicBezTo>
                  <a:cubicBezTo>
                    <a:pt x="68" y="89"/>
                    <a:pt x="68" y="89"/>
                    <a:pt x="68" y="89"/>
                  </a:cubicBezTo>
                  <a:cubicBezTo>
                    <a:pt x="68" y="90"/>
                    <a:pt x="69" y="89"/>
                    <a:pt x="69" y="89"/>
                  </a:cubicBezTo>
                  <a:cubicBezTo>
                    <a:pt x="69" y="89"/>
                    <a:pt x="70" y="88"/>
                    <a:pt x="70" y="88"/>
                  </a:cubicBezTo>
                  <a:cubicBezTo>
                    <a:pt x="71" y="88"/>
                    <a:pt x="72" y="88"/>
                    <a:pt x="73" y="88"/>
                  </a:cubicBezTo>
                  <a:cubicBezTo>
                    <a:pt x="74" y="88"/>
                    <a:pt x="74" y="88"/>
                    <a:pt x="74" y="88"/>
                  </a:cubicBezTo>
                  <a:cubicBezTo>
                    <a:pt x="76" y="88"/>
                    <a:pt x="76" y="88"/>
                    <a:pt x="77" y="88"/>
                  </a:cubicBezTo>
                  <a:cubicBezTo>
                    <a:pt x="79" y="89"/>
                    <a:pt x="79" y="89"/>
                    <a:pt x="79" y="89"/>
                  </a:cubicBezTo>
                  <a:cubicBezTo>
                    <a:pt x="80" y="91"/>
                    <a:pt x="80" y="91"/>
                    <a:pt x="80" y="91"/>
                  </a:cubicBezTo>
                  <a:cubicBezTo>
                    <a:pt x="80" y="91"/>
                    <a:pt x="81" y="91"/>
                    <a:pt x="81" y="91"/>
                  </a:cubicBezTo>
                  <a:cubicBezTo>
                    <a:pt x="82" y="93"/>
                    <a:pt x="82" y="93"/>
                    <a:pt x="82" y="93"/>
                  </a:cubicBezTo>
                  <a:cubicBezTo>
                    <a:pt x="84" y="96"/>
                    <a:pt x="84" y="96"/>
                    <a:pt x="84" y="96"/>
                  </a:cubicBezTo>
                  <a:cubicBezTo>
                    <a:pt x="85" y="104"/>
                    <a:pt x="85" y="104"/>
                    <a:pt x="85" y="104"/>
                  </a:cubicBezTo>
                  <a:cubicBezTo>
                    <a:pt x="83" y="104"/>
                    <a:pt x="81" y="106"/>
                    <a:pt x="80" y="107"/>
                  </a:cubicBezTo>
                  <a:cubicBezTo>
                    <a:pt x="77" y="115"/>
                    <a:pt x="77" y="115"/>
                    <a:pt x="77" y="115"/>
                  </a:cubicBezTo>
                  <a:cubicBezTo>
                    <a:pt x="75" y="124"/>
                    <a:pt x="75" y="124"/>
                    <a:pt x="75" y="124"/>
                  </a:cubicBezTo>
                  <a:cubicBezTo>
                    <a:pt x="70" y="132"/>
                    <a:pt x="70" y="132"/>
                    <a:pt x="70" y="132"/>
                  </a:cubicBezTo>
                  <a:cubicBezTo>
                    <a:pt x="63" y="136"/>
                    <a:pt x="63" y="136"/>
                    <a:pt x="63" y="136"/>
                  </a:cubicBezTo>
                  <a:cubicBezTo>
                    <a:pt x="62" y="136"/>
                    <a:pt x="62" y="136"/>
                    <a:pt x="62" y="136"/>
                  </a:cubicBezTo>
                  <a:cubicBezTo>
                    <a:pt x="62" y="136"/>
                    <a:pt x="61" y="137"/>
                    <a:pt x="61" y="137"/>
                  </a:cubicBezTo>
                  <a:cubicBezTo>
                    <a:pt x="60" y="140"/>
                    <a:pt x="60" y="140"/>
                    <a:pt x="60" y="140"/>
                  </a:cubicBezTo>
                  <a:cubicBezTo>
                    <a:pt x="59" y="141"/>
                    <a:pt x="59" y="141"/>
                    <a:pt x="59" y="141"/>
                  </a:cubicBezTo>
                  <a:cubicBezTo>
                    <a:pt x="58" y="141"/>
                    <a:pt x="58" y="141"/>
                    <a:pt x="58" y="141"/>
                  </a:cubicBezTo>
                  <a:cubicBezTo>
                    <a:pt x="58" y="142"/>
                    <a:pt x="58" y="142"/>
                    <a:pt x="58" y="142"/>
                  </a:cubicBezTo>
                  <a:cubicBezTo>
                    <a:pt x="58" y="143"/>
                    <a:pt x="58" y="143"/>
                    <a:pt x="58" y="144"/>
                  </a:cubicBezTo>
                  <a:cubicBezTo>
                    <a:pt x="58" y="144"/>
                    <a:pt x="58" y="144"/>
                    <a:pt x="58" y="145"/>
                  </a:cubicBezTo>
                  <a:cubicBezTo>
                    <a:pt x="58" y="145"/>
                    <a:pt x="59" y="145"/>
                    <a:pt x="59" y="146"/>
                  </a:cubicBezTo>
                  <a:cubicBezTo>
                    <a:pt x="59" y="146"/>
                    <a:pt x="60" y="147"/>
                    <a:pt x="61" y="147"/>
                  </a:cubicBezTo>
                  <a:cubicBezTo>
                    <a:pt x="62" y="148"/>
                    <a:pt x="63" y="148"/>
                    <a:pt x="63" y="148"/>
                  </a:cubicBezTo>
                  <a:cubicBezTo>
                    <a:pt x="64" y="150"/>
                    <a:pt x="64" y="150"/>
                    <a:pt x="64" y="150"/>
                  </a:cubicBezTo>
                  <a:cubicBezTo>
                    <a:pt x="63" y="151"/>
                    <a:pt x="62" y="151"/>
                    <a:pt x="61" y="151"/>
                  </a:cubicBezTo>
                  <a:cubicBezTo>
                    <a:pt x="61" y="151"/>
                    <a:pt x="60" y="151"/>
                    <a:pt x="60" y="151"/>
                  </a:cubicBezTo>
                  <a:cubicBezTo>
                    <a:pt x="59" y="151"/>
                    <a:pt x="59" y="151"/>
                    <a:pt x="58" y="151"/>
                  </a:cubicBezTo>
                  <a:cubicBezTo>
                    <a:pt x="58" y="151"/>
                    <a:pt x="58" y="152"/>
                    <a:pt x="58" y="153"/>
                  </a:cubicBezTo>
                  <a:cubicBezTo>
                    <a:pt x="59" y="154"/>
                    <a:pt x="59" y="154"/>
                    <a:pt x="59" y="154"/>
                  </a:cubicBezTo>
                  <a:cubicBezTo>
                    <a:pt x="59" y="154"/>
                    <a:pt x="59" y="156"/>
                    <a:pt x="59" y="156"/>
                  </a:cubicBezTo>
                  <a:cubicBezTo>
                    <a:pt x="59" y="156"/>
                    <a:pt x="59" y="157"/>
                    <a:pt x="57" y="158"/>
                  </a:cubicBezTo>
                  <a:cubicBezTo>
                    <a:pt x="56" y="160"/>
                    <a:pt x="56" y="160"/>
                    <a:pt x="56" y="160"/>
                  </a:cubicBezTo>
                  <a:cubicBezTo>
                    <a:pt x="52" y="160"/>
                    <a:pt x="52" y="160"/>
                    <a:pt x="52" y="160"/>
                  </a:cubicBezTo>
                  <a:cubicBezTo>
                    <a:pt x="52" y="160"/>
                    <a:pt x="52" y="160"/>
                    <a:pt x="52" y="160"/>
                  </a:cubicBezTo>
                  <a:close/>
                  <a:moveTo>
                    <a:pt x="49" y="158"/>
                  </a:moveTo>
                  <a:cubicBezTo>
                    <a:pt x="49" y="158"/>
                    <a:pt x="49" y="158"/>
                    <a:pt x="49" y="158"/>
                  </a:cubicBezTo>
                  <a:cubicBezTo>
                    <a:pt x="52" y="159"/>
                    <a:pt x="52" y="159"/>
                    <a:pt x="52" y="159"/>
                  </a:cubicBezTo>
                  <a:cubicBezTo>
                    <a:pt x="55" y="159"/>
                    <a:pt x="55" y="159"/>
                    <a:pt x="55" y="159"/>
                  </a:cubicBezTo>
                  <a:cubicBezTo>
                    <a:pt x="57" y="158"/>
                    <a:pt x="57" y="158"/>
                    <a:pt x="57" y="158"/>
                  </a:cubicBezTo>
                  <a:cubicBezTo>
                    <a:pt x="58" y="157"/>
                    <a:pt x="59" y="156"/>
                    <a:pt x="59" y="156"/>
                  </a:cubicBezTo>
                  <a:cubicBezTo>
                    <a:pt x="59" y="156"/>
                    <a:pt x="58" y="154"/>
                    <a:pt x="58" y="154"/>
                  </a:cubicBezTo>
                  <a:cubicBezTo>
                    <a:pt x="58" y="153"/>
                    <a:pt x="58" y="153"/>
                    <a:pt x="58" y="153"/>
                  </a:cubicBezTo>
                  <a:cubicBezTo>
                    <a:pt x="58" y="153"/>
                    <a:pt x="57" y="152"/>
                    <a:pt x="57" y="151"/>
                  </a:cubicBezTo>
                  <a:cubicBezTo>
                    <a:pt x="57" y="151"/>
                    <a:pt x="58" y="150"/>
                    <a:pt x="58" y="150"/>
                  </a:cubicBezTo>
                  <a:cubicBezTo>
                    <a:pt x="59" y="150"/>
                    <a:pt x="59" y="150"/>
                    <a:pt x="59" y="150"/>
                  </a:cubicBezTo>
                  <a:cubicBezTo>
                    <a:pt x="59" y="150"/>
                    <a:pt x="60" y="150"/>
                    <a:pt x="60" y="150"/>
                  </a:cubicBezTo>
                  <a:cubicBezTo>
                    <a:pt x="61" y="151"/>
                    <a:pt x="61" y="151"/>
                    <a:pt x="61" y="151"/>
                  </a:cubicBezTo>
                  <a:cubicBezTo>
                    <a:pt x="61" y="151"/>
                    <a:pt x="61" y="151"/>
                    <a:pt x="61" y="151"/>
                  </a:cubicBezTo>
                  <a:cubicBezTo>
                    <a:pt x="62" y="151"/>
                    <a:pt x="63" y="150"/>
                    <a:pt x="63" y="149"/>
                  </a:cubicBezTo>
                  <a:cubicBezTo>
                    <a:pt x="63" y="149"/>
                    <a:pt x="63" y="149"/>
                    <a:pt x="63" y="149"/>
                  </a:cubicBezTo>
                  <a:cubicBezTo>
                    <a:pt x="62" y="149"/>
                    <a:pt x="62" y="148"/>
                    <a:pt x="61" y="148"/>
                  </a:cubicBezTo>
                  <a:cubicBezTo>
                    <a:pt x="59" y="147"/>
                    <a:pt x="58" y="146"/>
                    <a:pt x="58" y="146"/>
                  </a:cubicBezTo>
                  <a:cubicBezTo>
                    <a:pt x="58" y="146"/>
                    <a:pt x="58" y="145"/>
                    <a:pt x="58" y="145"/>
                  </a:cubicBezTo>
                  <a:cubicBezTo>
                    <a:pt x="57" y="145"/>
                    <a:pt x="57" y="144"/>
                    <a:pt x="57" y="144"/>
                  </a:cubicBezTo>
                  <a:cubicBezTo>
                    <a:pt x="57" y="143"/>
                    <a:pt x="57" y="142"/>
                    <a:pt x="57" y="142"/>
                  </a:cubicBezTo>
                  <a:cubicBezTo>
                    <a:pt x="57" y="141"/>
                    <a:pt x="57" y="141"/>
                    <a:pt x="57" y="141"/>
                  </a:cubicBezTo>
                  <a:cubicBezTo>
                    <a:pt x="57" y="141"/>
                    <a:pt x="58" y="140"/>
                    <a:pt x="59" y="140"/>
                  </a:cubicBezTo>
                  <a:cubicBezTo>
                    <a:pt x="60" y="140"/>
                    <a:pt x="60" y="140"/>
                    <a:pt x="60" y="140"/>
                  </a:cubicBezTo>
                  <a:cubicBezTo>
                    <a:pt x="61" y="137"/>
                    <a:pt x="61" y="137"/>
                    <a:pt x="61" y="137"/>
                  </a:cubicBezTo>
                  <a:cubicBezTo>
                    <a:pt x="61" y="137"/>
                    <a:pt x="61" y="136"/>
                    <a:pt x="62" y="136"/>
                  </a:cubicBezTo>
                  <a:cubicBezTo>
                    <a:pt x="63" y="136"/>
                    <a:pt x="63" y="136"/>
                    <a:pt x="63" y="136"/>
                  </a:cubicBezTo>
                  <a:cubicBezTo>
                    <a:pt x="63" y="136"/>
                    <a:pt x="63" y="136"/>
                    <a:pt x="63" y="136"/>
                  </a:cubicBezTo>
                  <a:cubicBezTo>
                    <a:pt x="70" y="132"/>
                    <a:pt x="70" y="132"/>
                    <a:pt x="70" y="132"/>
                  </a:cubicBezTo>
                  <a:cubicBezTo>
                    <a:pt x="75" y="124"/>
                    <a:pt x="75" y="124"/>
                    <a:pt x="75" y="124"/>
                  </a:cubicBezTo>
                  <a:cubicBezTo>
                    <a:pt x="76" y="115"/>
                    <a:pt x="76" y="115"/>
                    <a:pt x="76" y="115"/>
                  </a:cubicBezTo>
                  <a:cubicBezTo>
                    <a:pt x="79" y="107"/>
                    <a:pt x="79" y="107"/>
                    <a:pt x="79" y="107"/>
                  </a:cubicBezTo>
                  <a:cubicBezTo>
                    <a:pt x="80" y="106"/>
                    <a:pt x="83" y="104"/>
                    <a:pt x="84" y="104"/>
                  </a:cubicBezTo>
                  <a:cubicBezTo>
                    <a:pt x="84" y="103"/>
                    <a:pt x="84" y="100"/>
                    <a:pt x="83" y="96"/>
                  </a:cubicBezTo>
                  <a:cubicBezTo>
                    <a:pt x="81" y="93"/>
                    <a:pt x="81" y="93"/>
                    <a:pt x="81" y="93"/>
                  </a:cubicBezTo>
                  <a:cubicBezTo>
                    <a:pt x="81" y="91"/>
                    <a:pt x="81" y="91"/>
                    <a:pt x="81" y="91"/>
                  </a:cubicBezTo>
                  <a:cubicBezTo>
                    <a:pt x="81" y="92"/>
                    <a:pt x="80" y="92"/>
                    <a:pt x="80" y="91"/>
                  </a:cubicBezTo>
                  <a:cubicBezTo>
                    <a:pt x="80" y="91"/>
                    <a:pt x="79" y="91"/>
                    <a:pt x="79" y="91"/>
                  </a:cubicBezTo>
                  <a:cubicBezTo>
                    <a:pt x="79" y="90"/>
                    <a:pt x="79" y="90"/>
                    <a:pt x="79" y="90"/>
                  </a:cubicBezTo>
                  <a:cubicBezTo>
                    <a:pt x="76" y="89"/>
                    <a:pt x="76" y="89"/>
                    <a:pt x="76" y="89"/>
                  </a:cubicBezTo>
                  <a:cubicBezTo>
                    <a:pt x="76" y="89"/>
                    <a:pt x="76" y="89"/>
                    <a:pt x="75" y="89"/>
                  </a:cubicBezTo>
                  <a:cubicBezTo>
                    <a:pt x="75" y="89"/>
                    <a:pt x="74" y="89"/>
                    <a:pt x="74" y="89"/>
                  </a:cubicBezTo>
                  <a:cubicBezTo>
                    <a:pt x="72" y="88"/>
                    <a:pt x="71" y="88"/>
                    <a:pt x="71" y="89"/>
                  </a:cubicBezTo>
                  <a:cubicBezTo>
                    <a:pt x="70" y="89"/>
                    <a:pt x="70" y="89"/>
                    <a:pt x="69" y="90"/>
                  </a:cubicBezTo>
                  <a:cubicBezTo>
                    <a:pt x="69" y="90"/>
                    <a:pt x="69" y="90"/>
                    <a:pt x="69" y="90"/>
                  </a:cubicBezTo>
                  <a:cubicBezTo>
                    <a:pt x="68" y="91"/>
                    <a:pt x="68" y="90"/>
                    <a:pt x="68" y="90"/>
                  </a:cubicBezTo>
                  <a:cubicBezTo>
                    <a:pt x="68" y="90"/>
                    <a:pt x="68" y="90"/>
                    <a:pt x="67" y="90"/>
                  </a:cubicBezTo>
                  <a:cubicBezTo>
                    <a:pt x="67" y="88"/>
                    <a:pt x="67" y="88"/>
                    <a:pt x="67" y="88"/>
                  </a:cubicBezTo>
                  <a:cubicBezTo>
                    <a:pt x="67" y="88"/>
                    <a:pt x="67" y="87"/>
                    <a:pt x="67" y="87"/>
                  </a:cubicBezTo>
                  <a:cubicBezTo>
                    <a:pt x="67" y="86"/>
                    <a:pt x="66" y="84"/>
                    <a:pt x="66" y="83"/>
                  </a:cubicBezTo>
                  <a:cubicBezTo>
                    <a:pt x="65" y="82"/>
                    <a:pt x="65" y="82"/>
                    <a:pt x="65" y="81"/>
                  </a:cubicBezTo>
                  <a:cubicBezTo>
                    <a:pt x="65" y="81"/>
                    <a:pt x="63" y="81"/>
                    <a:pt x="63" y="81"/>
                  </a:cubicBezTo>
                  <a:cubicBezTo>
                    <a:pt x="62" y="81"/>
                    <a:pt x="61" y="81"/>
                    <a:pt x="61" y="81"/>
                  </a:cubicBezTo>
                  <a:cubicBezTo>
                    <a:pt x="60" y="80"/>
                    <a:pt x="60" y="79"/>
                    <a:pt x="61" y="78"/>
                  </a:cubicBezTo>
                  <a:cubicBezTo>
                    <a:pt x="61" y="78"/>
                    <a:pt x="60" y="77"/>
                    <a:pt x="59" y="76"/>
                  </a:cubicBezTo>
                  <a:cubicBezTo>
                    <a:pt x="59" y="76"/>
                    <a:pt x="57" y="73"/>
                    <a:pt x="57" y="73"/>
                  </a:cubicBezTo>
                  <a:cubicBezTo>
                    <a:pt x="57" y="73"/>
                    <a:pt x="56" y="73"/>
                    <a:pt x="56" y="72"/>
                  </a:cubicBezTo>
                  <a:cubicBezTo>
                    <a:pt x="55" y="68"/>
                    <a:pt x="55" y="68"/>
                    <a:pt x="55" y="68"/>
                  </a:cubicBezTo>
                  <a:cubicBezTo>
                    <a:pt x="56" y="67"/>
                    <a:pt x="56" y="66"/>
                    <a:pt x="56" y="66"/>
                  </a:cubicBezTo>
                  <a:cubicBezTo>
                    <a:pt x="57" y="65"/>
                    <a:pt x="57" y="64"/>
                    <a:pt x="57" y="64"/>
                  </a:cubicBezTo>
                  <a:cubicBezTo>
                    <a:pt x="57" y="64"/>
                    <a:pt x="55" y="62"/>
                    <a:pt x="54" y="62"/>
                  </a:cubicBezTo>
                  <a:cubicBezTo>
                    <a:pt x="54" y="62"/>
                    <a:pt x="52" y="60"/>
                    <a:pt x="52" y="59"/>
                  </a:cubicBezTo>
                  <a:cubicBezTo>
                    <a:pt x="51" y="58"/>
                    <a:pt x="51" y="57"/>
                    <a:pt x="51" y="57"/>
                  </a:cubicBezTo>
                  <a:cubicBezTo>
                    <a:pt x="52" y="56"/>
                    <a:pt x="52" y="56"/>
                    <a:pt x="53" y="56"/>
                  </a:cubicBezTo>
                  <a:cubicBezTo>
                    <a:pt x="54" y="55"/>
                    <a:pt x="54" y="55"/>
                    <a:pt x="54" y="55"/>
                  </a:cubicBezTo>
                  <a:cubicBezTo>
                    <a:pt x="54" y="55"/>
                    <a:pt x="55" y="54"/>
                    <a:pt x="55" y="54"/>
                  </a:cubicBezTo>
                  <a:cubicBezTo>
                    <a:pt x="55" y="53"/>
                    <a:pt x="55" y="53"/>
                    <a:pt x="55" y="53"/>
                  </a:cubicBezTo>
                  <a:cubicBezTo>
                    <a:pt x="55" y="53"/>
                    <a:pt x="54" y="51"/>
                    <a:pt x="54" y="51"/>
                  </a:cubicBezTo>
                  <a:cubicBezTo>
                    <a:pt x="55" y="48"/>
                    <a:pt x="55" y="48"/>
                    <a:pt x="55" y="48"/>
                  </a:cubicBezTo>
                  <a:cubicBezTo>
                    <a:pt x="54" y="47"/>
                    <a:pt x="54" y="47"/>
                    <a:pt x="54" y="47"/>
                  </a:cubicBezTo>
                  <a:cubicBezTo>
                    <a:pt x="54" y="43"/>
                    <a:pt x="54" y="43"/>
                    <a:pt x="54" y="43"/>
                  </a:cubicBezTo>
                  <a:cubicBezTo>
                    <a:pt x="54" y="42"/>
                    <a:pt x="54" y="42"/>
                    <a:pt x="54" y="42"/>
                  </a:cubicBezTo>
                  <a:cubicBezTo>
                    <a:pt x="54" y="41"/>
                    <a:pt x="54" y="40"/>
                    <a:pt x="54" y="40"/>
                  </a:cubicBezTo>
                  <a:cubicBezTo>
                    <a:pt x="54" y="39"/>
                    <a:pt x="55" y="38"/>
                    <a:pt x="55" y="37"/>
                  </a:cubicBezTo>
                  <a:cubicBezTo>
                    <a:pt x="55" y="35"/>
                    <a:pt x="55" y="35"/>
                    <a:pt x="55" y="35"/>
                  </a:cubicBezTo>
                  <a:cubicBezTo>
                    <a:pt x="56" y="33"/>
                    <a:pt x="56" y="33"/>
                    <a:pt x="56" y="33"/>
                  </a:cubicBezTo>
                  <a:cubicBezTo>
                    <a:pt x="54" y="30"/>
                    <a:pt x="54" y="30"/>
                    <a:pt x="54" y="30"/>
                  </a:cubicBezTo>
                  <a:cubicBezTo>
                    <a:pt x="54" y="30"/>
                    <a:pt x="54" y="30"/>
                    <a:pt x="53" y="29"/>
                  </a:cubicBezTo>
                  <a:cubicBezTo>
                    <a:pt x="53" y="28"/>
                    <a:pt x="52" y="26"/>
                    <a:pt x="52" y="26"/>
                  </a:cubicBezTo>
                  <a:cubicBezTo>
                    <a:pt x="51" y="24"/>
                    <a:pt x="51" y="24"/>
                    <a:pt x="51" y="24"/>
                  </a:cubicBezTo>
                  <a:cubicBezTo>
                    <a:pt x="51" y="23"/>
                    <a:pt x="49" y="21"/>
                    <a:pt x="49" y="21"/>
                  </a:cubicBezTo>
                  <a:cubicBezTo>
                    <a:pt x="49" y="20"/>
                    <a:pt x="48" y="20"/>
                    <a:pt x="48" y="20"/>
                  </a:cubicBezTo>
                  <a:cubicBezTo>
                    <a:pt x="48" y="19"/>
                    <a:pt x="48" y="19"/>
                    <a:pt x="47" y="19"/>
                  </a:cubicBezTo>
                  <a:cubicBezTo>
                    <a:pt x="46" y="18"/>
                    <a:pt x="44" y="17"/>
                    <a:pt x="44" y="17"/>
                  </a:cubicBezTo>
                  <a:cubicBezTo>
                    <a:pt x="42" y="17"/>
                    <a:pt x="42" y="17"/>
                    <a:pt x="42" y="17"/>
                  </a:cubicBezTo>
                  <a:cubicBezTo>
                    <a:pt x="40" y="15"/>
                    <a:pt x="40" y="15"/>
                    <a:pt x="40" y="15"/>
                  </a:cubicBezTo>
                  <a:cubicBezTo>
                    <a:pt x="39" y="16"/>
                    <a:pt x="39" y="16"/>
                    <a:pt x="39" y="16"/>
                  </a:cubicBezTo>
                  <a:cubicBezTo>
                    <a:pt x="36" y="12"/>
                    <a:pt x="36" y="12"/>
                    <a:pt x="36" y="12"/>
                  </a:cubicBezTo>
                  <a:cubicBezTo>
                    <a:pt x="36" y="9"/>
                    <a:pt x="36" y="9"/>
                    <a:pt x="36" y="9"/>
                  </a:cubicBezTo>
                  <a:cubicBezTo>
                    <a:pt x="29" y="4"/>
                    <a:pt x="29" y="4"/>
                    <a:pt x="29" y="4"/>
                  </a:cubicBezTo>
                  <a:cubicBezTo>
                    <a:pt x="28" y="5"/>
                    <a:pt x="28" y="5"/>
                    <a:pt x="28" y="5"/>
                  </a:cubicBezTo>
                  <a:cubicBezTo>
                    <a:pt x="28" y="5"/>
                    <a:pt x="27" y="6"/>
                    <a:pt x="27" y="6"/>
                  </a:cubicBezTo>
                  <a:cubicBezTo>
                    <a:pt x="27" y="7"/>
                    <a:pt x="24" y="7"/>
                    <a:pt x="24" y="7"/>
                  </a:cubicBezTo>
                  <a:cubicBezTo>
                    <a:pt x="23" y="9"/>
                    <a:pt x="23" y="9"/>
                    <a:pt x="23" y="9"/>
                  </a:cubicBezTo>
                  <a:cubicBezTo>
                    <a:pt x="20" y="10"/>
                    <a:pt x="20" y="10"/>
                    <a:pt x="20" y="10"/>
                  </a:cubicBezTo>
                  <a:cubicBezTo>
                    <a:pt x="20" y="10"/>
                    <a:pt x="19" y="10"/>
                    <a:pt x="19" y="10"/>
                  </a:cubicBezTo>
                  <a:cubicBezTo>
                    <a:pt x="19" y="9"/>
                    <a:pt x="18" y="9"/>
                    <a:pt x="18" y="9"/>
                  </a:cubicBezTo>
                  <a:cubicBezTo>
                    <a:pt x="18" y="8"/>
                    <a:pt x="18" y="8"/>
                    <a:pt x="18" y="8"/>
                  </a:cubicBezTo>
                  <a:cubicBezTo>
                    <a:pt x="17" y="7"/>
                    <a:pt x="17" y="6"/>
                    <a:pt x="17" y="6"/>
                  </a:cubicBezTo>
                  <a:cubicBezTo>
                    <a:pt x="17" y="5"/>
                    <a:pt x="17" y="5"/>
                    <a:pt x="17" y="5"/>
                  </a:cubicBezTo>
                  <a:cubicBezTo>
                    <a:pt x="17" y="4"/>
                    <a:pt x="17" y="4"/>
                    <a:pt x="17" y="3"/>
                  </a:cubicBezTo>
                  <a:cubicBezTo>
                    <a:pt x="17" y="2"/>
                    <a:pt x="17" y="2"/>
                    <a:pt x="17" y="2"/>
                  </a:cubicBezTo>
                  <a:cubicBezTo>
                    <a:pt x="15" y="1"/>
                    <a:pt x="15" y="1"/>
                    <a:pt x="15" y="1"/>
                  </a:cubicBezTo>
                  <a:cubicBezTo>
                    <a:pt x="15" y="1"/>
                    <a:pt x="14" y="0"/>
                    <a:pt x="14" y="0"/>
                  </a:cubicBezTo>
                  <a:cubicBezTo>
                    <a:pt x="14" y="1"/>
                    <a:pt x="12" y="2"/>
                    <a:pt x="11" y="4"/>
                  </a:cubicBezTo>
                  <a:cubicBezTo>
                    <a:pt x="11" y="5"/>
                    <a:pt x="11" y="5"/>
                    <a:pt x="11" y="5"/>
                  </a:cubicBezTo>
                  <a:cubicBezTo>
                    <a:pt x="9" y="9"/>
                    <a:pt x="9" y="9"/>
                    <a:pt x="9" y="9"/>
                  </a:cubicBezTo>
                  <a:cubicBezTo>
                    <a:pt x="8" y="12"/>
                    <a:pt x="8" y="12"/>
                    <a:pt x="8" y="12"/>
                  </a:cubicBezTo>
                  <a:cubicBezTo>
                    <a:pt x="8" y="12"/>
                    <a:pt x="8" y="13"/>
                    <a:pt x="7" y="13"/>
                  </a:cubicBezTo>
                  <a:cubicBezTo>
                    <a:pt x="7" y="14"/>
                    <a:pt x="6" y="15"/>
                    <a:pt x="6" y="15"/>
                  </a:cubicBezTo>
                  <a:cubicBezTo>
                    <a:pt x="5" y="15"/>
                    <a:pt x="5" y="15"/>
                    <a:pt x="5" y="15"/>
                  </a:cubicBezTo>
                  <a:cubicBezTo>
                    <a:pt x="4" y="16"/>
                    <a:pt x="4" y="16"/>
                    <a:pt x="4" y="16"/>
                  </a:cubicBezTo>
                  <a:cubicBezTo>
                    <a:pt x="5" y="18"/>
                    <a:pt x="5" y="18"/>
                    <a:pt x="5" y="18"/>
                  </a:cubicBezTo>
                  <a:cubicBezTo>
                    <a:pt x="4" y="18"/>
                    <a:pt x="4" y="19"/>
                    <a:pt x="4" y="20"/>
                  </a:cubicBezTo>
                  <a:cubicBezTo>
                    <a:pt x="4" y="20"/>
                    <a:pt x="4" y="20"/>
                    <a:pt x="3" y="21"/>
                  </a:cubicBezTo>
                  <a:cubicBezTo>
                    <a:pt x="3" y="23"/>
                    <a:pt x="3" y="23"/>
                    <a:pt x="3" y="23"/>
                  </a:cubicBezTo>
                  <a:cubicBezTo>
                    <a:pt x="0" y="26"/>
                    <a:pt x="0" y="26"/>
                    <a:pt x="0" y="26"/>
                  </a:cubicBezTo>
                  <a:cubicBezTo>
                    <a:pt x="0" y="27"/>
                    <a:pt x="0" y="27"/>
                    <a:pt x="0" y="27"/>
                  </a:cubicBezTo>
                  <a:cubicBezTo>
                    <a:pt x="1" y="28"/>
                    <a:pt x="1" y="28"/>
                    <a:pt x="1" y="28"/>
                  </a:cubicBezTo>
                  <a:cubicBezTo>
                    <a:pt x="5" y="30"/>
                    <a:pt x="5" y="30"/>
                    <a:pt x="5" y="30"/>
                  </a:cubicBezTo>
                  <a:cubicBezTo>
                    <a:pt x="6" y="30"/>
                    <a:pt x="6" y="31"/>
                    <a:pt x="6" y="32"/>
                  </a:cubicBezTo>
                  <a:cubicBezTo>
                    <a:pt x="6" y="32"/>
                    <a:pt x="5" y="33"/>
                    <a:pt x="5" y="33"/>
                  </a:cubicBezTo>
                  <a:cubicBezTo>
                    <a:pt x="5" y="35"/>
                    <a:pt x="5" y="35"/>
                    <a:pt x="5" y="35"/>
                  </a:cubicBezTo>
                  <a:cubicBezTo>
                    <a:pt x="5" y="35"/>
                    <a:pt x="5" y="36"/>
                    <a:pt x="5" y="36"/>
                  </a:cubicBezTo>
                  <a:cubicBezTo>
                    <a:pt x="5" y="36"/>
                    <a:pt x="6" y="37"/>
                    <a:pt x="6" y="37"/>
                  </a:cubicBezTo>
                  <a:cubicBezTo>
                    <a:pt x="6" y="38"/>
                    <a:pt x="5" y="39"/>
                    <a:pt x="5" y="39"/>
                  </a:cubicBezTo>
                  <a:cubicBezTo>
                    <a:pt x="4" y="40"/>
                    <a:pt x="4" y="40"/>
                    <a:pt x="4" y="40"/>
                  </a:cubicBezTo>
                  <a:cubicBezTo>
                    <a:pt x="5" y="41"/>
                    <a:pt x="5" y="41"/>
                    <a:pt x="5" y="41"/>
                  </a:cubicBezTo>
                  <a:cubicBezTo>
                    <a:pt x="5" y="41"/>
                    <a:pt x="5" y="43"/>
                    <a:pt x="5" y="43"/>
                  </a:cubicBezTo>
                  <a:cubicBezTo>
                    <a:pt x="5" y="43"/>
                    <a:pt x="6" y="44"/>
                    <a:pt x="7" y="44"/>
                  </a:cubicBezTo>
                  <a:cubicBezTo>
                    <a:pt x="7" y="44"/>
                    <a:pt x="7" y="44"/>
                    <a:pt x="8" y="44"/>
                  </a:cubicBezTo>
                  <a:cubicBezTo>
                    <a:pt x="9" y="44"/>
                    <a:pt x="9" y="44"/>
                    <a:pt x="9" y="44"/>
                  </a:cubicBezTo>
                  <a:cubicBezTo>
                    <a:pt x="10" y="44"/>
                    <a:pt x="10" y="44"/>
                    <a:pt x="10" y="44"/>
                  </a:cubicBezTo>
                  <a:cubicBezTo>
                    <a:pt x="14" y="45"/>
                    <a:pt x="14" y="45"/>
                    <a:pt x="14" y="45"/>
                  </a:cubicBezTo>
                  <a:cubicBezTo>
                    <a:pt x="15" y="46"/>
                    <a:pt x="15" y="46"/>
                    <a:pt x="15" y="46"/>
                  </a:cubicBezTo>
                  <a:cubicBezTo>
                    <a:pt x="15" y="49"/>
                    <a:pt x="15" y="49"/>
                    <a:pt x="15" y="49"/>
                  </a:cubicBezTo>
                  <a:cubicBezTo>
                    <a:pt x="16" y="52"/>
                    <a:pt x="16" y="52"/>
                    <a:pt x="16" y="52"/>
                  </a:cubicBezTo>
                  <a:cubicBezTo>
                    <a:pt x="15" y="54"/>
                    <a:pt x="15" y="54"/>
                    <a:pt x="15" y="54"/>
                  </a:cubicBezTo>
                  <a:cubicBezTo>
                    <a:pt x="16" y="54"/>
                    <a:pt x="16" y="54"/>
                    <a:pt x="16" y="54"/>
                  </a:cubicBezTo>
                  <a:cubicBezTo>
                    <a:pt x="16" y="54"/>
                    <a:pt x="16" y="55"/>
                    <a:pt x="16" y="55"/>
                  </a:cubicBezTo>
                  <a:cubicBezTo>
                    <a:pt x="16" y="56"/>
                    <a:pt x="16" y="58"/>
                    <a:pt x="16" y="58"/>
                  </a:cubicBezTo>
                  <a:cubicBezTo>
                    <a:pt x="15" y="58"/>
                    <a:pt x="14" y="59"/>
                    <a:pt x="13" y="59"/>
                  </a:cubicBezTo>
                  <a:cubicBezTo>
                    <a:pt x="12" y="59"/>
                    <a:pt x="11" y="59"/>
                    <a:pt x="11" y="59"/>
                  </a:cubicBezTo>
                  <a:cubicBezTo>
                    <a:pt x="11" y="60"/>
                    <a:pt x="11" y="60"/>
                    <a:pt x="11" y="60"/>
                  </a:cubicBezTo>
                  <a:cubicBezTo>
                    <a:pt x="13" y="61"/>
                    <a:pt x="13" y="61"/>
                    <a:pt x="13" y="61"/>
                  </a:cubicBezTo>
                  <a:cubicBezTo>
                    <a:pt x="14" y="61"/>
                    <a:pt x="14" y="61"/>
                    <a:pt x="14" y="61"/>
                  </a:cubicBezTo>
                  <a:cubicBezTo>
                    <a:pt x="15" y="62"/>
                    <a:pt x="15" y="64"/>
                    <a:pt x="15" y="64"/>
                  </a:cubicBezTo>
                  <a:cubicBezTo>
                    <a:pt x="14" y="64"/>
                    <a:pt x="14" y="65"/>
                    <a:pt x="14" y="65"/>
                  </a:cubicBezTo>
                  <a:cubicBezTo>
                    <a:pt x="13" y="65"/>
                    <a:pt x="12" y="66"/>
                    <a:pt x="12" y="66"/>
                  </a:cubicBezTo>
                  <a:cubicBezTo>
                    <a:pt x="10" y="68"/>
                    <a:pt x="10" y="68"/>
                    <a:pt x="10" y="68"/>
                  </a:cubicBezTo>
                  <a:cubicBezTo>
                    <a:pt x="9" y="69"/>
                    <a:pt x="9" y="69"/>
                    <a:pt x="9" y="69"/>
                  </a:cubicBezTo>
                  <a:cubicBezTo>
                    <a:pt x="10" y="71"/>
                    <a:pt x="10" y="71"/>
                    <a:pt x="10" y="71"/>
                  </a:cubicBezTo>
                  <a:cubicBezTo>
                    <a:pt x="11" y="71"/>
                    <a:pt x="11" y="71"/>
                    <a:pt x="11" y="71"/>
                  </a:cubicBezTo>
                  <a:cubicBezTo>
                    <a:pt x="12" y="71"/>
                    <a:pt x="12" y="71"/>
                    <a:pt x="12" y="72"/>
                  </a:cubicBezTo>
                  <a:cubicBezTo>
                    <a:pt x="12" y="72"/>
                    <a:pt x="12" y="72"/>
                    <a:pt x="15" y="73"/>
                  </a:cubicBezTo>
                  <a:cubicBezTo>
                    <a:pt x="15" y="75"/>
                    <a:pt x="15" y="75"/>
                    <a:pt x="15" y="75"/>
                  </a:cubicBezTo>
                  <a:cubicBezTo>
                    <a:pt x="15" y="75"/>
                    <a:pt x="15" y="76"/>
                    <a:pt x="15" y="77"/>
                  </a:cubicBezTo>
                  <a:cubicBezTo>
                    <a:pt x="15" y="78"/>
                    <a:pt x="14" y="81"/>
                    <a:pt x="14" y="81"/>
                  </a:cubicBezTo>
                  <a:cubicBezTo>
                    <a:pt x="13" y="83"/>
                    <a:pt x="13" y="83"/>
                    <a:pt x="13" y="83"/>
                  </a:cubicBezTo>
                  <a:cubicBezTo>
                    <a:pt x="13" y="83"/>
                    <a:pt x="14" y="84"/>
                    <a:pt x="14" y="86"/>
                  </a:cubicBezTo>
                  <a:cubicBezTo>
                    <a:pt x="13" y="89"/>
                    <a:pt x="13" y="89"/>
                    <a:pt x="13" y="89"/>
                  </a:cubicBezTo>
                  <a:cubicBezTo>
                    <a:pt x="17" y="90"/>
                    <a:pt x="17" y="90"/>
                    <a:pt x="17" y="90"/>
                  </a:cubicBezTo>
                  <a:cubicBezTo>
                    <a:pt x="17" y="92"/>
                    <a:pt x="17" y="92"/>
                    <a:pt x="17" y="92"/>
                  </a:cubicBezTo>
                  <a:cubicBezTo>
                    <a:pt x="14" y="93"/>
                    <a:pt x="14" y="93"/>
                    <a:pt x="14" y="93"/>
                  </a:cubicBezTo>
                  <a:cubicBezTo>
                    <a:pt x="14" y="93"/>
                    <a:pt x="13" y="93"/>
                    <a:pt x="13" y="94"/>
                  </a:cubicBezTo>
                  <a:cubicBezTo>
                    <a:pt x="13" y="94"/>
                    <a:pt x="13" y="95"/>
                    <a:pt x="13" y="95"/>
                  </a:cubicBezTo>
                  <a:cubicBezTo>
                    <a:pt x="15" y="95"/>
                    <a:pt x="15" y="95"/>
                    <a:pt x="15" y="95"/>
                  </a:cubicBezTo>
                  <a:cubicBezTo>
                    <a:pt x="13" y="97"/>
                    <a:pt x="13" y="97"/>
                    <a:pt x="13" y="97"/>
                  </a:cubicBezTo>
                  <a:cubicBezTo>
                    <a:pt x="13" y="97"/>
                    <a:pt x="13" y="99"/>
                    <a:pt x="13" y="99"/>
                  </a:cubicBezTo>
                  <a:cubicBezTo>
                    <a:pt x="13" y="99"/>
                    <a:pt x="13" y="100"/>
                    <a:pt x="13" y="101"/>
                  </a:cubicBezTo>
                  <a:cubicBezTo>
                    <a:pt x="12" y="101"/>
                    <a:pt x="12" y="101"/>
                    <a:pt x="12" y="101"/>
                  </a:cubicBezTo>
                  <a:cubicBezTo>
                    <a:pt x="12" y="103"/>
                    <a:pt x="12" y="103"/>
                    <a:pt x="12" y="103"/>
                  </a:cubicBezTo>
                  <a:cubicBezTo>
                    <a:pt x="11" y="108"/>
                    <a:pt x="11" y="108"/>
                    <a:pt x="11" y="108"/>
                  </a:cubicBezTo>
                  <a:cubicBezTo>
                    <a:pt x="14" y="114"/>
                    <a:pt x="14" y="114"/>
                    <a:pt x="14" y="114"/>
                  </a:cubicBezTo>
                  <a:cubicBezTo>
                    <a:pt x="17" y="117"/>
                    <a:pt x="17" y="117"/>
                    <a:pt x="17" y="117"/>
                  </a:cubicBezTo>
                  <a:cubicBezTo>
                    <a:pt x="19" y="119"/>
                    <a:pt x="19" y="119"/>
                    <a:pt x="19" y="119"/>
                  </a:cubicBezTo>
                  <a:cubicBezTo>
                    <a:pt x="18" y="122"/>
                    <a:pt x="18" y="122"/>
                    <a:pt x="18" y="122"/>
                  </a:cubicBezTo>
                  <a:cubicBezTo>
                    <a:pt x="19" y="123"/>
                    <a:pt x="19" y="123"/>
                    <a:pt x="19" y="123"/>
                  </a:cubicBezTo>
                  <a:cubicBezTo>
                    <a:pt x="19" y="125"/>
                    <a:pt x="19" y="125"/>
                    <a:pt x="19" y="125"/>
                  </a:cubicBezTo>
                  <a:cubicBezTo>
                    <a:pt x="19" y="125"/>
                    <a:pt x="19" y="126"/>
                    <a:pt x="18" y="126"/>
                  </a:cubicBezTo>
                  <a:cubicBezTo>
                    <a:pt x="18" y="126"/>
                    <a:pt x="17" y="126"/>
                    <a:pt x="17" y="126"/>
                  </a:cubicBezTo>
                  <a:cubicBezTo>
                    <a:pt x="16" y="125"/>
                    <a:pt x="15" y="123"/>
                    <a:pt x="15" y="123"/>
                  </a:cubicBezTo>
                  <a:cubicBezTo>
                    <a:pt x="15" y="123"/>
                    <a:pt x="14" y="122"/>
                    <a:pt x="14" y="121"/>
                  </a:cubicBezTo>
                  <a:cubicBezTo>
                    <a:pt x="14" y="121"/>
                    <a:pt x="13" y="120"/>
                    <a:pt x="13" y="120"/>
                  </a:cubicBezTo>
                  <a:cubicBezTo>
                    <a:pt x="11" y="120"/>
                    <a:pt x="11" y="120"/>
                    <a:pt x="11" y="120"/>
                  </a:cubicBezTo>
                  <a:cubicBezTo>
                    <a:pt x="11" y="121"/>
                    <a:pt x="11" y="121"/>
                    <a:pt x="11" y="121"/>
                  </a:cubicBezTo>
                  <a:cubicBezTo>
                    <a:pt x="11" y="121"/>
                    <a:pt x="12" y="122"/>
                    <a:pt x="12" y="123"/>
                  </a:cubicBezTo>
                  <a:cubicBezTo>
                    <a:pt x="13" y="123"/>
                    <a:pt x="14" y="124"/>
                    <a:pt x="14" y="124"/>
                  </a:cubicBezTo>
                  <a:cubicBezTo>
                    <a:pt x="14" y="124"/>
                    <a:pt x="15" y="125"/>
                    <a:pt x="15" y="125"/>
                  </a:cubicBezTo>
                  <a:cubicBezTo>
                    <a:pt x="15" y="125"/>
                    <a:pt x="16" y="128"/>
                    <a:pt x="16" y="128"/>
                  </a:cubicBezTo>
                  <a:cubicBezTo>
                    <a:pt x="27" y="135"/>
                    <a:pt x="27" y="135"/>
                    <a:pt x="27" y="135"/>
                  </a:cubicBezTo>
                  <a:cubicBezTo>
                    <a:pt x="31" y="136"/>
                    <a:pt x="31" y="136"/>
                    <a:pt x="31" y="136"/>
                  </a:cubicBezTo>
                  <a:cubicBezTo>
                    <a:pt x="32" y="138"/>
                    <a:pt x="32" y="138"/>
                    <a:pt x="32" y="138"/>
                  </a:cubicBezTo>
                  <a:cubicBezTo>
                    <a:pt x="33" y="138"/>
                    <a:pt x="33" y="138"/>
                    <a:pt x="33" y="138"/>
                  </a:cubicBezTo>
                  <a:cubicBezTo>
                    <a:pt x="33" y="138"/>
                    <a:pt x="34" y="138"/>
                    <a:pt x="35" y="138"/>
                  </a:cubicBezTo>
                  <a:cubicBezTo>
                    <a:pt x="35" y="138"/>
                    <a:pt x="35" y="138"/>
                    <a:pt x="35" y="138"/>
                  </a:cubicBezTo>
                  <a:cubicBezTo>
                    <a:pt x="35" y="138"/>
                    <a:pt x="37" y="139"/>
                    <a:pt x="37" y="139"/>
                  </a:cubicBezTo>
                  <a:cubicBezTo>
                    <a:pt x="37" y="139"/>
                    <a:pt x="38" y="139"/>
                    <a:pt x="38" y="139"/>
                  </a:cubicBezTo>
                  <a:cubicBezTo>
                    <a:pt x="38" y="140"/>
                    <a:pt x="40" y="143"/>
                    <a:pt x="41" y="145"/>
                  </a:cubicBezTo>
                  <a:cubicBezTo>
                    <a:pt x="41" y="145"/>
                    <a:pt x="42" y="146"/>
                    <a:pt x="42" y="147"/>
                  </a:cubicBezTo>
                  <a:cubicBezTo>
                    <a:pt x="43" y="147"/>
                    <a:pt x="45" y="148"/>
                    <a:pt x="45" y="148"/>
                  </a:cubicBezTo>
                  <a:cubicBezTo>
                    <a:pt x="45" y="149"/>
                    <a:pt x="45" y="150"/>
                    <a:pt x="45" y="151"/>
                  </a:cubicBezTo>
                  <a:cubicBezTo>
                    <a:pt x="45" y="151"/>
                    <a:pt x="45" y="151"/>
                    <a:pt x="45" y="152"/>
                  </a:cubicBezTo>
                  <a:cubicBezTo>
                    <a:pt x="45" y="153"/>
                    <a:pt x="46" y="153"/>
                    <a:pt x="46" y="153"/>
                  </a:cubicBezTo>
                  <a:cubicBezTo>
                    <a:pt x="46" y="154"/>
                    <a:pt x="47" y="155"/>
                    <a:pt x="47" y="155"/>
                  </a:cubicBezTo>
                  <a:cubicBezTo>
                    <a:pt x="47" y="158"/>
                    <a:pt x="47" y="158"/>
                    <a:pt x="47" y="158"/>
                  </a:cubicBezTo>
                  <a:cubicBezTo>
                    <a:pt x="48" y="158"/>
                    <a:pt x="48" y="158"/>
                    <a:pt x="48" y="158"/>
                  </a:cubicBezTo>
                  <a:lnTo>
                    <a:pt x="49" y="158"/>
                  </a:lnTo>
                  <a:close/>
                </a:path>
              </a:pathLst>
            </a:custGeom>
            <a:solidFill>
              <a:srgbClr val="E6EFF1"/>
            </a:solidFill>
            <a:ln w="12700" cap="rnd" cmpd="sng">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Lato Light"/>
              </a:endParaRPr>
            </a:p>
          </p:txBody>
        </p:sp>
        <p:sp>
          <p:nvSpPr>
            <p:cNvPr id="10" name="Freeform 84">
              <a:extLst>
                <a:ext uri="{FF2B5EF4-FFF2-40B4-BE49-F238E27FC236}">
                  <a16:creationId xmlns:a16="http://schemas.microsoft.com/office/drawing/2014/main" id="{E50CA650-7A45-6B3B-E65F-29B4777DA1D3}"/>
                </a:ext>
              </a:extLst>
            </p:cNvPr>
            <p:cNvSpPr>
              <a:spLocks/>
            </p:cNvSpPr>
            <p:nvPr/>
          </p:nvSpPr>
          <p:spPr bwMode="auto">
            <a:xfrm>
              <a:off x="4922628" y="4992957"/>
              <a:ext cx="223662" cy="247771"/>
            </a:xfrm>
            <a:custGeom>
              <a:avLst/>
              <a:gdLst>
                <a:gd name="T0" fmla="*/ 46 w 78"/>
                <a:gd name="T1" fmla="*/ 88 h 89"/>
                <a:gd name="T2" fmla="*/ 44 w 78"/>
                <a:gd name="T3" fmla="*/ 86 h 89"/>
                <a:gd name="T4" fmla="*/ 44 w 78"/>
                <a:gd name="T5" fmla="*/ 81 h 89"/>
                <a:gd name="T6" fmla="*/ 44 w 78"/>
                <a:gd name="T7" fmla="*/ 77 h 89"/>
                <a:gd name="T8" fmla="*/ 42 w 78"/>
                <a:gd name="T9" fmla="*/ 73 h 89"/>
                <a:gd name="T10" fmla="*/ 39 w 78"/>
                <a:gd name="T11" fmla="*/ 69 h 89"/>
                <a:gd name="T12" fmla="*/ 43 w 78"/>
                <a:gd name="T13" fmla="*/ 64 h 89"/>
                <a:gd name="T14" fmla="*/ 44 w 78"/>
                <a:gd name="T15" fmla="*/ 59 h 89"/>
                <a:gd name="T16" fmla="*/ 47 w 78"/>
                <a:gd name="T17" fmla="*/ 55 h 89"/>
                <a:gd name="T18" fmla="*/ 50 w 78"/>
                <a:gd name="T19" fmla="*/ 49 h 89"/>
                <a:gd name="T20" fmla="*/ 55 w 78"/>
                <a:gd name="T21" fmla="*/ 44 h 89"/>
                <a:gd name="T22" fmla="*/ 56 w 78"/>
                <a:gd name="T23" fmla="*/ 47 h 89"/>
                <a:gd name="T24" fmla="*/ 57 w 78"/>
                <a:gd name="T25" fmla="*/ 51 h 89"/>
                <a:gd name="T26" fmla="*/ 59 w 78"/>
                <a:gd name="T27" fmla="*/ 54 h 89"/>
                <a:gd name="T28" fmla="*/ 66 w 78"/>
                <a:gd name="T29" fmla="*/ 50 h 89"/>
                <a:gd name="T30" fmla="*/ 68 w 78"/>
                <a:gd name="T31" fmla="*/ 48 h 89"/>
                <a:gd name="T32" fmla="*/ 67 w 78"/>
                <a:gd name="T33" fmla="*/ 41 h 89"/>
                <a:gd name="T34" fmla="*/ 70 w 78"/>
                <a:gd name="T35" fmla="*/ 36 h 89"/>
                <a:gd name="T36" fmla="*/ 78 w 78"/>
                <a:gd name="T37" fmla="*/ 31 h 89"/>
                <a:gd name="T38" fmla="*/ 71 w 78"/>
                <a:gd name="T39" fmla="*/ 25 h 89"/>
                <a:gd name="T40" fmla="*/ 62 w 78"/>
                <a:gd name="T41" fmla="*/ 20 h 89"/>
                <a:gd name="T42" fmla="*/ 57 w 78"/>
                <a:gd name="T43" fmla="*/ 17 h 89"/>
                <a:gd name="T44" fmla="*/ 50 w 78"/>
                <a:gd name="T45" fmla="*/ 19 h 89"/>
                <a:gd name="T46" fmla="*/ 46 w 78"/>
                <a:gd name="T47" fmla="*/ 17 h 89"/>
                <a:gd name="T48" fmla="*/ 40 w 78"/>
                <a:gd name="T49" fmla="*/ 14 h 89"/>
                <a:gd name="T50" fmla="*/ 38 w 78"/>
                <a:gd name="T51" fmla="*/ 10 h 89"/>
                <a:gd name="T52" fmla="*/ 33 w 78"/>
                <a:gd name="T53" fmla="*/ 7 h 89"/>
                <a:gd name="T54" fmla="*/ 26 w 78"/>
                <a:gd name="T55" fmla="*/ 5 h 89"/>
                <a:gd name="T56" fmla="*/ 25 w 78"/>
                <a:gd name="T57" fmla="*/ 0 h 89"/>
                <a:gd name="T58" fmla="*/ 20 w 78"/>
                <a:gd name="T59" fmla="*/ 2 h 89"/>
                <a:gd name="T60" fmla="*/ 17 w 78"/>
                <a:gd name="T61" fmla="*/ 0 h 89"/>
                <a:gd name="T62" fmla="*/ 14 w 78"/>
                <a:gd name="T63" fmla="*/ 4 h 89"/>
                <a:gd name="T64" fmla="*/ 17 w 78"/>
                <a:gd name="T65" fmla="*/ 6 h 89"/>
                <a:gd name="T66" fmla="*/ 19 w 78"/>
                <a:gd name="T67" fmla="*/ 10 h 89"/>
                <a:gd name="T68" fmla="*/ 20 w 78"/>
                <a:gd name="T69" fmla="*/ 14 h 89"/>
                <a:gd name="T70" fmla="*/ 17 w 78"/>
                <a:gd name="T71" fmla="*/ 14 h 89"/>
                <a:gd name="T72" fmla="*/ 12 w 78"/>
                <a:gd name="T73" fmla="*/ 12 h 89"/>
                <a:gd name="T74" fmla="*/ 8 w 78"/>
                <a:gd name="T75" fmla="*/ 20 h 89"/>
                <a:gd name="T76" fmla="*/ 7 w 78"/>
                <a:gd name="T77" fmla="*/ 28 h 89"/>
                <a:gd name="T78" fmla="*/ 0 w 78"/>
                <a:gd name="T79" fmla="*/ 32 h 89"/>
                <a:gd name="T80" fmla="*/ 3 w 78"/>
                <a:gd name="T81" fmla="*/ 40 h 89"/>
                <a:gd name="T82" fmla="*/ 4 w 78"/>
                <a:gd name="T83" fmla="*/ 46 h 89"/>
                <a:gd name="T84" fmla="*/ 7 w 78"/>
                <a:gd name="T85" fmla="*/ 49 h 89"/>
                <a:gd name="T86" fmla="*/ 5 w 78"/>
                <a:gd name="T87" fmla="*/ 54 h 89"/>
                <a:gd name="T88" fmla="*/ 3 w 78"/>
                <a:gd name="T89" fmla="*/ 57 h 89"/>
                <a:gd name="T90" fmla="*/ 5 w 78"/>
                <a:gd name="T91" fmla="*/ 61 h 89"/>
                <a:gd name="T92" fmla="*/ 12 w 78"/>
                <a:gd name="T93" fmla="*/ 60 h 89"/>
                <a:gd name="T94" fmla="*/ 13 w 78"/>
                <a:gd name="T95" fmla="*/ 57 h 89"/>
                <a:gd name="T96" fmla="*/ 16 w 78"/>
                <a:gd name="T97" fmla="*/ 60 h 89"/>
                <a:gd name="T98" fmla="*/ 14 w 78"/>
                <a:gd name="T99" fmla="*/ 61 h 89"/>
                <a:gd name="T100" fmla="*/ 12 w 78"/>
                <a:gd name="T101" fmla="*/ 63 h 89"/>
                <a:gd name="T102" fmla="*/ 8 w 78"/>
                <a:gd name="T103" fmla="*/ 65 h 89"/>
                <a:gd name="T104" fmla="*/ 13 w 78"/>
                <a:gd name="T105" fmla="*/ 65 h 89"/>
                <a:gd name="T106" fmla="*/ 17 w 78"/>
                <a:gd name="T107" fmla="*/ 69 h 89"/>
                <a:gd name="T108" fmla="*/ 25 w 78"/>
                <a:gd name="T109" fmla="*/ 71 h 89"/>
                <a:gd name="T110" fmla="*/ 30 w 78"/>
                <a:gd name="T111" fmla="*/ 75 h 89"/>
                <a:gd name="T112" fmla="*/ 31 w 78"/>
                <a:gd name="T113" fmla="*/ 77 h 89"/>
                <a:gd name="T114" fmla="*/ 34 w 78"/>
                <a:gd name="T115" fmla="*/ 80 h 89"/>
                <a:gd name="T116" fmla="*/ 36 w 78"/>
                <a:gd name="T117" fmla="*/ 84 h 89"/>
                <a:gd name="T118" fmla="*/ 40 w 78"/>
                <a:gd name="T119" fmla="*/ 86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8" h="89">
                  <a:moveTo>
                    <a:pt x="42" y="87"/>
                  </a:moveTo>
                  <a:cubicBezTo>
                    <a:pt x="42" y="87"/>
                    <a:pt x="47" y="89"/>
                    <a:pt x="46" y="89"/>
                  </a:cubicBezTo>
                  <a:cubicBezTo>
                    <a:pt x="46" y="89"/>
                    <a:pt x="46" y="89"/>
                    <a:pt x="46" y="88"/>
                  </a:cubicBezTo>
                  <a:cubicBezTo>
                    <a:pt x="46" y="88"/>
                    <a:pt x="45" y="89"/>
                    <a:pt x="45" y="89"/>
                  </a:cubicBezTo>
                  <a:cubicBezTo>
                    <a:pt x="45" y="89"/>
                    <a:pt x="43" y="87"/>
                    <a:pt x="44" y="87"/>
                  </a:cubicBezTo>
                  <a:cubicBezTo>
                    <a:pt x="44" y="87"/>
                    <a:pt x="44" y="86"/>
                    <a:pt x="44" y="86"/>
                  </a:cubicBezTo>
                  <a:cubicBezTo>
                    <a:pt x="44" y="85"/>
                    <a:pt x="43" y="84"/>
                    <a:pt x="43" y="84"/>
                  </a:cubicBezTo>
                  <a:cubicBezTo>
                    <a:pt x="44" y="83"/>
                    <a:pt x="44" y="83"/>
                    <a:pt x="44" y="83"/>
                  </a:cubicBezTo>
                  <a:cubicBezTo>
                    <a:pt x="44" y="83"/>
                    <a:pt x="44" y="81"/>
                    <a:pt x="44" y="81"/>
                  </a:cubicBezTo>
                  <a:cubicBezTo>
                    <a:pt x="44" y="81"/>
                    <a:pt x="44" y="80"/>
                    <a:pt x="44" y="80"/>
                  </a:cubicBezTo>
                  <a:cubicBezTo>
                    <a:pt x="44" y="80"/>
                    <a:pt x="43" y="79"/>
                    <a:pt x="43" y="79"/>
                  </a:cubicBezTo>
                  <a:cubicBezTo>
                    <a:pt x="44" y="77"/>
                    <a:pt x="44" y="77"/>
                    <a:pt x="44" y="77"/>
                  </a:cubicBezTo>
                  <a:cubicBezTo>
                    <a:pt x="44" y="77"/>
                    <a:pt x="44" y="76"/>
                    <a:pt x="44" y="76"/>
                  </a:cubicBezTo>
                  <a:cubicBezTo>
                    <a:pt x="44" y="75"/>
                    <a:pt x="44" y="74"/>
                    <a:pt x="44" y="74"/>
                  </a:cubicBezTo>
                  <a:cubicBezTo>
                    <a:pt x="42" y="73"/>
                    <a:pt x="42" y="73"/>
                    <a:pt x="42" y="73"/>
                  </a:cubicBezTo>
                  <a:cubicBezTo>
                    <a:pt x="40" y="72"/>
                    <a:pt x="40" y="72"/>
                    <a:pt x="40" y="72"/>
                  </a:cubicBezTo>
                  <a:cubicBezTo>
                    <a:pt x="39" y="71"/>
                    <a:pt x="39" y="71"/>
                    <a:pt x="39" y="71"/>
                  </a:cubicBezTo>
                  <a:cubicBezTo>
                    <a:pt x="39" y="69"/>
                    <a:pt x="39" y="69"/>
                    <a:pt x="39" y="69"/>
                  </a:cubicBezTo>
                  <a:cubicBezTo>
                    <a:pt x="41" y="67"/>
                    <a:pt x="41" y="67"/>
                    <a:pt x="41" y="67"/>
                  </a:cubicBezTo>
                  <a:cubicBezTo>
                    <a:pt x="42" y="65"/>
                    <a:pt x="42" y="65"/>
                    <a:pt x="42" y="65"/>
                  </a:cubicBezTo>
                  <a:cubicBezTo>
                    <a:pt x="42" y="65"/>
                    <a:pt x="43" y="64"/>
                    <a:pt x="43" y="64"/>
                  </a:cubicBezTo>
                  <a:cubicBezTo>
                    <a:pt x="43" y="63"/>
                    <a:pt x="43" y="62"/>
                    <a:pt x="43" y="62"/>
                  </a:cubicBezTo>
                  <a:cubicBezTo>
                    <a:pt x="43" y="60"/>
                    <a:pt x="43" y="60"/>
                    <a:pt x="43" y="60"/>
                  </a:cubicBezTo>
                  <a:cubicBezTo>
                    <a:pt x="44" y="59"/>
                    <a:pt x="44" y="59"/>
                    <a:pt x="44" y="59"/>
                  </a:cubicBezTo>
                  <a:cubicBezTo>
                    <a:pt x="45" y="58"/>
                    <a:pt x="45" y="58"/>
                    <a:pt x="45" y="58"/>
                  </a:cubicBezTo>
                  <a:cubicBezTo>
                    <a:pt x="45" y="58"/>
                    <a:pt x="46" y="57"/>
                    <a:pt x="46" y="57"/>
                  </a:cubicBezTo>
                  <a:cubicBezTo>
                    <a:pt x="46" y="56"/>
                    <a:pt x="47" y="55"/>
                    <a:pt x="47" y="55"/>
                  </a:cubicBezTo>
                  <a:cubicBezTo>
                    <a:pt x="48" y="53"/>
                    <a:pt x="48" y="53"/>
                    <a:pt x="48" y="53"/>
                  </a:cubicBezTo>
                  <a:cubicBezTo>
                    <a:pt x="49" y="51"/>
                    <a:pt x="49" y="51"/>
                    <a:pt x="49" y="51"/>
                  </a:cubicBezTo>
                  <a:cubicBezTo>
                    <a:pt x="50" y="49"/>
                    <a:pt x="50" y="49"/>
                    <a:pt x="50" y="49"/>
                  </a:cubicBezTo>
                  <a:cubicBezTo>
                    <a:pt x="49" y="48"/>
                    <a:pt x="49" y="48"/>
                    <a:pt x="49" y="48"/>
                  </a:cubicBezTo>
                  <a:cubicBezTo>
                    <a:pt x="49" y="48"/>
                    <a:pt x="53" y="44"/>
                    <a:pt x="53" y="44"/>
                  </a:cubicBezTo>
                  <a:cubicBezTo>
                    <a:pt x="53" y="44"/>
                    <a:pt x="55" y="44"/>
                    <a:pt x="55" y="44"/>
                  </a:cubicBezTo>
                  <a:cubicBezTo>
                    <a:pt x="55" y="45"/>
                    <a:pt x="55" y="45"/>
                    <a:pt x="55" y="45"/>
                  </a:cubicBezTo>
                  <a:cubicBezTo>
                    <a:pt x="56" y="46"/>
                    <a:pt x="56" y="46"/>
                    <a:pt x="56" y="46"/>
                  </a:cubicBezTo>
                  <a:cubicBezTo>
                    <a:pt x="56" y="47"/>
                    <a:pt x="56" y="47"/>
                    <a:pt x="56" y="47"/>
                  </a:cubicBezTo>
                  <a:cubicBezTo>
                    <a:pt x="56" y="47"/>
                    <a:pt x="56" y="48"/>
                    <a:pt x="56" y="49"/>
                  </a:cubicBezTo>
                  <a:cubicBezTo>
                    <a:pt x="56" y="49"/>
                    <a:pt x="56" y="50"/>
                    <a:pt x="56" y="50"/>
                  </a:cubicBezTo>
                  <a:cubicBezTo>
                    <a:pt x="56" y="50"/>
                    <a:pt x="57" y="51"/>
                    <a:pt x="57" y="51"/>
                  </a:cubicBezTo>
                  <a:cubicBezTo>
                    <a:pt x="57" y="52"/>
                    <a:pt x="58" y="53"/>
                    <a:pt x="58" y="53"/>
                  </a:cubicBezTo>
                  <a:cubicBezTo>
                    <a:pt x="58" y="53"/>
                    <a:pt x="58" y="53"/>
                    <a:pt x="59" y="53"/>
                  </a:cubicBezTo>
                  <a:cubicBezTo>
                    <a:pt x="59" y="54"/>
                    <a:pt x="59" y="54"/>
                    <a:pt x="59" y="54"/>
                  </a:cubicBezTo>
                  <a:cubicBezTo>
                    <a:pt x="61" y="53"/>
                    <a:pt x="61" y="53"/>
                    <a:pt x="61" y="53"/>
                  </a:cubicBezTo>
                  <a:cubicBezTo>
                    <a:pt x="63" y="51"/>
                    <a:pt x="63" y="51"/>
                    <a:pt x="63" y="51"/>
                  </a:cubicBezTo>
                  <a:cubicBezTo>
                    <a:pt x="63" y="51"/>
                    <a:pt x="66" y="50"/>
                    <a:pt x="66" y="50"/>
                  </a:cubicBezTo>
                  <a:cubicBezTo>
                    <a:pt x="66" y="50"/>
                    <a:pt x="67" y="48"/>
                    <a:pt x="67" y="48"/>
                  </a:cubicBezTo>
                  <a:cubicBezTo>
                    <a:pt x="68" y="48"/>
                    <a:pt x="68" y="48"/>
                    <a:pt x="68" y="48"/>
                  </a:cubicBezTo>
                  <a:cubicBezTo>
                    <a:pt x="68" y="48"/>
                    <a:pt x="68" y="48"/>
                    <a:pt x="68" y="48"/>
                  </a:cubicBezTo>
                  <a:cubicBezTo>
                    <a:pt x="67" y="46"/>
                    <a:pt x="69" y="44"/>
                    <a:pt x="68" y="42"/>
                  </a:cubicBezTo>
                  <a:cubicBezTo>
                    <a:pt x="68" y="42"/>
                    <a:pt x="67" y="41"/>
                    <a:pt x="67" y="41"/>
                  </a:cubicBezTo>
                  <a:cubicBezTo>
                    <a:pt x="67" y="41"/>
                    <a:pt x="67" y="41"/>
                    <a:pt x="67" y="41"/>
                  </a:cubicBezTo>
                  <a:cubicBezTo>
                    <a:pt x="67" y="41"/>
                    <a:pt x="67" y="41"/>
                    <a:pt x="67" y="41"/>
                  </a:cubicBezTo>
                  <a:cubicBezTo>
                    <a:pt x="65" y="39"/>
                    <a:pt x="62" y="38"/>
                    <a:pt x="63" y="38"/>
                  </a:cubicBezTo>
                  <a:cubicBezTo>
                    <a:pt x="64" y="36"/>
                    <a:pt x="68" y="37"/>
                    <a:pt x="70" y="36"/>
                  </a:cubicBezTo>
                  <a:cubicBezTo>
                    <a:pt x="71" y="36"/>
                    <a:pt x="71" y="34"/>
                    <a:pt x="72" y="33"/>
                  </a:cubicBezTo>
                  <a:cubicBezTo>
                    <a:pt x="73" y="33"/>
                    <a:pt x="75" y="34"/>
                    <a:pt x="75" y="32"/>
                  </a:cubicBezTo>
                  <a:cubicBezTo>
                    <a:pt x="75" y="30"/>
                    <a:pt x="77" y="30"/>
                    <a:pt x="78" y="31"/>
                  </a:cubicBezTo>
                  <a:cubicBezTo>
                    <a:pt x="78" y="31"/>
                    <a:pt x="78" y="31"/>
                    <a:pt x="78" y="31"/>
                  </a:cubicBezTo>
                  <a:cubicBezTo>
                    <a:pt x="77" y="29"/>
                    <a:pt x="74" y="27"/>
                    <a:pt x="73" y="26"/>
                  </a:cubicBezTo>
                  <a:cubicBezTo>
                    <a:pt x="73" y="26"/>
                    <a:pt x="73" y="25"/>
                    <a:pt x="71" y="25"/>
                  </a:cubicBezTo>
                  <a:cubicBezTo>
                    <a:pt x="70" y="25"/>
                    <a:pt x="68" y="23"/>
                    <a:pt x="68" y="23"/>
                  </a:cubicBezTo>
                  <a:cubicBezTo>
                    <a:pt x="65" y="23"/>
                    <a:pt x="65" y="23"/>
                    <a:pt x="65" y="23"/>
                  </a:cubicBezTo>
                  <a:cubicBezTo>
                    <a:pt x="65" y="23"/>
                    <a:pt x="62" y="20"/>
                    <a:pt x="62" y="20"/>
                  </a:cubicBezTo>
                  <a:cubicBezTo>
                    <a:pt x="61" y="20"/>
                    <a:pt x="58" y="19"/>
                    <a:pt x="58" y="19"/>
                  </a:cubicBezTo>
                  <a:cubicBezTo>
                    <a:pt x="58" y="17"/>
                    <a:pt x="58" y="17"/>
                    <a:pt x="58" y="17"/>
                  </a:cubicBezTo>
                  <a:cubicBezTo>
                    <a:pt x="58" y="17"/>
                    <a:pt x="57" y="17"/>
                    <a:pt x="57" y="17"/>
                  </a:cubicBezTo>
                  <a:cubicBezTo>
                    <a:pt x="56" y="17"/>
                    <a:pt x="55" y="18"/>
                    <a:pt x="55" y="18"/>
                  </a:cubicBezTo>
                  <a:cubicBezTo>
                    <a:pt x="52" y="19"/>
                    <a:pt x="52" y="19"/>
                    <a:pt x="52" y="19"/>
                  </a:cubicBezTo>
                  <a:cubicBezTo>
                    <a:pt x="52" y="19"/>
                    <a:pt x="50" y="19"/>
                    <a:pt x="50" y="19"/>
                  </a:cubicBezTo>
                  <a:cubicBezTo>
                    <a:pt x="49" y="18"/>
                    <a:pt x="48" y="16"/>
                    <a:pt x="48" y="16"/>
                  </a:cubicBezTo>
                  <a:cubicBezTo>
                    <a:pt x="48" y="16"/>
                    <a:pt x="48" y="16"/>
                    <a:pt x="47" y="16"/>
                  </a:cubicBezTo>
                  <a:cubicBezTo>
                    <a:pt x="46" y="17"/>
                    <a:pt x="48" y="18"/>
                    <a:pt x="46" y="17"/>
                  </a:cubicBezTo>
                  <a:cubicBezTo>
                    <a:pt x="43" y="16"/>
                    <a:pt x="43" y="16"/>
                    <a:pt x="43" y="16"/>
                  </a:cubicBezTo>
                  <a:cubicBezTo>
                    <a:pt x="41" y="14"/>
                    <a:pt x="41" y="14"/>
                    <a:pt x="41" y="14"/>
                  </a:cubicBezTo>
                  <a:cubicBezTo>
                    <a:pt x="40" y="14"/>
                    <a:pt x="40" y="14"/>
                    <a:pt x="40" y="14"/>
                  </a:cubicBezTo>
                  <a:cubicBezTo>
                    <a:pt x="39" y="14"/>
                    <a:pt x="39" y="14"/>
                    <a:pt x="39" y="14"/>
                  </a:cubicBezTo>
                  <a:cubicBezTo>
                    <a:pt x="39" y="14"/>
                    <a:pt x="38" y="12"/>
                    <a:pt x="38" y="12"/>
                  </a:cubicBezTo>
                  <a:cubicBezTo>
                    <a:pt x="38" y="12"/>
                    <a:pt x="38" y="10"/>
                    <a:pt x="38" y="10"/>
                  </a:cubicBezTo>
                  <a:cubicBezTo>
                    <a:pt x="37" y="10"/>
                    <a:pt x="34" y="9"/>
                    <a:pt x="34" y="9"/>
                  </a:cubicBezTo>
                  <a:cubicBezTo>
                    <a:pt x="33" y="7"/>
                    <a:pt x="33" y="7"/>
                    <a:pt x="33" y="7"/>
                  </a:cubicBezTo>
                  <a:cubicBezTo>
                    <a:pt x="33" y="7"/>
                    <a:pt x="33" y="7"/>
                    <a:pt x="33" y="7"/>
                  </a:cubicBezTo>
                  <a:cubicBezTo>
                    <a:pt x="32" y="7"/>
                    <a:pt x="30" y="6"/>
                    <a:pt x="30" y="6"/>
                  </a:cubicBezTo>
                  <a:cubicBezTo>
                    <a:pt x="29" y="5"/>
                    <a:pt x="29" y="5"/>
                    <a:pt x="29" y="5"/>
                  </a:cubicBezTo>
                  <a:cubicBezTo>
                    <a:pt x="26" y="5"/>
                    <a:pt x="26" y="5"/>
                    <a:pt x="26" y="5"/>
                  </a:cubicBezTo>
                  <a:cubicBezTo>
                    <a:pt x="25" y="3"/>
                    <a:pt x="25" y="3"/>
                    <a:pt x="25" y="3"/>
                  </a:cubicBezTo>
                  <a:cubicBezTo>
                    <a:pt x="25" y="3"/>
                    <a:pt x="24" y="2"/>
                    <a:pt x="24" y="2"/>
                  </a:cubicBezTo>
                  <a:cubicBezTo>
                    <a:pt x="25" y="2"/>
                    <a:pt x="25" y="0"/>
                    <a:pt x="25" y="0"/>
                  </a:cubicBezTo>
                  <a:cubicBezTo>
                    <a:pt x="23" y="0"/>
                    <a:pt x="23" y="0"/>
                    <a:pt x="23" y="0"/>
                  </a:cubicBezTo>
                  <a:cubicBezTo>
                    <a:pt x="23" y="0"/>
                    <a:pt x="21" y="1"/>
                    <a:pt x="21" y="1"/>
                  </a:cubicBezTo>
                  <a:cubicBezTo>
                    <a:pt x="21" y="1"/>
                    <a:pt x="20" y="2"/>
                    <a:pt x="20" y="2"/>
                  </a:cubicBezTo>
                  <a:cubicBezTo>
                    <a:pt x="19" y="2"/>
                    <a:pt x="19" y="2"/>
                    <a:pt x="19" y="2"/>
                  </a:cubicBezTo>
                  <a:cubicBezTo>
                    <a:pt x="18" y="1"/>
                    <a:pt x="18" y="1"/>
                    <a:pt x="18" y="1"/>
                  </a:cubicBezTo>
                  <a:cubicBezTo>
                    <a:pt x="17" y="0"/>
                    <a:pt x="17" y="0"/>
                    <a:pt x="17" y="0"/>
                  </a:cubicBezTo>
                  <a:cubicBezTo>
                    <a:pt x="15" y="2"/>
                    <a:pt x="15" y="2"/>
                    <a:pt x="15" y="2"/>
                  </a:cubicBezTo>
                  <a:cubicBezTo>
                    <a:pt x="14" y="3"/>
                    <a:pt x="14" y="3"/>
                    <a:pt x="14" y="3"/>
                  </a:cubicBezTo>
                  <a:cubicBezTo>
                    <a:pt x="14" y="3"/>
                    <a:pt x="14" y="4"/>
                    <a:pt x="14" y="4"/>
                  </a:cubicBezTo>
                  <a:cubicBezTo>
                    <a:pt x="14" y="4"/>
                    <a:pt x="16" y="4"/>
                    <a:pt x="16" y="4"/>
                  </a:cubicBezTo>
                  <a:cubicBezTo>
                    <a:pt x="16" y="6"/>
                    <a:pt x="16" y="6"/>
                    <a:pt x="16" y="6"/>
                  </a:cubicBezTo>
                  <a:cubicBezTo>
                    <a:pt x="16" y="6"/>
                    <a:pt x="16" y="6"/>
                    <a:pt x="17" y="6"/>
                  </a:cubicBezTo>
                  <a:cubicBezTo>
                    <a:pt x="17" y="6"/>
                    <a:pt x="18" y="7"/>
                    <a:pt x="18" y="7"/>
                  </a:cubicBezTo>
                  <a:cubicBezTo>
                    <a:pt x="19" y="8"/>
                    <a:pt x="19" y="8"/>
                    <a:pt x="19" y="8"/>
                  </a:cubicBezTo>
                  <a:cubicBezTo>
                    <a:pt x="19" y="10"/>
                    <a:pt x="19" y="10"/>
                    <a:pt x="19" y="10"/>
                  </a:cubicBezTo>
                  <a:cubicBezTo>
                    <a:pt x="21" y="11"/>
                    <a:pt x="21" y="11"/>
                    <a:pt x="21" y="11"/>
                  </a:cubicBezTo>
                  <a:cubicBezTo>
                    <a:pt x="21" y="13"/>
                    <a:pt x="21" y="13"/>
                    <a:pt x="21" y="13"/>
                  </a:cubicBezTo>
                  <a:cubicBezTo>
                    <a:pt x="20" y="14"/>
                    <a:pt x="20" y="14"/>
                    <a:pt x="20" y="14"/>
                  </a:cubicBezTo>
                  <a:cubicBezTo>
                    <a:pt x="19" y="15"/>
                    <a:pt x="19" y="15"/>
                    <a:pt x="19" y="15"/>
                  </a:cubicBezTo>
                  <a:cubicBezTo>
                    <a:pt x="17" y="15"/>
                    <a:pt x="17" y="15"/>
                    <a:pt x="17" y="15"/>
                  </a:cubicBezTo>
                  <a:cubicBezTo>
                    <a:pt x="17" y="14"/>
                    <a:pt x="17" y="14"/>
                    <a:pt x="17" y="14"/>
                  </a:cubicBezTo>
                  <a:cubicBezTo>
                    <a:pt x="16" y="12"/>
                    <a:pt x="16" y="12"/>
                    <a:pt x="16" y="12"/>
                  </a:cubicBezTo>
                  <a:cubicBezTo>
                    <a:pt x="15" y="11"/>
                    <a:pt x="15" y="11"/>
                    <a:pt x="15" y="11"/>
                  </a:cubicBezTo>
                  <a:cubicBezTo>
                    <a:pt x="12" y="12"/>
                    <a:pt x="12" y="12"/>
                    <a:pt x="12" y="12"/>
                  </a:cubicBezTo>
                  <a:cubicBezTo>
                    <a:pt x="12" y="14"/>
                    <a:pt x="12" y="14"/>
                    <a:pt x="12" y="14"/>
                  </a:cubicBezTo>
                  <a:cubicBezTo>
                    <a:pt x="7" y="18"/>
                    <a:pt x="7" y="18"/>
                    <a:pt x="7" y="18"/>
                  </a:cubicBezTo>
                  <a:cubicBezTo>
                    <a:pt x="8" y="20"/>
                    <a:pt x="8" y="20"/>
                    <a:pt x="8" y="20"/>
                  </a:cubicBezTo>
                  <a:cubicBezTo>
                    <a:pt x="6" y="22"/>
                    <a:pt x="6" y="22"/>
                    <a:pt x="6" y="22"/>
                  </a:cubicBezTo>
                  <a:cubicBezTo>
                    <a:pt x="6" y="25"/>
                    <a:pt x="6" y="25"/>
                    <a:pt x="6" y="25"/>
                  </a:cubicBezTo>
                  <a:cubicBezTo>
                    <a:pt x="7" y="28"/>
                    <a:pt x="7" y="28"/>
                    <a:pt x="7" y="28"/>
                  </a:cubicBezTo>
                  <a:cubicBezTo>
                    <a:pt x="7" y="30"/>
                    <a:pt x="7" y="30"/>
                    <a:pt x="7" y="30"/>
                  </a:cubicBezTo>
                  <a:cubicBezTo>
                    <a:pt x="3" y="31"/>
                    <a:pt x="3" y="31"/>
                    <a:pt x="3" y="31"/>
                  </a:cubicBezTo>
                  <a:cubicBezTo>
                    <a:pt x="0" y="32"/>
                    <a:pt x="0" y="32"/>
                    <a:pt x="0" y="32"/>
                  </a:cubicBezTo>
                  <a:cubicBezTo>
                    <a:pt x="0" y="35"/>
                    <a:pt x="0" y="35"/>
                    <a:pt x="0" y="35"/>
                  </a:cubicBezTo>
                  <a:cubicBezTo>
                    <a:pt x="0" y="36"/>
                    <a:pt x="0" y="36"/>
                    <a:pt x="0" y="36"/>
                  </a:cubicBezTo>
                  <a:cubicBezTo>
                    <a:pt x="3" y="40"/>
                    <a:pt x="3" y="40"/>
                    <a:pt x="3" y="40"/>
                  </a:cubicBezTo>
                  <a:cubicBezTo>
                    <a:pt x="2" y="41"/>
                    <a:pt x="2" y="41"/>
                    <a:pt x="2" y="41"/>
                  </a:cubicBezTo>
                  <a:cubicBezTo>
                    <a:pt x="1" y="42"/>
                    <a:pt x="1" y="42"/>
                    <a:pt x="1" y="42"/>
                  </a:cubicBezTo>
                  <a:cubicBezTo>
                    <a:pt x="4" y="46"/>
                    <a:pt x="4" y="46"/>
                    <a:pt x="4" y="46"/>
                  </a:cubicBezTo>
                  <a:cubicBezTo>
                    <a:pt x="5" y="47"/>
                    <a:pt x="5" y="47"/>
                    <a:pt x="5" y="47"/>
                  </a:cubicBezTo>
                  <a:cubicBezTo>
                    <a:pt x="7" y="47"/>
                    <a:pt x="7" y="47"/>
                    <a:pt x="7" y="47"/>
                  </a:cubicBezTo>
                  <a:cubicBezTo>
                    <a:pt x="7" y="49"/>
                    <a:pt x="7" y="49"/>
                    <a:pt x="7" y="49"/>
                  </a:cubicBezTo>
                  <a:cubicBezTo>
                    <a:pt x="7" y="50"/>
                    <a:pt x="7" y="50"/>
                    <a:pt x="7" y="50"/>
                  </a:cubicBezTo>
                  <a:cubicBezTo>
                    <a:pt x="7" y="52"/>
                    <a:pt x="7" y="52"/>
                    <a:pt x="7" y="52"/>
                  </a:cubicBezTo>
                  <a:cubicBezTo>
                    <a:pt x="5" y="54"/>
                    <a:pt x="5" y="54"/>
                    <a:pt x="5" y="54"/>
                  </a:cubicBezTo>
                  <a:cubicBezTo>
                    <a:pt x="6" y="56"/>
                    <a:pt x="6" y="56"/>
                    <a:pt x="6" y="56"/>
                  </a:cubicBezTo>
                  <a:cubicBezTo>
                    <a:pt x="4" y="55"/>
                    <a:pt x="4" y="55"/>
                    <a:pt x="4" y="55"/>
                  </a:cubicBezTo>
                  <a:cubicBezTo>
                    <a:pt x="3" y="57"/>
                    <a:pt x="3" y="57"/>
                    <a:pt x="3" y="57"/>
                  </a:cubicBezTo>
                  <a:cubicBezTo>
                    <a:pt x="4" y="58"/>
                    <a:pt x="4" y="58"/>
                    <a:pt x="4" y="58"/>
                  </a:cubicBezTo>
                  <a:cubicBezTo>
                    <a:pt x="3" y="59"/>
                    <a:pt x="3" y="59"/>
                    <a:pt x="3" y="59"/>
                  </a:cubicBezTo>
                  <a:cubicBezTo>
                    <a:pt x="5" y="61"/>
                    <a:pt x="5" y="61"/>
                    <a:pt x="5" y="61"/>
                  </a:cubicBezTo>
                  <a:cubicBezTo>
                    <a:pt x="9" y="62"/>
                    <a:pt x="9" y="62"/>
                    <a:pt x="9" y="62"/>
                  </a:cubicBezTo>
                  <a:cubicBezTo>
                    <a:pt x="11" y="61"/>
                    <a:pt x="11" y="61"/>
                    <a:pt x="11" y="61"/>
                  </a:cubicBezTo>
                  <a:cubicBezTo>
                    <a:pt x="12" y="60"/>
                    <a:pt x="12" y="60"/>
                    <a:pt x="12" y="60"/>
                  </a:cubicBezTo>
                  <a:cubicBezTo>
                    <a:pt x="11" y="59"/>
                    <a:pt x="11" y="59"/>
                    <a:pt x="11" y="59"/>
                  </a:cubicBezTo>
                  <a:cubicBezTo>
                    <a:pt x="11" y="59"/>
                    <a:pt x="11" y="58"/>
                    <a:pt x="12" y="58"/>
                  </a:cubicBezTo>
                  <a:cubicBezTo>
                    <a:pt x="12" y="57"/>
                    <a:pt x="13" y="57"/>
                    <a:pt x="13" y="57"/>
                  </a:cubicBezTo>
                  <a:cubicBezTo>
                    <a:pt x="13" y="58"/>
                    <a:pt x="13" y="58"/>
                    <a:pt x="13" y="58"/>
                  </a:cubicBezTo>
                  <a:cubicBezTo>
                    <a:pt x="16" y="58"/>
                    <a:pt x="16" y="58"/>
                    <a:pt x="16" y="58"/>
                  </a:cubicBezTo>
                  <a:cubicBezTo>
                    <a:pt x="16" y="60"/>
                    <a:pt x="16" y="60"/>
                    <a:pt x="16" y="60"/>
                  </a:cubicBezTo>
                  <a:cubicBezTo>
                    <a:pt x="15" y="61"/>
                    <a:pt x="15" y="61"/>
                    <a:pt x="15" y="61"/>
                  </a:cubicBezTo>
                  <a:cubicBezTo>
                    <a:pt x="14" y="60"/>
                    <a:pt x="14" y="60"/>
                    <a:pt x="14" y="60"/>
                  </a:cubicBezTo>
                  <a:cubicBezTo>
                    <a:pt x="14" y="60"/>
                    <a:pt x="14" y="61"/>
                    <a:pt x="14" y="61"/>
                  </a:cubicBezTo>
                  <a:cubicBezTo>
                    <a:pt x="14" y="61"/>
                    <a:pt x="14" y="64"/>
                    <a:pt x="14" y="64"/>
                  </a:cubicBezTo>
                  <a:cubicBezTo>
                    <a:pt x="14" y="64"/>
                    <a:pt x="14" y="65"/>
                    <a:pt x="13" y="64"/>
                  </a:cubicBezTo>
                  <a:cubicBezTo>
                    <a:pt x="13" y="64"/>
                    <a:pt x="12" y="63"/>
                    <a:pt x="12" y="63"/>
                  </a:cubicBezTo>
                  <a:cubicBezTo>
                    <a:pt x="9" y="62"/>
                    <a:pt x="9" y="62"/>
                    <a:pt x="9" y="62"/>
                  </a:cubicBezTo>
                  <a:cubicBezTo>
                    <a:pt x="8" y="63"/>
                    <a:pt x="8" y="63"/>
                    <a:pt x="8" y="63"/>
                  </a:cubicBezTo>
                  <a:cubicBezTo>
                    <a:pt x="8" y="63"/>
                    <a:pt x="8" y="64"/>
                    <a:pt x="8" y="65"/>
                  </a:cubicBezTo>
                  <a:cubicBezTo>
                    <a:pt x="9" y="65"/>
                    <a:pt x="10" y="65"/>
                    <a:pt x="10" y="65"/>
                  </a:cubicBezTo>
                  <a:cubicBezTo>
                    <a:pt x="10" y="65"/>
                    <a:pt x="12" y="65"/>
                    <a:pt x="12" y="65"/>
                  </a:cubicBezTo>
                  <a:cubicBezTo>
                    <a:pt x="12" y="65"/>
                    <a:pt x="12" y="65"/>
                    <a:pt x="13" y="65"/>
                  </a:cubicBezTo>
                  <a:cubicBezTo>
                    <a:pt x="13" y="65"/>
                    <a:pt x="15" y="65"/>
                    <a:pt x="15" y="65"/>
                  </a:cubicBezTo>
                  <a:cubicBezTo>
                    <a:pt x="15" y="67"/>
                    <a:pt x="15" y="67"/>
                    <a:pt x="15" y="67"/>
                  </a:cubicBezTo>
                  <a:cubicBezTo>
                    <a:pt x="17" y="69"/>
                    <a:pt x="17" y="69"/>
                    <a:pt x="17" y="69"/>
                  </a:cubicBezTo>
                  <a:cubicBezTo>
                    <a:pt x="21" y="69"/>
                    <a:pt x="21" y="69"/>
                    <a:pt x="21" y="69"/>
                  </a:cubicBezTo>
                  <a:cubicBezTo>
                    <a:pt x="22" y="69"/>
                    <a:pt x="22" y="69"/>
                    <a:pt x="22" y="69"/>
                  </a:cubicBezTo>
                  <a:cubicBezTo>
                    <a:pt x="25" y="71"/>
                    <a:pt x="25" y="71"/>
                    <a:pt x="25" y="71"/>
                  </a:cubicBezTo>
                  <a:cubicBezTo>
                    <a:pt x="25" y="71"/>
                    <a:pt x="26" y="73"/>
                    <a:pt x="27" y="73"/>
                  </a:cubicBezTo>
                  <a:cubicBezTo>
                    <a:pt x="27" y="73"/>
                    <a:pt x="28" y="75"/>
                    <a:pt x="28" y="75"/>
                  </a:cubicBezTo>
                  <a:cubicBezTo>
                    <a:pt x="30" y="75"/>
                    <a:pt x="30" y="75"/>
                    <a:pt x="30" y="75"/>
                  </a:cubicBezTo>
                  <a:cubicBezTo>
                    <a:pt x="31" y="75"/>
                    <a:pt x="31" y="75"/>
                    <a:pt x="31" y="75"/>
                  </a:cubicBezTo>
                  <a:cubicBezTo>
                    <a:pt x="31" y="75"/>
                    <a:pt x="32" y="76"/>
                    <a:pt x="32" y="76"/>
                  </a:cubicBezTo>
                  <a:cubicBezTo>
                    <a:pt x="31" y="77"/>
                    <a:pt x="31" y="77"/>
                    <a:pt x="31" y="77"/>
                  </a:cubicBezTo>
                  <a:cubicBezTo>
                    <a:pt x="32" y="79"/>
                    <a:pt x="32" y="79"/>
                    <a:pt x="32" y="79"/>
                  </a:cubicBezTo>
                  <a:cubicBezTo>
                    <a:pt x="34" y="79"/>
                    <a:pt x="34" y="79"/>
                    <a:pt x="34" y="79"/>
                  </a:cubicBezTo>
                  <a:cubicBezTo>
                    <a:pt x="34" y="79"/>
                    <a:pt x="34" y="79"/>
                    <a:pt x="34" y="80"/>
                  </a:cubicBezTo>
                  <a:cubicBezTo>
                    <a:pt x="34" y="80"/>
                    <a:pt x="35" y="82"/>
                    <a:pt x="35" y="82"/>
                  </a:cubicBezTo>
                  <a:cubicBezTo>
                    <a:pt x="35" y="83"/>
                    <a:pt x="35" y="83"/>
                    <a:pt x="35" y="83"/>
                  </a:cubicBezTo>
                  <a:cubicBezTo>
                    <a:pt x="35" y="83"/>
                    <a:pt x="36" y="83"/>
                    <a:pt x="36" y="84"/>
                  </a:cubicBezTo>
                  <a:cubicBezTo>
                    <a:pt x="36" y="84"/>
                    <a:pt x="36" y="84"/>
                    <a:pt x="36" y="85"/>
                  </a:cubicBezTo>
                  <a:cubicBezTo>
                    <a:pt x="37" y="85"/>
                    <a:pt x="39" y="85"/>
                    <a:pt x="39" y="85"/>
                  </a:cubicBezTo>
                  <a:cubicBezTo>
                    <a:pt x="40" y="86"/>
                    <a:pt x="40" y="86"/>
                    <a:pt x="40" y="86"/>
                  </a:cubicBezTo>
                  <a:cubicBezTo>
                    <a:pt x="41" y="87"/>
                    <a:pt x="41" y="87"/>
                    <a:pt x="41" y="87"/>
                  </a:cubicBezTo>
                  <a:lnTo>
                    <a:pt x="42" y="87"/>
                  </a:lnTo>
                  <a:close/>
                </a:path>
              </a:pathLst>
            </a:custGeom>
            <a:solidFill>
              <a:srgbClr val="E6EFF1"/>
            </a:solidFill>
            <a:ln w="12700" cap="rnd" cmpd="sng">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Lato Light"/>
              </a:endParaRPr>
            </a:p>
          </p:txBody>
        </p:sp>
        <p:sp>
          <p:nvSpPr>
            <p:cNvPr id="11" name="Freeform 193">
              <a:extLst>
                <a:ext uri="{FF2B5EF4-FFF2-40B4-BE49-F238E27FC236}">
                  <a16:creationId xmlns:a16="http://schemas.microsoft.com/office/drawing/2014/main" id="{5A9526A8-2BB4-212C-7571-EA3B34010189}"/>
                </a:ext>
              </a:extLst>
            </p:cNvPr>
            <p:cNvSpPr>
              <a:spLocks/>
            </p:cNvSpPr>
            <p:nvPr/>
          </p:nvSpPr>
          <p:spPr bwMode="auto">
            <a:xfrm>
              <a:off x="5183799" y="5110109"/>
              <a:ext cx="305626" cy="259890"/>
            </a:xfrm>
            <a:custGeom>
              <a:avLst/>
              <a:gdLst>
                <a:gd name="T0" fmla="*/ 19 w 106"/>
                <a:gd name="T1" fmla="*/ 90 h 93"/>
                <a:gd name="T2" fmla="*/ 16 w 106"/>
                <a:gd name="T3" fmla="*/ 91 h 93"/>
                <a:gd name="T4" fmla="*/ 14 w 106"/>
                <a:gd name="T5" fmla="*/ 85 h 93"/>
                <a:gd name="T6" fmla="*/ 10 w 106"/>
                <a:gd name="T7" fmla="*/ 83 h 93"/>
                <a:gd name="T8" fmla="*/ 9 w 106"/>
                <a:gd name="T9" fmla="*/ 81 h 93"/>
                <a:gd name="T10" fmla="*/ 5 w 106"/>
                <a:gd name="T11" fmla="*/ 75 h 93"/>
                <a:gd name="T12" fmla="*/ 4 w 106"/>
                <a:gd name="T13" fmla="*/ 72 h 93"/>
                <a:gd name="T14" fmla="*/ 5 w 106"/>
                <a:gd name="T15" fmla="*/ 68 h 93"/>
                <a:gd name="T16" fmla="*/ 3 w 106"/>
                <a:gd name="T17" fmla="*/ 64 h 93"/>
                <a:gd name="T18" fmla="*/ 0 w 106"/>
                <a:gd name="T19" fmla="*/ 59 h 93"/>
                <a:gd name="T20" fmla="*/ 3 w 106"/>
                <a:gd name="T21" fmla="*/ 56 h 93"/>
                <a:gd name="T22" fmla="*/ 2 w 106"/>
                <a:gd name="T23" fmla="*/ 53 h 93"/>
                <a:gd name="T24" fmla="*/ 2 w 106"/>
                <a:gd name="T25" fmla="*/ 49 h 93"/>
                <a:gd name="T26" fmla="*/ 2 w 106"/>
                <a:gd name="T27" fmla="*/ 44 h 93"/>
                <a:gd name="T28" fmla="*/ 3 w 106"/>
                <a:gd name="T29" fmla="*/ 39 h 93"/>
                <a:gd name="T30" fmla="*/ 9 w 106"/>
                <a:gd name="T31" fmla="*/ 39 h 93"/>
                <a:gd name="T32" fmla="*/ 11 w 106"/>
                <a:gd name="T33" fmla="*/ 27 h 93"/>
                <a:gd name="T34" fmla="*/ 23 w 106"/>
                <a:gd name="T35" fmla="*/ 18 h 93"/>
                <a:gd name="T36" fmla="*/ 26 w 106"/>
                <a:gd name="T37" fmla="*/ 21 h 93"/>
                <a:gd name="T38" fmla="*/ 31 w 106"/>
                <a:gd name="T39" fmla="*/ 18 h 93"/>
                <a:gd name="T40" fmla="*/ 42 w 106"/>
                <a:gd name="T41" fmla="*/ 10 h 93"/>
                <a:gd name="T42" fmla="*/ 46 w 106"/>
                <a:gd name="T43" fmla="*/ 11 h 93"/>
                <a:gd name="T44" fmla="*/ 52 w 106"/>
                <a:gd name="T45" fmla="*/ 6 h 93"/>
                <a:gd name="T46" fmla="*/ 57 w 106"/>
                <a:gd name="T47" fmla="*/ 4 h 93"/>
                <a:gd name="T48" fmla="*/ 62 w 106"/>
                <a:gd name="T49" fmla="*/ 3 h 93"/>
                <a:gd name="T50" fmla="*/ 68 w 106"/>
                <a:gd name="T51" fmla="*/ 1 h 93"/>
                <a:gd name="T52" fmla="*/ 73 w 106"/>
                <a:gd name="T53" fmla="*/ 0 h 93"/>
                <a:gd name="T54" fmla="*/ 94 w 106"/>
                <a:gd name="T55" fmla="*/ 15 h 93"/>
                <a:gd name="T56" fmla="*/ 105 w 106"/>
                <a:gd name="T57" fmla="*/ 30 h 93"/>
                <a:gd name="T58" fmla="*/ 106 w 106"/>
                <a:gd name="T59" fmla="*/ 48 h 93"/>
                <a:gd name="T60" fmla="*/ 97 w 106"/>
                <a:gd name="T61" fmla="*/ 51 h 93"/>
                <a:gd name="T62" fmla="*/ 93 w 106"/>
                <a:gd name="T63" fmla="*/ 64 h 93"/>
                <a:gd name="T64" fmla="*/ 72 w 106"/>
                <a:gd name="T65" fmla="*/ 68 h 93"/>
                <a:gd name="T66" fmla="*/ 63 w 106"/>
                <a:gd name="T67" fmla="*/ 76 h 93"/>
                <a:gd name="T68" fmla="*/ 53 w 106"/>
                <a:gd name="T69" fmla="*/ 85 h 93"/>
                <a:gd name="T70" fmla="*/ 41 w 106"/>
                <a:gd name="T71" fmla="*/ 87 h 93"/>
                <a:gd name="T72" fmla="*/ 29 w 106"/>
                <a:gd name="T73" fmla="*/ 90 h 93"/>
                <a:gd name="T74" fmla="*/ 28 w 106"/>
                <a:gd name="T75" fmla="*/ 93 h 93"/>
                <a:gd name="T76" fmla="*/ 27 w 106"/>
                <a:gd name="T77" fmla="*/ 92 h 93"/>
                <a:gd name="T78" fmla="*/ 23 w 106"/>
                <a:gd name="T79" fmla="*/ 91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06" h="93">
                  <a:moveTo>
                    <a:pt x="21" y="90"/>
                  </a:moveTo>
                  <a:cubicBezTo>
                    <a:pt x="21" y="90"/>
                    <a:pt x="20" y="90"/>
                    <a:pt x="19" y="90"/>
                  </a:cubicBezTo>
                  <a:cubicBezTo>
                    <a:pt x="18" y="90"/>
                    <a:pt x="17" y="92"/>
                    <a:pt x="16" y="92"/>
                  </a:cubicBezTo>
                  <a:cubicBezTo>
                    <a:pt x="16" y="92"/>
                    <a:pt x="16" y="92"/>
                    <a:pt x="16" y="91"/>
                  </a:cubicBezTo>
                  <a:cubicBezTo>
                    <a:pt x="16" y="90"/>
                    <a:pt x="16" y="90"/>
                    <a:pt x="15" y="89"/>
                  </a:cubicBezTo>
                  <a:cubicBezTo>
                    <a:pt x="15" y="88"/>
                    <a:pt x="15" y="86"/>
                    <a:pt x="14" y="85"/>
                  </a:cubicBezTo>
                  <a:cubicBezTo>
                    <a:pt x="13" y="84"/>
                    <a:pt x="13" y="83"/>
                    <a:pt x="13" y="83"/>
                  </a:cubicBezTo>
                  <a:cubicBezTo>
                    <a:pt x="13" y="83"/>
                    <a:pt x="11" y="83"/>
                    <a:pt x="10" y="83"/>
                  </a:cubicBezTo>
                  <a:cubicBezTo>
                    <a:pt x="10" y="83"/>
                    <a:pt x="9" y="83"/>
                    <a:pt x="9" y="83"/>
                  </a:cubicBezTo>
                  <a:cubicBezTo>
                    <a:pt x="9" y="83"/>
                    <a:pt x="8" y="81"/>
                    <a:pt x="9" y="81"/>
                  </a:cubicBezTo>
                  <a:cubicBezTo>
                    <a:pt x="9" y="80"/>
                    <a:pt x="8" y="79"/>
                    <a:pt x="7" y="78"/>
                  </a:cubicBezTo>
                  <a:cubicBezTo>
                    <a:pt x="7" y="78"/>
                    <a:pt x="5" y="75"/>
                    <a:pt x="5" y="75"/>
                  </a:cubicBezTo>
                  <a:cubicBezTo>
                    <a:pt x="5" y="75"/>
                    <a:pt x="4" y="75"/>
                    <a:pt x="4" y="74"/>
                  </a:cubicBezTo>
                  <a:cubicBezTo>
                    <a:pt x="4" y="73"/>
                    <a:pt x="4" y="72"/>
                    <a:pt x="4" y="72"/>
                  </a:cubicBezTo>
                  <a:cubicBezTo>
                    <a:pt x="3" y="70"/>
                    <a:pt x="3" y="70"/>
                    <a:pt x="3" y="70"/>
                  </a:cubicBezTo>
                  <a:cubicBezTo>
                    <a:pt x="3" y="70"/>
                    <a:pt x="5" y="69"/>
                    <a:pt x="5" y="68"/>
                  </a:cubicBezTo>
                  <a:cubicBezTo>
                    <a:pt x="5" y="68"/>
                    <a:pt x="6" y="67"/>
                    <a:pt x="5" y="66"/>
                  </a:cubicBezTo>
                  <a:cubicBezTo>
                    <a:pt x="5" y="65"/>
                    <a:pt x="3" y="64"/>
                    <a:pt x="3" y="64"/>
                  </a:cubicBezTo>
                  <a:cubicBezTo>
                    <a:pt x="2" y="63"/>
                    <a:pt x="1" y="62"/>
                    <a:pt x="0" y="61"/>
                  </a:cubicBezTo>
                  <a:cubicBezTo>
                    <a:pt x="0" y="60"/>
                    <a:pt x="0" y="59"/>
                    <a:pt x="0" y="59"/>
                  </a:cubicBezTo>
                  <a:cubicBezTo>
                    <a:pt x="0" y="59"/>
                    <a:pt x="0" y="58"/>
                    <a:pt x="1" y="58"/>
                  </a:cubicBezTo>
                  <a:cubicBezTo>
                    <a:pt x="2" y="57"/>
                    <a:pt x="3" y="57"/>
                    <a:pt x="3" y="56"/>
                  </a:cubicBezTo>
                  <a:cubicBezTo>
                    <a:pt x="3" y="56"/>
                    <a:pt x="4" y="56"/>
                    <a:pt x="4" y="55"/>
                  </a:cubicBezTo>
                  <a:cubicBezTo>
                    <a:pt x="3" y="54"/>
                    <a:pt x="2" y="53"/>
                    <a:pt x="2" y="53"/>
                  </a:cubicBezTo>
                  <a:cubicBezTo>
                    <a:pt x="3" y="50"/>
                    <a:pt x="3" y="50"/>
                    <a:pt x="3" y="50"/>
                  </a:cubicBezTo>
                  <a:cubicBezTo>
                    <a:pt x="2" y="49"/>
                    <a:pt x="2" y="49"/>
                    <a:pt x="2" y="49"/>
                  </a:cubicBezTo>
                  <a:cubicBezTo>
                    <a:pt x="2" y="45"/>
                    <a:pt x="2" y="45"/>
                    <a:pt x="2" y="45"/>
                  </a:cubicBezTo>
                  <a:cubicBezTo>
                    <a:pt x="2" y="44"/>
                    <a:pt x="2" y="44"/>
                    <a:pt x="2" y="44"/>
                  </a:cubicBezTo>
                  <a:cubicBezTo>
                    <a:pt x="2" y="44"/>
                    <a:pt x="3" y="42"/>
                    <a:pt x="3" y="42"/>
                  </a:cubicBezTo>
                  <a:cubicBezTo>
                    <a:pt x="3" y="41"/>
                    <a:pt x="3" y="39"/>
                    <a:pt x="3" y="39"/>
                  </a:cubicBezTo>
                  <a:cubicBezTo>
                    <a:pt x="3" y="39"/>
                    <a:pt x="3" y="39"/>
                    <a:pt x="3" y="39"/>
                  </a:cubicBezTo>
                  <a:cubicBezTo>
                    <a:pt x="5" y="40"/>
                    <a:pt x="8" y="39"/>
                    <a:pt x="9" y="39"/>
                  </a:cubicBezTo>
                  <a:cubicBezTo>
                    <a:pt x="11" y="39"/>
                    <a:pt x="11" y="36"/>
                    <a:pt x="10" y="33"/>
                  </a:cubicBezTo>
                  <a:cubicBezTo>
                    <a:pt x="10" y="31"/>
                    <a:pt x="11" y="29"/>
                    <a:pt x="11" y="27"/>
                  </a:cubicBezTo>
                  <a:cubicBezTo>
                    <a:pt x="12" y="25"/>
                    <a:pt x="15" y="24"/>
                    <a:pt x="18" y="22"/>
                  </a:cubicBezTo>
                  <a:cubicBezTo>
                    <a:pt x="20" y="20"/>
                    <a:pt x="20" y="18"/>
                    <a:pt x="23" y="18"/>
                  </a:cubicBezTo>
                  <a:cubicBezTo>
                    <a:pt x="23" y="18"/>
                    <a:pt x="24" y="18"/>
                    <a:pt x="25" y="19"/>
                  </a:cubicBezTo>
                  <a:cubicBezTo>
                    <a:pt x="25" y="19"/>
                    <a:pt x="25" y="20"/>
                    <a:pt x="26" y="21"/>
                  </a:cubicBezTo>
                  <a:cubicBezTo>
                    <a:pt x="26" y="21"/>
                    <a:pt x="26" y="21"/>
                    <a:pt x="27" y="21"/>
                  </a:cubicBezTo>
                  <a:cubicBezTo>
                    <a:pt x="29" y="24"/>
                    <a:pt x="31" y="26"/>
                    <a:pt x="31" y="18"/>
                  </a:cubicBezTo>
                  <a:cubicBezTo>
                    <a:pt x="32" y="11"/>
                    <a:pt x="37" y="13"/>
                    <a:pt x="41" y="11"/>
                  </a:cubicBezTo>
                  <a:cubicBezTo>
                    <a:pt x="41" y="11"/>
                    <a:pt x="41" y="11"/>
                    <a:pt x="42" y="10"/>
                  </a:cubicBezTo>
                  <a:cubicBezTo>
                    <a:pt x="43" y="11"/>
                    <a:pt x="44" y="11"/>
                    <a:pt x="45" y="11"/>
                  </a:cubicBezTo>
                  <a:cubicBezTo>
                    <a:pt x="46" y="11"/>
                    <a:pt x="46" y="11"/>
                    <a:pt x="46" y="11"/>
                  </a:cubicBezTo>
                  <a:cubicBezTo>
                    <a:pt x="46" y="11"/>
                    <a:pt x="49" y="7"/>
                    <a:pt x="49" y="7"/>
                  </a:cubicBezTo>
                  <a:cubicBezTo>
                    <a:pt x="50" y="7"/>
                    <a:pt x="52" y="6"/>
                    <a:pt x="52" y="6"/>
                  </a:cubicBezTo>
                  <a:cubicBezTo>
                    <a:pt x="54" y="3"/>
                    <a:pt x="54" y="3"/>
                    <a:pt x="54" y="3"/>
                  </a:cubicBezTo>
                  <a:cubicBezTo>
                    <a:pt x="54" y="3"/>
                    <a:pt x="56" y="4"/>
                    <a:pt x="57" y="4"/>
                  </a:cubicBezTo>
                  <a:cubicBezTo>
                    <a:pt x="58" y="4"/>
                    <a:pt x="59" y="4"/>
                    <a:pt x="61" y="4"/>
                  </a:cubicBezTo>
                  <a:cubicBezTo>
                    <a:pt x="62" y="3"/>
                    <a:pt x="62" y="3"/>
                    <a:pt x="62" y="3"/>
                  </a:cubicBezTo>
                  <a:cubicBezTo>
                    <a:pt x="62" y="3"/>
                    <a:pt x="64" y="1"/>
                    <a:pt x="66" y="1"/>
                  </a:cubicBezTo>
                  <a:cubicBezTo>
                    <a:pt x="68" y="0"/>
                    <a:pt x="68" y="1"/>
                    <a:pt x="68" y="1"/>
                  </a:cubicBezTo>
                  <a:cubicBezTo>
                    <a:pt x="68" y="1"/>
                    <a:pt x="71" y="1"/>
                    <a:pt x="73" y="1"/>
                  </a:cubicBezTo>
                  <a:cubicBezTo>
                    <a:pt x="73" y="1"/>
                    <a:pt x="73" y="0"/>
                    <a:pt x="73" y="0"/>
                  </a:cubicBezTo>
                  <a:cubicBezTo>
                    <a:pt x="76" y="2"/>
                    <a:pt x="76" y="5"/>
                    <a:pt x="79" y="8"/>
                  </a:cubicBezTo>
                  <a:cubicBezTo>
                    <a:pt x="83" y="12"/>
                    <a:pt x="87" y="11"/>
                    <a:pt x="94" y="15"/>
                  </a:cubicBezTo>
                  <a:cubicBezTo>
                    <a:pt x="94" y="16"/>
                    <a:pt x="98" y="19"/>
                    <a:pt x="99" y="22"/>
                  </a:cubicBezTo>
                  <a:cubicBezTo>
                    <a:pt x="100" y="26"/>
                    <a:pt x="104" y="26"/>
                    <a:pt x="105" y="30"/>
                  </a:cubicBezTo>
                  <a:cubicBezTo>
                    <a:pt x="105" y="33"/>
                    <a:pt x="103" y="34"/>
                    <a:pt x="103" y="37"/>
                  </a:cubicBezTo>
                  <a:cubicBezTo>
                    <a:pt x="103" y="40"/>
                    <a:pt x="105" y="47"/>
                    <a:pt x="106" y="48"/>
                  </a:cubicBezTo>
                  <a:cubicBezTo>
                    <a:pt x="106" y="48"/>
                    <a:pt x="106" y="49"/>
                    <a:pt x="106" y="49"/>
                  </a:cubicBezTo>
                  <a:cubicBezTo>
                    <a:pt x="97" y="51"/>
                    <a:pt x="97" y="51"/>
                    <a:pt x="97" y="51"/>
                  </a:cubicBezTo>
                  <a:cubicBezTo>
                    <a:pt x="98" y="60"/>
                    <a:pt x="98" y="60"/>
                    <a:pt x="98" y="60"/>
                  </a:cubicBezTo>
                  <a:cubicBezTo>
                    <a:pt x="93" y="64"/>
                    <a:pt x="93" y="64"/>
                    <a:pt x="93" y="64"/>
                  </a:cubicBezTo>
                  <a:cubicBezTo>
                    <a:pt x="93" y="64"/>
                    <a:pt x="81" y="66"/>
                    <a:pt x="80" y="66"/>
                  </a:cubicBezTo>
                  <a:cubicBezTo>
                    <a:pt x="79" y="66"/>
                    <a:pt x="74" y="67"/>
                    <a:pt x="72" y="68"/>
                  </a:cubicBezTo>
                  <a:cubicBezTo>
                    <a:pt x="70" y="68"/>
                    <a:pt x="67" y="70"/>
                    <a:pt x="66" y="70"/>
                  </a:cubicBezTo>
                  <a:cubicBezTo>
                    <a:pt x="64" y="71"/>
                    <a:pt x="63" y="76"/>
                    <a:pt x="63" y="76"/>
                  </a:cubicBezTo>
                  <a:cubicBezTo>
                    <a:pt x="63" y="76"/>
                    <a:pt x="60" y="80"/>
                    <a:pt x="59" y="81"/>
                  </a:cubicBezTo>
                  <a:cubicBezTo>
                    <a:pt x="58" y="82"/>
                    <a:pt x="53" y="85"/>
                    <a:pt x="53" y="85"/>
                  </a:cubicBezTo>
                  <a:cubicBezTo>
                    <a:pt x="53" y="85"/>
                    <a:pt x="48" y="85"/>
                    <a:pt x="47" y="85"/>
                  </a:cubicBezTo>
                  <a:cubicBezTo>
                    <a:pt x="45" y="85"/>
                    <a:pt x="43" y="87"/>
                    <a:pt x="41" y="87"/>
                  </a:cubicBezTo>
                  <a:cubicBezTo>
                    <a:pt x="38" y="88"/>
                    <a:pt x="36" y="89"/>
                    <a:pt x="35" y="89"/>
                  </a:cubicBezTo>
                  <a:cubicBezTo>
                    <a:pt x="34" y="89"/>
                    <a:pt x="29" y="90"/>
                    <a:pt x="29" y="90"/>
                  </a:cubicBezTo>
                  <a:cubicBezTo>
                    <a:pt x="29" y="93"/>
                    <a:pt x="29" y="93"/>
                    <a:pt x="29" y="93"/>
                  </a:cubicBezTo>
                  <a:cubicBezTo>
                    <a:pt x="29" y="93"/>
                    <a:pt x="28" y="93"/>
                    <a:pt x="28" y="93"/>
                  </a:cubicBezTo>
                  <a:cubicBezTo>
                    <a:pt x="28" y="93"/>
                    <a:pt x="28" y="93"/>
                    <a:pt x="27" y="93"/>
                  </a:cubicBezTo>
                  <a:cubicBezTo>
                    <a:pt x="27" y="92"/>
                    <a:pt x="27" y="92"/>
                    <a:pt x="27" y="92"/>
                  </a:cubicBezTo>
                  <a:cubicBezTo>
                    <a:pt x="25" y="90"/>
                    <a:pt x="25" y="90"/>
                    <a:pt x="25" y="90"/>
                  </a:cubicBezTo>
                  <a:cubicBezTo>
                    <a:pt x="25" y="90"/>
                    <a:pt x="24" y="91"/>
                    <a:pt x="23" y="91"/>
                  </a:cubicBezTo>
                  <a:cubicBezTo>
                    <a:pt x="22" y="91"/>
                    <a:pt x="22" y="90"/>
                    <a:pt x="21" y="90"/>
                  </a:cubicBezTo>
                  <a:close/>
                </a:path>
              </a:pathLst>
            </a:custGeom>
            <a:solidFill>
              <a:srgbClr val="E6EFF1"/>
            </a:solidFill>
            <a:ln w="12700" cap="rnd" cmpd="sng">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Lato Light"/>
              </a:endParaRPr>
            </a:p>
          </p:txBody>
        </p:sp>
        <p:sp>
          <p:nvSpPr>
            <p:cNvPr id="12" name="Freeform 47">
              <a:extLst>
                <a:ext uri="{FF2B5EF4-FFF2-40B4-BE49-F238E27FC236}">
                  <a16:creationId xmlns:a16="http://schemas.microsoft.com/office/drawing/2014/main" id="{BD627DD4-4855-9C5C-DD0E-8A95E15A5D7D}"/>
                </a:ext>
              </a:extLst>
            </p:cNvPr>
            <p:cNvSpPr>
              <a:spLocks/>
            </p:cNvSpPr>
            <p:nvPr/>
          </p:nvSpPr>
          <p:spPr bwMode="auto">
            <a:xfrm>
              <a:off x="4642008" y="4067856"/>
              <a:ext cx="562628" cy="304328"/>
            </a:xfrm>
            <a:custGeom>
              <a:avLst/>
              <a:gdLst>
                <a:gd name="T0" fmla="*/ 32 w 195"/>
                <a:gd name="T1" fmla="*/ 49 h 109"/>
                <a:gd name="T2" fmla="*/ 40 w 195"/>
                <a:gd name="T3" fmla="*/ 37 h 109"/>
                <a:gd name="T4" fmla="*/ 47 w 195"/>
                <a:gd name="T5" fmla="*/ 25 h 109"/>
                <a:gd name="T6" fmla="*/ 53 w 195"/>
                <a:gd name="T7" fmla="*/ 15 h 109"/>
                <a:gd name="T8" fmla="*/ 64 w 195"/>
                <a:gd name="T9" fmla="*/ 13 h 109"/>
                <a:gd name="T10" fmla="*/ 71 w 195"/>
                <a:gd name="T11" fmla="*/ 17 h 109"/>
                <a:gd name="T12" fmla="*/ 78 w 195"/>
                <a:gd name="T13" fmla="*/ 8 h 109"/>
                <a:gd name="T14" fmla="*/ 87 w 195"/>
                <a:gd name="T15" fmla="*/ 10 h 109"/>
                <a:gd name="T16" fmla="*/ 96 w 195"/>
                <a:gd name="T17" fmla="*/ 14 h 109"/>
                <a:gd name="T18" fmla="*/ 97 w 195"/>
                <a:gd name="T19" fmla="*/ 22 h 109"/>
                <a:gd name="T20" fmla="*/ 102 w 195"/>
                <a:gd name="T21" fmla="*/ 23 h 109"/>
                <a:gd name="T22" fmla="*/ 106 w 195"/>
                <a:gd name="T23" fmla="*/ 23 h 109"/>
                <a:gd name="T24" fmla="*/ 108 w 195"/>
                <a:gd name="T25" fmla="*/ 20 h 109"/>
                <a:gd name="T26" fmla="*/ 111 w 195"/>
                <a:gd name="T27" fmla="*/ 15 h 109"/>
                <a:gd name="T28" fmla="*/ 114 w 195"/>
                <a:gd name="T29" fmla="*/ 12 h 109"/>
                <a:gd name="T30" fmla="*/ 118 w 195"/>
                <a:gd name="T31" fmla="*/ 9 h 109"/>
                <a:gd name="T32" fmla="*/ 123 w 195"/>
                <a:gd name="T33" fmla="*/ 9 h 109"/>
                <a:gd name="T34" fmla="*/ 126 w 195"/>
                <a:gd name="T35" fmla="*/ 8 h 109"/>
                <a:gd name="T36" fmla="*/ 131 w 195"/>
                <a:gd name="T37" fmla="*/ 9 h 109"/>
                <a:gd name="T38" fmla="*/ 135 w 195"/>
                <a:gd name="T39" fmla="*/ 11 h 109"/>
                <a:gd name="T40" fmla="*/ 142 w 195"/>
                <a:gd name="T41" fmla="*/ 7 h 109"/>
                <a:gd name="T42" fmla="*/ 145 w 195"/>
                <a:gd name="T43" fmla="*/ 4 h 109"/>
                <a:gd name="T44" fmla="*/ 148 w 195"/>
                <a:gd name="T45" fmla="*/ 1 h 109"/>
                <a:gd name="T46" fmla="*/ 154 w 195"/>
                <a:gd name="T47" fmla="*/ 2 h 109"/>
                <a:gd name="T48" fmla="*/ 162 w 195"/>
                <a:gd name="T49" fmla="*/ 1 h 109"/>
                <a:gd name="T50" fmla="*/ 168 w 195"/>
                <a:gd name="T51" fmla="*/ 1 h 109"/>
                <a:gd name="T52" fmla="*/ 173 w 195"/>
                <a:gd name="T53" fmla="*/ 4 h 109"/>
                <a:gd name="T54" fmla="*/ 175 w 195"/>
                <a:gd name="T55" fmla="*/ 9 h 109"/>
                <a:gd name="T56" fmla="*/ 183 w 195"/>
                <a:gd name="T57" fmla="*/ 10 h 109"/>
                <a:gd name="T58" fmla="*/ 187 w 195"/>
                <a:gd name="T59" fmla="*/ 11 h 109"/>
                <a:gd name="T60" fmla="*/ 195 w 195"/>
                <a:gd name="T61" fmla="*/ 12 h 109"/>
                <a:gd name="T62" fmla="*/ 193 w 195"/>
                <a:gd name="T63" fmla="*/ 20 h 109"/>
                <a:gd name="T64" fmla="*/ 192 w 195"/>
                <a:gd name="T65" fmla="*/ 27 h 109"/>
                <a:gd name="T66" fmla="*/ 191 w 195"/>
                <a:gd name="T67" fmla="*/ 33 h 109"/>
                <a:gd name="T68" fmla="*/ 188 w 195"/>
                <a:gd name="T69" fmla="*/ 39 h 109"/>
                <a:gd name="T70" fmla="*/ 188 w 195"/>
                <a:gd name="T71" fmla="*/ 47 h 109"/>
                <a:gd name="T72" fmla="*/ 186 w 195"/>
                <a:gd name="T73" fmla="*/ 52 h 109"/>
                <a:gd name="T74" fmla="*/ 169 w 195"/>
                <a:gd name="T75" fmla="*/ 49 h 109"/>
                <a:gd name="T76" fmla="*/ 146 w 195"/>
                <a:gd name="T77" fmla="*/ 50 h 109"/>
                <a:gd name="T78" fmla="*/ 126 w 195"/>
                <a:gd name="T79" fmla="*/ 70 h 109"/>
                <a:gd name="T80" fmla="*/ 110 w 195"/>
                <a:gd name="T81" fmla="*/ 78 h 109"/>
                <a:gd name="T82" fmla="*/ 94 w 195"/>
                <a:gd name="T83" fmla="*/ 85 h 109"/>
                <a:gd name="T84" fmla="*/ 73 w 195"/>
                <a:gd name="T85" fmla="*/ 96 h 109"/>
                <a:gd name="T86" fmla="*/ 47 w 195"/>
                <a:gd name="T87" fmla="*/ 107 h 109"/>
                <a:gd name="T88" fmla="*/ 22 w 195"/>
                <a:gd name="T89" fmla="*/ 98 h 109"/>
                <a:gd name="T90" fmla="*/ 14 w 195"/>
                <a:gd name="T91" fmla="*/ 102 h 109"/>
                <a:gd name="T92" fmla="*/ 4 w 195"/>
                <a:gd name="T93" fmla="*/ 88 h 109"/>
                <a:gd name="T94" fmla="*/ 0 w 195"/>
                <a:gd name="T95" fmla="*/ 84 h 109"/>
                <a:gd name="T96" fmla="*/ 2 w 195"/>
                <a:gd name="T97" fmla="*/ 75 h 109"/>
                <a:gd name="T98" fmla="*/ 3 w 195"/>
                <a:gd name="T99" fmla="*/ 68 h 109"/>
                <a:gd name="T100" fmla="*/ 5 w 195"/>
                <a:gd name="T101" fmla="*/ 60 h 109"/>
                <a:gd name="T102" fmla="*/ 9 w 195"/>
                <a:gd name="T103" fmla="*/ 55 h 109"/>
                <a:gd name="T104" fmla="*/ 16 w 195"/>
                <a:gd name="T105" fmla="*/ 57 h 109"/>
                <a:gd name="T106" fmla="*/ 22 w 195"/>
                <a:gd name="T107" fmla="*/ 56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5" h="109">
                  <a:moveTo>
                    <a:pt x="26" y="54"/>
                  </a:moveTo>
                  <a:cubicBezTo>
                    <a:pt x="29" y="52"/>
                    <a:pt x="29" y="52"/>
                    <a:pt x="29" y="52"/>
                  </a:cubicBezTo>
                  <a:cubicBezTo>
                    <a:pt x="29" y="52"/>
                    <a:pt x="29" y="49"/>
                    <a:pt x="30" y="50"/>
                  </a:cubicBezTo>
                  <a:cubicBezTo>
                    <a:pt x="30" y="50"/>
                    <a:pt x="32" y="49"/>
                    <a:pt x="32" y="49"/>
                  </a:cubicBezTo>
                  <a:cubicBezTo>
                    <a:pt x="33" y="47"/>
                    <a:pt x="33" y="47"/>
                    <a:pt x="33" y="47"/>
                  </a:cubicBezTo>
                  <a:cubicBezTo>
                    <a:pt x="34" y="44"/>
                    <a:pt x="34" y="44"/>
                    <a:pt x="34" y="44"/>
                  </a:cubicBezTo>
                  <a:cubicBezTo>
                    <a:pt x="39" y="42"/>
                    <a:pt x="39" y="42"/>
                    <a:pt x="39" y="42"/>
                  </a:cubicBezTo>
                  <a:cubicBezTo>
                    <a:pt x="40" y="37"/>
                    <a:pt x="40" y="37"/>
                    <a:pt x="40" y="37"/>
                  </a:cubicBezTo>
                  <a:cubicBezTo>
                    <a:pt x="39" y="34"/>
                    <a:pt x="39" y="34"/>
                    <a:pt x="39" y="34"/>
                  </a:cubicBezTo>
                  <a:cubicBezTo>
                    <a:pt x="39" y="34"/>
                    <a:pt x="39" y="30"/>
                    <a:pt x="40" y="30"/>
                  </a:cubicBezTo>
                  <a:cubicBezTo>
                    <a:pt x="41" y="30"/>
                    <a:pt x="44" y="28"/>
                    <a:pt x="44" y="28"/>
                  </a:cubicBezTo>
                  <a:cubicBezTo>
                    <a:pt x="47" y="25"/>
                    <a:pt x="47" y="25"/>
                    <a:pt x="47" y="25"/>
                  </a:cubicBezTo>
                  <a:cubicBezTo>
                    <a:pt x="47" y="23"/>
                    <a:pt x="47" y="23"/>
                    <a:pt x="47" y="23"/>
                  </a:cubicBezTo>
                  <a:cubicBezTo>
                    <a:pt x="49" y="19"/>
                    <a:pt x="49" y="19"/>
                    <a:pt x="49" y="19"/>
                  </a:cubicBezTo>
                  <a:cubicBezTo>
                    <a:pt x="51" y="17"/>
                    <a:pt x="51" y="17"/>
                    <a:pt x="51" y="17"/>
                  </a:cubicBezTo>
                  <a:cubicBezTo>
                    <a:pt x="53" y="15"/>
                    <a:pt x="53" y="15"/>
                    <a:pt x="53" y="15"/>
                  </a:cubicBezTo>
                  <a:cubicBezTo>
                    <a:pt x="56" y="14"/>
                    <a:pt x="56" y="14"/>
                    <a:pt x="56" y="14"/>
                  </a:cubicBezTo>
                  <a:cubicBezTo>
                    <a:pt x="56" y="14"/>
                    <a:pt x="57" y="14"/>
                    <a:pt x="58" y="14"/>
                  </a:cubicBezTo>
                  <a:cubicBezTo>
                    <a:pt x="59" y="14"/>
                    <a:pt x="60" y="13"/>
                    <a:pt x="60" y="13"/>
                  </a:cubicBezTo>
                  <a:cubicBezTo>
                    <a:pt x="61" y="13"/>
                    <a:pt x="64" y="13"/>
                    <a:pt x="64" y="13"/>
                  </a:cubicBezTo>
                  <a:cubicBezTo>
                    <a:pt x="64" y="13"/>
                    <a:pt x="66" y="11"/>
                    <a:pt x="66" y="12"/>
                  </a:cubicBezTo>
                  <a:cubicBezTo>
                    <a:pt x="66" y="14"/>
                    <a:pt x="66" y="15"/>
                    <a:pt x="66" y="15"/>
                  </a:cubicBezTo>
                  <a:cubicBezTo>
                    <a:pt x="67" y="16"/>
                    <a:pt x="68" y="18"/>
                    <a:pt x="68" y="18"/>
                  </a:cubicBezTo>
                  <a:cubicBezTo>
                    <a:pt x="68" y="18"/>
                    <a:pt x="70" y="18"/>
                    <a:pt x="71" y="17"/>
                  </a:cubicBezTo>
                  <a:cubicBezTo>
                    <a:pt x="72" y="16"/>
                    <a:pt x="74" y="15"/>
                    <a:pt x="74" y="15"/>
                  </a:cubicBezTo>
                  <a:cubicBezTo>
                    <a:pt x="74" y="15"/>
                    <a:pt x="76" y="17"/>
                    <a:pt x="76" y="16"/>
                  </a:cubicBezTo>
                  <a:cubicBezTo>
                    <a:pt x="76" y="15"/>
                    <a:pt x="76" y="11"/>
                    <a:pt x="76" y="11"/>
                  </a:cubicBezTo>
                  <a:cubicBezTo>
                    <a:pt x="78" y="8"/>
                    <a:pt x="78" y="8"/>
                    <a:pt x="78" y="8"/>
                  </a:cubicBezTo>
                  <a:cubicBezTo>
                    <a:pt x="78" y="8"/>
                    <a:pt x="80" y="8"/>
                    <a:pt x="80" y="7"/>
                  </a:cubicBezTo>
                  <a:cubicBezTo>
                    <a:pt x="80" y="6"/>
                    <a:pt x="82" y="4"/>
                    <a:pt x="82" y="4"/>
                  </a:cubicBezTo>
                  <a:cubicBezTo>
                    <a:pt x="85" y="4"/>
                    <a:pt x="85" y="4"/>
                    <a:pt x="85" y="4"/>
                  </a:cubicBezTo>
                  <a:cubicBezTo>
                    <a:pt x="87" y="10"/>
                    <a:pt x="87" y="10"/>
                    <a:pt x="87" y="10"/>
                  </a:cubicBezTo>
                  <a:cubicBezTo>
                    <a:pt x="90" y="12"/>
                    <a:pt x="90" y="12"/>
                    <a:pt x="90" y="12"/>
                  </a:cubicBezTo>
                  <a:cubicBezTo>
                    <a:pt x="91" y="13"/>
                    <a:pt x="91" y="13"/>
                    <a:pt x="91" y="13"/>
                  </a:cubicBezTo>
                  <a:cubicBezTo>
                    <a:pt x="93" y="14"/>
                    <a:pt x="93" y="14"/>
                    <a:pt x="93" y="14"/>
                  </a:cubicBezTo>
                  <a:cubicBezTo>
                    <a:pt x="96" y="14"/>
                    <a:pt x="96" y="14"/>
                    <a:pt x="96" y="14"/>
                  </a:cubicBezTo>
                  <a:cubicBezTo>
                    <a:pt x="96" y="15"/>
                    <a:pt x="96" y="15"/>
                    <a:pt x="96" y="15"/>
                  </a:cubicBezTo>
                  <a:cubicBezTo>
                    <a:pt x="98" y="17"/>
                    <a:pt x="98" y="17"/>
                    <a:pt x="98" y="17"/>
                  </a:cubicBezTo>
                  <a:cubicBezTo>
                    <a:pt x="99" y="20"/>
                    <a:pt x="99" y="20"/>
                    <a:pt x="99" y="20"/>
                  </a:cubicBezTo>
                  <a:cubicBezTo>
                    <a:pt x="97" y="22"/>
                    <a:pt x="97" y="22"/>
                    <a:pt x="97" y="22"/>
                  </a:cubicBezTo>
                  <a:cubicBezTo>
                    <a:pt x="97" y="23"/>
                    <a:pt x="97" y="23"/>
                    <a:pt x="97" y="23"/>
                  </a:cubicBezTo>
                  <a:cubicBezTo>
                    <a:pt x="98" y="24"/>
                    <a:pt x="98" y="24"/>
                    <a:pt x="98" y="24"/>
                  </a:cubicBezTo>
                  <a:cubicBezTo>
                    <a:pt x="98" y="24"/>
                    <a:pt x="99" y="24"/>
                    <a:pt x="99" y="24"/>
                  </a:cubicBezTo>
                  <a:cubicBezTo>
                    <a:pt x="99" y="24"/>
                    <a:pt x="101" y="23"/>
                    <a:pt x="102" y="23"/>
                  </a:cubicBezTo>
                  <a:cubicBezTo>
                    <a:pt x="102" y="23"/>
                    <a:pt x="102" y="22"/>
                    <a:pt x="102" y="22"/>
                  </a:cubicBezTo>
                  <a:cubicBezTo>
                    <a:pt x="102" y="22"/>
                    <a:pt x="104" y="21"/>
                    <a:pt x="104" y="21"/>
                  </a:cubicBezTo>
                  <a:cubicBezTo>
                    <a:pt x="104" y="21"/>
                    <a:pt x="105" y="21"/>
                    <a:pt x="105" y="21"/>
                  </a:cubicBezTo>
                  <a:cubicBezTo>
                    <a:pt x="105" y="22"/>
                    <a:pt x="106" y="23"/>
                    <a:pt x="106" y="23"/>
                  </a:cubicBezTo>
                  <a:cubicBezTo>
                    <a:pt x="106" y="23"/>
                    <a:pt x="107" y="22"/>
                    <a:pt x="107" y="23"/>
                  </a:cubicBezTo>
                  <a:cubicBezTo>
                    <a:pt x="107" y="23"/>
                    <a:pt x="108" y="23"/>
                    <a:pt x="108" y="23"/>
                  </a:cubicBezTo>
                  <a:cubicBezTo>
                    <a:pt x="108" y="23"/>
                    <a:pt x="108" y="23"/>
                    <a:pt x="108" y="22"/>
                  </a:cubicBezTo>
                  <a:cubicBezTo>
                    <a:pt x="108" y="20"/>
                    <a:pt x="108" y="20"/>
                    <a:pt x="108" y="20"/>
                  </a:cubicBezTo>
                  <a:cubicBezTo>
                    <a:pt x="108" y="19"/>
                    <a:pt x="108" y="18"/>
                    <a:pt x="108" y="18"/>
                  </a:cubicBezTo>
                  <a:cubicBezTo>
                    <a:pt x="109" y="17"/>
                    <a:pt x="109" y="17"/>
                    <a:pt x="109" y="16"/>
                  </a:cubicBezTo>
                  <a:cubicBezTo>
                    <a:pt x="109" y="16"/>
                    <a:pt x="108" y="15"/>
                    <a:pt x="109" y="15"/>
                  </a:cubicBezTo>
                  <a:cubicBezTo>
                    <a:pt x="110" y="15"/>
                    <a:pt x="111" y="15"/>
                    <a:pt x="111" y="15"/>
                  </a:cubicBezTo>
                  <a:cubicBezTo>
                    <a:pt x="111" y="15"/>
                    <a:pt x="111" y="14"/>
                    <a:pt x="111" y="14"/>
                  </a:cubicBezTo>
                  <a:cubicBezTo>
                    <a:pt x="111" y="14"/>
                    <a:pt x="112" y="13"/>
                    <a:pt x="113" y="13"/>
                  </a:cubicBezTo>
                  <a:cubicBezTo>
                    <a:pt x="113" y="13"/>
                    <a:pt x="113" y="14"/>
                    <a:pt x="114" y="13"/>
                  </a:cubicBezTo>
                  <a:cubicBezTo>
                    <a:pt x="115" y="12"/>
                    <a:pt x="114" y="12"/>
                    <a:pt x="114" y="12"/>
                  </a:cubicBezTo>
                  <a:cubicBezTo>
                    <a:pt x="114" y="11"/>
                    <a:pt x="114" y="11"/>
                    <a:pt x="114" y="11"/>
                  </a:cubicBezTo>
                  <a:cubicBezTo>
                    <a:pt x="115" y="10"/>
                    <a:pt x="114" y="11"/>
                    <a:pt x="116" y="11"/>
                  </a:cubicBezTo>
                  <a:cubicBezTo>
                    <a:pt x="117" y="10"/>
                    <a:pt x="118" y="10"/>
                    <a:pt x="118" y="10"/>
                  </a:cubicBezTo>
                  <a:cubicBezTo>
                    <a:pt x="118" y="10"/>
                    <a:pt x="118" y="9"/>
                    <a:pt x="118" y="9"/>
                  </a:cubicBezTo>
                  <a:cubicBezTo>
                    <a:pt x="120" y="8"/>
                    <a:pt x="120" y="8"/>
                    <a:pt x="120" y="8"/>
                  </a:cubicBezTo>
                  <a:cubicBezTo>
                    <a:pt x="120" y="8"/>
                    <a:pt x="120" y="9"/>
                    <a:pt x="120" y="9"/>
                  </a:cubicBezTo>
                  <a:cubicBezTo>
                    <a:pt x="120" y="9"/>
                    <a:pt x="121" y="9"/>
                    <a:pt x="122" y="9"/>
                  </a:cubicBezTo>
                  <a:cubicBezTo>
                    <a:pt x="122" y="9"/>
                    <a:pt x="123" y="10"/>
                    <a:pt x="123" y="9"/>
                  </a:cubicBezTo>
                  <a:cubicBezTo>
                    <a:pt x="123" y="9"/>
                    <a:pt x="124" y="9"/>
                    <a:pt x="124" y="8"/>
                  </a:cubicBezTo>
                  <a:cubicBezTo>
                    <a:pt x="124" y="8"/>
                    <a:pt x="124" y="8"/>
                    <a:pt x="124" y="8"/>
                  </a:cubicBezTo>
                  <a:cubicBezTo>
                    <a:pt x="124" y="8"/>
                    <a:pt x="124" y="7"/>
                    <a:pt x="125" y="7"/>
                  </a:cubicBezTo>
                  <a:cubicBezTo>
                    <a:pt x="126" y="8"/>
                    <a:pt x="125" y="8"/>
                    <a:pt x="126" y="8"/>
                  </a:cubicBezTo>
                  <a:cubicBezTo>
                    <a:pt x="126" y="7"/>
                    <a:pt x="128" y="6"/>
                    <a:pt x="128" y="6"/>
                  </a:cubicBezTo>
                  <a:cubicBezTo>
                    <a:pt x="128" y="6"/>
                    <a:pt x="128" y="6"/>
                    <a:pt x="129" y="8"/>
                  </a:cubicBezTo>
                  <a:cubicBezTo>
                    <a:pt x="129" y="9"/>
                    <a:pt x="130" y="9"/>
                    <a:pt x="131" y="9"/>
                  </a:cubicBezTo>
                  <a:cubicBezTo>
                    <a:pt x="131" y="9"/>
                    <a:pt x="131" y="9"/>
                    <a:pt x="131" y="9"/>
                  </a:cubicBezTo>
                  <a:cubicBezTo>
                    <a:pt x="131" y="10"/>
                    <a:pt x="132" y="11"/>
                    <a:pt x="132" y="11"/>
                  </a:cubicBezTo>
                  <a:cubicBezTo>
                    <a:pt x="133" y="11"/>
                    <a:pt x="133" y="11"/>
                    <a:pt x="133" y="11"/>
                  </a:cubicBezTo>
                  <a:cubicBezTo>
                    <a:pt x="134" y="10"/>
                    <a:pt x="134" y="10"/>
                    <a:pt x="134" y="10"/>
                  </a:cubicBezTo>
                  <a:cubicBezTo>
                    <a:pt x="134" y="10"/>
                    <a:pt x="134" y="11"/>
                    <a:pt x="135" y="11"/>
                  </a:cubicBezTo>
                  <a:cubicBezTo>
                    <a:pt x="136" y="11"/>
                    <a:pt x="137" y="12"/>
                    <a:pt x="137" y="12"/>
                  </a:cubicBezTo>
                  <a:cubicBezTo>
                    <a:pt x="137" y="11"/>
                    <a:pt x="138" y="10"/>
                    <a:pt x="138" y="10"/>
                  </a:cubicBezTo>
                  <a:cubicBezTo>
                    <a:pt x="138" y="9"/>
                    <a:pt x="138" y="9"/>
                    <a:pt x="139" y="8"/>
                  </a:cubicBezTo>
                  <a:cubicBezTo>
                    <a:pt x="139" y="8"/>
                    <a:pt x="142" y="7"/>
                    <a:pt x="142" y="7"/>
                  </a:cubicBezTo>
                  <a:cubicBezTo>
                    <a:pt x="142" y="7"/>
                    <a:pt x="141" y="5"/>
                    <a:pt x="140" y="5"/>
                  </a:cubicBezTo>
                  <a:cubicBezTo>
                    <a:pt x="140" y="5"/>
                    <a:pt x="139" y="4"/>
                    <a:pt x="141" y="3"/>
                  </a:cubicBezTo>
                  <a:cubicBezTo>
                    <a:pt x="142" y="3"/>
                    <a:pt x="143" y="3"/>
                    <a:pt x="143" y="3"/>
                  </a:cubicBezTo>
                  <a:cubicBezTo>
                    <a:pt x="145" y="4"/>
                    <a:pt x="145" y="4"/>
                    <a:pt x="145" y="4"/>
                  </a:cubicBezTo>
                  <a:cubicBezTo>
                    <a:pt x="145" y="3"/>
                    <a:pt x="145" y="3"/>
                    <a:pt x="145" y="3"/>
                  </a:cubicBezTo>
                  <a:cubicBezTo>
                    <a:pt x="146" y="2"/>
                    <a:pt x="146" y="2"/>
                    <a:pt x="146" y="2"/>
                  </a:cubicBezTo>
                  <a:cubicBezTo>
                    <a:pt x="146" y="2"/>
                    <a:pt x="147" y="1"/>
                    <a:pt x="147" y="1"/>
                  </a:cubicBezTo>
                  <a:cubicBezTo>
                    <a:pt x="147" y="1"/>
                    <a:pt x="148" y="1"/>
                    <a:pt x="148" y="1"/>
                  </a:cubicBezTo>
                  <a:cubicBezTo>
                    <a:pt x="149" y="1"/>
                    <a:pt x="150" y="1"/>
                    <a:pt x="150" y="1"/>
                  </a:cubicBezTo>
                  <a:cubicBezTo>
                    <a:pt x="150" y="1"/>
                    <a:pt x="151" y="2"/>
                    <a:pt x="151" y="2"/>
                  </a:cubicBezTo>
                  <a:cubicBezTo>
                    <a:pt x="152" y="2"/>
                    <a:pt x="153" y="2"/>
                    <a:pt x="153" y="2"/>
                  </a:cubicBezTo>
                  <a:cubicBezTo>
                    <a:pt x="153" y="2"/>
                    <a:pt x="154" y="3"/>
                    <a:pt x="154" y="2"/>
                  </a:cubicBezTo>
                  <a:cubicBezTo>
                    <a:pt x="155" y="2"/>
                    <a:pt x="155" y="1"/>
                    <a:pt x="155" y="1"/>
                  </a:cubicBezTo>
                  <a:cubicBezTo>
                    <a:pt x="155" y="1"/>
                    <a:pt x="159" y="0"/>
                    <a:pt x="159" y="0"/>
                  </a:cubicBezTo>
                  <a:cubicBezTo>
                    <a:pt x="159" y="0"/>
                    <a:pt x="160" y="0"/>
                    <a:pt x="160" y="0"/>
                  </a:cubicBezTo>
                  <a:cubicBezTo>
                    <a:pt x="161" y="1"/>
                    <a:pt x="162" y="1"/>
                    <a:pt x="162" y="1"/>
                  </a:cubicBezTo>
                  <a:cubicBezTo>
                    <a:pt x="163" y="1"/>
                    <a:pt x="164" y="2"/>
                    <a:pt x="164" y="2"/>
                  </a:cubicBezTo>
                  <a:cubicBezTo>
                    <a:pt x="165" y="3"/>
                    <a:pt x="166" y="3"/>
                    <a:pt x="166" y="3"/>
                  </a:cubicBezTo>
                  <a:cubicBezTo>
                    <a:pt x="166" y="3"/>
                    <a:pt x="166" y="1"/>
                    <a:pt x="166" y="1"/>
                  </a:cubicBezTo>
                  <a:cubicBezTo>
                    <a:pt x="167" y="1"/>
                    <a:pt x="168" y="1"/>
                    <a:pt x="168" y="1"/>
                  </a:cubicBezTo>
                  <a:cubicBezTo>
                    <a:pt x="169" y="2"/>
                    <a:pt x="169" y="2"/>
                    <a:pt x="169" y="2"/>
                  </a:cubicBezTo>
                  <a:cubicBezTo>
                    <a:pt x="169" y="2"/>
                    <a:pt x="170" y="3"/>
                    <a:pt x="171" y="3"/>
                  </a:cubicBezTo>
                  <a:cubicBezTo>
                    <a:pt x="171" y="3"/>
                    <a:pt x="172" y="2"/>
                    <a:pt x="172" y="2"/>
                  </a:cubicBezTo>
                  <a:cubicBezTo>
                    <a:pt x="172" y="3"/>
                    <a:pt x="173" y="3"/>
                    <a:pt x="173" y="4"/>
                  </a:cubicBezTo>
                  <a:cubicBezTo>
                    <a:pt x="173" y="4"/>
                    <a:pt x="174" y="5"/>
                    <a:pt x="174" y="5"/>
                  </a:cubicBezTo>
                  <a:cubicBezTo>
                    <a:pt x="174" y="6"/>
                    <a:pt x="175" y="6"/>
                    <a:pt x="175" y="6"/>
                  </a:cubicBezTo>
                  <a:cubicBezTo>
                    <a:pt x="175" y="7"/>
                    <a:pt x="175" y="8"/>
                    <a:pt x="175" y="8"/>
                  </a:cubicBezTo>
                  <a:cubicBezTo>
                    <a:pt x="175" y="8"/>
                    <a:pt x="175" y="8"/>
                    <a:pt x="175" y="9"/>
                  </a:cubicBezTo>
                  <a:cubicBezTo>
                    <a:pt x="176" y="9"/>
                    <a:pt x="179" y="9"/>
                    <a:pt x="179" y="9"/>
                  </a:cubicBezTo>
                  <a:cubicBezTo>
                    <a:pt x="179" y="9"/>
                    <a:pt x="180" y="9"/>
                    <a:pt x="180" y="10"/>
                  </a:cubicBezTo>
                  <a:cubicBezTo>
                    <a:pt x="180" y="10"/>
                    <a:pt x="182" y="10"/>
                    <a:pt x="182" y="10"/>
                  </a:cubicBezTo>
                  <a:cubicBezTo>
                    <a:pt x="182" y="10"/>
                    <a:pt x="183" y="9"/>
                    <a:pt x="183" y="10"/>
                  </a:cubicBezTo>
                  <a:cubicBezTo>
                    <a:pt x="183" y="10"/>
                    <a:pt x="183" y="11"/>
                    <a:pt x="183" y="11"/>
                  </a:cubicBezTo>
                  <a:cubicBezTo>
                    <a:pt x="185" y="11"/>
                    <a:pt x="185" y="11"/>
                    <a:pt x="185" y="11"/>
                  </a:cubicBezTo>
                  <a:cubicBezTo>
                    <a:pt x="186" y="11"/>
                    <a:pt x="186" y="11"/>
                    <a:pt x="186" y="11"/>
                  </a:cubicBezTo>
                  <a:cubicBezTo>
                    <a:pt x="186" y="11"/>
                    <a:pt x="187" y="10"/>
                    <a:pt x="187" y="11"/>
                  </a:cubicBezTo>
                  <a:cubicBezTo>
                    <a:pt x="187" y="11"/>
                    <a:pt x="188" y="11"/>
                    <a:pt x="188" y="11"/>
                  </a:cubicBezTo>
                  <a:cubicBezTo>
                    <a:pt x="188" y="11"/>
                    <a:pt x="190" y="12"/>
                    <a:pt x="190" y="12"/>
                  </a:cubicBezTo>
                  <a:cubicBezTo>
                    <a:pt x="190" y="12"/>
                    <a:pt x="191" y="12"/>
                    <a:pt x="192" y="12"/>
                  </a:cubicBezTo>
                  <a:cubicBezTo>
                    <a:pt x="192" y="12"/>
                    <a:pt x="195" y="12"/>
                    <a:pt x="195" y="12"/>
                  </a:cubicBezTo>
                  <a:cubicBezTo>
                    <a:pt x="195" y="12"/>
                    <a:pt x="195" y="13"/>
                    <a:pt x="195" y="14"/>
                  </a:cubicBezTo>
                  <a:cubicBezTo>
                    <a:pt x="195" y="14"/>
                    <a:pt x="195" y="16"/>
                    <a:pt x="195" y="16"/>
                  </a:cubicBezTo>
                  <a:cubicBezTo>
                    <a:pt x="195" y="16"/>
                    <a:pt x="194" y="17"/>
                    <a:pt x="194" y="18"/>
                  </a:cubicBezTo>
                  <a:cubicBezTo>
                    <a:pt x="193" y="18"/>
                    <a:pt x="193" y="20"/>
                    <a:pt x="193" y="20"/>
                  </a:cubicBezTo>
                  <a:cubicBezTo>
                    <a:pt x="193" y="20"/>
                    <a:pt x="193" y="21"/>
                    <a:pt x="193" y="21"/>
                  </a:cubicBezTo>
                  <a:cubicBezTo>
                    <a:pt x="193" y="21"/>
                    <a:pt x="193" y="23"/>
                    <a:pt x="193" y="23"/>
                  </a:cubicBezTo>
                  <a:cubicBezTo>
                    <a:pt x="192" y="25"/>
                    <a:pt x="192" y="25"/>
                    <a:pt x="192" y="25"/>
                  </a:cubicBezTo>
                  <a:cubicBezTo>
                    <a:pt x="192" y="25"/>
                    <a:pt x="191" y="26"/>
                    <a:pt x="192" y="27"/>
                  </a:cubicBezTo>
                  <a:cubicBezTo>
                    <a:pt x="192" y="27"/>
                    <a:pt x="192" y="28"/>
                    <a:pt x="192" y="28"/>
                  </a:cubicBezTo>
                  <a:cubicBezTo>
                    <a:pt x="193" y="29"/>
                    <a:pt x="193" y="29"/>
                    <a:pt x="193" y="29"/>
                  </a:cubicBezTo>
                  <a:cubicBezTo>
                    <a:pt x="191" y="31"/>
                    <a:pt x="191" y="31"/>
                    <a:pt x="191" y="31"/>
                  </a:cubicBezTo>
                  <a:cubicBezTo>
                    <a:pt x="191" y="33"/>
                    <a:pt x="191" y="33"/>
                    <a:pt x="191" y="33"/>
                  </a:cubicBezTo>
                  <a:cubicBezTo>
                    <a:pt x="191" y="33"/>
                    <a:pt x="192" y="34"/>
                    <a:pt x="191" y="35"/>
                  </a:cubicBezTo>
                  <a:cubicBezTo>
                    <a:pt x="191" y="35"/>
                    <a:pt x="190" y="36"/>
                    <a:pt x="190" y="36"/>
                  </a:cubicBezTo>
                  <a:cubicBezTo>
                    <a:pt x="190" y="36"/>
                    <a:pt x="188" y="38"/>
                    <a:pt x="188" y="38"/>
                  </a:cubicBezTo>
                  <a:cubicBezTo>
                    <a:pt x="188" y="38"/>
                    <a:pt x="188" y="39"/>
                    <a:pt x="188" y="39"/>
                  </a:cubicBezTo>
                  <a:cubicBezTo>
                    <a:pt x="188" y="39"/>
                    <a:pt x="187" y="41"/>
                    <a:pt x="187" y="41"/>
                  </a:cubicBezTo>
                  <a:cubicBezTo>
                    <a:pt x="187" y="41"/>
                    <a:pt x="187" y="44"/>
                    <a:pt x="187" y="44"/>
                  </a:cubicBezTo>
                  <a:cubicBezTo>
                    <a:pt x="187" y="44"/>
                    <a:pt x="188" y="45"/>
                    <a:pt x="188" y="45"/>
                  </a:cubicBezTo>
                  <a:cubicBezTo>
                    <a:pt x="188" y="45"/>
                    <a:pt x="188" y="46"/>
                    <a:pt x="188" y="47"/>
                  </a:cubicBezTo>
                  <a:cubicBezTo>
                    <a:pt x="187" y="47"/>
                    <a:pt x="188" y="48"/>
                    <a:pt x="188" y="49"/>
                  </a:cubicBezTo>
                  <a:cubicBezTo>
                    <a:pt x="188" y="49"/>
                    <a:pt x="188" y="50"/>
                    <a:pt x="188" y="50"/>
                  </a:cubicBezTo>
                  <a:cubicBezTo>
                    <a:pt x="187" y="52"/>
                    <a:pt x="187" y="52"/>
                    <a:pt x="187" y="52"/>
                  </a:cubicBezTo>
                  <a:cubicBezTo>
                    <a:pt x="186" y="52"/>
                    <a:pt x="186" y="52"/>
                    <a:pt x="186" y="52"/>
                  </a:cubicBezTo>
                  <a:cubicBezTo>
                    <a:pt x="187" y="55"/>
                    <a:pt x="187" y="55"/>
                    <a:pt x="187" y="55"/>
                  </a:cubicBezTo>
                  <a:cubicBezTo>
                    <a:pt x="185" y="57"/>
                    <a:pt x="185" y="57"/>
                    <a:pt x="185" y="57"/>
                  </a:cubicBezTo>
                  <a:cubicBezTo>
                    <a:pt x="177" y="57"/>
                    <a:pt x="177" y="57"/>
                    <a:pt x="177" y="57"/>
                  </a:cubicBezTo>
                  <a:cubicBezTo>
                    <a:pt x="169" y="49"/>
                    <a:pt x="169" y="49"/>
                    <a:pt x="169" y="49"/>
                  </a:cubicBezTo>
                  <a:cubicBezTo>
                    <a:pt x="163" y="48"/>
                    <a:pt x="163" y="48"/>
                    <a:pt x="163" y="48"/>
                  </a:cubicBezTo>
                  <a:cubicBezTo>
                    <a:pt x="158" y="52"/>
                    <a:pt x="158" y="52"/>
                    <a:pt x="158" y="52"/>
                  </a:cubicBezTo>
                  <a:cubicBezTo>
                    <a:pt x="151" y="53"/>
                    <a:pt x="151" y="53"/>
                    <a:pt x="151" y="53"/>
                  </a:cubicBezTo>
                  <a:cubicBezTo>
                    <a:pt x="146" y="50"/>
                    <a:pt x="146" y="50"/>
                    <a:pt x="146" y="50"/>
                  </a:cubicBezTo>
                  <a:cubicBezTo>
                    <a:pt x="132" y="54"/>
                    <a:pt x="132" y="54"/>
                    <a:pt x="132" y="54"/>
                  </a:cubicBezTo>
                  <a:cubicBezTo>
                    <a:pt x="131" y="57"/>
                    <a:pt x="131" y="57"/>
                    <a:pt x="131" y="57"/>
                  </a:cubicBezTo>
                  <a:cubicBezTo>
                    <a:pt x="129" y="64"/>
                    <a:pt x="129" y="64"/>
                    <a:pt x="129" y="64"/>
                  </a:cubicBezTo>
                  <a:cubicBezTo>
                    <a:pt x="126" y="70"/>
                    <a:pt x="126" y="70"/>
                    <a:pt x="126" y="70"/>
                  </a:cubicBezTo>
                  <a:cubicBezTo>
                    <a:pt x="122" y="72"/>
                    <a:pt x="122" y="72"/>
                    <a:pt x="122" y="72"/>
                  </a:cubicBezTo>
                  <a:cubicBezTo>
                    <a:pt x="119" y="74"/>
                    <a:pt x="119" y="74"/>
                    <a:pt x="119" y="74"/>
                  </a:cubicBezTo>
                  <a:cubicBezTo>
                    <a:pt x="116" y="78"/>
                    <a:pt x="116" y="78"/>
                    <a:pt x="116" y="78"/>
                  </a:cubicBezTo>
                  <a:cubicBezTo>
                    <a:pt x="110" y="78"/>
                    <a:pt x="110" y="78"/>
                    <a:pt x="110" y="78"/>
                  </a:cubicBezTo>
                  <a:cubicBezTo>
                    <a:pt x="106" y="77"/>
                    <a:pt x="106" y="77"/>
                    <a:pt x="106" y="77"/>
                  </a:cubicBezTo>
                  <a:cubicBezTo>
                    <a:pt x="100" y="78"/>
                    <a:pt x="100" y="78"/>
                    <a:pt x="100" y="78"/>
                  </a:cubicBezTo>
                  <a:cubicBezTo>
                    <a:pt x="98" y="84"/>
                    <a:pt x="98" y="84"/>
                    <a:pt x="98" y="84"/>
                  </a:cubicBezTo>
                  <a:cubicBezTo>
                    <a:pt x="94" y="85"/>
                    <a:pt x="94" y="85"/>
                    <a:pt x="94" y="85"/>
                  </a:cubicBezTo>
                  <a:cubicBezTo>
                    <a:pt x="87" y="86"/>
                    <a:pt x="87" y="86"/>
                    <a:pt x="87" y="86"/>
                  </a:cubicBezTo>
                  <a:cubicBezTo>
                    <a:pt x="78" y="89"/>
                    <a:pt x="78" y="89"/>
                    <a:pt x="78" y="89"/>
                  </a:cubicBezTo>
                  <a:cubicBezTo>
                    <a:pt x="73" y="94"/>
                    <a:pt x="73" y="94"/>
                    <a:pt x="73" y="94"/>
                  </a:cubicBezTo>
                  <a:cubicBezTo>
                    <a:pt x="73" y="96"/>
                    <a:pt x="73" y="96"/>
                    <a:pt x="73" y="96"/>
                  </a:cubicBezTo>
                  <a:cubicBezTo>
                    <a:pt x="73" y="96"/>
                    <a:pt x="77" y="99"/>
                    <a:pt x="79" y="100"/>
                  </a:cubicBezTo>
                  <a:cubicBezTo>
                    <a:pt x="81" y="102"/>
                    <a:pt x="75" y="103"/>
                    <a:pt x="74" y="104"/>
                  </a:cubicBezTo>
                  <a:cubicBezTo>
                    <a:pt x="73" y="105"/>
                    <a:pt x="64" y="106"/>
                    <a:pt x="64" y="106"/>
                  </a:cubicBezTo>
                  <a:cubicBezTo>
                    <a:pt x="47" y="107"/>
                    <a:pt x="47" y="107"/>
                    <a:pt x="47" y="107"/>
                  </a:cubicBezTo>
                  <a:cubicBezTo>
                    <a:pt x="38" y="109"/>
                    <a:pt x="38" y="109"/>
                    <a:pt x="38" y="109"/>
                  </a:cubicBezTo>
                  <a:cubicBezTo>
                    <a:pt x="34" y="107"/>
                    <a:pt x="34" y="107"/>
                    <a:pt x="34" y="107"/>
                  </a:cubicBezTo>
                  <a:cubicBezTo>
                    <a:pt x="27" y="103"/>
                    <a:pt x="27" y="103"/>
                    <a:pt x="27" y="103"/>
                  </a:cubicBezTo>
                  <a:cubicBezTo>
                    <a:pt x="22" y="98"/>
                    <a:pt x="22" y="98"/>
                    <a:pt x="22" y="98"/>
                  </a:cubicBezTo>
                  <a:cubicBezTo>
                    <a:pt x="22" y="98"/>
                    <a:pt x="22" y="98"/>
                    <a:pt x="22" y="98"/>
                  </a:cubicBezTo>
                  <a:cubicBezTo>
                    <a:pt x="14" y="97"/>
                    <a:pt x="14" y="97"/>
                    <a:pt x="14" y="97"/>
                  </a:cubicBezTo>
                  <a:cubicBezTo>
                    <a:pt x="14" y="98"/>
                    <a:pt x="14" y="98"/>
                    <a:pt x="14" y="98"/>
                  </a:cubicBezTo>
                  <a:cubicBezTo>
                    <a:pt x="14" y="102"/>
                    <a:pt x="14" y="102"/>
                    <a:pt x="14" y="102"/>
                  </a:cubicBezTo>
                  <a:cubicBezTo>
                    <a:pt x="11" y="106"/>
                    <a:pt x="11" y="106"/>
                    <a:pt x="11" y="106"/>
                  </a:cubicBezTo>
                  <a:cubicBezTo>
                    <a:pt x="9" y="103"/>
                    <a:pt x="8" y="98"/>
                    <a:pt x="6" y="93"/>
                  </a:cubicBezTo>
                  <a:cubicBezTo>
                    <a:pt x="6" y="93"/>
                    <a:pt x="6" y="92"/>
                    <a:pt x="5" y="91"/>
                  </a:cubicBezTo>
                  <a:cubicBezTo>
                    <a:pt x="5" y="90"/>
                    <a:pt x="4" y="88"/>
                    <a:pt x="4" y="88"/>
                  </a:cubicBezTo>
                  <a:cubicBezTo>
                    <a:pt x="4" y="88"/>
                    <a:pt x="4" y="88"/>
                    <a:pt x="4" y="88"/>
                  </a:cubicBezTo>
                  <a:cubicBezTo>
                    <a:pt x="3" y="87"/>
                    <a:pt x="2" y="86"/>
                    <a:pt x="2" y="86"/>
                  </a:cubicBezTo>
                  <a:cubicBezTo>
                    <a:pt x="2" y="86"/>
                    <a:pt x="2" y="85"/>
                    <a:pt x="2" y="85"/>
                  </a:cubicBezTo>
                  <a:cubicBezTo>
                    <a:pt x="1" y="85"/>
                    <a:pt x="0" y="84"/>
                    <a:pt x="0" y="84"/>
                  </a:cubicBezTo>
                  <a:cubicBezTo>
                    <a:pt x="0" y="84"/>
                    <a:pt x="0" y="81"/>
                    <a:pt x="0" y="81"/>
                  </a:cubicBezTo>
                  <a:cubicBezTo>
                    <a:pt x="0" y="79"/>
                    <a:pt x="0" y="79"/>
                    <a:pt x="0" y="79"/>
                  </a:cubicBezTo>
                  <a:cubicBezTo>
                    <a:pt x="2" y="77"/>
                    <a:pt x="2" y="77"/>
                    <a:pt x="2" y="77"/>
                  </a:cubicBezTo>
                  <a:cubicBezTo>
                    <a:pt x="2" y="77"/>
                    <a:pt x="2" y="75"/>
                    <a:pt x="2" y="75"/>
                  </a:cubicBezTo>
                  <a:cubicBezTo>
                    <a:pt x="2" y="75"/>
                    <a:pt x="3" y="73"/>
                    <a:pt x="3" y="73"/>
                  </a:cubicBezTo>
                  <a:cubicBezTo>
                    <a:pt x="2" y="72"/>
                    <a:pt x="2" y="72"/>
                    <a:pt x="2" y="72"/>
                  </a:cubicBezTo>
                  <a:cubicBezTo>
                    <a:pt x="2" y="69"/>
                    <a:pt x="2" y="69"/>
                    <a:pt x="2" y="69"/>
                  </a:cubicBezTo>
                  <a:cubicBezTo>
                    <a:pt x="3" y="68"/>
                    <a:pt x="3" y="68"/>
                    <a:pt x="3" y="68"/>
                  </a:cubicBezTo>
                  <a:cubicBezTo>
                    <a:pt x="3" y="66"/>
                    <a:pt x="3" y="66"/>
                    <a:pt x="3" y="66"/>
                  </a:cubicBezTo>
                  <a:cubicBezTo>
                    <a:pt x="3" y="66"/>
                    <a:pt x="3" y="65"/>
                    <a:pt x="3" y="65"/>
                  </a:cubicBezTo>
                  <a:cubicBezTo>
                    <a:pt x="4" y="65"/>
                    <a:pt x="4" y="62"/>
                    <a:pt x="4" y="62"/>
                  </a:cubicBezTo>
                  <a:cubicBezTo>
                    <a:pt x="4" y="62"/>
                    <a:pt x="5" y="60"/>
                    <a:pt x="5" y="60"/>
                  </a:cubicBezTo>
                  <a:cubicBezTo>
                    <a:pt x="6" y="60"/>
                    <a:pt x="6" y="59"/>
                    <a:pt x="6" y="59"/>
                  </a:cubicBezTo>
                  <a:cubicBezTo>
                    <a:pt x="6" y="58"/>
                    <a:pt x="6" y="57"/>
                    <a:pt x="6" y="57"/>
                  </a:cubicBezTo>
                  <a:cubicBezTo>
                    <a:pt x="8" y="56"/>
                    <a:pt x="8" y="56"/>
                    <a:pt x="8" y="56"/>
                  </a:cubicBezTo>
                  <a:cubicBezTo>
                    <a:pt x="8" y="56"/>
                    <a:pt x="9" y="55"/>
                    <a:pt x="9" y="55"/>
                  </a:cubicBezTo>
                  <a:cubicBezTo>
                    <a:pt x="9" y="55"/>
                    <a:pt x="10" y="55"/>
                    <a:pt x="11" y="55"/>
                  </a:cubicBezTo>
                  <a:cubicBezTo>
                    <a:pt x="11" y="55"/>
                    <a:pt x="12" y="55"/>
                    <a:pt x="13" y="55"/>
                  </a:cubicBezTo>
                  <a:cubicBezTo>
                    <a:pt x="13" y="55"/>
                    <a:pt x="13" y="56"/>
                    <a:pt x="14" y="56"/>
                  </a:cubicBezTo>
                  <a:cubicBezTo>
                    <a:pt x="15" y="56"/>
                    <a:pt x="16" y="57"/>
                    <a:pt x="16" y="57"/>
                  </a:cubicBezTo>
                  <a:cubicBezTo>
                    <a:pt x="17" y="56"/>
                    <a:pt x="17" y="56"/>
                    <a:pt x="17" y="56"/>
                  </a:cubicBezTo>
                  <a:cubicBezTo>
                    <a:pt x="18" y="56"/>
                    <a:pt x="18" y="55"/>
                    <a:pt x="18" y="55"/>
                  </a:cubicBezTo>
                  <a:cubicBezTo>
                    <a:pt x="19" y="55"/>
                    <a:pt x="21" y="56"/>
                    <a:pt x="21" y="56"/>
                  </a:cubicBezTo>
                  <a:cubicBezTo>
                    <a:pt x="21" y="56"/>
                    <a:pt x="22" y="57"/>
                    <a:pt x="22" y="56"/>
                  </a:cubicBezTo>
                  <a:cubicBezTo>
                    <a:pt x="23" y="56"/>
                    <a:pt x="24" y="55"/>
                    <a:pt x="24" y="55"/>
                  </a:cubicBezTo>
                  <a:cubicBezTo>
                    <a:pt x="26" y="54"/>
                    <a:pt x="26" y="54"/>
                    <a:pt x="26" y="54"/>
                  </a:cubicBezTo>
                  <a:close/>
                </a:path>
              </a:pathLst>
            </a:custGeom>
            <a:solidFill>
              <a:srgbClr val="E6EFF1"/>
            </a:solidFill>
            <a:ln w="12700" cap="rnd" cmpd="sng">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Lato Light"/>
              </a:endParaRPr>
            </a:p>
          </p:txBody>
        </p:sp>
        <p:sp>
          <p:nvSpPr>
            <p:cNvPr id="13" name="Freeform 88">
              <a:extLst>
                <a:ext uri="{FF2B5EF4-FFF2-40B4-BE49-F238E27FC236}">
                  <a16:creationId xmlns:a16="http://schemas.microsoft.com/office/drawing/2014/main" id="{6B91AD3C-B78F-B304-F6CB-4E0E4EA23A33}"/>
                </a:ext>
              </a:extLst>
            </p:cNvPr>
            <p:cNvSpPr>
              <a:spLocks/>
            </p:cNvSpPr>
            <p:nvPr/>
          </p:nvSpPr>
          <p:spPr bwMode="auto">
            <a:xfrm>
              <a:off x="4303042" y="4523000"/>
              <a:ext cx="336188" cy="246425"/>
            </a:xfrm>
            <a:custGeom>
              <a:avLst/>
              <a:gdLst>
                <a:gd name="T0" fmla="*/ 5 w 117"/>
                <a:gd name="T1" fmla="*/ 46 h 88"/>
                <a:gd name="T2" fmla="*/ 1 w 117"/>
                <a:gd name="T3" fmla="*/ 42 h 88"/>
                <a:gd name="T4" fmla="*/ 6 w 117"/>
                <a:gd name="T5" fmla="*/ 36 h 88"/>
                <a:gd name="T6" fmla="*/ 10 w 117"/>
                <a:gd name="T7" fmla="*/ 33 h 88"/>
                <a:gd name="T8" fmla="*/ 13 w 117"/>
                <a:gd name="T9" fmla="*/ 27 h 88"/>
                <a:gd name="T10" fmla="*/ 41 w 117"/>
                <a:gd name="T11" fmla="*/ 31 h 88"/>
                <a:gd name="T12" fmla="*/ 48 w 117"/>
                <a:gd name="T13" fmla="*/ 26 h 88"/>
                <a:gd name="T14" fmla="*/ 55 w 117"/>
                <a:gd name="T15" fmla="*/ 19 h 88"/>
                <a:gd name="T16" fmla="*/ 71 w 117"/>
                <a:gd name="T17" fmla="*/ 15 h 88"/>
                <a:gd name="T18" fmla="*/ 85 w 117"/>
                <a:gd name="T19" fmla="*/ 12 h 88"/>
                <a:gd name="T20" fmla="*/ 95 w 117"/>
                <a:gd name="T21" fmla="*/ 8 h 88"/>
                <a:gd name="T22" fmla="*/ 101 w 117"/>
                <a:gd name="T23" fmla="*/ 2 h 88"/>
                <a:gd name="T24" fmla="*/ 107 w 117"/>
                <a:gd name="T25" fmla="*/ 2 h 88"/>
                <a:gd name="T26" fmla="*/ 108 w 117"/>
                <a:gd name="T27" fmla="*/ 5 h 88"/>
                <a:gd name="T28" fmla="*/ 109 w 117"/>
                <a:gd name="T29" fmla="*/ 7 h 88"/>
                <a:gd name="T30" fmla="*/ 111 w 117"/>
                <a:gd name="T31" fmla="*/ 10 h 88"/>
                <a:gd name="T32" fmla="*/ 115 w 117"/>
                <a:gd name="T33" fmla="*/ 19 h 88"/>
                <a:gd name="T34" fmla="*/ 109 w 117"/>
                <a:gd name="T35" fmla="*/ 22 h 88"/>
                <a:gd name="T36" fmla="*/ 107 w 117"/>
                <a:gd name="T37" fmla="*/ 27 h 88"/>
                <a:gd name="T38" fmla="*/ 102 w 117"/>
                <a:gd name="T39" fmla="*/ 28 h 88"/>
                <a:gd name="T40" fmla="*/ 101 w 117"/>
                <a:gd name="T41" fmla="*/ 32 h 88"/>
                <a:gd name="T42" fmla="*/ 96 w 117"/>
                <a:gd name="T43" fmla="*/ 35 h 88"/>
                <a:gd name="T44" fmla="*/ 91 w 117"/>
                <a:gd name="T45" fmla="*/ 38 h 88"/>
                <a:gd name="T46" fmla="*/ 86 w 117"/>
                <a:gd name="T47" fmla="*/ 41 h 88"/>
                <a:gd name="T48" fmla="*/ 87 w 117"/>
                <a:gd name="T49" fmla="*/ 46 h 88"/>
                <a:gd name="T50" fmla="*/ 90 w 117"/>
                <a:gd name="T51" fmla="*/ 49 h 88"/>
                <a:gd name="T52" fmla="*/ 89 w 117"/>
                <a:gd name="T53" fmla="*/ 56 h 88"/>
                <a:gd name="T54" fmla="*/ 88 w 117"/>
                <a:gd name="T55" fmla="*/ 60 h 88"/>
                <a:gd name="T56" fmla="*/ 83 w 117"/>
                <a:gd name="T57" fmla="*/ 62 h 88"/>
                <a:gd name="T58" fmla="*/ 78 w 117"/>
                <a:gd name="T59" fmla="*/ 64 h 88"/>
                <a:gd name="T60" fmla="*/ 76 w 117"/>
                <a:gd name="T61" fmla="*/ 68 h 88"/>
                <a:gd name="T62" fmla="*/ 79 w 117"/>
                <a:gd name="T63" fmla="*/ 69 h 88"/>
                <a:gd name="T64" fmla="*/ 77 w 117"/>
                <a:gd name="T65" fmla="*/ 72 h 88"/>
                <a:gd name="T66" fmla="*/ 76 w 117"/>
                <a:gd name="T67" fmla="*/ 76 h 88"/>
                <a:gd name="T68" fmla="*/ 79 w 117"/>
                <a:gd name="T69" fmla="*/ 80 h 88"/>
                <a:gd name="T70" fmla="*/ 74 w 117"/>
                <a:gd name="T71" fmla="*/ 83 h 88"/>
                <a:gd name="T72" fmla="*/ 69 w 117"/>
                <a:gd name="T73" fmla="*/ 81 h 88"/>
                <a:gd name="T74" fmla="*/ 64 w 117"/>
                <a:gd name="T75" fmla="*/ 80 h 88"/>
                <a:gd name="T76" fmla="*/ 61 w 117"/>
                <a:gd name="T77" fmla="*/ 82 h 88"/>
                <a:gd name="T78" fmla="*/ 55 w 117"/>
                <a:gd name="T79" fmla="*/ 80 h 88"/>
                <a:gd name="T80" fmla="*/ 53 w 117"/>
                <a:gd name="T81" fmla="*/ 77 h 88"/>
                <a:gd name="T82" fmla="*/ 49 w 117"/>
                <a:gd name="T83" fmla="*/ 72 h 88"/>
                <a:gd name="T84" fmla="*/ 46 w 117"/>
                <a:gd name="T85" fmla="*/ 76 h 88"/>
                <a:gd name="T86" fmla="*/ 45 w 117"/>
                <a:gd name="T87" fmla="*/ 80 h 88"/>
                <a:gd name="T88" fmla="*/ 39 w 117"/>
                <a:gd name="T89" fmla="*/ 83 h 88"/>
                <a:gd name="T90" fmla="*/ 33 w 117"/>
                <a:gd name="T91" fmla="*/ 84 h 88"/>
                <a:gd name="T92" fmla="*/ 28 w 117"/>
                <a:gd name="T93" fmla="*/ 83 h 88"/>
                <a:gd name="T94" fmla="*/ 27 w 117"/>
                <a:gd name="T95" fmla="*/ 84 h 88"/>
                <a:gd name="T96" fmla="*/ 24 w 117"/>
                <a:gd name="T97" fmla="*/ 87 h 88"/>
                <a:gd name="T98" fmla="*/ 21 w 117"/>
                <a:gd name="T99" fmla="*/ 88 h 88"/>
                <a:gd name="T100" fmla="*/ 15 w 117"/>
                <a:gd name="T101" fmla="*/ 87 h 88"/>
                <a:gd name="T102" fmla="*/ 11 w 117"/>
                <a:gd name="T103" fmla="*/ 84 h 88"/>
                <a:gd name="T104" fmla="*/ 15 w 117"/>
                <a:gd name="T105" fmla="*/ 82 h 88"/>
                <a:gd name="T106" fmla="*/ 17 w 117"/>
                <a:gd name="T107" fmla="*/ 81 h 88"/>
                <a:gd name="T108" fmla="*/ 19 w 117"/>
                <a:gd name="T109" fmla="*/ 79 h 88"/>
                <a:gd name="T110" fmla="*/ 17 w 117"/>
                <a:gd name="T111" fmla="*/ 77 h 88"/>
                <a:gd name="T112" fmla="*/ 9 w 117"/>
                <a:gd name="T113" fmla="*/ 67 h 88"/>
                <a:gd name="T114" fmla="*/ 11 w 117"/>
                <a:gd name="T115" fmla="*/ 61 h 88"/>
                <a:gd name="T116" fmla="*/ 9 w 117"/>
                <a:gd name="T117" fmla="*/ 58 h 88"/>
                <a:gd name="T118" fmla="*/ 6 w 117"/>
                <a:gd name="T119" fmla="*/ 58 h 88"/>
                <a:gd name="T120" fmla="*/ 5 w 117"/>
                <a:gd name="T121" fmla="*/ 55 h 88"/>
                <a:gd name="T122" fmla="*/ 11 w 117"/>
                <a:gd name="T123" fmla="*/ 4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7" h="88">
                  <a:moveTo>
                    <a:pt x="9" y="48"/>
                  </a:moveTo>
                  <a:cubicBezTo>
                    <a:pt x="7" y="47"/>
                    <a:pt x="7" y="47"/>
                    <a:pt x="7" y="47"/>
                  </a:cubicBezTo>
                  <a:cubicBezTo>
                    <a:pt x="5" y="46"/>
                    <a:pt x="5" y="46"/>
                    <a:pt x="5" y="46"/>
                  </a:cubicBezTo>
                  <a:cubicBezTo>
                    <a:pt x="2" y="46"/>
                    <a:pt x="2" y="46"/>
                    <a:pt x="2" y="46"/>
                  </a:cubicBezTo>
                  <a:cubicBezTo>
                    <a:pt x="0" y="44"/>
                    <a:pt x="0" y="44"/>
                    <a:pt x="0" y="44"/>
                  </a:cubicBezTo>
                  <a:cubicBezTo>
                    <a:pt x="1" y="42"/>
                    <a:pt x="1" y="42"/>
                    <a:pt x="1" y="42"/>
                  </a:cubicBezTo>
                  <a:cubicBezTo>
                    <a:pt x="1" y="40"/>
                    <a:pt x="1" y="40"/>
                    <a:pt x="1" y="40"/>
                  </a:cubicBezTo>
                  <a:cubicBezTo>
                    <a:pt x="1" y="40"/>
                    <a:pt x="3" y="38"/>
                    <a:pt x="3" y="38"/>
                  </a:cubicBezTo>
                  <a:cubicBezTo>
                    <a:pt x="4" y="37"/>
                    <a:pt x="6" y="36"/>
                    <a:pt x="6" y="36"/>
                  </a:cubicBezTo>
                  <a:cubicBezTo>
                    <a:pt x="7" y="34"/>
                    <a:pt x="7" y="34"/>
                    <a:pt x="7" y="34"/>
                  </a:cubicBezTo>
                  <a:cubicBezTo>
                    <a:pt x="7" y="34"/>
                    <a:pt x="8" y="33"/>
                    <a:pt x="9" y="33"/>
                  </a:cubicBezTo>
                  <a:cubicBezTo>
                    <a:pt x="10" y="33"/>
                    <a:pt x="10" y="34"/>
                    <a:pt x="10" y="33"/>
                  </a:cubicBezTo>
                  <a:cubicBezTo>
                    <a:pt x="11" y="33"/>
                    <a:pt x="11" y="29"/>
                    <a:pt x="11" y="29"/>
                  </a:cubicBezTo>
                  <a:cubicBezTo>
                    <a:pt x="11" y="27"/>
                    <a:pt x="11" y="27"/>
                    <a:pt x="11" y="27"/>
                  </a:cubicBezTo>
                  <a:cubicBezTo>
                    <a:pt x="13" y="27"/>
                    <a:pt x="13" y="27"/>
                    <a:pt x="13" y="27"/>
                  </a:cubicBezTo>
                  <a:cubicBezTo>
                    <a:pt x="22" y="30"/>
                    <a:pt x="22" y="30"/>
                    <a:pt x="22" y="30"/>
                  </a:cubicBezTo>
                  <a:cubicBezTo>
                    <a:pt x="32" y="31"/>
                    <a:pt x="32" y="31"/>
                    <a:pt x="32" y="31"/>
                  </a:cubicBezTo>
                  <a:cubicBezTo>
                    <a:pt x="41" y="31"/>
                    <a:pt x="41" y="31"/>
                    <a:pt x="41" y="31"/>
                  </a:cubicBezTo>
                  <a:cubicBezTo>
                    <a:pt x="43" y="31"/>
                    <a:pt x="43" y="31"/>
                    <a:pt x="43" y="31"/>
                  </a:cubicBezTo>
                  <a:cubicBezTo>
                    <a:pt x="46" y="29"/>
                    <a:pt x="46" y="29"/>
                    <a:pt x="46" y="29"/>
                  </a:cubicBezTo>
                  <a:cubicBezTo>
                    <a:pt x="48" y="26"/>
                    <a:pt x="48" y="26"/>
                    <a:pt x="48" y="26"/>
                  </a:cubicBezTo>
                  <a:cubicBezTo>
                    <a:pt x="52" y="25"/>
                    <a:pt x="52" y="25"/>
                    <a:pt x="52" y="25"/>
                  </a:cubicBezTo>
                  <a:cubicBezTo>
                    <a:pt x="53" y="23"/>
                    <a:pt x="53" y="23"/>
                    <a:pt x="53" y="23"/>
                  </a:cubicBezTo>
                  <a:cubicBezTo>
                    <a:pt x="55" y="19"/>
                    <a:pt x="55" y="19"/>
                    <a:pt x="55" y="19"/>
                  </a:cubicBezTo>
                  <a:cubicBezTo>
                    <a:pt x="58" y="17"/>
                    <a:pt x="58" y="17"/>
                    <a:pt x="58" y="17"/>
                  </a:cubicBezTo>
                  <a:cubicBezTo>
                    <a:pt x="64" y="17"/>
                    <a:pt x="64" y="17"/>
                    <a:pt x="64" y="17"/>
                  </a:cubicBezTo>
                  <a:cubicBezTo>
                    <a:pt x="71" y="15"/>
                    <a:pt x="71" y="15"/>
                    <a:pt x="71" y="15"/>
                  </a:cubicBezTo>
                  <a:cubicBezTo>
                    <a:pt x="76" y="17"/>
                    <a:pt x="76" y="17"/>
                    <a:pt x="76" y="17"/>
                  </a:cubicBezTo>
                  <a:cubicBezTo>
                    <a:pt x="82" y="13"/>
                    <a:pt x="82" y="13"/>
                    <a:pt x="82" y="13"/>
                  </a:cubicBezTo>
                  <a:cubicBezTo>
                    <a:pt x="85" y="12"/>
                    <a:pt x="85" y="12"/>
                    <a:pt x="85" y="12"/>
                  </a:cubicBezTo>
                  <a:cubicBezTo>
                    <a:pt x="90" y="10"/>
                    <a:pt x="90" y="10"/>
                    <a:pt x="90" y="10"/>
                  </a:cubicBezTo>
                  <a:cubicBezTo>
                    <a:pt x="96" y="14"/>
                    <a:pt x="96" y="14"/>
                    <a:pt x="96" y="14"/>
                  </a:cubicBezTo>
                  <a:cubicBezTo>
                    <a:pt x="95" y="8"/>
                    <a:pt x="95" y="8"/>
                    <a:pt x="95" y="8"/>
                  </a:cubicBezTo>
                  <a:cubicBezTo>
                    <a:pt x="96" y="4"/>
                    <a:pt x="96" y="4"/>
                    <a:pt x="96" y="4"/>
                  </a:cubicBezTo>
                  <a:cubicBezTo>
                    <a:pt x="100" y="2"/>
                    <a:pt x="100" y="2"/>
                    <a:pt x="100" y="2"/>
                  </a:cubicBezTo>
                  <a:cubicBezTo>
                    <a:pt x="101" y="2"/>
                    <a:pt x="101" y="2"/>
                    <a:pt x="101" y="2"/>
                  </a:cubicBezTo>
                  <a:cubicBezTo>
                    <a:pt x="101" y="2"/>
                    <a:pt x="101" y="2"/>
                    <a:pt x="101" y="2"/>
                  </a:cubicBezTo>
                  <a:cubicBezTo>
                    <a:pt x="105" y="0"/>
                    <a:pt x="105" y="0"/>
                    <a:pt x="105" y="0"/>
                  </a:cubicBezTo>
                  <a:cubicBezTo>
                    <a:pt x="107" y="2"/>
                    <a:pt x="107" y="2"/>
                    <a:pt x="107" y="2"/>
                  </a:cubicBezTo>
                  <a:cubicBezTo>
                    <a:pt x="108" y="4"/>
                    <a:pt x="108" y="4"/>
                    <a:pt x="108" y="4"/>
                  </a:cubicBezTo>
                  <a:cubicBezTo>
                    <a:pt x="108" y="4"/>
                    <a:pt x="108" y="4"/>
                    <a:pt x="108" y="4"/>
                  </a:cubicBezTo>
                  <a:cubicBezTo>
                    <a:pt x="108" y="4"/>
                    <a:pt x="108" y="4"/>
                    <a:pt x="108" y="5"/>
                  </a:cubicBezTo>
                  <a:cubicBezTo>
                    <a:pt x="108" y="5"/>
                    <a:pt x="108" y="5"/>
                    <a:pt x="108" y="5"/>
                  </a:cubicBezTo>
                  <a:cubicBezTo>
                    <a:pt x="108" y="6"/>
                    <a:pt x="108" y="6"/>
                    <a:pt x="108" y="6"/>
                  </a:cubicBezTo>
                  <a:cubicBezTo>
                    <a:pt x="109" y="7"/>
                    <a:pt x="109" y="7"/>
                    <a:pt x="109" y="7"/>
                  </a:cubicBezTo>
                  <a:cubicBezTo>
                    <a:pt x="110" y="8"/>
                    <a:pt x="110" y="8"/>
                    <a:pt x="110" y="8"/>
                  </a:cubicBezTo>
                  <a:cubicBezTo>
                    <a:pt x="110" y="8"/>
                    <a:pt x="110" y="8"/>
                    <a:pt x="110" y="8"/>
                  </a:cubicBezTo>
                  <a:cubicBezTo>
                    <a:pt x="111" y="10"/>
                    <a:pt x="111" y="10"/>
                    <a:pt x="111" y="10"/>
                  </a:cubicBezTo>
                  <a:cubicBezTo>
                    <a:pt x="111" y="12"/>
                    <a:pt x="111" y="12"/>
                    <a:pt x="111" y="12"/>
                  </a:cubicBezTo>
                  <a:cubicBezTo>
                    <a:pt x="117" y="19"/>
                    <a:pt x="117" y="19"/>
                    <a:pt x="117" y="19"/>
                  </a:cubicBezTo>
                  <a:cubicBezTo>
                    <a:pt x="117" y="19"/>
                    <a:pt x="115" y="19"/>
                    <a:pt x="115" y="19"/>
                  </a:cubicBezTo>
                  <a:cubicBezTo>
                    <a:pt x="114" y="19"/>
                    <a:pt x="112" y="19"/>
                    <a:pt x="112" y="19"/>
                  </a:cubicBezTo>
                  <a:cubicBezTo>
                    <a:pt x="112" y="19"/>
                    <a:pt x="111" y="20"/>
                    <a:pt x="110" y="20"/>
                  </a:cubicBezTo>
                  <a:cubicBezTo>
                    <a:pt x="110" y="20"/>
                    <a:pt x="109" y="22"/>
                    <a:pt x="109" y="22"/>
                  </a:cubicBezTo>
                  <a:cubicBezTo>
                    <a:pt x="108" y="23"/>
                    <a:pt x="108" y="23"/>
                    <a:pt x="108" y="23"/>
                  </a:cubicBezTo>
                  <a:cubicBezTo>
                    <a:pt x="109" y="24"/>
                    <a:pt x="109" y="24"/>
                    <a:pt x="109" y="24"/>
                  </a:cubicBezTo>
                  <a:cubicBezTo>
                    <a:pt x="111" y="28"/>
                    <a:pt x="112" y="28"/>
                    <a:pt x="107" y="27"/>
                  </a:cubicBezTo>
                  <a:cubicBezTo>
                    <a:pt x="105" y="26"/>
                    <a:pt x="105" y="26"/>
                    <a:pt x="105" y="26"/>
                  </a:cubicBezTo>
                  <a:cubicBezTo>
                    <a:pt x="104" y="27"/>
                    <a:pt x="104" y="27"/>
                    <a:pt x="104" y="27"/>
                  </a:cubicBezTo>
                  <a:cubicBezTo>
                    <a:pt x="102" y="28"/>
                    <a:pt x="102" y="28"/>
                    <a:pt x="102" y="28"/>
                  </a:cubicBezTo>
                  <a:cubicBezTo>
                    <a:pt x="102" y="28"/>
                    <a:pt x="102" y="28"/>
                    <a:pt x="102" y="28"/>
                  </a:cubicBezTo>
                  <a:cubicBezTo>
                    <a:pt x="102" y="28"/>
                    <a:pt x="102" y="30"/>
                    <a:pt x="102" y="30"/>
                  </a:cubicBezTo>
                  <a:cubicBezTo>
                    <a:pt x="101" y="32"/>
                    <a:pt x="101" y="32"/>
                    <a:pt x="101" y="32"/>
                  </a:cubicBezTo>
                  <a:cubicBezTo>
                    <a:pt x="99" y="33"/>
                    <a:pt x="99" y="33"/>
                    <a:pt x="99" y="33"/>
                  </a:cubicBezTo>
                  <a:cubicBezTo>
                    <a:pt x="97" y="34"/>
                    <a:pt x="97" y="34"/>
                    <a:pt x="97" y="34"/>
                  </a:cubicBezTo>
                  <a:cubicBezTo>
                    <a:pt x="96" y="35"/>
                    <a:pt x="96" y="35"/>
                    <a:pt x="96" y="35"/>
                  </a:cubicBezTo>
                  <a:cubicBezTo>
                    <a:pt x="94" y="35"/>
                    <a:pt x="94" y="35"/>
                    <a:pt x="94" y="35"/>
                  </a:cubicBezTo>
                  <a:cubicBezTo>
                    <a:pt x="92" y="36"/>
                    <a:pt x="92" y="36"/>
                    <a:pt x="92" y="36"/>
                  </a:cubicBezTo>
                  <a:cubicBezTo>
                    <a:pt x="91" y="38"/>
                    <a:pt x="91" y="38"/>
                    <a:pt x="91" y="38"/>
                  </a:cubicBezTo>
                  <a:cubicBezTo>
                    <a:pt x="91" y="38"/>
                    <a:pt x="89" y="38"/>
                    <a:pt x="89" y="38"/>
                  </a:cubicBezTo>
                  <a:cubicBezTo>
                    <a:pt x="89" y="38"/>
                    <a:pt x="86" y="39"/>
                    <a:pt x="86" y="39"/>
                  </a:cubicBezTo>
                  <a:cubicBezTo>
                    <a:pt x="86" y="41"/>
                    <a:pt x="86" y="41"/>
                    <a:pt x="86" y="41"/>
                  </a:cubicBezTo>
                  <a:cubicBezTo>
                    <a:pt x="86" y="41"/>
                    <a:pt x="85" y="42"/>
                    <a:pt x="85" y="42"/>
                  </a:cubicBezTo>
                  <a:cubicBezTo>
                    <a:pt x="85" y="42"/>
                    <a:pt x="85" y="45"/>
                    <a:pt x="85" y="45"/>
                  </a:cubicBezTo>
                  <a:cubicBezTo>
                    <a:pt x="85" y="45"/>
                    <a:pt x="87" y="46"/>
                    <a:pt x="87" y="46"/>
                  </a:cubicBezTo>
                  <a:cubicBezTo>
                    <a:pt x="88" y="47"/>
                    <a:pt x="88" y="47"/>
                    <a:pt x="88" y="47"/>
                  </a:cubicBezTo>
                  <a:cubicBezTo>
                    <a:pt x="89" y="48"/>
                    <a:pt x="89" y="48"/>
                    <a:pt x="89" y="48"/>
                  </a:cubicBezTo>
                  <a:cubicBezTo>
                    <a:pt x="89" y="48"/>
                    <a:pt x="90" y="49"/>
                    <a:pt x="90" y="49"/>
                  </a:cubicBezTo>
                  <a:cubicBezTo>
                    <a:pt x="89" y="49"/>
                    <a:pt x="89" y="52"/>
                    <a:pt x="89" y="52"/>
                  </a:cubicBezTo>
                  <a:cubicBezTo>
                    <a:pt x="90" y="55"/>
                    <a:pt x="90" y="55"/>
                    <a:pt x="90" y="55"/>
                  </a:cubicBezTo>
                  <a:cubicBezTo>
                    <a:pt x="89" y="56"/>
                    <a:pt x="89" y="56"/>
                    <a:pt x="89" y="56"/>
                  </a:cubicBezTo>
                  <a:cubicBezTo>
                    <a:pt x="90" y="58"/>
                    <a:pt x="90" y="58"/>
                    <a:pt x="90" y="58"/>
                  </a:cubicBezTo>
                  <a:cubicBezTo>
                    <a:pt x="90" y="58"/>
                    <a:pt x="91" y="58"/>
                    <a:pt x="90" y="59"/>
                  </a:cubicBezTo>
                  <a:cubicBezTo>
                    <a:pt x="89" y="59"/>
                    <a:pt x="88" y="60"/>
                    <a:pt x="88" y="60"/>
                  </a:cubicBezTo>
                  <a:cubicBezTo>
                    <a:pt x="88" y="60"/>
                    <a:pt x="86" y="60"/>
                    <a:pt x="86" y="60"/>
                  </a:cubicBezTo>
                  <a:cubicBezTo>
                    <a:pt x="86" y="60"/>
                    <a:pt x="84" y="60"/>
                    <a:pt x="84" y="60"/>
                  </a:cubicBezTo>
                  <a:cubicBezTo>
                    <a:pt x="83" y="62"/>
                    <a:pt x="83" y="62"/>
                    <a:pt x="83" y="62"/>
                  </a:cubicBezTo>
                  <a:cubicBezTo>
                    <a:pt x="81" y="61"/>
                    <a:pt x="81" y="61"/>
                    <a:pt x="81" y="61"/>
                  </a:cubicBezTo>
                  <a:cubicBezTo>
                    <a:pt x="81" y="63"/>
                    <a:pt x="81" y="63"/>
                    <a:pt x="81" y="63"/>
                  </a:cubicBezTo>
                  <a:cubicBezTo>
                    <a:pt x="78" y="64"/>
                    <a:pt x="78" y="64"/>
                    <a:pt x="78" y="64"/>
                  </a:cubicBezTo>
                  <a:cubicBezTo>
                    <a:pt x="76" y="65"/>
                    <a:pt x="76" y="65"/>
                    <a:pt x="76" y="65"/>
                  </a:cubicBezTo>
                  <a:cubicBezTo>
                    <a:pt x="75" y="67"/>
                    <a:pt x="75" y="67"/>
                    <a:pt x="75" y="67"/>
                  </a:cubicBezTo>
                  <a:cubicBezTo>
                    <a:pt x="76" y="68"/>
                    <a:pt x="76" y="68"/>
                    <a:pt x="76" y="68"/>
                  </a:cubicBezTo>
                  <a:cubicBezTo>
                    <a:pt x="76" y="68"/>
                    <a:pt x="77" y="69"/>
                    <a:pt x="77" y="68"/>
                  </a:cubicBezTo>
                  <a:cubicBezTo>
                    <a:pt x="77" y="68"/>
                    <a:pt x="77" y="67"/>
                    <a:pt x="77" y="67"/>
                  </a:cubicBezTo>
                  <a:cubicBezTo>
                    <a:pt x="78" y="68"/>
                    <a:pt x="79" y="69"/>
                    <a:pt x="79" y="69"/>
                  </a:cubicBezTo>
                  <a:cubicBezTo>
                    <a:pt x="80" y="71"/>
                    <a:pt x="80" y="71"/>
                    <a:pt x="80" y="71"/>
                  </a:cubicBezTo>
                  <a:cubicBezTo>
                    <a:pt x="80" y="71"/>
                    <a:pt x="78" y="71"/>
                    <a:pt x="78" y="71"/>
                  </a:cubicBezTo>
                  <a:cubicBezTo>
                    <a:pt x="78" y="71"/>
                    <a:pt x="77" y="72"/>
                    <a:pt x="77" y="72"/>
                  </a:cubicBezTo>
                  <a:cubicBezTo>
                    <a:pt x="76" y="73"/>
                    <a:pt x="76" y="73"/>
                    <a:pt x="76" y="73"/>
                  </a:cubicBezTo>
                  <a:cubicBezTo>
                    <a:pt x="76" y="74"/>
                    <a:pt x="76" y="74"/>
                    <a:pt x="76" y="75"/>
                  </a:cubicBezTo>
                  <a:cubicBezTo>
                    <a:pt x="76" y="75"/>
                    <a:pt x="76" y="76"/>
                    <a:pt x="76" y="76"/>
                  </a:cubicBezTo>
                  <a:cubicBezTo>
                    <a:pt x="77" y="76"/>
                    <a:pt x="78" y="78"/>
                    <a:pt x="78" y="78"/>
                  </a:cubicBezTo>
                  <a:cubicBezTo>
                    <a:pt x="78" y="78"/>
                    <a:pt x="79" y="79"/>
                    <a:pt x="79" y="79"/>
                  </a:cubicBezTo>
                  <a:cubicBezTo>
                    <a:pt x="79" y="79"/>
                    <a:pt x="79" y="80"/>
                    <a:pt x="79" y="80"/>
                  </a:cubicBezTo>
                  <a:cubicBezTo>
                    <a:pt x="79" y="80"/>
                    <a:pt x="78" y="81"/>
                    <a:pt x="77" y="81"/>
                  </a:cubicBezTo>
                  <a:cubicBezTo>
                    <a:pt x="77" y="81"/>
                    <a:pt x="75" y="81"/>
                    <a:pt x="75" y="81"/>
                  </a:cubicBezTo>
                  <a:cubicBezTo>
                    <a:pt x="75" y="81"/>
                    <a:pt x="74" y="83"/>
                    <a:pt x="74" y="83"/>
                  </a:cubicBezTo>
                  <a:cubicBezTo>
                    <a:pt x="74" y="83"/>
                    <a:pt x="73" y="83"/>
                    <a:pt x="72" y="83"/>
                  </a:cubicBezTo>
                  <a:cubicBezTo>
                    <a:pt x="72" y="83"/>
                    <a:pt x="74" y="84"/>
                    <a:pt x="72" y="83"/>
                  </a:cubicBezTo>
                  <a:cubicBezTo>
                    <a:pt x="69" y="82"/>
                    <a:pt x="69" y="81"/>
                    <a:pt x="69" y="81"/>
                  </a:cubicBezTo>
                  <a:cubicBezTo>
                    <a:pt x="69" y="81"/>
                    <a:pt x="68" y="80"/>
                    <a:pt x="68" y="80"/>
                  </a:cubicBezTo>
                  <a:cubicBezTo>
                    <a:pt x="67" y="80"/>
                    <a:pt x="66" y="80"/>
                    <a:pt x="66" y="80"/>
                  </a:cubicBezTo>
                  <a:cubicBezTo>
                    <a:pt x="64" y="80"/>
                    <a:pt x="64" y="80"/>
                    <a:pt x="64" y="80"/>
                  </a:cubicBezTo>
                  <a:cubicBezTo>
                    <a:pt x="63" y="79"/>
                    <a:pt x="63" y="79"/>
                    <a:pt x="63" y="79"/>
                  </a:cubicBezTo>
                  <a:cubicBezTo>
                    <a:pt x="62" y="81"/>
                    <a:pt x="62" y="81"/>
                    <a:pt x="62" y="81"/>
                  </a:cubicBezTo>
                  <a:cubicBezTo>
                    <a:pt x="62" y="81"/>
                    <a:pt x="62" y="82"/>
                    <a:pt x="61" y="82"/>
                  </a:cubicBezTo>
                  <a:cubicBezTo>
                    <a:pt x="60" y="83"/>
                    <a:pt x="61" y="83"/>
                    <a:pt x="60" y="83"/>
                  </a:cubicBezTo>
                  <a:cubicBezTo>
                    <a:pt x="58" y="83"/>
                    <a:pt x="57" y="81"/>
                    <a:pt x="57" y="81"/>
                  </a:cubicBezTo>
                  <a:cubicBezTo>
                    <a:pt x="57" y="81"/>
                    <a:pt x="55" y="80"/>
                    <a:pt x="55" y="80"/>
                  </a:cubicBezTo>
                  <a:cubicBezTo>
                    <a:pt x="54" y="79"/>
                    <a:pt x="54" y="79"/>
                    <a:pt x="54" y="79"/>
                  </a:cubicBezTo>
                  <a:cubicBezTo>
                    <a:pt x="53" y="79"/>
                    <a:pt x="53" y="80"/>
                    <a:pt x="53" y="78"/>
                  </a:cubicBezTo>
                  <a:cubicBezTo>
                    <a:pt x="53" y="77"/>
                    <a:pt x="53" y="77"/>
                    <a:pt x="53" y="77"/>
                  </a:cubicBezTo>
                  <a:cubicBezTo>
                    <a:pt x="52" y="76"/>
                    <a:pt x="52" y="77"/>
                    <a:pt x="51" y="76"/>
                  </a:cubicBezTo>
                  <a:cubicBezTo>
                    <a:pt x="51" y="75"/>
                    <a:pt x="50" y="74"/>
                    <a:pt x="50" y="74"/>
                  </a:cubicBezTo>
                  <a:cubicBezTo>
                    <a:pt x="49" y="72"/>
                    <a:pt x="49" y="72"/>
                    <a:pt x="49" y="72"/>
                  </a:cubicBezTo>
                  <a:cubicBezTo>
                    <a:pt x="49" y="72"/>
                    <a:pt x="49" y="72"/>
                    <a:pt x="49" y="73"/>
                  </a:cubicBezTo>
                  <a:cubicBezTo>
                    <a:pt x="48" y="74"/>
                    <a:pt x="47" y="74"/>
                    <a:pt x="47" y="74"/>
                  </a:cubicBezTo>
                  <a:cubicBezTo>
                    <a:pt x="47" y="75"/>
                    <a:pt x="46" y="76"/>
                    <a:pt x="46" y="76"/>
                  </a:cubicBezTo>
                  <a:cubicBezTo>
                    <a:pt x="46" y="76"/>
                    <a:pt x="45" y="77"/>
                    <a:pt x="45" y="78"/>
                  </a:cubicBezTo>
                  <a:cubicBezTo>
                    <a:pt x="46" y="78"/>
                    <a:pt x="46" y="78"/>
                    <a:pt x="46" y="79"/>
                  </a:cubicBezTo>
                  <a:cubicBezTo>
                    <a:pt x="46" y="79"/>
                    <a:pt x="45" y="80"/>
                    <a:pt x="45" y="80"/>
                  </a:cubicBezTo>
                  <a:cubicBezTo>
                    <a:pt x="44" y="81"/>
                    <a:pt x="44" y="81"/>
                    <a:pt x="43" y="81"/>
                  </a:cubicBezTo>
                  <a:cubicBezTo>
                    <a:pt x="43" y="82"/>
                    <a:pt x="41" y="83"/>
                    <a:pt x="41" y="83"/>
                  </a:cubicBezTo>
                  <a:cubicBezTo>
                    <a:pt x="39" y="83"/>
                    <a:pt x="39" y="83"/>
                    <a:pt x="39" y="83"/>
                  </a:cubicBezTo>
                  <a:cubicBezTo>
                    <a:pt x="36" y="82"/>
                    <a:pt x="36" y="82"/>
                    <a:pt x="36" y="82"/>
                  </a:cubicBezTo>
                  <a:cubicBezTo>
                    <a:pt x="34" y="84"/>
                    <a:pt x="34" y="84"/>
                    <a:pt x="34" y="84"/>
                  </a:cubicBezTo>
                  <a:cubicBezTo>
                    <a:pt x="34" y="84"/>
                    <a:pt x="33" y="84"/>
                    <a:pt x="33" y="84"/>
                  </a:cubicBezTo>
                  <a:cubicBezTo>
                    <a:pt x="32" y="84"/>
                    <a:pt x="31" y="84"/>
                    <a:pt x="31" y="84"/>
                  </a:cubicBezTo>
                  <a:cubicBezTo>
                    <a:pt x="31" y="84"/>
                    <a:pt x="30" y="83"/>
                    <a:pt x="29" y="83"/>
                  </a:cubicBezTo>
                  <a:cubicBezTo>
                    <a:pt x="29" y="83"/>
                    <a:pt x="28" y="83"/>
                    <a:pt x="28" y="83"/>
                  </a:cubicBezTo>
                  <a:cubicBezTo>
                    <a:pt x="27" y="83"/>
                    <a:pt x="26" y="83"/>
                    <a:pt x="26" y="83"/>
                  </a:cubicBezTo>
                  <a:cubicBezTo>
                    <a:pt x="26" y="84"/>
                    <a:pt x="26" y="84"/>
                    <a:pt x="26" y="84"/>
                  </a:cubicBezTo>
                  <a:cubicBezTo>
                    <a:pt x="26" y="84"/>
                    <a:pt x="27" y="84"/>
                    <a:pt x="27" y="84"/>
                  </a:cubicBezTo>
                  <a:cubicBezTo>
                    <a:pt x="27" y="85"/>
                    <a:pt x="27" y="86"/>
                    <a:pt x="27" y="86"/>
                  </a:cubicBezTo>
                  <a:cubicBezTo>
                    <a:pt x="27" y="86"/>
                    <a:pt x="26" y="86"/>
                    <a:pt x="26" y="86"/>
                  </a:cubicBezTo>
                  <a:cubicBezTo>
                    <a:pt x="26" y="87"/>
                    <a:pt x="24" y="87"/>
                    <a:pt x="24" y="87"/>
                  </a:cubicBezTo>
                  <a:cubicBezTo>
                    <a:pt x="24" y="87"/>
                    <a:pt x="24" y="88"/>
                    <a:pt x="24" y="88"/>
                  </a:cubicBezTo>
                  <a:cubicBezTo>
                    <a:pt x="24" y="88"/>
                    <a:pt x="24" y="88"/>
                    <a:pt x="23" y="88"/>
                  </a:cubicBezTo>
                  <a:cubicBezTo>
                    <a:pt x="22" y="88"/>
                    <a:pt x="22" y="88"/>
                    <a:pt x="21" y="88"/>
                  </a:cubicBezTo>
                  <a:cubicBezTo>
                    <a:pt x="21" y="87"/>
                    <a:pt x="20" y="87"/>
                    <a:pt x="19" y="87"/>
                  </a:cubicBezTo>
                  <a:cubicBezTo>
                    <a:pt x="19" y="87"/>
                    <a:pt x="16" y="86"/>
                    <a:pt x="16" y="86"/>
                  </a:cubicBezTo>
                  <a:cubicBezTo>
                    <a:pt x="16" y="86"/>
                    <a:pt x="15" y="87"/>
                    <a:pt x="15" y="87"/>
                  </a:cubicBezTo>
                  <a:cubicBezTo>
                    <a:pt x="14" y="87"/>
                    <a:pt x="13" y="87"/>
                    <a:pt x="12" y="86"/>
                  </a:cubicBezTo>
                  <a:cubicBezTo>
                    <a:pt x="12" y="86"/>
                    <a:pt x="11" y="86"/>
                    <a:pt x="11" y="86"/>
                  </a:cubicBezTo>
                  <a:cubicBezTo>
                    <a:pt x="11" y="85"/>
                    <a:pt x="11" y="84"/>
                    <a:pt x="11" y="84"/>
                  </a:cubicBezTo>
                  <a:cubicBezTo>
                    <a:pt x="11" y="84"/>
                    <a:pt x="10" y="83"/>
                    <a:pt x="11" y="83"/>
                  </a:cubicBezTo>
                  <a:cubicBezTo>
                    <a:pt x="11" y="83"/>
                    <a:pt x="12" y="83"/>
                    <a:pt x="13" y="83"/>
                  </a:cubicBezTo>
                  <a:cubicBezTo>
                    <a:pt x="14" y="83"/>
                    <a:pt x="15" y="83"/>
                    <a:pt x="15" y="82"/>
                  </a:cubicBezTo>
                  <a:cubicBezTo>
                    <a:pt x="15" y="82"/>
                    <a:pt x="15" y="82"/>
                    <a:pt x="16" y="82"/>
                  </a:cubicBezTo>
                  <a:cubicBezTo>
                    <a:pt x="16" y="82"/>
                    <a:pt x="17" y="83"/>
                    <a:pt x="17" y="82"/>
                  </a:cubicBezTo>
                  <a:cubicBezTo>
                    <a:pt x="17" y="81"/>
                    <a:pt x="17" y="81"/>
                    <a:pt x="17" y="81"/>
                  </a:cubicBezTo>
                  <a:cubicBezTo>
                    <a:pt x="16" y="80"/>
                    <a:pt x="16" y="80"/>
                    <a:pt x="16" y="80"/>
                  </a:cubicBezTo>
                  <a:cubicBezTo>
                    <a:pt x="16" y="80"/>
                    <a:pt x="17" y="79"/>
                    <a:pt x="17" y="79"/>
                  </a:cubicBezTo>
                  <a:cubicBezTo>
                    <a:pt x="18" y="79"/>
                    <a:pt x="19" y="79"/>
                    <a:pt x="19" y="79"/>
                  </a:cubicBezTo>
                  <a:cubicBezTo>
                    <a:pt x="20" y="79"/>
                    <a:pt x="21" y="79"/>
                    <a:pt x="21" y="79"/>
                  </a:cubicBezTo>
                  <a:cubicBezTo>
                    <a:pt x="21" y="79"/>
                    <a:pt x="21" y="79"/>
                    <a:pt x="22" y="78"/>
                  </a:cubicBezTo>
                  <a:cubicBezTo>
                    <a:pt x="22" y="78"/>
                    <a:pt x="18" y="78"/>
                    <a:pt x="17" y="77"/>
                  </a:cubicBezTo>
                  <a:cubicBezTo>
                    <a:pt x="15" y="75"/>
                    <a:pt x="13" y="74"/>
                    <a:pt x="13" y="70"/>
                  </a:cubicBezTo>
                  <a:cubicBezTo>
                    <a:pt x="12" y="70"/>
                    <a:pt x="12" y="68"/>
                    <a:pt x="11" y="68"/>
                  </a:cubicBezTo>
                  <a:cubicBezTo>
                    <a:pt x="11" y="68"/>
                    <a:pt x="9" y="67"/>
                    <a:pt x="9" y="67"/>
                  </a:cubicBezTo>
                  <a:cubicBezTo>
                    <a:pt x="9" y="66"/>
                    <a:pt x="9" y="66"/>
                    <a:pt x="10" y="65"/>
                  </a:cubicBezTo>
                  <a:cubicBezTo>
                    <a:pt x="10" y="64"/>
                    <a:pt x="10" y="64"/>
                    <a:pt x="11" y="63"/>
                  </a:cubicBezTo>
                  <a:cubicBezTo>
                    <a:pt x="11" y="63"/>
                    <a:pt x="11" y="61"/>
                    <a:pt x="11" y="61"/>
                  </a:cubicBezTo>
                  <a:cubicBezTo>
                    <a:pt x="11" y="61"/>
                    <a:pt x="12" y="60"/>
                    <a:pt x="11" y="60"/>
                  </a:cubicBezTo>
                  <a:cubicBezTo>
                    <a:pt x="11" y="59"/>
                    <a:pt x="10" y="58"/>
                    <a:pt x="10" y="58"/>
                  </a:cubicBezTo>
                  <a:cubicBezTo>
                    <a:pt x="10" y="58"/>
                    <a:pt x="10" y="58"/>
                    <a:pt x="9" y="58"/>
                  </a:cubicBezTo>
                  <a:cubicBezTo>
                    <a:pt x="9" y="59"/>
                    <a:pt x="9" y="59"/>
                    <a:pt x="9" y="59"/>
                  </a:cubicBezTo>
                  <a:cubicBezTo>
                    <a:pt x="7" y="60"/>
                    <a:pt x="7" y="60"/>
                    <a:pt x="7" y="60"/>
                  </a:cubicBezTo>
                  <a:cubicBezTo>
                    <a:pt x="7" y="60"/>
                    <a:pt x="6" y="58"/>
                    <a:pt x="6" y="58"/>
                  </a:cubicBezTo>
                  <a:cubicBezTo>
                    <a:pt x="5" y="58"/>
                    <a:pt x="5" y="58"/>
                    <a:pt x="5" y="57"/>
                  </a:cubicBezTo>
                  <a:cubicBezTo>
                    <a:pt x="5" y="57"/>
                    <a:pt x="6" y="56"/>
                    <a:pt x="6" y="56"/>
                  </a:cubicBezTo>
                  <a:cubicBezTo>
                    <a:pt x="6" y="56"/>
                    <a:pt x="5" y="55"/>
                    <a:pt x="5" y="55"/>
                  </a:cubicBezTo>
                  <a:cubicBezTo>
                    <a:pt x="5" y="55"/>
                    <a:pt x="6" y="53"/>
                    <a:pt x="7" y="53"/>
                  </a:cubicBezTo>
                  <a:cubicBezTo>
                    <a:pt x="8" y="52"/>
                    <a:pt x="10" y="50"/>
                    <a:pt x="10" y="50"/>
                  </a:cubicBezTo>
                  <a:cubicBezTo>
                    <a:pt x="11" y="48"/>
                    <a:pt x="11" y="48"/>
                    <a:pt x="11" y="48"/>
                  </a:cubicBezTo>
                  <a:cubicBezTo>
                    <a:pt x="10" y="47"/>
                    <a:pt x="10" y="47"/>
                    <a:pt x="10" y="47"/>
                  </a:cubicBezTo>
                  <a:cubicBezTo>
                    <a:pt x="10" y="47"/>
                    <a:pt x="9" y="48"/>
                    <a:pt x="9" y="48"/>
                  </a:cubicBezTo>
                  <a:close/>
                </a:path>
              </a:pathLst>
            </a:custGeom>
            <a:solidFill>
              <a:srgbClr val="E6EFF1"/>
            </a:solidFill>
            <a:ln w="12700" cap="rnd" cmpd="sng">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Lato Light"/>
              </a:endParaRPr>
            </a:p>
          </p:txBody>
        </p:sp>
        <p:sp>
          <p:nvSpPr>
            <p:cNvPr id="14" name="Freeform 197">
              <a:extLst>
                <a:ext uri="{FF2B5EF4-FFF2-40B4-BE49-F238E27FC236}">
                  <a16:creationId xmlns:a16="http://schemas.microsoft.com/office/drawing/2014/main" id="{A5FBA94E-A38C-B9DF-C8FF-1682B1E6E119}"/>
                </a:ext>
              </a:extLst>
            </p:cNvPr>
            <p:cNvSpPr>
              <a:spLocks noEditPoints="1"/>
            </p:cNvSpPr>
            <p:nvPr/>
          </p:nvSpPr>
          <p:spPr bwMode="auto">
            <a:xfrm>
              <a:off x="4325269" y="4575516"/>
              <a:ext cx="654317" cy="589802"/>
            </a:xfrm>
            <a:custGeom>
              <a:avLst/>
              <a:gdLst>
                <a:gd name="T0" fmla="*/ 216 w 227"/>
                <a:gd name="T1" fmla="*/ 62 h 211"/>
                <a:gd name="T2" fmla="*/ 209 w 227"/>
                <a:gd name="T3" fmla="*/ 47 h 211"/>
                <a:gd name="T4" fmla="*/ 183 w 227"/>
                <a:gd name="T5" fmla="*/ 33 h 211"/>
                <a:gd name="T6" fmla="*/ 141 w 227"/>
                <a:gd name="T7" fmla="*/ 25 h 211"/>
                <a:gd name="T8" fmla="*/ 102 w 227"/>
                <a:gd name="T9" fmla="*/ 1 h 211"/>
                <a:gd name="T10" fmla="*/ 84 w 227"/>
                <a:gd name="T11" fmla="*/ 17 h 211"/>
                <a:gd name="T12" fmla="*/ 82 w 227"/>
                <a:gd name="T13" fmla="*/ 40 h 211"/>
                <a:gd name="T14" fmla="*/ 70 w 227"/>
                <a:gd name="T15" fmla="*/ 52 h 211"/>
                <a:gd name="T16" fmla="*/ 58 w 227"/>
                <a:gd name="T17" fmla="*/ 61 h 211"/>
                <a:gd name="T18" fmla="*/ 39 w 227"/>
                <a:gd name="T19" fmla="*/ 55 h 211"/>
                <a:gd name="T20" fmla="*/ 18 w 227"/>
                <a:gd name="T21" fmla="*/ 65 h 211"/>
                <a:gd name="T22" fmla="*/ 3 w 227"/>
                <a:gd name="T23" fmla="*/ 67 h 211"/>
                <a:gd name="T24" fmla="*/ 3 w 227"/>
                <a:gd name="T25" fmla="*/ 66 h 211"/>
                <a:gd name="T26" fmla="*/ 3 w 227"/>
                <a:gd name="T27" fmla="*/ 66 h 211"/>
                <a:gd name="T28" fmla="*/ 4 w 227"/>
                <a:gd name="T29" fmla="*/ 77 h 211"/>
                <a:gd name="T30" fmla="*/ 17 w 227"/>
                <a:gd name="T31" fmla="*/ 102 h 211"/>
                <a:gd name="T32" fmla="*/ 30 w 227"/>
                <a:gd name="T33" fmla="*/ 77 h 211"/>
                <a:gd name="T34" fmla="*/ 51 w 227"/>
                <a:gd name="T35" fmla="*/ 92 h 211"/>
                <a:gd name="T36" fmla="*/ 64 w 227"/>
                <a:gd name="T37" fmla="*/ 115 h 211"/>
                <a:gd name="T38" fmla="*/ 53 w 227"/>
                <a:gd name="T39" fmla="*/ 108 h 211"/>
                <a:gd name="T40" fmla="*/ 65 w 227"/>
                <a:gd name="T41" fmla="*/ 124 h 211"/>
                <a:gd name="T42" fmla="*/ 73 w 227"/>
                <a:gd name="T43" fmla="*/ 138 h 211"/>
                <a:gd name="T44" fmla="*/ 72 w 227"/>
                <a:gd name="T45" fmla="*/ 145 h 211"/>
                <a:gd name="T46" fmla="*/ 58 w 227"/>
                <a:gd name="T47" fmla="*/ 130 h 211"/>
                <a:gd name="T48" fmla="*/ 61 w 227"/>
                <a:gd name="T49" fmla="*/ 136 h 211"/>
                <a:gd name="T50" fmla="*/ 76 w 227"/>
                <a:gd name="T51" fmla="*/ 153 h 211"/>
                <a:gd name="T52" fmla="*/ 74 w 227"/>
                <a:gd name="T53" fmla="*/ 146 h 211"/>
                <a:gd name="T54" fmla="*/ 89 w 227"/>
                <a:gd name="T55" fmla="*/ 156 h 211"/>
                <a:gd name="T56" fmla="*/ 99 w 227"/>
                <a:gd name="T57" fmla="*/ 157 h 211"/>
                <a:gd name="T58" fmla="*/ 126 w 227"/>
                <a:gd name="T59" fmla="*/ 164 h 211"/>
                <a:gd name="T60" fmla="*/ 160 w 227"/>
                <a:gd name="T61" fmla="*/ 187 h 211"/>
                <a:gd name="T62" fmla="*/ 140 w 227"/>
                <a:gd name="T63" fmla="*/ 190 h 211"/>
                <a:gd name="T64" fmla="*/ 184 w 227"/>
                <a:gd name="T65" fmla="*/ 200 h 211"/>
                <a:gd name="T66" fmla="*/ 171 w 227"/>
                <a:gd name="T67" fmla="*/ 185 h 211"/>
                <a:gd name="T68" fmla="*/ 153 w 227"/>
                <a:gd name="T69" fmla="*/ 162 h 211"/>
                <a:gd name="T70" fmla="*/ 118 w 227"/>
                <a:gd name="T71" fmla="*/ 135 h 211"/>
                <a:gd name="T72" fmla="*/ 100 w 227"/>
                <a:gd name="T73" fmla="*/ 105 h 211"/>
                <a:gd name="T74" fmla="*/ 88 w 227"/>
                <a:gd name="T75" fmla="*/ 76 h 211"/>
                <a:gd name="T76" fmla="*/ 121 w 227"/>
                <a:gd name="T77" fmla="*/ 70 h 211"/>
                <a:gd name="T78" fmla="*/ 160 w 227"/>
                <a:gd name="T79" fmla="*/ 71 h 211"/>
                <a:gd name="T80" fmla="*/ 189 w 227"/>
                <a:gd name="T81" fmla="*/ 70 h 211"/>
                <a:gd name="T82" fmla="*/ 179 w 227"/>
                <a:gd name="T83" fmla="*/ 190 h 211"/>
                <a:gd name="T84" fmla="*/ 192 w 227"/>
                <a:gd name="T85" fmla="*/ 201 h 211"/>
                <a:gd name="T86" fmla="*/ 159 w 227"/>
                <a:gd name="T87" fmla="*/ 195 h 211"/>
                <a:gd name="T88" fmla="*/ 144 w 227"/>
                <a:gd name="T89" fmla="*/ 199 h 211"/>
                <a:gd name="T90" fmla="*/ 115 w 227"/>
                <a:gd name="T91" fmla="*/ 191 h 211"/>
                <a:gd name="T92" fmla="*/ 136 w 227"/>
                <a:gd name="T93" fmla="*/ 178 h 211"/>
                <a:gd name="T94" fmla="*/ 144 w 227"/>
                <a:gd name="T95" fmla="*/ 180 h 211"/>
                <a:gd name="T96" fmla="*/ 123 w 227"/>
                <a:gd name="T97" fmla="*/ 178 h 211"/>
                <a:gd name="T98" fmla="*/ 129 w 227"/>
                <a:gd name="T99" fmla="*/ 168 h 211"/>
                <a:gd name="T100" fmla="*/ 51 w 227"/>
                <a:gd name="T101" fmla="*/ 93 h 211"/>
                <a:gd name="T102" fmla="*/ 50 w 227"/>
                <a:gd name="T103" fmla="*/ 97 h 211"/>
                <a:gd name="T104" fmla="*/ 60 w 227"/>
                <a:gd name="T105" fmla="*/ 119 h 211"/>
                <a:gd name="T106" fmla="*/ 53 w 227"/>
                <a:gd name="T107" fmla="*/ 121 h 211"/>
                <a:gd name="T108" fmla="*/ 35 w 227"/>
                <a:gd name="T109" fmla="*/ 119 h 211"/>
                <a:gd name="T110" fmla="*/ 36 w 227"/>
                <a:gd name="T111" fmla="*/ 91 h 211"/>
                <a:gd name="T112" fmla="*/ 40 w 227"/>
                <a:gd name="T113" fmla="*/ 103 h 211"/>
                <a:gd name="T114" fmla="*/ 45 w 227"/>
                <a:gd name="T115" fmla="*/ 120 h 211"/>
                <a:gd name="T116" fmla="*/ 37 w 227"/>
                <a:gd name="T117" fmla="*/ 107 h 211"/>
                <a:gd name="T118" fmla="*/ 34 w 227"/>
                <a:gd name="T119" fmla="*/ 90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27" h="211">
                  <a:moveTo>
                    <a:pt x="215" y="82"/>
                  </a:moveTo>
                  <a:cubicBezTo>
                    <a:pt x="215" y="80"/>
                    <a:pt x="214" y="79"/>
                    <a:pt x="216" y="78"/>
                  </a:cubicBezTo>
                  <a:cubicBezTo>
                    <a:pt x="217" y="78"/>
                    <a:pt x="218" y="80"/>
                    <a:pt x="218" y="78"/>
                  </a:cubicBezTo>
                  <a:cubicBezTo>
                    <a:pt x="218" y="76"/>
                    <a:pt x="219" y="77"/>
                    <a:pt x="218" y="75"/>
                  </a:cubicBezTo>
                  <a:cubicBezTo>
                    <a:pt x="218" y="75"/>
                    <a:pt x="218" y="75"/>
                    <a:pt x="218" y="75"/>
                  </a:cubicBezTo>
                  <a:cubicBezTo>
                    <a:pt x="218" y="75"/>
                    <a:pt x="218" y="75"/>
                    <a:pt x="218" y="75"/>
                  </a:cubicBezTo>
                  <a:cubicBezTo>
                    <a:pt x="218" y="75"/>
                    <a:pt x="218" y="77"/>
                    <a:pt x="217" y="77"/>
                  </a:cubicBezTo>
                  <a:cubicBezTo>
                    <a:pt x="217" y="77"/>
                    <a:pt x="216" y="78"/>
                    <a:pt x="215" y="78"/>
                  </a:cubicBezTo>
                  <a:cubicBezTo>
                    <a:pt x="214" y="77"/>
                    <a:pt x="214" y="77"/>
                    <a:pt x="214" y="77"/>
                  </a:cubicBezTo>
                  <a:cubicBezTo>
                    <a:pt x="216" y="75"/>
                    <a:pt x="216" y="75"/>
                    <a:pt x="216" y="75"/>
                  </a:cubicBezTo>
                  <a:cubicBezTo>
                    <a:pt x="216" y="71"/>
                    <a:pt x="216" y="71"/>
                    <a:pt x="216" y="71"/>
                  </a:cubicBezTo>
                  <a:cubicBezTo>
                    <a:pt x="216" y="71"/>
                    <a:pt x="215" y="69"/>
                    <a:pt x="214" y="67"/>
                  </a:cubicBezTo>
                  <a:cubicBezTo>
                    <a:pt x="213" y="66"/>
                    <a:pt x="212" y="65"/>
                    <a:pt x="212" y="65"/>
                  </a:cubicBezTo>
                  <a:cubicBezTo>
                    <a:pt x="215" y="63"/>
                    <a:pt x="215" y="63"/>
                    <a:pt x="215" y="63"/>
                  </a:cubicBezTo>
                  <a:cubicBezTo>
                    <a:pt x="216" y="62"/>
                    <a:pt x="216" y="62"/>
                    <a:pt x="216" y="62"/>
                  </a:cubicBezTo>
                  <a:cubicBezTo>
                    <a:pt x="216" y="61"/>
                    <a:pt x="216" y="61"/>
                    <a:pt x="216" y="61"/>
                  </a:cubicBezTo>
                  <a:cubicBezTo>
                    <a:pt x="216" y="61"/>
                    <a:pt x="218" y="63"/>
                    <a:pt x="220" y="63"/>
                  </a:cubicBezTo>
                  <a:cubicBezTo>
                    <a:pt x="221" y="63"/>
                    <a:pt x="220" y="63"/>
                    <a:pt x="222" y="62"/>
                  </a:cubicBezTo>
                  <a:cubicBezTo>
                    <a:pt x="224" y="62"/>
                    <a:pt x="227" y="59"/>
                    <a:pt x="227" y="59"/>
                  </a:cubicBezTo>
                  <a:cubicBezTo>
                    <a:pt x="227" y="59"/>
                    <a:pt x="225" y="57"/>
                    <a:pt x="224" y="57"/>
                  </a:cubicBezTo>
                  <a:cubicBezTo>
                    <a:pt x="223" y="58"/>
                    <a:pt x="224" y="58"/>
                    <a:pt x="221" y="58"/>
                  </a:cubicBezTo>
                  <a:cubicBezTo>
                    <a:pt x="218" y="57"/>
                    <a:pt x="217" y="56"/>
                    <a:pt x="217" y="56"/>
                  </a:cubicBezTo>
                  <a:cubicBezTo>
                    <a:pt x="217" y="56"/>
                    <a:pt x="216" y="56"/>
                    <a:pt x="215" y="56"/>
                  </a:cubicBezTo>
                  <a:cubicBezTo>
                    <a:pt x="214" y="56"/>
                    <a:pt x="214" y="56"/>
                    <a:pt x="213" y="55"/>
                  </a:cubicBezTo>
                  <a:cubicBezTo>
                    <a:pt x="211" y="53"/>
                    <a:pt x="209" y="51"/>
                    <a:pt x="209" y="51"/>
                  </a:cubicBezTo>
                  <a:cubicBezTo>
                    <a:pt x="209" y="51"/>
                    <a:pt x="207" y="52"/>
                    <a:pt x="207" y="51"/>
                  </a:cubicBezTo>
                  <a:cubicBezTo>
                    <a:pt x="207" y="51"/>
                    <a:pt x="208" y="49"/>
                    <a:pt x="208" y="49"/>
                  </a:cubicBezTo>
                  <a:cubicBezTo>
                    <a:pt x="208" y="48"/>
                    <a:pt x="208" y="48"/>
                    <a:pt x="208" y="48"/>
                  </a:cubicBezTo>
                  <a:cubicBezTo>
                    <a:pt x="207" y="47"/>
                    <a:pt x="207" y="47"/>
                    <a:pt x="207" y="47"/>
                  </a:cubicBezTo>
                  <a:cubicBezTo>
                    <a:pt x="207" y="47"/>
                    <a:pt x="209" y="47"/>
                    <a:pt x="209" y="47"/>
                  </a:cubicBezTo>
                  <a:cubicBezTo>
                    <a:pt x="210" y="46"/>
                    <a:pt x="210" y="46"/>
                    <a:pt x="210" y="46"/>
                  </a:cubicBezTo>
                  <a:cubicBezTo>
                    <a:pt x="212" y="44"/>
                    <a:pt x="210" y="42"/>
                    <a:pt x="207" y="43"/>
                  </a:cubicBezTo>
                  <a:cubicBezTo>
                    <a:pt x="206" y="43"/>
                    <a:pt x="205" y="44"/>
                    <a:pt x="205" y="44"/>
                  </a:cubicBezTo>
                  <a:cubicBezTo>
                    <a:pt x="204" y="44"/>
                    <a:pt x="202" y="43"/>
                    <a:pt x="202" y="42"/>
                  </a:cubicBezTo>
                  <a:cubicBezTo>
                    <a:pt x="202" y="41"/>
                    <a:pt x="201" y="41"/>
                    <a:pt x="203" y="40"/>
                  </a:cubicBezTo>
                  <a:cubicBezTo>
                    <a:pt x="204" y="40"/>
                    <a:pt x="205" y="38"/>
                    <a:pt x="205" y="38"/>
                  </a:cubicBezTo>
                  <a:cubicBezTo>
                    <a:pt x="203" y="35"/>
                    <a:pt x="203" y="35"/>
                    <a:pt x="203" y="35"/>
                  </a:cubicBezTo>
                  <a:cubicBezTo>
                    <a:pt x="204" y="29"/>
                    <a:pt x="204" y="29"/>
                    <a:pt x="204" y="29"/>
                  </a:cubicBezTo>
                  <a:cubicBezTo>
                    <a:pt x="200" y="28"/>
                    <a:pt x="200" y="28"/>
                    <a:pt x="200" y="28"/>
                  </a:cubicBezTo>
                  <a:cubicBezTo>
                    <a:pt x="200" y="26"/>
                    <a:pt x="200" y="26"/>
                    <a:pt x="200" y="26"/>
                  </a:cubicBezTo>
                  <a:cubicBezTo>
                    <a:pt x="198" y="25"/>
                    <a:pt x="198" y="25"/>
                    <a:pt x="198" y="25"/>
                  </a:cubicBezTo>
                  <a:cubicBezTo>
                    <a:pt x="196" y="30"/>
                    <a:pt x="196" y="30"/>
                    <a:pt x="196" y="30"/>
                  </a:cubicBezTo>
                  <a:cubicBezTo>
                    <a:pt x="196" y="30"/>
                    <a:pt x="193" y="31"/>
                    <a:pt x="193" y="32"/>
                  </a:cubicBezTo>
                  <a:cubicBezTo>
                    <a:pt x="192" y="33"/>
                    <a:pt x="187" y="33"/>
                    <a:pt x="187" y="33"/>
                  </a:cubicBezTo>
                  <a:cubicBezTo>
                    <a:pt x="183" y="33"/>
                    <a:pt x="183" y="33"/>
                    <a:pt x="183" y="33"/>
                  </a:cubicBezTo>
                  <a:cubicBezTo>
                    <a:pt x="176" y="35"/>
                    <a:pt x="176" y="35"/>
                    <a:pt x="176" y="35"/>
                  </a:cubicBezTo>
                  <a:cubicBezTo>
                    <a:pt x="176" y="35"/>
                    <a:pt x="174" y="36"/>
                    <a:pt x="173" y="36"/>
                  </a:cubicBezTo>
                  <a:cubicBezTo>
                    <a:pt x="172" y="36"/>
                    <a:pt x="167" y="35"/>
                    <a:pt x="167" y="35"/>
                  </a:cubicBezTo>
                  <a:cubicBezTo>
                    <a:pt x="164" y="36"/>
                    <a:pt x="164" y="36"/>
                    <a:pt x="164" y="36"/>
                  </a:cubicBezTo>
                  <a:cubicBezTo>
                    <a:pt x="157" y="34"/>
                    <a:pt x="157" y="34"/>
                    <a:pt x="157" y="34"/>
                  </a:cubicBezTo>
                  <a:cubicBezTo>
                    <a:pt x="155" y="32"/>
                    <a:pt x="155" y="32"/>
                    <a:pt x="155" y="32"/>
                  </a:cubicBezTo>
                  <a:cubicBezTo>
                    <a:pt x="154" y="31"/>
                    <a:pt x="154" y="31"/>
                    <a:pt x="154" y="31"/>
                  </a:cubicBezTo>
                  <a:cubicBezTo>
                    <a:pt x="149" y="30"/>
                    <a:pt x="149" y="30"/>
                    <a:pt x="149" y="30"/>
                  </a:cubicBezTo>
                  <a:cubicBezTo>
                    <a:pt x="148" y="28"/>
                    <a:pt x="148" y="28"/>
                    <a:pt x="148" y="28"/>
                  </a:cubicBezTo>
                  <a:cubicBezTo>
                    <a:pt x="144" y="28"/>
                    <a:pt x="144" y="28"/>
                    <a:pt x="144" y="28"/>
                  </a:cubicBezTo>
                  <a:cubicBezTo>
                    <a:pt x="144" y="28"/>
                    <a:pt x="144" y="28"/>
                    <a:pt x="144" y="28"/>
                  </a:cubicBezTo>
                  <a:cubicBezTo>
                    <a:pt x="144" y="28"/>
                    <a:pt x="144" y="28"/>
                    <a:pt x="144" y="28"/>
                  </a:cubicBezTo>
                  <a:cubicBezTo>
                    <a:pt x="142" y="27"/>
                    <a:pt x="142" y="27"/>
                    <a:pt x="142" y="27"/>
                  </a:cubicBezTo>
                  <a:cubicBezTo>
                    <a:pt x="142" y="26"/>
                    <a:pt x="142" y="26"/>
                    <a:pt x="142" y="26"/>
                  </a:cubicBezTo>
                  <a:cubicBezTo>
                    <a:pt x="141" y="26"/>
                    <a:pt x="141" y="26"/>
                    <a:pt x="141" y="25"/>
                  </a:cubicBezTo>
                  <a:cubicBezTo>
                    <a:pt x="140" y="24"/>
                    <a:pt x="140" y="24"/>
                    <a:pt x="140" y="24"/>
                  </a:cubicBezTo>
                  <a:cubicBezTo>
                    <a:pt x="135" y="18"/>
                    <a:pt x="135" y="18"/>
                    <a:pt x="135" y="18"/>
                  </a:cubicBezTo>
                  <a:cubicBezTo>
                    <a:pt x="134" y="18"/>
                    <a:pt x="134" y="18"/>
                    <a:pt x="134" y="18"/>
                  </a:cubicBezTo>
                  <a:cubicBezTo>
                    <a:pt x="134" y="18"/>
                    <a:pt x="134" y="18"/>
                    <a:pt x="134" y="18"/>
                  </a:cubicBezTo>
                  <a:cubicBezTo>
                    <a:pt x="125" y="15"/>
                    <a:pt x="125" y="15"/>
                    <a:pt x="125" y="15"/>
                  </a:cubicBezTo>
                  <a:cubicBezTo>
                    <a:pt x="122" y="11"/>
                    <a:pt x="122" y="11"/>
                    <a:pt x="122" y="11"/>
                  </a:cubicBezTo>
                  <a:cubicBezTo>
                    <a:pt x="119" y="9"/>
                    <a:pt x="119" y="9"/>
                    <a:pt x="119" y="9"/>
                  </a:cubicBezTo>
                  <a:cubicBezTo>
                    <a:pt x="115" y="6"/>
                    <a:pt x="115" y="6"/>
                    <a:pt x="115" y="6"/>
                  </a:cubicBezTo>
                  <a:cubicBezTo>
                    <a:pt x="111" y="3"/>
                    <a:pt x="111" y="3"/>
                    <a:pt x="111" y="3"/>
                  </a:cubicBezTo>
                  <a:cubicBezTo>
                    <a:pt x="109" y="1"/>
                    <a:pt x="109" y="1"/>
                    <a:pt x="109" y="1"/>
                  </a:cubicBezTo>
                  <a:cubicBezTo>
                    <a:pt x="109" y="1"/>
                    <a:pt x="109" y="1"/>
                    <a:pt x="109" y="1"/>
                  </a:cubicBezTo>
                  <a:cubicBezTo>
                    <a:pt x="109" y="1"/>
                    <a:pt x="108" y="0"/>
                    <a:pt x="108" y="0"/>
                  </a:cubicBezTo>
                  <a:cubicBezTo>
                    <a:pt x="108" y="0"/>
                    <a:pt x="107" y="0"/>
                    <a:pt x="107" y="0"/>
                  </a:cubicBezTo>
                  <a:cubicBezTo>
                    <a:pt x="106" y="0"/>
                    <a:pt x="104" y="0"/>
                    <a:pt x="104" y="0"/>
                  </a:cubicBezTo>
                  <a:cubicBezTo>
                    <a:pt x="104" y="0"/>
                    <a:pt x="103" y="1"/>
                    <a:pt x="102" y="1"/>
                  </a:cubicBezTo>
                  <a:cubicBezTo>
                    <a:pt x="102" y="1"/>
                    <a:pt x="101" y="3"/>
                    <a:pt x="101" y="3"/>
                  </a:cubicBezTo>
                  <a:cubicBezTo>
                    <a:pt x="100" y="4"/>
                    <a:pt x="100" y="4"/>
                    <a:pt x="100" y="4"/>
                  </a:cubicBezTo>
                  <a:cubicBezTo>
                    <a:pt x="101" y="5"/>
                    <a:pt x="101" y="5"/>
                    <a:pt x="101" y="5"/>
                  </a:cubicBezTo>
                  <a:cubicBezTo>
                    <a:pt x="103" y="9"/>
                    <a:pt x="104" y="9"/>
                    <a:pt x="99" y="8"/>
                  </a:cubicBezTo>
                  <a:cubicBezTo>
                    <a:pt x="97" y="7"/>
                    <a:pt x="97" y="7"/>
                    <a:pt x="97" y="7"/>
                  </a:cubicBezTo>
                  <a:cubicBezTo>
                    <a:pt x="96" y="8"/>
                    <a:pt x="96" y="8"/>
                    <a:pt x="96" y="8"/>
                  </a:cubicBezTo>
                  <a:cubicBezTo>
                    <a:pt x="94" y="9"/>
                    <a:pt x="94" y="9"/>
                    <a:pt x="94" y="9"/>
                  </a:cubicBezTo>
                  <a:cubicBezTo>
                    <a:pt x="94" y="9"/>
                    <a:pt x="94" y="9"/>
                    <a:pt x="94" y="9"/>
                  </a:cubicBezTo>
                  <a:cubicBezTo>
                    <a:pt x="94" y="9"/>
                    <a:pt x="94" y="11"/>
                    <a:pt x="94" y="11"/>
                  </a:cubicBezTo>
                  <a:cubicBezTo>
                    <a:pt x="93" y="13"/>
                    <a:pt x="93" y="13"/>
                    <a:pt x="93" y="13"/>
                  </a:cubicBezTo>
                  <a:cubicBezTo>
                    <a:pt x="91" y="14"/>
                    <a:pt x="91" y="14"/>
                    <a:pt x="91" y="14"/>
                  </a:cubicBezTo>
                  <a:cubicBezTo>
                    <a:pt x="89" y="15"/>
                    <a:pt x="89" y="15"/>
                    <a:pt x="89" y="15"/>
                  </a:cubicBezTo>
                  <a:cubicBezTo>
                    <a:pt x="88" y="16"/>
                    <a:pt x="88" y="16"/>
                    <a:pt x="88" y="16"/>
                  </a:cubicBezTo>
                  <a:cubicBezTo>
                    <a:pt x="86" y="16"/>
                    <a:pt x="86" y="16"/>
                    <a:pt x="86" y="16"/>
                  </a:cubicBezTo>
                  <a:cubicBezTo>
                    <a:pt x="84" y="17"/>
                    <a:pt x="84" y="17"/>
                    <a:pt x="84" y="17"/>
                  </a:cubicBezTo>
                  <a:cubicBezTo>
                    <a:pt x="83" y="19"/>
                    <a:pt x="83" y="19"/>
                    <a:pt x="83" y="19"/>
                  </a:cubicBezTo>
                  <a:cubicBezTo>
                    <a:pt x="83" y="19"/>
                    <a:pt x="81" y="19"/>
                    <a:pt x="81" y="19"/>
                  </a:cubicBezTo>
                  <a:cubicBezTo>
                    <a:pt x="81" y="19"/>
                    <a:pt x="78" y="20"/>
                    <a:pt x="78" y="20"/>
                  </a:cubicBezTo>
                  <a:cubicBezTo>
                    <a:pt x="78" y="22"/>
                    <a:pt x="78" y="22"/>
                    <a:pt x="78" y="22"/>
                  </a:cubicBezTo>
                  <a:cubicBezTo>
                    <a:pt x="78" y="22"/>
                    <a:pt x="77" y="23"/>
                    <a:pt x="77" y="23"/>
                  </a:cubicBezTo>
                  <a:cubicBezTo>
                    <a:pt x="77" y="23"/>
                    <a:pt x="77" y="26"/>
                    <a:pt x="77" y="26"/>
                  </a:cubicBezTo>
                  <a:cubicBezTo>
                    <a:pt x="77" y="26"/>
                    <a:pt x="79" y="27"/>
                    <a:pt x="79" y="27"/>
                  </a:cubicBezTo>
                  <a:cubicBezTo>
                    <a:pt x="80" y="28"/>
                    <a:pt x="80" y="28"/>
                    <a:pt x="80" y="28"/>
                  </a:cubicBezTo>
                  <a:cubicBezTo>
                    <a:pt x="81" y="29"/>
                    <a:pt x="81" y="29"/>
                    <a:pt x="81" y="29"/>
                  </a:cubicBezTo>
                  <a:cubicBezTo>
                    <a:pt x="81" y="29"/>
                    <a:pt x="82" y="30"/>
                    <a:pt x="82" y="30"/>
                  </a:cubicBezTo>
                  <a:cubicBezTo>
                    <a:pt x="81" y="30"/>
                    <a:pt x="81" y="33"/>
                    <a:pt x="81" y="33"/>
                  </a:cubicBezTo>
                  <a:cubicBezTo>
                    <a:pt x="82" y="36"/>
                    <a:pt x="82" y="36"/>
                    <a:pt x="82" y="36"/>
                  </a:cubicBezTo>
                  <a:cubicBezTo>
                    <a:pt x="81" y="37"/>
                    <a:pt x="81" y="37"/>
                    <a:pt x="81" y="37"/>
                  </a:cubicBezTo>
                  <a:cubicBezTo>
                    <a:pt x="82" y="39"/>
                    <a:pt x="82" y="39"/>
                    <a:pt x="82" y="39"/>
                  </a:cubicBezTo>
                  <a:cubicBezTo>
                    <a:pt x="82" y="39"/>
                    <a:pt x="83" y="39"/>
                    <a:pt x="82" y="40"/>
                  </a:cubicBezTo>
                  <a:cubicBezTo>
                    <a:pt x="81" y="40"/>
                    <a:pt x="80" y="41"/>
                    <a:pt x="80" y="41"/>
                  </a:cubicBezTo>
                  <a:cubicBezTo>
                    <a:pt x="80" y="41"/>
                    <a:pt x="78" y="41"/>
                    <a:pt x="78" y="41"/>
                  </a:cubicBezTo>
                  <a:cubicBezTo>
                    <a:pt x="78" y="41"/>
                    <a:pt x="76" y="41"/>
                    <a:pt x="76" y="41"/>
                  </a:cubicBezTo>
                  <a:cubicBezTo>
                    <a:pt x="75" y="43"/>
                    <a:pt x="75" y="43"/>
                    <a:pt x="75" y="43"/>
                  </a:cubicBezTo>
                  <a:cubicBezTo>
                    <a:pt x="73" y="42"/>
                    <a:pt x="73" y="42"/>
                    <a:pt x="73" y="42"/>
                  </a:cubicBezTo>
                  <a:cubicBezTo>
                    <a:pt x="73" y="44"/>
                    <a:pt x="73" y="44"/>
                    <a:pt x="73" y="44"/>
                  </a:cubicBezTo>
                  <a:cubicBezTo>
                    <a:pt x="70" y="45"/>
                    <a:pt x="70" y="45"/>
                    <a:pt x="70" y="45"/>
                  </a:cubicBezTo>
                  <a:cubicBezTo>
                    <a:pt x="68" y="46"/>
                    <a:pt x="68" y="46"/>
                    <a:pt x="68" y="46"/>
                  </a:cubicBezTo>
                  <a:cubicBezTo>
                    <a:pt x="67" y="48"/>
                    <a:pt x="67" y="48"/>
                    <a:pt x="67" y="48"/>
                  </a:cubicBezTo>
                  <a:cubicBezTo>
                    <a:pt x="68" y="49"/>
                    <a:pt x="68" y="49"/>
                    <a:pt x="68" y="49"/>
                  </a:cubicBezTo>
                  <a:cubicBezTo>
                    <a:pt x="68" y="49"/>
                    <a:pt x="69" y="50"/>
                    <a:pt x="69" y="49"/>
                  </a:cubicBezTo>
                  <a:cubicBezTo>
                    <a:pt x="69" y="49"/>
                    <a:pt x="69" y="48"/>
                    <a:pt x="69" y="48"/>
                  </a:cubicBezTo>
                  <a:cubicBezTo>
                    <a:pt x="70" y="49"/>
                    <a:pt x="71" y="50"/>
                    <a:pt x="71" y="50"/>
                  </a:cubicBezTo>
                  <a:cubicBezTo>
                    <a:pt x="72" y="52"/>
                    <a:pt x="72" y="52"/>
                    <a:pt x="72" y="52"/>
                  </a:cubicBezTo>
                  <a:cubicBezTo>
                    <a:pt x="72" y="52"/>
                    <a:pt x="70" y="52"/>
                    <a:pt x="70" y="52"/>
                  </a:cubicBezTo>
                  <a:cubicBezTo>
                    <a:pt x="70" y="52"/>
                    <a:pt x="69" y="53"/>
                    <a:pt x="69" y="53"/>
                  </a:cubicBezTo>
                  <a:cubicBezTo>
                    <a:pt x="68" y="54"/>
                    <a:pt x="68" y="54"/>
                    <a:pt x="68" y="54"/>
                  </a:cubicBezTo>
                  <a:cubicBezTo>
                    <a:pt x="68" y="55"/>
                    <a:pt x="68" y="55"/>
                    <a:pt x="68" y="56"/>
                  </a:cubicBezTo>
                  <a:cubicBezTo>
                    <a:pt x="68" y="56"/>
                    <a:pt x="68" y="57"/>
                    <a:pt x="68" y="57"/>
                  </a:cubicBezTo>
                  <a:cubicBezTo>
                    <a:pt x="69" y="57"/>
                    <a:pt x="70" y="59"/>
                    <a:pt x="70" y="59"/>
                  </a:cubicBezTo>
                  <a:cubicBezTo>
                    <a:pt x="70" y="59"/>
                    <a:pt x="71" y="60"/>
                    <a:pt x="71" y="60"/>
                  </a:cubicBezTo>
                  <a:cubicBezTo>
                    <a:pt x="71" y="60"/>
                    <a:pt x="71" y="61"/>
                    <a:pt x="71" y="61"/>
                  </a:cubicBezTo>
                  <a:cubicBezTo>
                    <a:pt x="71" y="61"/>
                    <a:pt x="70" y="62"/>
                    <a:pt x="69" y="62"/>
                  </a:cubicBezTo>
                  <a:cubicBezTo>
                    <a:pt x="69" y="62"/>
                    <a:pt x="67" y="62"/>
                    <a:pt x="67" y="62"/>
                  </a:cubicBezTo>
                  <a:cubicBezTo>
                    <a:pt x="67" y="62"/>
                    <a:pt x="66" y="64"/>
                    <a:pt x="66" y="64"/>
                  </a:cubicBezTo>
                  <a:cubicBezTo>
                    <a:pt x="66" y="64"/>
                    <a:pt x="65" y="64"/>
                    <a:pt x="64" y="64"/>
                  </a:cubicBezTo>
                  <a:cubicBezTo>
                    <a:pt x="64" y="64"/>
                    <a:pt x="66" y="65"/>
                    <a:pt x="64" y="64"/>
                  </a:cubicBezTo>
                  <a:cubicBezTo>
                    <a:pt x="61" y="63"/>
                    <a:pt x="61" y="62"/>
                    <a:pt x="61" y="62"/>
                  </a:cubicBezTo>
                  <a:cubicBezTo>
                    <a:pt x="61" y="62"/>
                    <a:pt x="60" y="61"/>
                    <a:pt x="60" y="61"/>
                  </a:cubicBezTo>
                  <a:cubicBezTo>
                    <a:pt x="59" y="61"/>
                    <a:pt x="58" y="61"/>
                    <a:pt x="58" y="61"/>
                  </a:cubicBezTo>
                  <a:cubicBezTo>
                    <a:pt x="56" y="61"/>
                    <a:pt x="56" y="61"/>
                    <a:pt x="56" y="61"/>
                  </a:cubicBezTo>
                  <a:cubicBezTo>
                    <a:pt x="55" y="60"/>
                    <a:pt x="55" y="60"/>
                    <a:pt x="55" y="60"/>
                  </a:cubicBezTo>
                  <a:cubicBezTo>
                    <a:pt x="54" y="62"/>
                    <a:pt x="54" y="62"/>
                    <a:pt x="54" y="62"/>
                  </a:cubicBezTo>
                  <a:cubicBezTo>
                    <a:pt x="54" y="62"/>
                    <a:pt x="54" y="63"/>
                    <a:pt x="53" y="63"/>
                  </a:cubicBezTo>
                  <a:cubicBezTo>
                    <a:pt x="52" y="64"/>
                    <a:pt x="53" y="64"/>
                    <a:pt x="52" y="64"/>
                  </a:cubicBezTo>
                  <a:cubicBezTo>
                    <a:pt x="50" y="64"/>
                    <a:pt x="49" y="62"/>
                    <a:pt x="49" y="62"/>
                  </a:cubicBezTo>
                  <a:cubicBezTo>
                    <a:pt x="49" y="62"/>
                    <a:pt x="47" y="61"/>
                    <a:pt x="47" y="61"/>
                  </a:cubicBezTo>
                  <a:cubicBezTo>
                    <a:pt x="46" y="60"/>
                    <a:pt x="46" y="60"/>
                    <a:pt x="46" y="60"/>
                  </a:cubicBezTo>
                  <a:cubicBezTo>
                    <a:pt x="45" y="60"/>
                    <a:pt x="45" y="61"/>
                    <a:pt x="45" y="59"/>
                  </a:cubicBezTo>
                  <a:cubicBezTo>
                    <a:pt x="45" y="58"/>
                    <a:pt x="45" y="58"/>
                    <a:pt x="45" y="58"/>
                  </a:cubicBezTo>
                  <a:cubicBezTo>
                    <a:pt x="44" y="57"/>
                    <a:pt x="44" y="58"/>
                    <a:pt x="43" y="57"/>
                  </a:cubicBezTo>
                  <a:cubicBezTo>
                    <a:pt x="43" y="56"/>
                    <a:pt x="42" y="55"/>
                    <a:pt x="42" y="55"/>
                  </a:cubicBezTo>
                  <a:cubicBezTo>
                    <a:pt x="41" y="53"/>
                    <a:pt x="41" y="53"/>
                    <a:pt x="41" y="53"/>
                  </a:cubicBezTo>
                  <a:cubicBezTo>
                    <a:pt x="41" y="53"/>
                    <a:pt x="41" y="53"/>
                    <a:pt x="41" y="54"/>
                  </a:cubicBezTo>
                  <a:cubicBezTo>
                    <a:pt x="40" y="55"/>
                    <a:pt x="39" y="55"/>
                    <a:pt x="39" y="55"/>
                  </a:cubicBezTo>
                  <a:cubicBezTo>
                    <a:pt x="39" y="56"/>
                    <a:pt x="38" y="57"/>
                    <a:pt x="38" y="57"/>
                  </a:cubicBezTo>
                  <a:cubicBezTo>
                    <a:pt x="38" y="57"/>
                    <a:pt x="37" y="58"/>
                    <a:pt x="37" y="59"/>
                  </a:cubicBezTo>
                  <a:cubicBezTo>
                    <a:pt x="38" y="59"/>
                    <a:pt x="38" y="59"/>
                    <a:pt x="38" y="60"/>
                  </a:cubicBezTo>
                  <a:cubicBezTo>
                    <a:pt x="38" y="60"/>
                    <a:pt x="37" y="61"/>
                    <a:pt x="37" y="61"/>
                  </a:cubicBezTo>
                  <a:cubicBezTo>
                    <a:pt x="36" y="62"/>
                    <a:pt x="36" y="62"/>
                    <a:pt x="35" y="62"/>
                  </a:cubicBezTo>
                  <a:cubicBezTo>
                    <a:pt x="35" y="63"/>
                    <a:pt x="33" y="64"/>
                    <a:pt x="33" y="64"/>
                  </a:cubicBezTo>
                  <a:cubicBezTo>
                    <a:pt x="31" y="64"/>
                    <a:pt x="31" y="64"/>
                    <a:pt x="31" y="64"/>
                  </a:cubicBezTo>
                  <a:cubicBezTo>
                    <a:pt x="28" y="63"/>
                    <a:pt x="28" y="63"/>
                    <a:pt x="28" y="63"/>
                  </a:cubicBezTo>
                  <a:cubicBezTo>
                    <a:pt x="26" y="65"/>
                    <a:pt x="26" y="65"/>
                    <a:pt x="26" y="65"/>
                  </a:cubicBezTo>
                  <a:cubicBezTo>
                    <a:pt x="26" y="65"/>
                    <a:pt x="25" y="65"/>
                    <a:pt x="25" y="65"/>
                  </a:cubicBezTo>
                  <a:cubicBezTo>
                    <a:pt x="24" y="65"/>
                    <a:pt x="23" y="65"/>
                    <a:pt x="23" y="65"/>
                  </a:cubicBezTo>
                  <a:cubicBezTo>
                    <a:pt x="23" y="65"/>
                    <a:pt x="22" y="64"/>
                    <a:pt x="21" y="64"/>
                  </a:cubicBezTo>
                  <a:cubicBezTo>
                    <a:pt x="21" y="64"/>
                    <a:pt x="20" y="64"/>
                    <a:pt x="20" y="64"/>
                  </a:cubicBezTo>
                  <a:cubicBezTo>
                    <a:pt x="19" y="64"/>
                    <a:pt x="18" y="64"/>
                    <a:pt x="18" y="64"/>
                  </a:cubicBezTo>
                  <a:cubicBezTo>
                    <a:pt x="18" y="65"/>
                    <a:pt x="18" y="65"/>
                    <a:pt x="18" y="65"/>
                  </a:cubicBezTo>
                  <a:cubicBezTo>
                    <a:pt x="18" y="65"/>
                    <a:pt x="19" y="65"/>
                    <a:pt x="19" y="65"/>
                  </a:cubicBezTo>
                  <a:cubicBezTo>
                    <a:pt x="19" y="66"/>
                    <a:pt x="19" y="67"/>
                    <a:pt x="19" y="67"/>
                  </a:cubicBezTo>
                  <a:cubicBezTo>
                    <a:pt x="19" y="67"/>
                    <a:pt x="18" y="67"/>
                    <a:pt x="18" y="67"/>
                  </a:cubicBezTo>
                  <a:cubicBezTo>
                    <a:pt x="18" y="68"/>
                    <a:pt x="16" y="68"/>
                    <a:pt x="16" y="68"/>
                  </a:cubicBezTo>
                  <a:cubicBezTo>
                    <a:pt x="16" y="68"/>
                    <a:pt x="16" y="69"/>
                    <a:pt x="16" y="69"/>
                  </a:cubicBezTo>
                  <a:cubicBezTo>
                    <a:pt x="16" y="69"/>
                    <a:pt x="16" y="69"/>
                    <a:pt x="15" y="69"/>
                  </a:cubicBezTo>
                  <a:cubicBezTo>
                    <a:pt x="14" y="69"/>
                    <a:pt x="14" y="69"/>
                    <a:pt x="13" y="69"/>
                  </a:cubicBezTo>
                  <a:cubicBezTo>
                    <a:pt x="13" y="68"/>
                    <a:pt x="12" y="68"/>
                    <a:pt x="11" y="68"/>
                  </a:cubicBezTo>
                  <a:cubicBezTo>
                    <a:pt x="11" y="68"/>
                    <a:pt x="8" y="67"/>
                    <a:pt x="8" y="67"/>
                  </a:cubicBezTo>
                  <a:cubicBezTo>
                    <a:pt x="8" y="67"/>
                    <a:pt x="7" y="68"/>
                    <a:pt x="7" y="68"/>
                  </a:cubicBezTo>
                  <a:cubicBezTo>
                    <a:pt x="6" y="68"/>
                    <a:pt x="5" y="68"/>
                    <a:pt x="4" y="67"/>
                  </a:cubicBezTo>
                  <a:cubicBezTo>
                    <a:pt x="4" y="67"/>
                    <a:pt x="3" y="67"/>
                    <a:pt x="3" y="67"/>
                  </a:cubicBezTo>
                  <a:cubicBezTo>
                    <a:pt x="3" y="67"/>
                    <a:pt x="3" y="67"/>
                    <a:pt x="3" y="67"/>
                  </a:cubicBezTo>
                  <a:cubicBezTo>
                    <a:pt x="3" y="67"/>
                    <a:pt x="3" y="67"/>
                    <a:pt x="3" y="67"/>
                  </a:cubicBezTo>
                  <a:cubicBezTo>
                    <a:pt x="3" y="67"/>
                    <a:pt x="3" y="67"/>
                    <a:pt x="3" y="67"/>
                  </a:cubicBezTo>
                  <a:cubicBezTo>
                    <a:pt x="3" y="67"/>
                    <a:pt x="3" y="67"/>
                    <a:pt x="3" y="67"/>
                  </a:cubicBezTo>
                  <a:cubicBezTo>
                    <a:pt x="3" y="67"/>
                    <a:pt x="3" y="67"/>
                    <a:pt x="3" y="67"/>
                  </a:cubicBezTo>
                  <a:cubicBezTo>
                    <a:pt x="3" y="67"/>
                    <a:pt x="3" y="67"/>
                    <a:pt x="3" y="67"/>
                  </a:cubicBezTo>
                  <a:cubicBezTo>
                    <a:pt x="3" y="67"/>
                    <a:pt x="3" y="67"/>
                    <a:pt x="3" y="67"/>
                  </a:cubicBezTo>
                  <a:cubicBezTo>
                    <a:pt x="3" y="67"/>
                    <a:pt x="3" y="67"/>
                    <a:pt x="3" y="67"/>
                  </a:cubicBezTo>
                  <a:cubicBezTo>
                    <a:pt x="3" y="67"/>
                    <a:pt x="3" y="67"/>
                    <a:pt x="3" y="67"/>
                  </a:cubicBezTo>
                  <a:cubicBezTo>
                    <a:pt x="3" y="67"/>
                    <a:pt x="3" y="67"/>
                    <a:pt x="3" y="67"/>
                  </a:cubicBezTo>
                  <a:cubicBezTo>
                    <a:pt x="3" y="67"/>
                    <a:pt x="3" y="67"/>
                    <a:pt x="3" y="67"/>
                  </a:cubicBezTo>
                  <a:cubicBezTo>
                    <a:pt x="3" y="67"/>
                    <a:pt x="3" y="67"/>
                    <a:pt x="3" y="67"/>
                  </a:cubicBezTo>
                  <a:cubicBezTo>
                    <a:pt x="3" y="67"/>
                    <a:pt x="3" y="67"/>
                    <a:pt x="3" y="67"/>
                  </a:cubicBezTo>
                  <a:cubicBezTo>
                    <a:pt x="3" y="66"/>
                    <a:pt x="3" y="66"/>
                    <a:pt x="3" y="66"/>
                  </a:cubicBezTo>
                  <a:cubicBezTo>
                    <a:pt x="3" y="66"/>
                    <a:pt x="3" y="66"/>
                    <a:pt x="3" y="66"/>
                  </a:cubicBezTo>
                  <a:cubicBezTo>
                    <a:pt x="3" y="66"/>
                    <a:pt x="3" y="66"/>
                    <a:pt x="3" y="66"/>
                  </a:cubicBezTo>
                  <a:cubicBezTo>
                    <a:pt x="3" y="66"/>
                    <a:pt x="3" y="66"/>
                    <a:pt x="3" y="66"/>
                  </a:cubicBezTo>
                  <a:cubicBezTo>
                    <a:pt x="3" y="66"/>
                    <a:pt x="3" y="66"/>
                    <a:pt x="3" y="66"/>
                  </a:cubicBezTo>
                  <a:cubicBezTo>
                    <a:pt x="3" y="66"/>
                    <a:pt x="3" y="66"/>
                    <a:pt x="3" y="66"/>
                  </a:cubicBezTo>
                  <a:cubicBezTo>
                    <a:pt x="3" y="66"/>
                    <a:pt x="3" y="66"/>
                    <a:pt x="3" y="66"/>
                  </a:cubicBezTo>
                  <a:cubicBezTo>
                    <a:pt x="3" y="66"/>
                    <a:pt x="3" y="66"/>
                    <a:pt x="3" y="66"/>
                  </a:cubicBezTo>
                  <a:cubicBezTo>
                    <a:pt x="3" y="66"/>
                    <a:pt x="3" y="66"/>
                    <a:pt x="3" y="66"/>
                  </a:cubicBezTo>
                  <a:cubicBezTo>
                    <a:pt x="3" y="66"/>
                    <a:pt x="3" y="66"/>
                    <a:pt x="3" y="66"/>
                  </a:cubicBezTo>
                  <a:cubicBezTo>
                    <a:pt x="3" y="66"/>
                    <a:pt x="3" y="66"/>
                    <a:pt x="3" y="66"/>
                  </a:cubicBezTo>
                  <a:cubicBezTo>
                    <a:pt x="3" y="66"/>
                    <a:pt x="3" y="66"/>
                    <a:pt x="3" y="66"/>
                  </a:cubicBezTo>
                  <a:cubicBezTo>
                    <a:pt x="3" y="66"/>
                    <a:pt x="3" y="66"/>
                    <a:pt x="3" y="66"/>
                  </a:cubicBezTo>
                  <a:cubicBezTo>
                    <a:pt x="3" y="66"/>
                    <a:pt x="3" y="66"/>
                    <a:pt x="3" y="66"/>
                  </a:cubicBezTo>
                  <a:cubicBezTo>
                    <a:pt x="3" y="66"/>
                    <a:pt x="3" y="66"/>
                    <a:pt x="3" y="66"/>
                  </a:cubicBezTo>
                  <a:cubicBezTo>
                    <a:pt x="3" y="66"/>
                    <a:pt x="3" y="66"/>
                    <a:pt x="3" y="66"/>
                  </a:cubicBezTo>
                  <a:cubicBezTo>
                    <a:pt x="3" y="66"/>
                    <a:pt x="3" y="66"/>
                    <a:pt x="3" y="66"/>
                  </a:cubicBezTo>
                  <a:cubicBezTo>
                    <a:pt x="3" y="66"/>
                    <a:pt x="3" y="66"/>
                    <a:pt x="3" y="66"/>
                  </a:cubicBezTo>
                  <a:cubicBezTo>
                    <a:pt x="3" y="66"/>
                    <a:pt x="3" y="66"/>
                    <a:pt x="3" y="66"/>
                  </a:cubicBezTo>
                  <a:cubicBezTo>
                    <a:pt x="3" y="66"/>
                    <a:pt x="3" y="66"/>
                    <a:pt x="3" y="66"/>
                  </a:cubicBezTo>
                  <a:cubicBezTo>
                    <a:pt x="3" y="66"/>
                    <a:pt x="3" y="66"/>
                    <a:pt x="3" y="66"/>
                  </a:cubicBezTo>
                  <a:cubicBezTo>
                    <a:pt x="3" y="66"/>
                    <a:pt x="3" y="66"/>
                    <a:pt x="3" y="66"/>
                  </a:cubicBezTo>
                  <a:cubicBezTo>
                    <a:pt x="3" y="66"/>
                    <a:pt x="3" y="66"/>
                    <a:pt x="3" y="66"/>
                  </a:cubicBezTo>
                  <a:cubicBezTo>
                    <a:pt x="3" y="66"/>
                    <a:pt x="3" y="66"/>
                    <a:pt x="3" y="66"/>
                  </a:cubicBezTo>
                  <a:cubicBezTo>
                    <a:pt x="3" y="66"/>
                    <a:pt x="3" y="66"/>
                    <a:pt x="3" y="66"/>
                  </a:cubicBezTo>
                  <a:cubicBezTo>
                    <a:pt x="3" y="66"/>
                    <a:pt x="3" y="66"/>
                    <a:pt x="3" y="66"/>
                  </a:cubicBezTo>
                  <a:cubicBezTo>
                    <a:pt x="3" y="66"/>
                    <a:pt x="3" y="66"/>
                    <a:pt x="3" y="66"/>
                  </a:cubicBezTo>
                  <a:cubicBezTo>
                    <a:pt x="3" y="65"/>
                    <a:pt x="3" y="65"/>
                    <a:pt x="3" y="65"/>
                  </a:cubicBezTo>
                  <a:cubicBezTo>
                    <a:pt x="0" y="67"/>
                    <a:pt x="0" y="67"/>
                    <a:pt x="0" y="67"/>
                  </a:cubicBezTo>
                  <a:cubicBezTo>
                    <a:pt x="2" y="71"/>
                    <a:pt x="2" y="71"/>
                    <a:pt x="2" y="71"/>
                  </a:cubicBezTo>
                  <a:cubicBezTo>
                    <a:pt x="1" y="72"/>
                    <a:pt x="1" y="72"/>
                    <a:pt x="1" y="72"/>
                  </a:cubicBezTo>
                  <a:cubicBezTo>
                    <a:pt x="1" y="72"/>
                    <a:pt x="2" y="73"/>
                    <a:pt x="2" y="73"/>
                  </a:cubicBezTo>
                  <a:cubicBezTo>
                    <a:pt x="2" y="74"/>
                    <a:pt x="3" y="74"/>
                    <a:pt x="3" y="75"/>
                  </a:cubicBezTo>
                  <a:cubicBezTo>
                    <a:pt x="3" y="76"/>
                    <a:pt x="3" y="77"/>
                    <a:pt x="3" y="77"/>
                  </a:cubicBezTo>
                  <a:cubicBezTo>
                    <a:pt x="4" y="77"/>
                    <a:pt x="4" y="77"/>
                    <a:pt x="4" y="77"/>
                  </a:cubicBezTo>
                  <a:cubicBezTo>
                    <a:pt x="5" y="79"/>
                    <a:pt x="5" y="79"/>
                    <a:pt x="5" y="79"/>
                  </a:cubicBezTo>
                  <a:cubicBezTo>
                    <a:pt x="5" y="80"/>
                    <a:pt x="5" y="80"/>
                    <a:pt x="5" y="80"/>
                  </a:cubicBezTo>
                  <a:cubicBezTo>
                    <a:pt x="5" y="82"/>
                    <a:pt x="5" y="82"/>
                    <a:pt x="5" y="82"/>
                  </a:cubicBezTo>
                  <a:cubicBezTo>
                    <a:pt x="5" y="82"/>
                    <a:pt x="6" y="83"/>
                    <a:pt x="6" y="84"/>
                  </a:cubicBezTo>
                  <a:cubicBezTo>
                    <a:pt x="6" y="84"/>
                    <a:pt x="6" y="85"/>
                    <a:pt x="6" y="86"/>
                  </a:cubicBezTo>
                  <a:cubicBezTo>
                    <a:pt x="6" y="86"/>
                    <a:pt x="8" y="88"/>
                    <a:pt x="8" y="88"/>
                  </a:cubicBezTo>
                  <a:cubicBezTo>
                    <a:pt x="8" y="90"/>
                    <a:pt x="8" y="90"/>
                    <a:pt x="8" y="90"/>
                  </a:cubicBezTo>
                  <a:cubicBezTo>
                    <a:pt x="8" y="90"/>
                    <a:pt x="9" y="91"/>
                    <a:pt x="10" y="92"/>
                  </a:cubicBezTo>
                  <a:cubicBezTo>
                    <a:pt x="10" y="92"/>
                    <a:pt x="11" y="93"/>
                    <a:pt x="11" y="93"/>
                  </a:cubicBezTo>
                  <a:cubicBezTo>
                    <a:pt x="12" y="95"/>
                    <a:pt x="12" y="95"/>
                    <a:pt x="12" y="95"/>
                  </a:cubicBezTo>
                  <a:cubicBezTo>
                    <a:pt x="13" y="97"/>
                    <a:pt x="13" y="97"/>
                    <a:pt x="13" y="97"/>
                  </a:cubicBezTo>
                  <a:cubicBezTo>
                    <a:pt x="14" y="98"/>
                    <a:pt x="14" y="98"/>
                    <a:pt x="14" y="98"/>
                  </a:cubicBezTo>
                  <a:cubicBezTo>
                    <a:pt x="15" y="100"/>
                    <a:pt x="15" y="100"/>
                    <a:pt x="15" y="100"/>
                  </a:cubicBezTo>
                  <a:cubicBezTo>
                    <a:pt x="16" y="101"/>
                    <a:pt x="16" y="101"/>
                    <a:pt x="16" y="101"/>
                  </a:cubicBezTo>
                  <a:cubicBezTo>
                    <a:pt x="17" y="102"/>
                    <a:pt x="17" y="102"/>
                    <a:pt x="17" y="102"/>
                  </a:cubicBezTo>
                  <a:cubicBezTo>
                    <a:pt x="17" y="102"/>
                    <a:pt x="17" y="103"/>
                    <a:pt x="18" y="103"/>
                  </a:cubicBezTo>
                  <a:cubicBezTo>
                    <a:pt x="19" y="103"/>
                    <a:pt x="20" y="103"/>
                    <a:pt x="20" y="103"/>
                  </a:cubicBezTo>
                  <a:cubicBezTo>
                    <a:pt x="21" y="103"/>
                    <a:pt x="21" y="104"/>
                    <a:pt x="22" y="101"/>
                  </a:cubicBezTo>
                  <a:cubicBezTo>
                    <a:pt x="22" y="99"/>
                    <a:pt x="22" y="98"/>
                    <a:pt x="22" y="98"/>
                  </a:cubicBezTo>
                  <a:cubicBezTo>
                    <a:pt x="22" y="98"/>
                    <a:pt x="23" y="98"/>
                    <a:pt x="23" y="97"/>
                  </a:cubicBezTo>
                  <a:cubicBezTo>
                    <a:pt x="24" y="97"/>
                    <a:pt x="25" y="97"/>
                    <a:pt x="25" y="96"/>
                  </a:cubicBezTo>
                  <a:cubicBezTo>
                    <a:pt x="25" y="94"/>
                    <a:pt x="23" y="93"/>
                    <a:pt x="23" y="93"/>
                  </a:cubicBezTo>
                  <a:cubicBezTo>
                    <a:pt x="23" y="93"/>
                    <a:pt x="25" y="92"/>
                    <a:pt x="26" y="93"/>
                  </a:cubicBezTo>
                  <a:cubicBezTo>
                    <a:pt x="26" y="94"/>
                    <a:pt x="26" y="95"/>
                    <a:pt x="27" y="94"/>
                  </a:cubicBezTo>
                  <a:cubicBezTo>
                    <a:pt x="28" y="92"/>
                    <a:pt x="28" y="92"/>
                    <a:pt x="28" y="92"/>
                  </a:cubicBezTo>
                  <a:cubicBezTo>
                    <a:pt x="27" y="91"/>
                    <a:pt x="27" y="90"/>
                    <a:pt x="27" y="89"/>
                  </a:cubicBezTo>
                  <a:cubicBezTo>
                    <a:pt x="27" y="89"/>
                    <a:pt x="28" y="88"/>
                    <a:pt x="28" y="87"/>
                  </a:cubicBezTo>
                  <a:cubicBezTo>
                    <a:pt x="29" y="86"/>
                    <a:pt x="29" y="85"/>
                    <a:pt x="29" y="84"/>
                  </a:cubicBezTo>
                  <a:cubicBezTo>
                    <a:pt x="29" y="82"/>
                    <a:pt x="29" y="83"/>
                    <a:pt x="30" y="81"/>
                  </a:cubicBezTo>
                  <a:cubicBezTo>
                    <a:pt x="30" y="80"/>
                    <a:pt x="30" y="81"/>
                    <a:pt x="30" y="77"/>
                  </a:cubicBezTo>
                  <a:cubicBezTo>
                    <a:pt x="31" y="74"/>
                    <a:pt x="31" y="73"/>
                    <a:pt x="32" y="73"/>
                  </a:cubicBezTo>
                  <a:cubicBezTo>
                    <a:pt x="32" y="73"/>
                    <a:pt x="40" y="76"/>
                    <a:pt x="40" y="76"/>
                  </a:cubicBezTo>
                  <a:cubicBezTo>
                    <a:pt x="40" y="76"/>
                    <a:pt x="41" y="78"/>
                    <a:pt x="41" y="78"/>
                  </a:cubicBezTo>
                  <a:cubicBezTo>
                    <a:pt x="41" y="79"/>
                    <a:pt x="41" y="80"/>
                    <a:pt x="41" y="80"/>
                  </a:cubicBezTo>
                  <a:cubicBezTo>
                    <a:pt x="41" y="81"/>
                    <a:pt x="40" y="83"/>
                    <a:pt x="40" y="83"/>
                  </a:cubicBezTo>
                  <a:cubicBezTo>
                    <a:pt x="40" y="84"/>
                    <a:pt x="40" y="84"/>
                    <a:pt x="40" y="84"/>
                  </a:cubicBezTo>
                  <a:cubicBezTo>
                    <a:pt x="40" y="84"/>
                    <a:pt x="38" y="84"/>
                    <a:pt x="38" y="86"/>
                  </a:cubicBezTo>
                  <a:cubicBezTo>
                    <a:pt x="37" y="87"/>
                    <a:pt x="37" y="87"/>
                    <a:pt x="38" y="88"/>
                  </a:cubicBezTo>
                  <a:cubicBezTo>
                    <a:pt x="39" y="89"/>
                    <a:pt x="40" y="90"/>
                    <a:pt x="40" y="90"/>
                  </a:cubicBezTo>
                  <a:cubicBezTo>
                    <a:pt x="41" y="90"/>
                    <a:pt x="42" y="89"/>
                    <a:pt x="43" y="89"/>
                  </a:cubicBezTo>
                  <a:cubicBezTo>
                    <a:pt x="43" y="89"/>
                    <a:pt x="44" y="89"/>
                    <a:pt x="44" y="89"/>
                  </a:cubicBezTo>
                  <a:cubicBezTo>
                    <a:pt x="44" y="90"/>
                    <a:pt x="44" y="91"/>
                    <a:pt x="45" y="92"/>
                  </a:cubicBezTo>
                  <a:cubicBezTo>
                    <a:pt x="46" y="92"/>
                    <a:pt x="47" y="93"/>
                    <a:pt x="47" y="93"/>
                  </a:cubicBezTo>
                  <a:cubicBezTo>
                    <a:pt x="48" y="93"/>
                    <a:pt x="49" y="93"/>
                    <a:pt x="49" y="93"/>
                  </a:cubicBezTo>
                  <a:cubicBezTo>
                    <a:pt x="49" y="93"/>
                    <a:pt x="50" y="92"/>
                    <a:pt x="51" y="92"/>
                  </a:cubicBezTo>
                  <a:cubicBezTo>
                    <a:pt x="51" y="92"/>
                    <a:pt x="54" y="95"/>
                    <a:pt x="52" y="91"/>
                  </a:cubicBezTo>
                  <a:cubicBezTo>
                    <a:pt x="49" y="88"/>
                    <a:pt x="49" y="88"/>
                    <a:pt x="49" y="87"/>
                  </a:cubicBezTo>
                  <a:cubicBezTo>
                    <a:pt x="48" y="87"/>
                    <a:pt x="47" y="86"/>
                    <a:pt x="47" y="86"/>
                  </a:cubicBezTo>
                  <a:cubicBezTo>
                    <a:pt x="46" y="86"/>
                    <a:pt x="46" y="86"/>
                    <a:pt x="46" y="86"/>
                  </a:cubicBezTo>
                  <a:cubicBezTo>
                    <a:pt x="46" y="86"/>
                    <a:pt x="46" y="85"/>
                    <a:pt x="46" y="84"/>
                  </a:cubicBezTo>
                  <a:cubicBezTo>
                    <a:pt x="47" y="83"/>
                    <a:pt x="47" y="83"/>
                    <a:pt x="48" y="83"/>
                  </a:cubicBezTo>
                  <a:cubicBezTo>
                    <a:pt x="49" y="83"/>
                    <a:pt x="49" y="82"/>
                    <a:pt x="51" y="84"/>
                  </a:cubicBezTo>
                  <a:cubicBezTo>
                    <a:pt x="52" y="85"/>
                    <a:pt x="52" y="85"/>
                    <a:pt x="52" y="86"/>
                  </a:cubicBezTo>
                  <a:cubicBezTo>
                    <a:pt x="53" y="88"/>
                    <a:pt x="54" y="89"/>
                    <a:pt x="55" y="90"/>
                  </a:cubicBezTo>
                  <a:cubicBezTo>
                    <a:pt x="55" y="90"/>
                    <a:pt x="56" y="90"/>
                    <a:pt x="56" y="92"/>
                  </a:cubicBezTo>
                  <a:cubicBezTo>
                    <a:pt x="56" y="94"/>
                    <a:pt x="56" y="96"/>
                    <a:pt x="56" y="97"/>
                  </a:cubicBezTo>
                  <a:cubicBezTo>
                    <a:pt x="56" y="97"/>
                    <a:pt x="56" y="101"/>
                    <a:pt x="56" y="101"/>
                  </a:cubicBezTo>
                  <a:cubicBezTo>
                    <a:pt x="56" y="101"/>
                    <a:pt x="56" y="103"/>
                    <a:pt x="56" y="104"/>
                  </a:cubicBezTo>
                  <a:cubicBezTo>
                    <a:pt x="56" y="105"/>
                    <a:pt x="61" y="112"/>
                    <a:pt x="61" y="112"/>
                  </a:cubicBezTo>
                  <a:cubicBezTo>
                    <a:pt x="61" y="112"/>
                    <a:pt x="63" y="115"/>
                    <a:pt x="64" y="115"/>
                  </a:cubicBezTo>
                  <a:cubicBezTo>
                    <a:pt x="64" y="115"/>
                    <a:pt x="65" y="118"/>
                    <a:pt x="66" y="119"/>
                  </a:cubicBezTo>
                  <a:cubicBezTo>
                    <a:pt x="68" y="119"/>
                    <a:pt x="72" y="121"/>
                    <a:pt x="72" y="121"/>
                  </a:cubicBezTo>
                  <a:cubicBezTo>
                    <a:pt x="79" y="125"/>
                    <a:pt x="79" y="125"/>
                    <a:pt x="79" y="125"/>
                  </a:cubicBezTo>
                  <a:cubicBezTo>
                    <a:pt x="79" y="125"/>
                    <a:pt x="81" y="128"/>
                    <a:pt x="82" y="128"/>
                  </a:cubicBezTo>
                  <a:cubicBezTo>
                    <a:pt x="82" y="128"/>
                    <a:pt x="87" y="128"/>
                    <a:pt x="83" y="128"/>
                  </a:cubicBezTo>
                  <a:cubicBezTo>
                    <a:pt x="80" y="128"/>
                    <a:pt x="76" y="126"/>
                    <a:pt x="76" y="126"/>
                  </a:cubicBezTo>
                  <a:cubicBezTo>
                    <a:pt x="76" y="126"/>
                    <a:pt x="75" y="124"/>
                    <a:pt x="75" y="124"/>
                  </a:cubicBezTo>
                  <a:cubicBezTo>
                    <a:pt x="74" y="124"/>
                    <a:pt x="70" y="123"/>
                    <a:pt x="69" y="122"/>
                  </a:cubicBezTo>
                  <a:cubicBezTo>
                    <a:pt x="69" y="122"/>
                    <a:pt x="68" y="121"/>
                    <a:pt x="67" y="120"/>
                  </a:cubicBezTo>
                  <a:cubicBezTo>
                    <a:pt x="66" y="118"/>
                    <a:pt x="64" y="117"/>
                    <a:pt x="64" y="117"/>
                  </a:cubicBezTo>
                  <a:cubicBezTo>
                    <a:pt x="64" y="117"/>
                    <a:pt x="63" y="116"/>
                    <a:pt x="62" y="114"/>
                  </a:cubicBezTo>
                  <a:cubicBezTo>
                    <a:pt x="61" y="113"/>
                    <a:pt x="61" y="113"/>
                    <a:pt x="61" y="112"/>
                  </a:cubicBezTo>
                  <a:cubicBezTo>
                    <a:pt x="60" y="112"/>
                    <a:pt x="61" y="112"/>
                    <a:pt x="59" y="111"/>
                  </a:cubicBezTo>
                  <a:cubicBezTo>
                    <a:pt x="57" y="110"/>
                    <a:pt x="56" y="109"/>
                    <a:pt x="56" y="109"/>
                  </a:cubicBezTo>
                  <a:cubicBezTo>
                    <a:pt x="55" y="109"/>
                    <a:pt x="53" y="108"/>
                    <a:pt x="53" y="108"/>
                  </a:cubicBezTo>
                  <a:cubicBezTo>
                    <a:pt x="53" y="108"/>
                    <a:pt x="51" y="106"/>
                    <a:pt x="51" y="106"/>
                  </a:cubicBezTo>
                  <a:cubicBezTo>
                    <a:pt x="51" y="106"/>
                    <a:pt x="50" y="108"/>
                    <a:pt x="52" y="109"/>
                  </a:cubicBezTo>
                  <a:cubicBezTo>
                    <a:pt x="53" y="109"/>
                    <a:pt x="55" y="111"/>
                    <a:pt x="55" y="111"/>
                  </a:cubicBezTo>
                  <a:cubicBezTo>
                    <a:pt x="55" y="111"/>
                    <a:pt x="57" y="112"/>
                    <a:pt x="57" y="112"/>
                  </a:cubicBezTo>
                  <a:cubicBezTo>
                    <a:pt x="57" y="112"/>
                    <a:pt x="57" y="114"/>
                    <a:pt x="57" y="114"/>
                  </a:cubicBezTo>
                  <a:cubicBezTo>
                    <a:pt x="57" y="114"/>
                    <a:pt x="54" y="113"/>
                    <a:pt x="57" y="114"/>
                  </a:cubicBezTo>
                  <a:cubicBezTo>
                    <a:pt x="59" y="115"/>
                    <a:pt x="61" y="115"/>
                    <a:pt x="61" y="115"/>
                  </a:cubicBezTo>
                  <a:cubicBezTo>
                    <a:pt x="61" y="115"/>
                    <a:pt x="59" y="116"/>
                    <a:pt x="58" y="116"/>
                  </a:cubicBezTo>
                  <a:cubicBezTo>
                    <a:pt x="58" y="117"/>
                    <a:pt x="60" y="120"/>
                    <a:pt x="60" y="119"/>
                  </a:cubicBezTo>
                  <a:cubicBezTo>
                    <a:pt x="61" y="119"/>
                    <a:pt x="62" y="120"/>
                    <a:pt x="63" y="120"/>
                  </a:cubicBezTo>
                  <a:cubicBezTo>
                    <a:pt x="63" y="120"/>
                    <a:pt x="65" y="120"/>
                    <a:pt x="65" y="121"/>
                  </a:cubicBezTo>
                  <a:cubicBezTo>
                    <a:pt x="66" y="121"/>
                    <a:pt x="66" y="121"/>
                    <a:pt x="66" y="122"/>
                  </a:cubicBezTo>
                  <a:cubicBezTo>
                    <a:pt x="65" y="122"/>
                    <a:pt x="66" y="124"/>
                    <a:pt x="66" y="124"/>
                  </a:cubicBezTo>
                  <a:cubicBezTo>
                    <a:pt x="68" y="125"/>
                    <a:pt x="68" y="125"/>
                    <a:pt x="68" y="125"/>
                  </a:cubicBezTo>
                  <a:cubicBezTo>
                    <a:pt x="68" y="125"/>
                    <a:pt x="65" y="125"/>
                    <a:pt x="65" y="124"/>
                  </a:cubicBezTo>
                  <a:cubicBezTo>
                    <a:pt x="64" y="124"/>
                    <a:pt x="64" y="123"/>
                    <a:pt x="63" y="124"/>
                  </a:cubicBezTo>
                  <a:cubicBezTo>
                    <a:pt x="62" y="125"/>
                    <a:pt x="62" y="125"/>
                    <a:pt x="62" y="126"/>
                  </a:cubicBezTo>
                  <a:cubicBezTo>
                    <a:pt x="63" y="127"/>
                    <a:pt x="64" y="128"/>
                    <a:pt x="65" y="127"/>
                  </a:cubicBezTo>
                  <a:cubicBezTo>
                    <a:pt x="65" y="127"/>
                    <a:pt x="65" y="127"/>
                    <a:pt x="66" y="126"/>
                  </a:cubicBezTo>
                  <a:cubicBezTo>
                    <a:pt x="66" y="126"/>
                    <a:pt x="66" y="126"/>
                    <a:pt x="67" y="126"/>
                  </a:cubicBezTo>
                  <a:cubicBezTo>
                    <a:pt x="67" y="126"/>
                    <a:pt x="68" y="126"/>
                    <a:pt x="68" y="126"/>
                  </a:cubicBezTo>
                  <a:cubicBezTo>
                    <a:pt x="69" y="125"/>
                    <a:pt x="69" y="125"/>
                    <a:pt x="69" y="125"/>
                  </a:cubicBezTo>
                  <a:cubicBezTo>
                    <a:pt x="69" y="125"/>
                    <a:pt x="69" y="125"/>
                    <a:pt x="69" y="126"/>
                  </a:cubicBezTo>
                  <a:cubicBezTo>
                    <a:pt x="69" y="126"/>
                    <a:pt x="70" y="126"/>
                    <a:pt x="69" y="127"/>
                  </a:cubicBezTo>
                  <a:cubicBezTo>
                    <a:pt x="69" y="128"/>
                    <a:pt x="68" y="128"/>
                    <a:pt x="68" y="128"/>
                  </a:cubicBezTo>
                  <a:cubicBezTo>
                    <a:pt x="68" y="129"/>
                    <a:pt x="67" y="128"/>
                    <a:pt x="68" y="130"/>
                  </a:cubicBezTo>
                  <a:cubicBezTo>
                    <a:pt x="68" y="131"/>
                    <a:pt x="68" y="132"/>
                    <a:pt x="68" y="132"/>
                  </a:cubicBezTo>
                  <a:cubicBezTo>
                    <a:pt x="68" y="132"/>
                    <a:pt x="69" y="132"/>
                    <a:pt x="69" y="132"/>
                  </a:cubicBezTo>
                  <a:cubicBezTo>
                    <a:pt x="70" y="133"/>
                    <a:pt x="70" y="134"/>
                    <a:pt x="70" y="135"/>
                  </a:cubicBezTo>
                  <a:cubicBezTo>
                    <a:pt x="71" y="135"/>
                    <a:pt x="73" y="138"/>
                    <a:pt x="73" y="138"/>
                  </a:cubicBezTo>
                  <a:cubicBezTo>
                    <a:pt x="73" y="138"/>
                    <a:pt x="76" y="140"/>
                    <a:pt x="76" y="140"/>
                  </a:cubicBezTo>
                  <a:cubicBezTo>
                    <a:pt x="76" y="140"/>
                    <a:pt x="77" y="141"/>
                    <a:pt x="77" y="141"/>
                  </a:cubicBezTo>
                  <a:cubicBezTo>
                    <a:pt x="77" y="141"/>
                    <a:pt x="77" y="142"/>
                    <a:pt x="76" y="141"/>
                  </a:cubicBezTo>
                  <a:cubicBezTo>
                    <a:pt x="75" y="140"/>
                    <a:pt x="73" y="139"/>
                    <a:pt x="73" y="139"/>
                  </a:cubicBezTo>
                  <a:cubicBezTo>
                    <a:pt x="73" y="141"/>
                    <a:pt x="73" y="141"/>
                    <a:pt x="73" y="141"/>
                  </a:cubicBezTo>
                  <a:cubicBezTo>
                    <a:pt x="73" y="141"/>
                    <a:pt x="74" y="142"/>
                    <a:pt x="75" y="142"/>
                  </a:cubicBezTo>
                  <a:cubicBezTo>
                    <a:pt x="75" y="143"/>
                    <a:pt x="75" y="143"/>
                    <a:pt x="76" y="144"/>
                  </a:cubicBezTo>
                  <a:cubicBezTo>
                    <a:pt x="77" y="144"/>
                    <a:pt x="78" y="144"/>
                    <a:pt x="79" y="144"/>
                  </a:cubicBezTo>
                  <a:cubicBezTo>
                    <a:pt x="79" y="145"/>
                    <a:pt x="79" y="143"/>
                    <a:pt x="79" y="143"/>
                  </a:cubicBezTo>
                  <a:cubicBezTo>
                    <a:pt x="79" y="143"/>
                    <a:pt x="80" y="143"/>
                    <a:pt x="80" y="143"/>
                  </a:cubicBezTo>
                  <a:cubicBezTo>
                    <a:pt x="80" y="144"/>
                    <a:pt x="81" y="145"/>
                    <a:pt x="80" y="146"/>
                  </a:cubicBezTo>
                  <a:cubicBezTo>
                    <a:pt x="80" y="146"/>
                    <a:pt x="80" y="147"/>
                    <a:pt x="79" y="146"/>
                  </a:cubicBezTo>
                  <a:cubicBezTo>
                    <a:pt x="78" y="146"/>
                    <a:pt x="77" y="145"/>
                    <a:pt x="76" y="145"/>
                  </a:cubicBezTo>
                  <a:cubicBezTo>
                    <a:pt x="76" y="145"/>
                    <a:pt x="75" y="144"/>
                    <a:pt x="74" y="145"/>
                  </a:cubicBezTo>
                  <a:cubicBezTo>
                    <a:pt x="74" y="145"/>
                    <a:pt x="72" y="144"/>
                    <a:pt x="72" y="145"/>
                  </a:cubicBezTo>
                  <a:cubicBezTo>
                    <a:pt x="72" y="146"/>
                    <a:pt x="72" y="147"/>
                    <a:pt x="72" y="147"/>
                  </a:cubicBezTo>
                  <a:cubicBezTo>
                    <a:pt x="72" y="147"/>
                    <a:pt x="71" y="143"/>
                    <a:pt x="70" y="143"/>
                  </a:cubicBezTo>
                  <a:cubicBezTo>
                    <a:pt x="69" y="143"/>
                    <a:pt x="67" y="142"/>
                    <a:pt x="67" y="142"/>
                  </a:cubicBezTo>
                  <a:cubicBezTo>
                    <a:pt x="66" y="140"/>
                    <a:pt x="66" y="140"/>
                    <a:pt x="66" y="140"/>
                  </a:cubicBezTo>
                  <a:cubicBezTo>
                    <a:pt x="66" y="140"/>
                    <a:pt x="67" y="140"/>
                    <a:pt x="67" y="140"/>
                  </a:cubicBezTo>
                  <a:cubicBezTo>
                    <a:pt x="68" y="141"/>
                    <a:pt x="67" y="141"/>
                    <a:pt x="68" y="141"/>
                  </a:cubicBezTo>
                  <a:cubicBezTo>
                    <a:pt x="69" y="141"/>
                    <a:pt x="67" y="139"/>
                    <a:pt x="69" y="139"/>
                  </a:cubicBezTo>
                  <a:cubicBezTo>
                    <a:pt x="71" y="139"/>
                    <a:pt x="71" y="139"/>
                    <a:pt x="71" y="139"/>
                  </a:cubicBezTo>
                  <a:cubicBezTo>
                    <a:pt x="71" y="138"/>
                    <a:pt x="73" y="138"/>
                    <a:pt x="71" y="137"/>
                  </a:cubicBezTo>
                  <a:cubicBezTo>
                    <a:pt x="69" y="136"/>
                    <a:pt x="69" y="136"/>
                    <a:pt x="69" y="136"/>
                  </a:cubicBezTo>
                  <a:cubicBezTo>
                    <a:pt x="68" y="136"/>
                    <a:pt x="68" y="136"/>
                    <a:pt x="68" y="135"/>
                  </a:cubicBezTo>
                  <a:cubicBezTo>
                    <a:pt x="67" y="134"/>
                    <a:pt x="67" y="133"/>
                    <a:pt x="66" y="133"/>
                  </a:cubicBezTo>
                  <a:cubicBezTo>
                    <a:pt x="66" y="133"/>
                    <a:pt x="63" y="133"/>
                    <a:pt x="63" y="133"/>
                  </a:cubicBezTo>
                  <a:cubicBezTo>
                    <a:pt x="63" y="133"/>
                    <a:pt x="62" y="132"/>
                    <a:pt x="61" y="132"/>
                  </a:cubicBezTo>
                  <a:cubicBezTo>
                    <a:pt x="60" y="132"/>
                    <a:pt x="58" y="130"/>
                    <a:pt x="58" y="130"/>
                  </a:cubicBezTo>
                  <a:cubicBezTo>
                    <a:pt x="57" y="129"/>
                    <a:pt x="54" y="128"/>
                    <a:pt x="54" y="128"/>
                  </a:cubicBezTo>
                  <a:cubicBezTo>
                    <a:pt x="54" y="128"/>
                    <a:pt x="53" y="127"/>
                    <a:pt x="52" y="127"/>
                  </a:cubicBezTo>
                  <a:cubicBezTo>
                    <a:pt x="51" y="127"/>
                    <a:pt x="51" y="127"/>
                    <a:pt x="50" y="127"/>
                  </a:cubicBezTo>
                  <a:cubicBezTo>
                    <a:pt x="49" y="126"/>
                    <a:pt x="48" y="125"/>
                    <a:pt x="48" y="125"/>
                  </a:cubicBezTo>
                  <a:cubicBezTo>
                    <a:pt x="47" y="124"/>
                    <a:pt x="46" y="124"/>
                    <a:pt x="46" y="124"/>
                  </a:cubicBezTo>
                  <a:cubicBezTo>
                    <a:pt x="47" y="125"/>
                    <a:pt x="46" y="125"/>
                    <a:pt x="48" y="126"/>
                  </a:cubicBezTo>
                  <a:cubicBezTo>
                    <a:pt x="49" y="127"/>
                    <a:pt x="50" y="127"/>
                    <a:pt x="50" y="127"/>
                  </a:cubicBezTo>
                  <a:cubicBezTo>
                    <a:pt x="50" y="127"/>
                    <a:pt x="51" y="128"/>
                    <a:pt x="51" y="128"/>
                  </a:cubicBezTo>
                  <a:cubicBezTo>
                    <a:pt x="51" y="129"/>
                    <a:pt x="52" y="128"/>
                    <a:pt x="53" y="128"/>
                  </a:cubicBezTo>
                  <a:cubicBezTo>
                    <a:pt x="53" y="129"/>
                    <a:pt x="54" y="129"/>
                    <a:pt x="54" y="130"/>
                  </a:cubicBezTo>
                  <a:cubicBezTo>
                    <a:pt x="54" y="130"/>
                    <a:pt x="57" y="130"/>
                    <a:pt x="57" y="131"/>
                  </a:cubicBezTo>
                  <a:cubicBezTo>
                    <a:pt x="57" y="132"/>
                    <a:pt x="58" y="133"/>
                    <a:pt x="57" y="133"/>
                  </a:cubicBezTo>
                  <a:cubicBezTo>
                    <a:pt x="57" y="133"/>
                    <a:pt x="56" y="134"/>
                    <a:pt x="56" y="134"/>
                  </a:cubicBezTo>
                  <a:cubicBezTo>
                    <a:pt x="57" y="134"/>
                    <a:pt x="58" y="135"/>
                    <a:pt x="59" y="135"/>
                  </a:cubicBezTo>
                  <a:cubicBezTo>
                    <a:pt x="60" y="135"/>
                    <a:pt x="59" y="135"/>
                    <a:pt x="61" y="136"/>
                  </a:cubicBezTo>
                  <a:cubicBezTo>
                    <a:pt x="63" y="136"/>
                    <a:pt x="63" y="138"/>
                    <a:pt x="63" y="138"/>
                  </a:cubicBezTo>
                  <a:cubicBezTo>
                    <a:pt x="63" y="139"/>
                    <a:pt x="65" y="140"/>
                    <a:pt x="65" y="140"/>
                  </a:cubicBezTo>
                  <a:cubicBezTo>
                    <a:pt x="65" y="140"/>
                    <a:pt x="64" y="140"/>
                    <a:pt x="65" y="141"/>
                  </a:cubicBezTo>
                  <a:cubicBezTo>
                    <a:pt x="65" y="141"/>
                    <a:pt x="64" y="141"/>
                    <a:pt x="65" y="142"/>
                  </a:cubicBezTo>
                  <a:cubicBezTo>
                    <a:pt x="66" y="142"/>
                    <a:pt x="67" y="142"/>
                    <a:pt x="67" y="142"/>
                  </a:cubicBezTo>
                  <a:cubicBezTo>
                    <a:pt x="67" y="143"/>
                    <a:pt x="67" y="143"/>
                    <a:pt x="67" y="144"/>
                  </a:cubicBezTo>
                  <a:cubicBezTo>
                    <a:pt x="67" y="144"/>
                    <a:pt x="65" y="146"/>
                    <a:pt x="68" y="146"/>
                  </a:cubicBezTo>
                  <a:cubicBezTo>
                    <a:pt x="70" y="146"/>
                    <a:pt x="70" y="146"/>
                    <a:pt x="70" y="146"/>
                  </a:cubicBezTo>
                  <a:cubicBezTo>
                    <a:pt x="71" y="147"/>
                    <a:pt x="71" y="147"/>
                    <a:pt x="71" y="147"/>
                  </a:cubicBezTo>
                  <a:cubicBezTo>
                    <a:pt x="71" y="147"/>
                    <a:pt x="70" y="148"/>
                    <a:pt x="71" y="149"/>
                  </a:cubicBezTo>
                  <a:cubicBezTo>
                    <a:pt x="71" y="150"/>
                    <a:pt x="75" y="150"/>
                    <a:pt x="75" y="150"/>
                  </a:cubicBezTo>
                  <a:cubicBezTo>
                    <a:pt x="75" y="149"/>
                    <a:pt x="75" y="149"/>
                    <a:pt x="75" y="149"/>
                  </a:cubicBezTo>
                  <a:cubicBezTo>
                    <a:pt x="75" y="149"/>
                    <a:pt x="77" y="150"/>
                    <a:pt x="76" y="150"/>
                  </a:cubicBezTo>
                  <a:cubicBezTo>
                    <a:pt x="76" y="151"/>
                    <a:pt x="75" y="151"/>
                    <a:pt x="75" y="151"/>
                  </a:cubicBezTo>
                  <a:cubicBezTo>
                    <a:pt x="75" y="151"/>
                    <a:pt x="75" y="153"/>
                    <a:pt x="76" y="153"/>
                  </a:cubicBezTo>
                  <a:cubicBezTo>
                    <a:pt x="77" y="153"/>
                    <a:pt x="78" y="154"/>
                    <a:pt x="78" y="154"/>
                  </a:cubicBezTo>
                  <a:cubicBezTo>
                    <a:pt x="78" y="154"/>
                    <a:pt x="79" y="154"/>
                    <a:pt x="79" y="155"/>
                  </a:cubicBezTo>
                  <a:cubicBezTo>
                    <a:pt x="80" y="155"/>
                    <a:pt x="80" y="156"/>
                    <a:pt x="80" y="156"/>
                  </a:cubicBezTo>
                  <a:cubicBezTo>
                    <a:pt x="81" y="156"/>
                    <a:pt x="82" y="156"/>
                    <a:pt x="82" y="157"/>
                  </a:cubicBezTo>
                  <a:cubicBezTo>
                    <a:pt x="83" y="157"/>
                    <a:pt x="84" y="158"/>
                    <a:pt x="84" y="157"/>
                  </a:cubicBezTo>
                  <a:cubicBezTo>
                    <a:pt x="84" y="156"/>
                    <a:pt x="85" y="156"/>
                    <a:pt x="84" y="155"/>
                  </a:cubicBezTo>
                  <a:cubicBezTo>
                    <a:pt x="83" y="154"/>
                    <a:pt x="82" y="154"/>
                    <a:pt x="81" y="154"/>
                  </a:cubicBezTo>
                  <a:cubicBezTo>
                    <a:pt x="81" y="154"/>
                    <a:pt x="80" y="154"/>
                    <a:pt x="80" y="153"/>
                  </a:cubicBezTo>
                  <a:cubicBezTo>
                    <a:pt x="79" y="153"/>
                    <a:pt x="79" y="153"/>
                    <a:pt x="79" y="152"/>
                  </a:cubicBezTo>
                  <a:cubicBezTo>
                    <a:pt x="79" y="151"/>
                    <a:pt x="78" y="150"/>
                    <a:pt x="78" y="150"/>
                  </a:cubicBezTo>
                  <a:cubicBezTo>
                    <a:pt x="78" y="150"/>
                    <a:pt x="78" y="148"/>
                    <a:pt x="78" y="148"/>
                  </a:cubicBezTo>
                  <a:cubicBezTo>
                    <a:pt x="77" y="148"/>
                    <a:pt x="77" y="148"/>
                    <a:pt x="76" y="148"/>
                  </a:cubicBezTo>
                  <a:cubicBezTo>
                    <a:pt x="76" y="148"/>
                    <a:pt x="75" y="147"/>
                    <a:pt x="75" y="147"/>
                  </a:cubicBezTo>
                  <a:cubicBezTo>
                    <a:pt x="74" y="147"/>
                    <a:pt x="73" y="147"/>
                    <a:pt x="73" y="147"/>
                  </a:cubicBezTo>
                  <a:cubicBezTo>
                    <a:pt x="73" y="146"/>
                    <a:pt x="74" y="146"/>
                    <a:pt x="74" y="146"/>
                  </a:cubicBezTo>
                  <a:cubicBezTo>
                    <a:pt x="74" y="146"/>
                    <a:pt x="75" y="146"/>
                    <a:pt x="76" y="146"/>
                  </a:cubicBezTo>
                  <a:cubicBezTo>
                    <a:pt x="77" y="147"/>
                    <a:pt x="77" y="146"/>
                    <a:pt x="78" y="147"/>
                  </a:cubicBezTo>
                  <a:cubicBezTo>
                    <a:pt x="79" y="147"/>
                    <a:pt x="78" y="148"/>
                    <a:pt x="79" y="148"/>
                  </a:cubicBezTo>
                  <a:cubicBezTo>
                    <a:pt x="81" y="148"/>
                    <a:pt x="81" y="147"/>
                    <a:pt x="81" y="147"/>
                  </a:cubicBezTo>
                  <a:cubicBezTo>
                    <a:pt x="83" y="146"/>
                    <a:pt x="83" y="146"/>
                    <a:pt x="83" y="146"/>
                  </a:cubicBezTo>
                  <a:cubicBezTo>
                    <a:pt x="83" y="146"/>
                    <a:pt x="83" y="146"/>
                    <a:pt x="84" y="147"/>
                  </a:cubicBezTo>
                  <a:cubicBezTo>
                    <a:pt x="85" y="147"/>
                    <a:pt x="83" y="148"/>
                    <a:pt x="85" y="148"/>
                  </a:cubicBezTo>
                  <a:cubicBezTo>
                    <a:pt x="87" y="148"/>
                    <a:pt x="88" y="148"/>
                    <a:pt x="88" y="148"/>
                  </a:cubicBezTo>
                  <a:cubicBezTo>
                    <a:pt x="88" y="149"/>
                    <a:pt x="88" y="150"/>
                    <a:pt x="88" y="150"/>
                  </a:cubicBezTo>
                  <a:cubicBezTo>
                    <a:pt x="88" y="150"/>
                    <a:pt x="88" y="151"/>
                    <a:pt x="88" y="151"/>
                  </a:cubicBezTo>
                  <a:cubicBezTo>
                    <a:pt x="89" y="151"/>
                    <a:pt x="91" y="151"/>
                    <a:pt x="91" y="151"/>
                  </a:cubicBezTo>
                  <a:cubicBezTo>
                    <a:pt x="91" y="151"/>
                    <a:pt x="92" y="151"/>
                    <a:pt x="92" y="152"/>
                  </a:cubicBezTo>
                  <a:cubicBezTo>
                    <a:pt x="93" y="153"/>
                    <a:pt x="90" y="154"/>
                    <a:pt x="90" y="154"/>
                  </a:cubicBezTo>
                  <a:cubicBezTo>
                    <a:pt x="90" y="154"/>
                    <a:pt x="89" y="153"/>
                    <a:pt x="89" y="154"/>
                  </a:cubicBezTo>
                  <a:cubicBezTo>
                    <a:pt x="89" y="155"/>
                    <a:pt x="88" y="155"/>
                    <a:pt x="89" y="156"/>
                  </a:cubicBezTo>
                  <a:cubicBezTo>
                    <a:pt x="90" y="156"/>
                    <a:pt x="89" y="156"/>
                    <a:pt x="89" y="156"/>
                  </a:cubicBezTo>
                  <a:cubicBezTo>
                    <a:pt x="88" y="156"/>
                    <a:pt x="87" y="155"/>
                    <a:pt x="88" y="157"/>
                  </a:cubicBezTo>
                  <a:cubicBezTo>
                    <a:pt x="88" y="158"/>
                    <a:pt x="89" y="159"/>
                    <a:pt x="89" y="159"/>
                  </a:cubicBezTo>
                  <a:cubicBezTo>
                    <a:pt x="90" y="159"/>
                    <a:pt x="92" y="159"/>
                    <a:pt x="92" y="159"/>
                  </a:cubicBezTo>
                  <a:cubicBezTo>
                    <a:pt x="93" y="159"/>
                    <a:pt x="94" y="159"/>
                    <a:pt x="93" y="159"/>
                  </a:cubicBezTo>
                  <a:cubicBezTo>
                    <a:pt x="92" y="158"/>
                    <a:pt x="91" y="158"/>
                    <a:pt x="91" y="158"/>
                  </a:cubicBezTo>
                  <a:cubicBezTo>
                    <a:pt x="91" y="158"/>
                    <a:pt x="91" y="158"/>
                    <a:pt x="91" y="157"/>
                  </a:cubicBezTo>
                  <a:cubicBezTo>
                    <a:pt x="91" y="157"/>
                    <a:pt x="92" y="157"/>
                    <a:pt x="92" y="157"/>
                  </a:cubicBezTo>
                  <a:cubicBezTo>
                    <a:pt x="92" y="156"/>
                    <a:pt x="93" y="155"/>
                    <a:pt x="93" y="155"/>
                  </a:cubicBezTo>
                  <a:cubicBezTo>
                    <a:pt x="93" y="155"/>
                    <a:pt x="94" y="153"/>
                    <a:pt x="95" y="154"/>
                  </a:cubicBezTo>
                  <a:cubicBezTo>
                    <a:pt x="95" y="155"/>
                    <a:pt x="95" y="155"/>
                    <a:pt x="96" y="155"/>
                  </a:cubicBezTo>
                  <a:cubicBezTo>
                    <a:pt x="96" y="155"/>
                    <a:pt x="99" y="152"/>
                    <a:pt x="99" y="152"/>
                  </a:cubicBezTo>
                  <a:cubicBezTo>
                    <a:pt x="99" y="152"/>
                    <a:pt x="100" y="152"/>
                    <a:pt x="99" y="153"/>
                  </a:cubicBezTo>
                  <a:cubicBezTo>
                    <a:pt x="99" y="154"/>
                    <a:pt x="98" y="155"/>
                    <a:pt x="99" y="156"/>
                  </a:cubicBezTo>
                  <a:cubicBezTo>
                    <a:pt x="99" y="157"/>
                    <a:pt x="99" y="157"/>
                    <a:pt x="99" y="157"/>
                  </a:cubicBezTo>
                  <a:cubicBezTo>
                    <a:pt x="100" y="158"/>
                    <a:pt x="99" y="158"/>
                    <a:pt x="100" y="159"/>
                  </a:cubicBezTo>
                  <a:cubicBezTo>
                    <a:pt x="100" y="160"/>
                    <a:pt x="100" y="159"/>
                    <a:pt x="100" y="160"/>
                  </a:cubicBezTo>
                  <a:cubicBezTo>
                    <a:pt x="101" y="161"/>
                    <a:pt x="102" y="163"/>
                    <a:pt x="102" y="163"/>
                  </a:cubicBezTo>
                  <a:cubicBezTo>
                    <a:pt x="102" y="163"/>
                    <a:pt x="101" y="164"/>
                    <a:pt x="102" y="164"/>
                  </a:cubicBezTo>
                  <a:cubicBezTo>
                    <a:pt x="103" y="165"/>
                    <a:pt x="105" y="165"/>
                    <a:pt x="105" y="165"/>
                  </a:cubicBezTo>
                  <a:cubicBezTo>
                    <a:pt x="105" y="165"/>
                    <a:pt x="105" y="165"/>
                    <a:pt x="105" y="165"/>
                  </a:cubicBezTo>
                  <a:cubicBezTo>
                    <a:pt x="105" y="165"/>
                    <a:pt x="106" y="166"/>
                    <a:pt x="107" y="165"/>
                  </a:cubicBezTo>
                  <a:cubicBezTo>
                    <a:pt x="107" y="164"/>
                    <a:pt x="108" y="164"/>
                    <a:pt x="108" y="164"/>
                  </a:cubicBezTo>
                  <a:cubicBezTo>
                    <a:pt x="109" y="164"/>
                    <a:pt x="108" y="164"/>
                    <a:pt x="110" y="164"/>
                  </a:cubicBezTo>
                  <a:cubicBezTo>
                    <a:pt x="112" y="164"/>
                    <a:pt x="112" y="165"/>
                    <a:pt x="113" y="164"/>
                  </a:cubicBezTo>
                  <a:cubicBezTo>
                    <a:pt x="114" y="163"/>
                    <a:pt x="113" y="163"/>
                    <a:pt x="115" y="163"/>
                  </a:cubicBezTo>
                  <a:cubicBezTo>
                    <a:pt x="117" y="163"/>
                    <a:pt x="119" y="162"/>
                    <a:pt x="119" y="162"/>
                  </a:cubicBezTo>
                  <a:cubicBezTo>
                    <a:pt x="119" y="162"/>
                    <a:pt x="122" y="162"/>
                    <a:pt x="122" y="162"/>
                  </a:cubicBezTo>
                  <a:cubicBezTo>
                    <a:pt x="124" y="163"/>
                    <a:pt x="124" y="163"/>
                    <a:pt x="124" y="163"/>
                  </a:cubicBezTo>
                  <a:cubicBezTo>
                    <a:pt x="124" y="163"/>
                    <a:pt x="125" y="164"/>
                    <a:pt x="126" y="164"/>
                  </a:cubicBezTo>
                  <a:cubicBezTo>
                    <a:pt x="126" y="164"/>
                    <a:pt x="127" y="164"/>
                    <a:pt x="128" y="164"/>
                  </a:cubicBezTo>
                  <a:cubicBezTo>
                    <a:pt x="128" y="164"/>
                    <a:pt x="132" y="165"/>
                    <a:pt x="132" y="165"/>
                  </a:cubicBezTo>
                  <a:cubicBezTo>
                    <a:pt x="136" y="166"/>
                    <a:pt x="136" y="166"/>
                    <a:pt x="136" y="166"/>
                  </a:cubicBezTo>
                  <a:cubicBezTo>
                    <a:pt x="138" y="167"/>
                    <a:pt x="138" y="167"/>
                    <a:pt x="138" y="167"/>
                  </a:cubicBezTo>
                  <a:cubicBezTo>
                    <a:pt x="142" y="170"/>
                    <a:pt x="142" y="170"/>
                    <a:pt x="142" y="170"/>
                  </a:cubicBezTo>
                  <a:cubicBezTo>
                    <a:pt x="146" y="174"/>
                    <a:pt x="146" y="174"/>
                    <a:pt x="146" y="174"/>
                  </a:cubicBezTo>
                  <a:cubicBezTo>
                    <a:pt x="151" y="176"/>
                    <a:pt x="151" y="176"/>
                    <a:pt x="151" y="176"/>
                  </a:cubicBezTo>
                  <a:cubicBezTo>
                    <a:pt x="154" y="178"/>
                    <a:pt x="154" y="178"/>
                    <a:pt x="154" y="178"/>
                  </a:cubicBezTo>
                  <a:cubicBezTo>
                    <a:pt x="156" y="180"/>
                    <a:pt x="156" y="180"/>
                    <a:pt x="156" y="180"/>
                  </a:cubicBezTo>
                  <a:cubicBezTo>
                    <a:pt x="156" y="180"/>
                    <a:pt x="159" y="182"/>
                    <a:pt x="159" y="182"/>
                  </a:cubicBezTo>
                  <a:cubicBezTo>
                    <a:pt x="160" y="182"/>
                    <a:pt x="163" y="184"/>
                    <a:pt x="163" y="184"/>
                  </a:cubicBezTo>
                  <a:cubicBezTo>
                    <a:pt x="166" y="186"/>
                    <a:pt x="166" y="186"/>
                    <a:pt x="166" y="186"/>
                  </a:cubicBezTo>
                  <a:cubicBezTo>
                    <a:pt x="166" y="186"/>
                    <a:pt x="167" y="188"/>
                    <a:pt x="167" y="188"/>
                  </a:cubicBezTo>
                  <a:cubicBezTo>
                    <a:pt x="167" y="189"/>
                    <a:pt x="166" y="188"/>
                    <a:pt x="165" y="188"/>
                  </a:cubicBezTo>
                  <a:cubicBezTo>
                    <a:pt x="164" y="189"/>
                    <a:pt x="160" y="187"/>
                    <a:pt x="160" y="187"/>
                  </a:cubicBezTo>
                  <a:cubicBezTo>
                    <a:pt x="158" y="185"/>
                    <a:pt x="158" y="185"/>
                    <a:pt x="158" y="185"/>
                  </a:cubicBezTo>
                  <a:cubicBezTo>
                    <a:pt x="155" y="185"/>
                    <a:pt x="155" y="185"/>
                    <a:pt x="155" y="185"/>
                  </a:cubicBezTo>
                  <a:cubicBezTo>
                    <a:pt x="153" y="184"/>
                    <a:pt x="153" y="184"/>
                    <a:pt x="153" y="184"/>
                  </a:cubicBezTo>
                  <a:cubicBezTo>
                    <a:pt x="149" y="185"/>
                    <a:pt x="149" y="185"/>
                    <a:pt x="149" y="185"/>
                  </a:cubicBezTo>
                  <a:cubicBezTo>
                    <a:pt x="146" y="184"/>
                    <a:pt x="146" y="184"/>
                    <a:pt x="146" y="184"/>
                  </a:cubicBezTo>
                  <a:cubicBezTo>
                    <a:pt x="146" y="184"/>
                    <a:pt x="145" y="184"/>
                    <a:pt x="146" y="185"/>
                  </a:cubicBezTo>
                  <a:cubicBezTo>
                    <a:pt x="146" y="185"/>
                    <a:pt x="146" y="186"/>
                    <a:pt x="146" y="186"/>
                  </a:cubicBezTo>
                  <a:cubicBezTo>
                    <a:pt x="143" y="188"/>
                    <a:pt x="143" y="188"/>
                    <a:pt x="143" y="188"/>
                  </a:cubicBezTo>
                  <a:cubicBezTo>
                    <a:pt x="139" y="189"/>
                    <a:pt x="139" y="189"/>
                    <a:pt x="139" y="189"/>
                  </a:cubicBezTo>
                  <a:cubicBezTo>
                    <a:pt x="135" y="189"/>
                    <a:pt x="135" y="189"/>
                    <a:pt x="135" y="189"/>
                  </a:cubicBezTo>
                  <a:cubicBezTo>
                    <a:pt x="132" y="189"/>
                    <a:pt x="132" y="189"/>
                    <a:pt x="132" y="189"/>
                  </a:cubicBezTo>
                  <a:cubicBezTo>
                    <a:pt x="132" y="191"/>
                    <a:pt x="132" y="191"/>
                    <a:pt x="132" y="191"/>
                  </a:cubicBezTo>
                  <a:cubicBezTo>
                    <a:pt x="132" y="191"/>
                    <a:pt x="128" y="191"/>
                    <a:pt x="132" y="192"/>
                  </a:cubicBezTo>
                  <a:cubicBezTo>
                    <a:pt x="136" y="192"/>
                    <a:pt x="138" y="192"/>
                    <a:pt x="138" y="191"/>
                  </a:cubicBezTo>
                  <a:cubicBezTo>
                    <a:pt x="139" y="191"/>
                    <a:pt x="139" y="190"/>
                    <a:pt x="140" y="190"/>
                  </a:cubicBezTo>
                  <a:cubicBezTo>
                    <a:pt x="141" y="190"/>
                    <a:pt x="143" y="190"/>
                    <a:pt x="144" y="190"/>
                  </a:cubicBezTo>
                  <a:cubicBezTo>
                    <a:pt x="144" y="190"/>
                    <a:pt x="145" y="190"/>
                    <a:pt x="147" y="189"/>
                  </a:cubicBezTo>
                  <a:cubicBezTo>
                    <a:pt x="148" y="189"/>
                    <a:pt x="148" y="188"/>
                    <a:pt x="150" y="189"/>
                  </a:cubicBezTo>
                  <a:cubicBezTo>
                    <a:pt x="152" y="190"/>
                    <a:pt x="151" y="187"/>
                    <a:pt x="151" y="187"/>
                  </a:cubicBezTo>
                  <a:cubicBezTo>
                    <a:pt x="151" y="187"/>
                    <a:pt x="151" y="186"/>
                    <a:pt x="152" y="186"/>
                  </a:cubicBezTo>
                  <a:cubicBezTo>
                    <a:pt x="154" y="187"/>
                    <a:pt x="154" y="187"/>
                    <a:pt x="154" y="187"/>
                  </a:cubicBezTo>
                  <a:cubicBezTo>
                    <a:pt x="155" y="187"/>
                    <a:pt x="157" y="188"/>
                    <a:pt x="157" y="188"/>
                  </a:cubicBezTo>
                  <a:cubicBezTo>
                    <a:pt x="158" y="188"/>
                    <a:pt x="162" y="189"/>
                    <a:pt x="162" y="189"/>
                  </a:cubicBezTo>
                  <a:cubicBezTo>
                    <a:pt x="162" y="189"/>
                    <a:pt x="163" y="192"/>
                    <a:pt x="163" y="192"/>
                  </a:cubicBezTo>
                  <a:cubicBezTo>
                    <a:pt x="164" y="192"/>
                    <a:pt x="167" y="192"/>
                    <a:pt x="168" y="192"/>
                  </a:cubicBezTo>
                  <a:cubicBezTo>
                    <a:pt x="169" y="192"/>
                    <a:pt x="171" y="192"/>
                    <a:pt x="172" y="193"/>
                  </a:cubicBezTo>
                  <a:cubicBezTo>
                    <a:pt x="173" y="194"/>
                    <a:pt x="174" y="194"/>
                    <a:pt x="174" y="194"/>
                  </a:cubicBezTo>
                  <a:cubicBezTo>
                    <a:pt x="174" y="194"/>
                    <a:pt x="175" y="195"/>
                    <a:pt x="176" y="196"/>
                  </a:cubicBezTo>
                  <a:cubicBezTo>
                    <a:pt x="176" y="196"/>
                    <a:pt x="179" y="198"/>
                    <a:pt x="179" y="198"/>
                  </a:cubicBezTo>
                  <a:cubicBezTo>
                    <a:pt x="179" y="198"/>
                    <a:pt x="184" y="200"/>
                    <a:pt x="184" y="200"/>
                  </a:cubicBezTo>
                  <a:cubicBezTo>
                    <a:pt x="185" y="199"/>
                    <a:pt x="185" y="199"/>
                    <a:pt x="185" y="199"/>
                  </a:cubicBezTo>
                  <a:cubicBezTo>
                    <a:pt x="185" y="198"/>
                    <a:pt x="185" y="197"/>
                    <a:pt x="185" y="197"/>
                  </a:cubicBezTo>
                  <a:cubicBezTo>
                    <a:pt x="184" y="196"/>
                    <a:pt x="180" y="195"/>
                    <a:pt x="180" y="195"/>
                  </a:cubicBezTo>
                  <a:cubicBezTo>
                    <a:pt x="180" y="195"/>
                    <a:pt x="178" y="194"/>
                    <a:pt x="178" y="194"/>
                  </a:cubicBezTo>
                  <a:cubicBezTo>
                    <a:pt x="177" y="189"/>
                    <a:pt x="178" y="193"/>
                    <a:pt x="175" y="192"/>
                  </a:cubicBezTo>
                  <a:cubicBezTo>
                    <a:pt x="175" y="192"/>
                    <a:pt x="175" y="192"/>
                    <a:pt x="175" y="192"/>
                  </a:cubicBezTo>
                  <a:cubicBezTo>
                    <a:pt x="175" y="192"/>
                    <a:pt x="175" y="192"/>
                    <a:pt x="175" y="192"/>
                  </a:cubicBezTo>
                  <a:cubicBezTo>
                    <a:pt x="173" y="193"/>
                    <a:pt x="173" y="192"/>
                    <a:pt x="173" y="192"/>
                  </a:cubicBezTo>
                  <a:cubicBezTo>
                    <a:pt x="173" y="191"/>
                    <a:pt x="173" y="191"/>
                    <a:pt x="173" y="191"/>
                  </a:cubicBezTo>
                  <a:cubicBezTo>
                    <a:pt x="172" y="190"/>
                    <a:pt x="172" y="190"/>
                    <a:pt x="172" y="190"/>
                  </a:cubicBezTo>
                  <a:cubicBezTo>
                    <a:pt x="172" y="190"/>
                    <a:pt x="171" y="188"/>
                    <a:pt x="172" y="187"/>
                  </a:cubicBezTo>
                  <a:cubicBezTo>
                    <a:pt x="173" y="187"/>
                    <a:pt x="171" y="192"/>
                    <a:pt x="175" y="186"/>
                  </a:cubicBezTo>
                  <a:cubicBezTo>
                    <a:pt x="175" y="186"/>
                    <a:pt x="175" y="185"/>
                    <a:pt x="175" y="185"/>
                  </a:cubicBezTo>
                  <a:cubicBezTo>
                    <a:pt x="174" y="185"/>
                    <a:pt x="174" y="185"/>
                    <a:pt x="174" y="185"/>
                  </a:cubicBezTo>
                  <a:cubicBezTo>
                    <a:pt x="171" y="185"/>
                    <a:pt x="171" y="185"/>
                    <a:pt x="171" y="185"/>
                  </a:cubicBezTo>
                  <a:cubicBezTo>
                    <a:pt x="171" y="185"/>
                    <a:pt x="171" y="186"/>
                    <a:pt x="170" y="187"/>
                  </a:cubicBezTo>
                  <a:cubicBezTo>
                    <a:pt x="169" y="188"/>
                    <a:pt x="169" y="187"/>
                    <a:pt x="169" y="187"/>
                  </a:cubicBezTo>
                  <a:cubicBezTo>
                    <a:pt x="169" y="186"/>
                    <a:pt x="169" y="186"/>
                    <a:pt x="169" y="186"/>
                  </a:cubicBezTo>
                  <a:cubicBezTo>
                    <a:pt x="170" y="185"/>
                    <a:pt x="170" y="185"/>
                    <a:pt x="170" y="185"/>
                  </a:cubicBezTo>
                  <a:cubicBezTo>
                    <a:pt x="170" y="185"/>
                    <a:pt x="170" y="182"/>
                    <a:pt x="170" y="181"/>
                  </a:cubicBezTo>
                  <a:cubicBezTo>
                    <a:pt x="170" y="181"/>
                    <a:pt x="170" y="181"/>
                    <a:pt x="170" y="181"/>
                  </a:cubicBezTo>
                  <a:cubicBezTo>
                    <a:pt x="167" y="179"/>
                    <a:pt x="167" y="179"/>
                    <a:pt x="167" y="179"/>
                  </a:cubicBezTo>
                  <a:cubicBezTo>
                    <a:pt x="165" y="177"/>
                    <a:pt x="165" y="177"/>
                    <a:pt x="165" y="177"/>
                  </a:cubicBezTo>
                  <a:cubicBezTo>
                    <a:pt x="162" y="175"/>
                    <a:pt x="162" y="175"/>
                    <a:pt x="162" y="175"/>
                  </a:cubicBezTo>
                  <a:cubicBezTo>
                    <a:pt x="158" y="171"/>
                    <a:pt x="158" y="171"/>
                    <a:pt x="158" y="171"/>
                  </a:cubicBezTo>
                  <a:cubicBezTo>
                    <a:pt x="156" y="170"/>
                    <a:pt x="156" y="170"/>
                    <a:pt x="156" y="170"/>
                  </a:cubicBezTo>
                  <a:cubicBezTo>
                    <a:pt x="154" y="168"/>
                    <a:pt x="154" y="168"/>
                    <a:pt x="154" y="168"/>
                  </a:cubicBezTo>
                  <a:cubicBezTo>
                    <a:pt x="154" y="166"/>
                    <a:pt x="154" y="166"/>
                    <a:pt x="154" y="166"/>
                  </a:cubicBezTo>
                  <a:cubicBezTo>
                    <a:pt x="153" y="162"/>
                    <a:pt x="153" y="162"/>
                    <a:pt x="153" y="162"/>
                  </a:cubicBezTo>
                  <a:cubicBezTo>
                    <a:pt x="153" y="162"/>
                    <a:pt x="153" y="162"/>
                    <a:pt x="153" y="162"/>
                  </a:cubicBezTo>
                  <a:cubicBezTo>
                    <a:pt x="153" y="162"/>
                    <a:pt x="149" y="161"/>
                    <a:pt x="147" y="160"/>
                  </a:cubicBezTo>
                  <a:cubicBezTo>
                    <a:pt x="145" y="159"/>
                    <a:pt x="145" y="159"/>
                    <a:pt x="145" y="159"/>
                  </a:cubicBezTo>
                  <a:cubicBezTo>
                    <a:pt x="143" y="156"/>
                    <a:pt x="143" y="156"/>
                    <a:pt x="143" y="156"/>
                  </a:cubicBezTo>
                  <a:cubicBezTo>
                    <a:pt x="142" y="155"/>
                    <a:pt x="142" y="155"/>
                    <a:pt x="142" y="155"/>
                  </a:cubicBezTo>
                  <a:cubicBezTo>
                    <a:pt x="139" y="152"/>
                    <a:pt x="139" y="152"/>
                    <a:pt x="139" y="152"/>
                  </a:cubicBezTo>
                  <a:cubicBezTo>
                    <a:pt x="138" y="152"/>
                    <a:pt x="138" y="152"/>
                    <a:pt x="138" y="152"/>
                  </a:cubicBezTo>
                  <a:cubicBezTo>
                    <a:pt x="133" y="150"/>
                    <a:pt x="133" y="150"/>
                    <a:pt x="133" y="150"/>
                  </a:cubicBezTo>
                  <a:cubicBezTo>
                    <a:pt x="132" y="148"/>
                    <a:pt x="132" y="148"/>
                    <a:pt x="132" y="148"/>
                  </a:cubicBezTo>
                  <a:cubicBezTo>
                    <a:pt x="130" y="147"/>
                    <a:pt x="130" y="147"/>
                    <a:pt x="130" y="147"/>
                  </a:cubicBezTo>
                  <a:cubicBezTo>
                    <a:pt x="129" y="145"/>
                    <a:pt x="129" y="145"/>
                    <a:pt x="129" y="145"/>
                  </a:cubicBezTo>
                  <a:cubicBezTo>
                    <a:pt x="126" y="144"/>
                    <a:pt x="126" y="144"/>
                    <a:pt x="126" y="144"/>
                  </a:cubicBezTo>
                  <a:cubicBezTo>
                    <a:pt x="125" y="142"/>
                    <a:pt x="125" y="142"/>
                    <a:pt x="125" y="142"/>
                  </a:cubicBezTo>
                  <a:cubicBezTo>
                    <a:pt x="124" y="141"/>
                    <a:pt x="124" y="141"/>
                    <a:pt x="124" y="141"/>
                  </a:cubicBezTo>
                  <a:cubicBezTo>
                    <a:pt x="121" y="137"/>
                    <a:pt x="121" y="137"/>
                    <a:pt x="121" y="137"/>
                  </a:cubicBezTo>
                  <a:cubicBezTo>
                    <a:pt x="118" y="135"/>
                    <a:pt x="118" y="135"/>
                    <a:pt x="118" y="135"/>
                  </a:cubicBezTo>
                  <a:cubicBezTo>
                    <a:pt x="117" y="134"/>
                    <a:pt x="117" y="134"/>
                    <a:pt x="117" y="134"/>
                  </a:cubicBezTo>
                  <a:cubicBezTo>
                    <a:pt x="116" y="133"/>
                    <a:pt x="116" y="133"/>
                    <a:pt x="116" y="133"/>
                  </a:cubicBezTo>
                  <a:cubicBezTo>
                    <a:pt x="114" y="130"/>
                    <a:pt x="114" y="130"/>
                    <a:pt x="114" y="130"/>
                  </a:cubicBezTo>
                  <a:cubicBezTo>
                    <a:pt x="111" y="127"/>
                    <a:pt x="111" y="127"/>
                    <a:pt x="111" y="127"/>
                  </a:cubicBezTo>
                  <a:cubicBezTo>
                    <a:pt x="109" y="125"/>
                    <a:pt x="109" y="125"/>
                    <a:pt x="109" y="125"/>
                  </a:cubicBezTo>
                  <a:cubicBezTo>
                    <a:pt x="107" y="122"/>
                    <a:pt x="107" y="122"/>
                    <a:pt x="107" y="122"/>
                  </a:cubicBezTo>
                  <a:cubicBezTo>
                    <a:pt x="109" y="120"/>
                    <a:pt x="109" y="120"/>
                    <a:pt x="109" y="120"/>
                  </a:cubicBezTo>
                  <a:cubicBezTo>
                    <a:pt x="108" y="119"/>
                    <a:pt x="107" y="119"/>
                    <a:pt x="107" y="118"/>
                  </a:cubicBezTo>
                  <a:cubicBezTo>
                    <a:pt x="106" y="118"/>
                    <a:pt x="104" y="117"/>
                    <a:pt x="105" y="116"/>
                  </a:cubicBezTo>
                  <a:cubicBezTo>
                    <a:pt x="105" y="115"/>
                    <a:pt x="104" y="114"/>
                    <a:pt x="104" y="112"/>
                  </a:cubicBezTo>
                  <a:cubicBezTo>
                    <a:pt x="104" y="111"/>
                    <a:pt x="104" y="110"/>
                    <a:pt x="103" y="110"/>
                  </a:cubicBezTo>
                  <a:cubicBezTo>
                    <a:pt x="102" y="109"/>
                    <a:pt x="102" y="109"/>
                    <a:pt x="102" y="109"/>
                  </a:cubicBezTo>
                  <a:cubicBezTo>
                    <a:pt x="101" y="109"/>
                    <a:pt x="100" y="109"/>
                    <a:pt x="100" y="109"/>
                  </a:cubicBezTo>
                  <a:cubicBezTo>
                    <a:pt x="99" y="109"/>
                    <a:pt x="99" y="109"/>
                    <a:pt x="99" y="109"/>
                  </a:cubicBezTo>
                  <a:cubicBezTo>
                    <a:pt x="99" y="109"/>
                    <a:pt x="100" y="107"/>
                    <a:pt x="100" y="105"/>
                  </a:cubicBezTo>
                  <a:cubicBezTo>
                    <a:pt x="96" y="104"/>
                    <a:pt x="96" y="104"/>
                    <a:pt x="96" y="104"/>
                  </a:cubicBezTo>
                  <a:cubicBezTo>
                    <a:pt x="96" y="104"/>
                    <a:pt x="96" y="101"/>
                    <a:pt x="94" y="100"/>
                  </a:cubicBezTo>
                  <a:cubicBezTo>
                    <a:pt x="92" y="100"/>
                    <a:pt x="92" y="100"/>
                    <a:pt x="92" y="100"/>
                  </a:cubicBezTo>
                  <a:cubicBezTo>
                    <a:pt x="91" y="101"/>
                    <a:pt x="91" y="102"/>
                    <a:pt x="91" y="102"/>
                  </a:cubicBezTo>
                  <a:cubicBezTo>
                    <a:pt x="87" y="98"/>
                    <a:pt x="87" y="98"/>
                    <a:pt x="87" y="98"/>
                  </a:cubicBezTo>
                  <a:cubicBezTo>
                    <a:pt x="87" y="98"/>
                    <a:pt x="87" y="97"/>
                    <a:pt x="88" y="95"/>
                  </a:cubicBezTo>
                  <a:cubicBezTo>
                    <a:pt x="90" y="93"/>
                    <a:pt x="88" y="92"/>
                    <a:pt x="88" y="92"/>
                  </a:cubicBezTo>
                  <a:cubicBezTo>
                    <a:pt x="87" y="89"/>
                    <a:pt x="87" y="89"/>
                    <a:pt x="87" y="89"/>
                  </a:cubicBezTo>
                  <a:cubicBezTo>
                    <a:pt x="88" y="87"/>
                    <a:pt x="88" y="87"/>
                    <a:pt x="88" y="87"/>
                  </a:cubicBezTo>
                  <a:cubicBezTo>
                    <a:pt x="87" y="86"/>
                    <a:pt x="87" y="86"/>
                    <a:pt x="87" y="86"/>
                  </a:cubicBezTo>
                  <a:cubicBezTo>
                    <a:pt x="86" y="85"/>
                    <a:pt x="86" y="85"/>
                    <a:pt x="86" y="85"/>
                  </a:cubicBezTo>
                  <a:cubicBezTo>
                    <a:pt x="86" y="85"/>
                    <a:pt x="86" y="85"/>
                    <a:pt x="86" y="85"/>
                  </a:cubicBezTo>
                  <a:cubicBezTo>
                    <a:pt x="86" y="85"/>
                    <a:pt x="86" y="85"/>
                    <a:pt x="86" y="85"/>
                  </a:cubicBezTo>
                  <a:cubicBezTo>
                    <a:pt x="88" y="81"/>
                    <a:pt x="88" y="81"/>
                    <a:pt x="88" y="81"/>
                  </a:cubicBezTo>
                  <a:cubicBezTo>
                    <a:pt x="88" y="81"/>
                    <a:pt x="87" y="77"/>
                    <a:pt x="88" y="76"/>
                  </a:cubicBezTo>
                  <a:cubicBezTo>
                    <a:pt x="88" y="76"/>
                    <a:pt x="88" y="76"/>
                    <a:pt x="88" y="76"/>
                  </a:cubicBezTo>
                  <a:cubicBezTo>
                    <a:pt x="88" y="75"/>
                    <a:pt x="88" y="75"/>
                    <a:pt x="89" y="75"/>
                  </a:cubicBezTo>
                  <a:cubicBezTo>
                    <a:pt x="89" y="74"/>
                    <a:pt x="94" y="73"/>
                    <a:pt x="94" y="73"/>
                  </a:cubicBezTo>
                  <a:cubicBezTo>
                    <a:pt x="96" y="72"/>
                    <a:pt x="96" y="72"/>
                    <a:pt x="96" y="72"/>
                  </a:cubicBezTo>
                  <a:cubicBezTo>
                    <a:pt x="100" y="77"/>
                    <a:pt x="100" y="77"/>
                    <a:pt x="100" y="77"/>
                  </a:cubicBezTo>
                  <a:cubicBezTo>
                    <a:pt x="104" y="81"/>
                    <a:pt x="104" y="81"/>
                    <a:pt x="104" y="81"/>
                  </a:cubicBezTo>
                  <a:cubicBezTo>
                    <a:pt x="107" y="83"/>
                    <a:pt x="107" y="83"/>
                    <a:pt x="107" y="83"/>
                  </a:cubicBezTo>
                  <a:cubicBezTo>
                    <a:pt x="107" y="83"/>
                    <a:pt x="108" y="82"/>
                    <a:pt x="109" y="82"/>
                  </a:cubicBezTo>
                  <a:cubicBezTo>
                    <a:pt x="109" y="81"/>
                    <a:pt x="109" y="79"/>
                    <a:pt x="109" y="79"/>
                  </a:cubicBezTo>
                  <a:cubicBezTo>
                    <a:pt x="111" y="77"/>
                    <a:pt x="111" y="77"/>
                    <a:pt x="111" y="77"/>
                  </a:cubicBezTo>
                  <a:cubicBezTo>
                    <a:pt x="112" y="75"/>
                    <a:pt x="112" y="75"/>
                    <a:pt x="112" y="75"/>
                  </a:cubicBezTo>
                  <a:cubicBezTo>
                    <a:pt x="112" y="73"/>
                    <a:pt x="112" y="73"/>
                    <a:pt x="112" y="73"/>
                  </a:cubicBezTo>
                  <a:cubicBezTo>
                    <a:pt x="114" y="72"/>
                    <a:pt x="114" y="72"/>
                    <a:pt x="114" y="72"/>
                  </a:cubicBezTo>
                  <a:cubicBezTo>
                    <a:pt x="117" y="71"/>
                    <a:pt x="117" y="71"/>
                    <a:pt x="117" y="71"/>
                  </a:cubicBezTo>
                  <a:cubicBezTo>
                    <a:pt x="121" y="70"/>
                    <a:pt x="121" y="70"/>
                    <a:pt x="121" y="70"/>
                  </a:cubicBezTo>
                  <a:cubicBezTo>
                    <a:pt x="121" y="70"/>
                    <a:pt x="124" y="71"/>
                    <a:pt x="125" y="71"/>
                  </a:cubicBezTo>
                  <a:cubicBezTo>
                    <a:pt x="125" y="71"/>
                    <a:pt x="126" y="71"/>
                    <a:pt x="126" y="71"/>
                  </a:cubicBezTo>
                  <a:cubicBezTo>
                    <a:pt x="128" y="68"/>
                    <a:pt x="128" y="68"/>
                    <a:pt x="128" y="68"/>
                  </a:cubicBezTo>
                  <a:cubicBezTo>
                    <a:pt x="128" y="68"/>
                    <a:pt x="128" y="68"/>
                    <a:pt x="128" y="68"/>
                  </a:cubicBezTo>
                  <a:cubicBezTo>
                    <a:pt x="129" y="66"/>
                    <a:pt x="129" y="66"/>
                    <a:pt x="129" y="66"/>
                  </a:cubicBezTo>
                  <a:cubicBezTo>
                    <a:pt x="134" y="68"/>
                    <a:pt x="134" y="68"/>
                    <a:pt x="134" y="68"/>
                  </a:cubicBezTo>
                  <a:cubicBezTo>
                    <a:pt x="136" y="70"/>
                    <a:pt x="136" y="70"/>
                    <a:pt x="136" y="70"/>
                  </a:cubicBezTo>
                  <a:cubicBezTo>
                    <a:pt x="141" y="71"/>
                    <a:pt x="141" y="71"/>
                    <a:pt x="141" y="71"/>
                  </a:cubicBezTo>
                  <a:cubicBezTo>
                    <a:pt x="141" y="71"/>
                    <a:pt x="141" y="71"/>
                    <a:pt x="141" y="71"/>
                  </a:cubicBezTo>
                  <a:cubicBezTo>
                    <a:pt x="143" y="71"/>
                    <a:pt x="143" y="71"/>
                    <a:pt x="143" y="71"/>
                  </a:cubicBezTo>
                  <a:cubicBezTo>
                    <a:pt x="143" y="70"/>
                    <a:pt x="143" y="70"/>
                    <a:pt x="143" y="70"/>
                  </a:cubicBezTo>
                  <a:cubicBezTo>
                    <a:pt x="147" y="70"/>
                    <a:pt x="147" y="70"/>
                    <a:pt x="147" y="70"/>
                  </a:cubicBezTo>
                  <a:cubicBezTo>
                    <a:pt x="152" y="71"/>
                    <a:pt x="152" y="71"/>
                    <a:pt x="152" y="71"/>
                  </a:cubicBezTo>
                  <a:cubicBezTo>
                    <a:pt x="155" y="71"/>
                    <a:pt x="155" y="71"/>
                    <a:pt x="155" y="71"/>
                  </a:cubicBezTo>
                  <a:cubicBezTo>
                    <a:pt x="160" y="71"/>
                    <a:pt x="160" y="71"/>
                    <a:pt x="160" y="71"/>
                  </a:cubicBezTo>
                  <a:cubicBezTo>
                    <a:pt x="163" y="72"/>
                    <a:pt x="163" y="72"/>
                    <a:pt x="163" y="72"/>
                  </a:cubicBezTo>
                  <a:cubicBezTo>
                    <a:pt x="165" y="73"/>
                    <a:pt x="165" y="73"/>
                    <a:pt x="165" y="73"/>
                  </a:cubicBezTo>
                  <a:cubicBezTo>
                    <a:pt x="165" y="73"/>
                    <a:pt x="165" y="73"/>
                    <a:pt x="166" y="72"/>
                  </a:cubicBezTo>
                  <a:cubicBezTo>
                    <a:pt x="166" y="72"/>
                    <a:pt x="169" y="72"/>
                    <a:pt x="169" y="72"/>
                  </a:cubicBezTo>
                  <a:cubicBezTo>
                    <a:pt x="170" y="69"/>
                    <a:pt x="170" y="69"/>
                    <a:pt x="170" y="69"/>
                  </a:cubicBezTo>
                  <a:cubicBezTo>
                    <a:pt x="171" y="71"/>
                    <a:pt x="171" y="71"/>
                    <a:pt x="171" y="71"/>
                  </a:cubicBezTo>
                  <a:cubicBezTo>
                    <a:pt x="172" y="71"/>
                    <a:pt x="174" y="71"/>
                    <a:pt x="174" y="71"/>
                  </a:cubicBezTo>
                  <a:cubicBezTo>
                    <a:pt x="175" y="68"/>
                    <a:pt x="175" y="68"/>
                    <a:pt x="175" y="68"/>
                  </a:cubicBezTo>
                  <a:cubicBezTo>
                    <a:pt x="176" y="69"/>
                    <a:pt x="176" y="69"/>
                    <a:pt x="176" y="69"/>
                  </a:cubicBezTo>
                  <a:cubicBezTo>
                    <a:pt x="177" y="69"/>
                    <a:pt x="177" y="69"/>
                    <a:pt x="178" y="69"/>
                  </a:cubicBezTo>
                  <a:cubicBezTo>
                    <a:pt x="179" y="69"/>
                    <a:pt x="180" y="68"/>
                    <a:pt x="180" y="68"/>
                  </a:cubicBezTo>
                  <a:cubicBezTo>
                    <a:pt x="180" y="68"/>
                    <a:pt x="181" y="69"/>
                    <a:pt x="181" y="69"/>
                  </a:cubicBezTo>
                  <a:cubicBezTo>
                    <a:pt x="181" y="69"/>
                    <a:pt x="182" y="68"/>
                    <a:pt x="183" y="68"/>
                  </a:cubicBezTo>
                  <a:cubicBezTo>
                    <a:pt x="185" y="68"/>
                    <a:pt x="186" y="67"/>
                    <a:pt x="186" y="67"/>
                  </a:cubicBezTo>
                  <a:cubicBezTo>
                    <a:pt x="186" y="67"/>
                    <a:pt x="187" y="69"/>
                    <a:pt x="189" y="70"/>
                  </a:cubicBezTo>
                  <a:cubicBezTo>
                    <a:pt x="189" y="70"/>
                    <a:pt x="189" y="70"/>
                    <a:pt x="189" y="70"/>
                  </a:cubicBezTo>
                  <a:cubicBezTo>
                    <a:pt x="191" y="70"/>
                    <a:pt x="191" y="70"/>
                    <a:pt x="191" y="70"/>
                  </a:cubicBezTo>
                  <a:cubicBezTo>
                    <a:pt x="191" y="70"/>
                    <a:pt x="191" y="70"/>
                    <a:pt x="191" y="70"/>
                  </a:cubicBezTo>
                  <a:cubicBezTo>
                    <a:pt x="191" y="70"/>
                    <a:pt x="192" y="69"/>
                    <a:pt x="193" y="69"/>
                  </a:cubicBezTo>
                  <a:cubicBezTo>
                    <a:pt x="195" y="69"/>
                    <a:pt x="196" y="69"/>
                    <a:pt x="197" y="69"/>
                  </a:cubicBezTo>
                  <a:cubicBezTo>
                    <a:pt x="199" y="69"/>
                    <a:pt x="200" y="71"/>
                    <a:pt x="200" y="71"/>
                  </a:cubicBezTo>
                  <a:cubicBezTo>
                    <a:pt x="203" y="74"/>
                    <a:pt x="203" y="74"/>
                    <a:pt x="203" y="74"/>
                  </a:cubicBezTo>
                  <a:cubicBezTo>
                    <a:pt x="203" y="74"/>
                    <a:pt x="204" y="76"/>
                    <a:pt x="204" y="77"/>
                  </a:cubicBezTo>
                  <a:cubicBezTo>
                    <a:pt x="205" y="78"/>
                    <a:pt x="205" y="79"/>
                    <a:pt x="205" y="79"/>
                  </a:cubicBezTo>
                  <a:cubicBezTo>
                    <a:pt x="205" y="79"/>
                    <a:pt x="213" y="82"/>
                    <a:pt x="214" y="82"/>
                  </a:cubicBezTo>
                  <a:cubicBezTo>
                    <a:pt x="214" y="82"/>
                    <a:pt x="215" y="82"/>
                    <a:pt x="215" y="82"/>
                  </a:cubicBezTo>
                  <a:close/>
                  <a:moveTo>
                    <a:pt x="175" y="191"/>
                  </a:moveTo>
                  <a:cubicBezTo>
                    <a:pt x="175" y="191"/>
                    <a:pt x="175" y="191"/>
                    <a:pt x="175" y="191"/>
                  </a:cubicBezTo>
                  <a:cubicBezTo>
                    <a:pt x="176" y="191"/>
                    <a:pt x="176" y="190"/>
                    <a:pt x="176" y="190"/>
                  </a:cubicBezTo>
                  <a:cubicBezTo>
                    <a:pt x="179" y="190"/>
                    <a:pt x="179" y="190"/>
                    <a:pt x="179" y="190"/>
                  </a:cubicBezTo>
                  <a:cubicBezTo>
                    <a:pt x="179" y="190"/>
                    <a:pt x="179" y="190"/>
                    <a:pt x="179" y="190"/>
                  </a:cubicBezTo>
                  <a:cubicBezTo>
                    <a:pt x="182" y="191"/>
                    <a:pt x="182" y="191"/>
                    <a:pt x="182" y="191"/>
                  </a:cubicBezTo>
                  <a:cubicBezTo>
                    <a:pt x="184" y="193"/>
                    <a:pt x="184" y="193"/>
                    <a:pt x="184" y="193"/>
                  </a:cubicBezTo>
                  <a:cubicBezTo>
                    <a:pt x="185" y="195"/>
                    <a:pt x="185" y="195"/>
                    <a:pt x="185" y="195"/>
                  </a:cubicBezTo>
                  <a:cubicBezTo>
                    <a:pt x="187" y="197"/>
                    <a:pt x="187" y="197"/>
                    <a:pt x="187" y="197"/>
                  </a:cubicBezTo>
                  <a:cubicBezTo>
                    <a:pt x="192" y="200"/>
                    <a:pt x="192" y="200"/>
                    <a:pt x="192" y="200"/>
                  </a:cubicBezTo>
                  <a:cubicBezTo>
                    <a:pt x="198" y="203"/>
                    <a:pt x="198" y="203"/>
                    <a:pt x="198" y="203"/>
                  </a:cubicBezTo>
                  <a:cubicBezTo>
                    <a:pt x="198" y="203"/>
                    <a:pt x="202" y="205"/>
                    <a:pt x="203" y="205"/>
                  </a:cubicBezTo>
                  <a:cubicBezTo>
                    <a:pt x="203" y="205"/>
                    <a:pt x="203" y="206"/>
                    <a:pt x="204" y="206"/>
                  </a:cubicBezTo>
                  <a:cubicBezTo>
                    <a:pt x="204" y="207"/>
                    <a:pt x="206" y="210"/>
                    <a:pt x="206" y="210"/>
                  </a:cubicBezTo>
                  <a:cubicBezTo>
                    <a:pt x="207" y="211"/>
                    <a:pt x="204" y="209"/>
                    <a:pt x="204" y="209"/>
                  </a:cubicBezTo>
                  <a:cubicBezTo>
                    <a:pt x="204" y="209"/>
                    <a:pt x="203" y="207"/>
                    <a:pt x="202" y="206"/>
                  </a:cubicBezTo>
                  <a:cubicBezTo>
                    <a:pt x="200" y="206"/>
                    <a:pt x="198" y="206"/>
                    <a:pt x="197" y="205"/>
                  </a:cubicBezTo>
                  <a:cubicBezTo>
                    <a:pt x="196" y="204"/>
                    <a:pt x="196" y="203"/>
                    <a:pt x="196" y="203"/>
                  </a:cubicBezTo>
                  <a:cubicBezTo>
                    <a:pt x="195" y="203"/>
                    <a:pt x="195" y="201"/>
                    <a:pt x="192" y="201"/>
                  </a:cubicBezTo>
                  <a:cubicBezTo>
                    <a:pt x="189" y="200"/>
                    <a:pt x="189" y="201"/>
                    <a:pt x="188" y="199"/>
                  </a:cubicBezTo>
                  <a:cubicBezTo>
                    <a:pt x="187" y="196"/>
                    <a:pt x="187" y="198"/>
                    <a:pt x="186" y="196"/>
                  </a:cubicBezTo>
                  <a:cubicBezTo>
                    <a:pt x="184" y="195"/>
                    <a:pt x="185" y="196"/>
                    <a:pt x="181" y="195"/>
                  </a:cubicBezTo>
                  <a:cubicBezTo>
                    <a:pt x="178" y="193"/>
                    <a:pt x="180" y="194"/>
                    <a:pt x="180" y="193"/>
                  </a:cubicBezTo>
                  <a:cubicBezTo>
                    <a:pt x="179" y="191"/>
                    <a:pt x="180" y="192"/>
                    <a:pt x="178" y="192"/>
                  </a:cubicBezTo>
                  <a:cubicBezTo>
                    <a:pt x="177" y="191"/>
                    <a:pt x="178" y="191"/>
                    <a:pt x="177" y="191"/>
                  </a:cubicBezTo>
                  <a:cubicBezTo>
                    <a:pt x="177" y="191"/>
                    <a:pt x="176" y="192"/>
                    <a:pt x="175" y="192"/>
                  </a:cubicBezTo>
                  <a:cubicBezTo>
                    <a:pt x="175" y="191"/>
                    <a:pt x="175" y="191"/>
                    <a:pt x="175" y="191"/>
                  </a:cubicBezTo>
                  <a:close/>
                  <a:moveTo>
                    <a:pt x="169" y="198"/>
                  </a:moveTo>
                  <a:cubicBezTo>
                    <a:pt x="169" y="198"/>
                    <a:pt x="169" y="198"/>
                    <a:pt x="169" y="198"/>
                  </a:cubicBezTo>
                  <a:cubicBezTo>
                    <a:pt x="169" y="198"/>
                    <a:pt x="167" y="198"/>
                    <a:pt x="166" y="198"/>
                  </a:cubicBezTo>
                  <a:cubicBezTo>
                    <a:pt x="166" y="198"/>
                    <a:pt x="165" y="197"/>
                    <a:pt x="164" y="197"/>
                  </a:cubicBezTo>
                  <a:cubicBezTo>
                    <a:pt x="163" y="197"/>
                    <a:pt x="161" y="197"/>
                    <a:pt x="161" y="197"/>
                  </a:cubicBezTo>
                  <a:cubicBezTo>
                    <a:pt x="160" y="197"/>
                    <a:pt x="159" y="196"/>
                    <a:pt x="159" y="196"/>
                  </a:cubicBezTo>
                  <a:cubicBezTo>
                    <a:pt x="159" y="196"/>
                    <a:pt x="159" y="195"/>
                    <a:pt x="159" y="195"/>
                  </a:cubicBezTo>
                  <a:cubicBezTo>
                    <a:pt x="159" y="195"/>
                    <a:pt x="161" y="194"/>
                    <a:pt x="161" y="194"/>
                  </a:cubicBezTo>
                  <a:cubicBezTo>
                    <a:pt x="161" y="195"/>
                    <a:pt x="167" y="196"/>
                    <a:pt x="167" y="196"/>
                  </a:cubicBezTo>
                  <a:cubicBezTo>
                    <a:pt x="171" y="196"/>
                    <a:pt x="171" y="196"/>
                    <a:pt x="171" y="196"/>
                  </a:cubicBezTo>
                  <a:cubicBezTo>
                    <a:pt x="171" y="196"/>
                    <a:pt x="172" y="196"/>
                    <a:pt x="172" y="196"/>
                  </a:cubicBezTo>
                  <a:cubicBezTo>
                    <a:pt x="172" y="196"/>
                    <a:pt x="173" y="196"/>
                    <a:pt x="174" y="197"/>
                  </a:cubicBezTo>
                  <a:cubicBezTo>
                    <a:pt x="175" y="197"/>
                    <a:pt x="175" y="197"/>
                    <a:pt x="175" y="198"/>
                  </a:cubicBezTo>
                  <a:cubicBezTo>
                    <a:pt x="175" y="198"/>
                    <a:pt x="176" y="199"/>
                    <a:pt x="175" y="199"/>
                  </a:cubicBezTo>
                  <a:cubicBezTo>
                    <a:pt x="175" y="199"/>
                    <a:pt x="174" y="199"/>
                    <a:pt x="174" y="199"/>
                  </a:cubicBezTo>
                  <a:cubicBezTo>
                    <a:pt x="174" y="199"/>
                    <a:pt x="172" y="198"/>
                    <a:pt x="172" y="198"/>
                  </a:cubicBezTo>
                  <a:cubicBezTo>
                    <a:pt x="170" y="198"/>
                    <a:pt x="170" y="198"/>
                    <a:pt x="170" y="198"/>
                  </a:cubicBezTo>
                  <a:cubicBezTo>
                    <a:pt x="169" y="198"/>
                    <a:pt x="169" y="198"/>
                    <a:pt x="169" y="198"/>
                  </a:cubicBezTo>
                  <a:close/>
                  <a:moveTo>
                    <a:pt x="138" y="199"/>
                  </a:moveTo>
                  <a:cubicBezTo>
                    <a:pt x="138" y="199"/>
                    <a:pt x="138" y="199"/>
                    <a:pt x="138" y="199"/>
                  </a:cubicBezTo>
                  <a:cubicBezTo>
                    <a:pt x="138" y="199"/>
                    <a:pt x="142" y="198"/>
                    <a:pt x="142" y="198"/>
                  </a:cubicBezTo>
                  <a:cubicBezTo>
                    <a:pt x="144" y="199"/>
                    <a:pt x="144" y="199"/>
                    <a:pt x="144" y="199"/>
                  </a:cubicBezTo>
                  <a:cubicBezTo>
                    <a:pt x="144" y="199"/>
                    <a:pt x="144" y="200"/>
                    <a:pt x="143" y="200"/>
                  </a:cubicBezTo>
                  <a:cubicBezTo>
                    <a:pt x="143" y="200"/>
                    <a:pt x="141" y="202"/>
                    <a:pt x="141" y="202"/>
                  </a:cubicBezTo>
                  <a:cubicBezTo>
                    <a:pt x="138" y="200"/>
                    <a:pt x="138" y="200"/>
                    <a:pt x="138" y="200"/>
                  </a:cubicBezTo>
                  <a:cubicBezTo>
                    <a:pt x="138" y="199"/>
                    <a:pt x="138" y="199"/>
                    <a:pt x="138" y="199"/>
                  </a:cubicBezTo>
                  <a:close/>
                  <a:moveTo>
                    <a:pt x="107" y="194"/>
                  </a:moveTo>
                  <a:cubicBezTo>
                    <a:pt x="107" y="194"/>
                    <a:pt x="107" y="194"/>
                    <a:pt x="107" y="194"/>
                  </a:cubicBezTo>
                  <a:cubicBezTo>
                    <a:pt x="108" y="194"/>
                    <a:pt x="109" y="193"/>
                    <a:pt x="109" y="194"/>
                  </a:cubicBezTo>
                  <a:cubicBezTo>
                    <a:pt x="109" y="195"/>
                    <a:pt x="108" y="196"/>
                    <a:pt x="108" y="196"/>
                  </a:cubicBezTo>
                  <a:cubicBezTo>
                    <a:pt x="108" y="196"/>
                    <a:pt x="107" y="196"/>
                    <a:pt x="107" y="196"/>
                  </a:cubicBezTo>
                  <a:cubicBezTo>
                    <a:pt x="107" y="195"/>
                    <a:pt x="107" y="194"/>
                    <a:pt x="107" y="194"/>
                  </a:cubicBezTo>
                  <a:close/>
                  <a:moveTo>
                    <a:pt x="113" y="189"/>
                  </a:moveTo>
                  <a:cubicBezTo>
                    <a:pt x="113" y="189"/>
                    <a:pt x="113" y="189"/>
                    <a:pt x="113" y="189"/>
                  </a:cubicBezTo>
                  <a:cubicBezTo>
                    <a:pt x="113" y="189"/>
                    <a:pt x="115" y="188"/>
                    <a:pt x="115" y="188"/>
                  </a:cubicBezTo>
                  <a:cubicBezTo>
                    <a:pt x="116" y="189"/>
                    <a:pt x="117" y="189"/>
                    <a:pt x="116" y="190"/>
                  </a:cubicBezTo>
                  <a:cubicBezTo>
                    <a:pt x="116" y="190"/>
                    <a:pt x="116" y="190"/>
                    <a:pt x="115" y="191"/>
                  </a:cubicBezTo>
                  <a:cubicBezTo>
                    <a:pt x="114" y="192"/>
                    <a:pt x="112" y="193"/>
                    <a:pt x="112" y="193"/>
                  </a:cubicBezTo>
                  <a:cubicBezTo>
                    <a:pt x="112" y="193"/>
                    <a:pt x="112" y="193"/>
                    <a:pt x="111" y="193"/>
                  </a:cubicBezTo>
                  <a:cubicBezTo>
                    <a:pt x="109" y="192"/>
                    <a:pt x="108" y="191"/>
                    <a:pt x="108" y="191"/>
                  </a:cubicBezTo>
                  <a:cubicBezTo>
                    <a:pt x="108" y="191"/>
                    <a:pt x="107" y="190"/>
                    <a:pt x="109" y="190"/>
                  </a:cubicBezTo>
                  <a:cubicBezTo>
                    <a:pt x="110" y="189"/>
                    <a:pt x="111" y="189"/>
                    <a:pt x="111" y="189"/>
                  </a:cubicBezTo>
                  <a:cubicBezTo>
                    <a:pt x="112" y="189"/>
                    <a:pt x="113" y="189"/>
                    <a:pt x="113" y="189"/>
                  </a:cubicBezTo>
                  <a:close/>
                  <a:moveTo>
                    <a:pt x="124" y="178"/>
                  </a:moveTo>
                  <a:cubicBezTo>
                    <a:pt x="124" y="178"/>
                    <a:pt x="124" y="178"/>
                    <a:pt x="124" y="178"/>
                  </a:cubicBezTo>
                  <a:cubicBezTo>
                    <a:pt x="124" y="178"/>
                    <a:pt x="126" y="177"/>
                    <a:pt x="126" y="177"/>
                  </a:cubicBezTo>
                  <a:cubicBezTo>
                    <a:pt x="126" y="177"/>
                    <a:pt x="126" y="177"/>
                    <a:pt x="127" y="177"/>
                  </a:cubicBezTo>
                  <a:cubicBezTo>
                    <a:pt x="127" y="177"/>
                    <a:pt x="127" y="177"/>
                    <a:pt x="128" y="177"/>
                  </a:cubicBezTo>
                  <a:cubicBezTo>
                    <a:pt x="128" y="177"/>
                    <a:pt x="129" y="176"/>
                    <a:pt x="130" y="177"/>
                  </a:cubicBezTo>
                  <a:cubicBezTo>
                    <a:pt x="131" y="177"/>
                    <a:pt x="131" y="178"/>
                    <a:pt x="132" y="178"/>
                  </a:cubicBezTo>
                  <a:cubicBezTo>
                    <a:pt x="132" y="178"/>
                    <a:pt x="133" y="178"/>
                    <a:pt x="133" y="178"/>
                  </a:cubicBezTo>
                  <a:cubicBezTo>
                    <a:pt x="134" y="178"/>
                    <a:pt x="134" y="178"/>
                    <a:pt x="136" y="178"/>
                  </a:cubicBezTo>
                  <a:cubicBezTo>
                    <a:pt x="138" y="178"/>
                    <a:pt x="141" y="178"/>
                    <a:pt x="141" y="178"/>
                  </a:cubicBezTo>
                  <a:cubicBezTo>
                    <a:pt x="141" y="179"/>
                    <a:pt x="142" y="178"/>
                    <a:pt x="143" y="178"/>
                  </a:cubicBezTo>
                  <a:cubicBezTo>
                    <a:pt x="145" y="179"/>
                    <a:pt x="145" y="179"/>
                    <a:pt x="145" y="179"/>
                  </a:cubicBezTo>
                  <a:cubicBezTo>
                    <a:pt x="146" y="179"/>
                    <a:pt x="145" y="180"/>
                    <a:pt x="147" y="179"/>
                  </a:cubicBezTo>
                  <a:cubicBezTo>
                    <a:pt x="148" y="179"/>
                    <a:pt x="148" y="179"/>
                    <a:pt x="148" y="179"/>
                  </a:cubicBezTo>
                  <a:cubicBezTo>
                    <a:pt x="148" y="179"/>
                    <a:pt x="148" y="179"/>
                    <a:pt x="149" y="178"/>
                  </a:cubicBezTo>
                  <a:cubicBezTo>
                    <a:pt x="150" y="178"/>
                    <a:pt x="151" y="177"/>
                    <a:pt x="151" y="177"/>
                  </a:cubicBezTo>
                  <a:cubicBezTo>
                    <a:pt x="152" y="177"/>
                    <a:pt x="152" y="177"/>
                    <a:pt x="152" y="177"/>
                  </a:cubicBezTo>
                  <a:cubicBezTo>
                    <a:pt x="152" y="180"/>
                    <a:pt x="152" y="180"/>
                    <a:pt x="152" y="180"/>
                  </a:cubicBezTo>
                  <a:cubicBezTo>
                    <a:pt x="152" y="180"/>
                    <a:pt x="152" y="180"/>
                    <a:pt x="152" y="181"/>
                  </a:cubicBezTo>
                  <a:cubicBezTo>
                    <a:pt x="152" y="181"/>
                    <a:pt x="151" y="182"/>
                    <a:pt x="150" y="182"/>
                  </a:cubicBezTo>
                  <a:cubicBezTo>
                    <a:pt x="150" y="182"/>
                    <a:pt x="149" y="181"/>
                    <a:pt x="149" y="181"/>
                  </a:cubicBezTo>
                  <a:cubicBezTo>
                    <a:pt x="149" y="180"/>
                    <a:pt x="148" y="180"/>
                    <a:pt x="148" y="180"/>
                  </a:cubicBezTo>
                  <a:cubicBezTo>
                    <a:pt x="147" y="180"/>
                    <a:pt x="146" y="181"/>
                    <a:pt x="145" y="181"/>
                  </a:cubicBezTo>
                  <a:cubicBezTo>
                    <a:pt x="145" y="181"/>
                    <a:pt x="144" y="180"/>
                    <a:pt x="144" y="180"/>
                  </a:cubicBezTo>
                  <a:cubicBezTo>
                    <a:pt x="144" y="180"/>
                    <a:pt x="142" y="180"/>
                    <a:pt x="141" y="180"/>
                  </a:cubicBezTo>
                  <a:cubicBezTo>
                    <a:pt x="141" y="180"/>
                    <a:pt x="140" y="180"/>
                    <a:pt x="139" y="180"/>
                  </a:cubicBezTo>
                  <a:cubicBezTo>
                    <a:pt x="138" y="180"/>
                    <a:pt x="137" y="180"/>
                    <a:pt x="136" y="180"/>
                  </a:cubicBezTo>
                  <a:cubicBezTo>
                    <a:pt x="135" y="181"/>
                    <a:pt x="133" y="180"/>
                    <a:pt x="133" y="181"/>
                  </a:cubicBezTo>
                  <a:cubicBezTo>
                    <a:pt x="133" y="181"/>
                    <a:pt x="133" y="182"/>
                    <a:pt x="133" y="182"/>
                  </a:cubicBezTo>
                  <a:cubicBezTo>
                    <a:pt x="133" y="182"/>
                    <a:pt x="134" y="183"/>
                    <a:pt x="133" y="183"/>
                  </a:cubicBezTo>
                  <a:cubicBezTo>
                    <a:pt x="131" y="183"/>
                    <a:pt x="131" y="183"/>
                    <a:pt x="131" y="182"/>
                  </a:cubicBezTo>
                  <a:cubicBezTo>
                    <a:pt x="130" y="181"/>
                    <a:pt x="132" y="180"/>
                    <a:pt x="129" y="181"/>
                  </a:cubicBezTo>
                  <a:cubicBezTo>
                    <a:pt x="127" y="181"/>
                    <a:pt x="127" y="180"/>
                    <a:pt x="126" y="180"/>
                  </a:cubicBezTo>
                  <a:cubicBezTo>
                    <a:pt x="126" y="181"/>
                    <a:pt x="124" y="179"/>
                    <a:pt x="123" y="180"/>
                  </a:cubicBezTo>
                  <a:cubicBezTo>
                    <a:pt x="123" y="180"/>
                    <a:pt x="122" y="181"/>
                    <a:pt x="122" y="181"/>
                  </a:cubicBezTo>
                  <a:cubicBezTo>
                    <a:pt x="122" y="181"/>
                    <a:pt x="119" y="181"/>
                    <a:pt x="119" y="181"/>
                  </a:cubicBezTo>
                  <a:cubicBezTo>
                    <a:pt x="119" y="181"/>
                    <a:pt x="120" y="178"/>
                    <a:pt x="120" y="178"/>
                  </a:cubicBezTo>
                  <a:cubicBezTo>
                    <a:pt x="120" y="178"/>
                    <a:pt x="120" y="178"/>
                    <a:pt x="121" y="178"/>
                  </a:cubicBezTo>
                  <a:cubicBezTo>
                    <a:pt x="122" y="178"/>
                    <a:pt x="123" y="178"/>
                    <a:pt x="123" y="178"/>
                  </a:cubicBezTo>
                  <a:cubicBezTo>
                    <a:pt x="124" y="178"/>
                    <a:pt x="124" y="178"/>
                    <a:pt x="124" y="178"/>
                  </a:cubicBezTo>
                  <a:close/>
                  <a:moveTo>
                    <a:pt x="120" y="172"/>
                  </a:moveTo>
                  <a:cubicBezTo>
                    <a:pt x="120" y="172"/>
                    <a:pt x="120" y="172"/>
                    <a:pt x="120" y="172"/>
                  </a:cubicBezTo>
                  <a:cubicBezTo>
                    <a:pt x="120" y="172"/>
                    <a:pt x="116" y="170"/>
                    <a:pt x="116" y="170"/>
                  </a:cubicBezTo>
                  <a:cubicBezTo>
                    <a:pt x="115" y="170"/>
                    <a:pt x="114" y="170"/>
                    <a:pt x="113" y="170"/>
                  </a:cubicBezTo>
                  <a:cubicBezTo>
                    <a:pt x="113" y="170"/>
                    <a:pt x="111" y="169"/>
                    <a:pt x="112" y="168"/>
                  </a:cubicBezTo>
                  <a:cubicBezTo>
                    <a:pt x="112" y="168"/>
                    <a:pt x="113" y="167"/>
                    <a:pt x="114" y="168"/>
                  </a:cubicBezTo>
                  <a:cubicBezTo>
                    <a:pt x="115" y="169"/>
                    <a:pt x="116" y="169"/>
                    <a:pt x="116" y="170"/>
                  </a:cubicBezTo>
                  <a:cubicBezTo>
                    <a:pt x="117" y="170"/>
                    <a:pt x="119" y="171"/>
                    <a:pt x="119" y="171"/>
                  </a:cubicBezTo>
                  <a:cubicBezTo>
                    <a:pt x="120" y="171"/>
                    <a:pt x="120" y="172"/>
                    <a:pt x="120" y="171"/>
                  </a:cubicBezTo>
                  <a:cubicBezTo>
                    <a:pt x="121" y="171"/>
                    <a:pt x="121" y="169"/>
                    <a:pt x="121" y="169"/>
                  </a:cubicBezTo>
                  <a:cubicBezTo>
                    <a:pt x="121" y="168"/>
                    <a:pt x="120" y="168"/>
                    <a:pt x="120" y="168"/>
                  </a:cubicBezTo>
                  <a:cubicBezTo>
                    <a:pt x="121" y="168"/>
                    <a:pt x="123" y="167"/>
                    <a:pt x="123" y="167"/>
                  </a:cubicBezTo>
                  <a:cubicBezTo>
                    <a:pt x="124" y="168"/>
                    <a:pt x="125" y="168"/>
                    <a:pt x="126" y="168"/>
                  </a:cubicBezTo>
                  <a:cubicBezTo>
                    <a:pt x="126" y="168"/>
                    <a:pt x="125" y="168"/>
                    <a:pt x="129" y="168"/>
                  </a:cubicBezTo>
                  <a:cubicBezTo>
                    <a:pt x="132" y="168"/>
                    <a:pt x="131" y="168"/>
                    <a:pt x="133" y="168"/>
                  </a:cubicBezTo>
                  <a:cubicBezTo>
                    <a:pt x="134" y="168"/>
                    <a:pt x="136" y="168"/>
                    <a:pt x="136" y="168"/>
                  </a:cubicBezTo>
                  <a:cubicBezTo>
                    <a:pt x="136" y="169"/>
                    <a:pt x="138" y="170"/>
                    <a:pt x="138" y="170"/>
                  </a:cubicBezTo>
                  <a:cubicBezTo>
                    <a:pt x="138" y="171"/>
                    <a:pt x="139" y="171"/>
                    <a:pt x="138" y="172"/>
                  </a:cubicBezTo>
                  <a:cubicBezTo>
                    <a:pt x="136" y="173"/>
                    <a:pt x="136" y="173"/>
                    <a:pt x="134" y="173"/>
                  </a:cubicBezTo>
                  <a:cubicBezTo>
                    <a:pt x="133" y="173"/>
                    <a:pt x="134" y="173"/>
                    <a:pt x="132" y="174"/>
                  </a:cubicBezTo>
                  <a:cubicBezTo>
                    <a:pt x="129" y="174"/>
                    <a:pt x="127" y="174"/>
                    <a:pt x="127" y="174"/>
                  </a:cubicBezTo>
                  <a:cubicBezTo>
                    <a:pt x="127" y="174"/>
                    <a:pt x="128" y="174"/>
                    <a:pt x="125" y="174"/>
                  </a:cubicBezTo>
                  <a:cubicBezTo>
                    <a:pt x="123" y="173"/>
                    <a:pt x="122" y="174"/>
                    <a:pt x="121" y="173"/>
                  </a:cubicBezTo>
                  <a:cubicBezTo>
                    <a:pt x="121" y="173"/>
                    <a:pt x="120" y="172"/>
                    <a:pt x="120" y="172"/>
                  </a:cubicBezTo>
                  <a:close/>
                  <a:moveTo>
                    <a:pt x="50" y="94"/>
                  </a:moveTo>
                  <a:cubicBezTo>
                    <a:pt x="50" y="94"/>
                    <a:pt x="50" y="94"/>
                    <a:pt x="50" y="94"/>
                  </a:cubicBezTo>
                  <a:cubicBezTo>
                    <a:pt x="50" y="94"/>
                    <a:pt x="50" y="93"/>
                    <a:pt x="50" y="93"/>
                  </a:cubicBezTo>
                  <a:cubicBezTo>
                    <a:pt x="50" y="93"/>
                    <a:pt x="50" y="93"/>
                    <a:pt x="50" y="93"/>
                  </a:cubicBezTo>
                  <a:cubicBezTo>
                    <a:pt x="50" y="93"/>
                    <a:pt x="51" y="93"/>
                    <a:pt x="51" y="93"/>
                  </a:cubicBezTo>
                  <a:cubicBezTo>
                    <a:pt x="51" y="94"/>
                    <a:pt x="51" y="94"/>
                    <a:pt x="52" y="94"/>
                  </a:cubicBezTo>
                  <a:cubicBezTo>
                    <a:pt x="52" y="94"/>
                    <a:pt x="52" y="94"/>
                    <a:pt x="53" y="94"/>
                  </a:cubicBezTo>
                  <a:cubicBezTo>
                    <a:pt x="53" y="95"/>
                    <a:pt x="53" y="95"/>
                    <a:pt x="53" y="95"/>
                  </a:cubicBezTo>
                  <a:cubicBezTo>
                    <a:pt x="53" y="95"/>
                    <a:pt x="53" y="97"/>
                    <a:pt x="52" y="96"/>
                  </a:cubicBezTo>
                  <a:cubicBezTo>
                    <a:pt x="51" y="96"/>
                    <a:pt x="50" y="96"/>
                    <a:pt x="50" y="95"/>
                  </a:cubicBezTo>
                  <a:cubicBezTo>
                    <a:pt x="50" y="95"/>
                    <a:pt x="50" y="94"/>
                    <a:pt x="50" y="94"/>
                  </a:cubicBezTo>
                  <a:close/>
                  <a:moveTo>
                    <a:pt x="51" y="103"/>
                  </a:moveTo>
                  <a:cubicBezTo>
                    <a:pt x="51" y="103"/>
                    <a:pt x="51" y="103"/>
                    <a:pt x="51" y="103"/>
                  </a:cubicBezTo>
                  <a:cubicBezTo>
                    <a:pt x="51" y="103"/>
                    <a:pt x="50" y="103"/>
                    <a:pt x="50" y="103"/>
                  </a:cubicBezTo>
                  <a:cubicBezTo>
                    <a:pt x="50" y="103"/>
                    <a:pt x="48" y="102"/>
                    <a:pt x="47" y="102"/>
                  </a:cubicBezTo>
                  <a:cubicBezTo>
                    <a:pt x="47" y="101"/>
                    <a:pt x="47" y="101"/>
                    <a:pt x="48" y="101"/>
                  </a:cubicBezTo>
                  <a:cubicBezTo>
                    <a:pt x="48" y="100"/>
                    <a:pt x="48" y="99"/>
                    <a:pt x="48" y="99"/>
                  </a:cubicBezTo>
                  <a:cubicBezTo>
                    <a:pt x="48" y="99"/>
                    <a:pt x="49" y="98"/>
                    <a:pt x="49" y="98"/>
                  </a:cubicBezTo>
                  <a:cubicBezTo>
                    <a:pt x="50" y="98"/>
                    <a:pt x="50" y="98"/>
                    <a:pt x="50" y="98"/>
                  </a:cubicBezTo>
                  <a:cubicBezTo>
                    <a:pt x="50" y="98"/>
                    <a:pt x="50" y="97"/>
                    <a:pt x="50" y="97"/>
                  </a:cubicBezTo>
                  <a:cubicBezTo>
                    <a:pt x="50" y="96"/>
                    <a:pt x="51" y="96"/>
                    <a:pt x="51" y="96"/>
                  </a:cubicBezTo>
                  <a:cubicBezTo>
                    <a:pt x="51" y="96"/>
                    <a:pt x="53" y="98"/>
                    <a:pt x="53" y="99"/>
                  </a:cubicBezTo>
                  <a:cubicBezTo>
                    <a:pt x="53" y="99"/>
                    <a:pt x="50" y="99"/>
                    <a:pt x="50" y="99"/>
                  </a:cubicBezTo>
                  <a:cubicBezTo>
                    <a:pt x="50" y="99"/>
                    <a:pt x="50" y="99"/>
                    <a:pt x="51" y="101"/>
                  </a:cubicBezTo>
                  <a:cubicBezTo>
                    <a:pt x="52" y="102"/>
                    <a:pt x="52" y="101"/>
                    <a:pt x="52" y="101"/>
                  </a:cubicBezTo>
                  <a:cubicBezTo>
                    <a:pt x="52" y="102"/>
                    <a:pt x="52" y="102"/>
                    <a:pt x="54" y="102"/>
                  </a:cubicBezTo>
                  <a:cubicBezTo>
                    <a:pt x="55" y="103"/>
                    <a:pt x="54" y="103"/>
                    <a:pt x="55" y="104"/>
                  </a:cubicBezTo>
                  <a:cubicBezTo>
                    <a:pt x="55" y="104"/>
                    <a:pt x="54" y="105"/>
                    <a:pt x="54" y="105"/>
                  </a:cubicBezTo>
                  <a:cubicBezTo>
                    <a:pt x="53" y="106"/>
                    <a:pt x="53" y="105"/>
                    <a:pt x="53" y="105"/>
                  </a:cubicBezTo>
                  <a:cubicBezTo>
                    <a:pt x="53" y="105"/>
                    <a:pt x="52" y="103"/>
                    <a:pt x="51" y="103"/>
                  </a:cubicBezTo>
                  <a:close/>
                  <a:moveTo>
                    <a:pt x="55" y="117"/>
                  </a:moveTo>
                  <a:cubicBezTo>
                    <a:pt x="55" y="117"/>
                    <a:pt x="55" y="117"/>
                    <a:pt x="55" y="117"/>
                  </a:cubicBezTo>
                  <a:cubicBezTo>
                    <a:pt x="55" y="117"/>
                    <a:pt x="56" y="116"/>
                    <a:pt x="56" y="117"/>
                  </a:cubicBezTo>
                  <a:cubicBezTo>
                    <a:pt x="57" y="117"/>
                    <a:pt x="57" y="118"/>
                    <a:pt x="57" y="118"/>
                  </a:cubicBezTo>
                  <a:cubicBezTo>
                    <a:pt x="58" y="119"/>
                    <a:pt x="59" y="119"/>
                    <a:pt x="60" y="119"/>
                  </a:cubicBezTo>
                  <a:cubicBezTo>
                    <a:pt x="60" y="120"/>
                    <a:pt x="60" y="121"/>
                    <a:pt x="60" y="121"/>
                  </a:cubicBezTo>
                  <a:cubicBezTo>
                    <a:pt x="60" y="121"/>
                    <a:pt x="59" y="122"/>
                    <a:pt x="59" y="121"/>
                  </a:cubicBezTo>
                  <a:cubicBezTo>
                    <a:pt x="58" y="120"/>
                    <a:pt x="58" y="120"/>
                    <a:pt x="58" y="120"/>
                  </a:cubicBezTo>
                  <a:cubicBezTo>
                    <a:pt x="58" y="120"/>
                    <a:pt x="57" y="119"/>
                    <a:pt x="57" y="119"/>
                  </a:cubicBezTo>
                  <a:cubicBezTo>
                    <a:pt x="57" y="119"/>
                    <a:pt x="55" y="117"/>
                    <a:pt x="55" y="117"/>
                  </a:cubicBezTo>
                  <a:close/>
                  <a:moveTo>
                    <a:pt x="53" y="121"/>
                  </a:moveTo>
                  <a:cubicBezTo>
                    <a:pt x="53" y="121"/>
                    <a:pt x="53" y="121"/>
                    <a:pt x="53" y="121"/>
                  </a:cubicBezTo>
                  <a:cubicBezTo>
                    <a:pt x="53" y="121"/>
                    <a:pt x="53" y="120"/>
                    <a:pt x="53" y="120"/>
                  </a:cubicBezTo>
                  <a:cubicBezTo>
                    <a:pt x="53" y="120"/>
                    <a:pt x="54" y="120"/>
                    <a:pt x="54" y="121"/>
                  </a:cubicBezTo>
                  <a:cubicBezTo>
                    <a:pt x="54" y="121"/>
                    <a:pt x="55" y="122"/>
                    <a:pt x="55" y="122"/>
                  </a:cubicBezTo>
                  <a:cubicBezTo>
                    <a:pt x="55" y="123"/>
                    <a:pt x="54" y="123"/>
                    <a:pt x="54" y="123"/>
                  </a:cubicBezTo>
                  <a:cubicBezTo>
                    <a:pt x="54" y="124"/>
                    <a:pt x="55" y="124"/>
                    <a:pt x="54" y="124"/>
                  </a:cubicBezTo>
                  <a:cubicBezTo>
                    <a:pt x="53" y="124"/>
                    <a:pt x="53" y="124"/>
                    <a:pt x="53" y="124"/>
                  </a:cubicBezTo>
                  <a:cubicBezTo>
                    <a:pt x="53" y="124"/>
                    <a:pt x="53" y="123"/>
                    <a:pt x="53" y="123"/>
                  </a:cubicBezTo>
                  <a:cubicBezTo>
                    <a:pt x="53" y="122"/>
                    <a:pt x="53" y="121"/>
                    <a:pt x="53" y="121"/>
                  </a:cubicBezTo>
                  <a:close/>
                  <a:moveTo>
                    <a:pt x="49" y="121"/>
                  </a:moveTo>
                  <a:cubicBezTo>
                    <a:pt x="49" y="121"/>
                    <a:pt x="49" y="121"/>
                    <a:pt x="49" y="121"/>
                  </a:cubicBezTo>
                  <a:cubicBezTo>
                    <a:pt x="49" y="121"/>
                    <a:pt x="50" y="121"/>
                    <a:pt x="50" y="122"/>
                  </a:cubicBezTo>
                  <a:cubicBezTo>
                    <a:pt x="50" y="122"/>
                    <a:pt x="51" y="122"/>
                    <a:pt x="51" y="123"/>
                  </a:cubicBezTo>
                  <a:cubicBezTo>
                    <a:pt x="51" y="123"/>
                    <a:pt x="51" y="123"/>
                    <a:pt x="51" y="124"/>
                  </a:cubicBezTo>
                  <a:cubicBezTo>
                    <a:pt x="51" y="125"/>
                    <a:pt x="52" y="125"/>
                    <a:pt x="51" y="125"/>
                  </a:cubicBezTo>
                  <a:cubicBezTo>
                    <a:pt x="50" y="124"/>
                    <a:pt x="50" y="124"/>
                    <a:pt x="50" y="124"/>
                  </a:cubicBezTo>
                  <a:cubicBezTo>
                    <a:pt x="49" y="123"/>
                    <a:pt x="49" y="123"/>
                    <a:pt x="49" y="123"/>
                  </a:cubicBezTo>
                  <a:cubicBezTo>
                    <a:pt x="49" y="122"/>
                    <a:pt x="49" y="122"/>
                    <a:pt x="49" y="122"/>
                  </a:cubicBezTo>
                  <a:cubicBezTo>
                    <a:pt x="49" y="121"/>
                    <a:pt x="49" y="121"/>
                    <a:pt x="49" y="121"/>
                  </a:cubicBezTo>
                  <a:close/>
                  <a:moveTo>
                    <a:pt x="34" y="116"/>
                  </a:moveTo>
                  <a:cubicBezTo>
                    <a:pt x="34" y="116"/>
                    <a:pt x="34" y="116"/>
                    <a:pt x="34" y="116"/>
                  </a:cubicBezTo>
                  <a:cubicBezTo>
                    <a:pt x="34" y="116"/>
                    <a:pt x="35" y="116"/>
                    <a:pt x="35" y="116"/>
                  </a:cubicBezTo>
                  <a:cubicBezTo>
                    <a:pt x="36" y="117"/>
                    <a:pt x="35" y="117"/>
                    <a:pt x="36" y="118"/>
                  </a:cubicBezTo>
                  <a:cubicBezTo>
                    <a:pt x="36" y="118"/>
                    <a:pt x="35" y="119"/>
                    <a:pt x="35" y="119"/>
                  </a:cubicBezTo>
                  <a:cubicBezTo>
                    <a:pt x="34" y="118"/>
                    <a:pt x="34" y="118"/>
                    <a:pt x="34" y="118"/>
                  </a:cubicBezTo>
                  <a:cubicBezTo>
                    <a:pt x="34" y="116"/>
                    <a:pt x="34" y="116"/>
                    <a:pt x="34" y="116"/>
                  </a:cubicBezTo>
                  <a:close/>
                  <a:moveTo>
                    <a:pt x="34" y="112"/>
                  </a:moveTo>
                  <a:cubicBezTo>
                    <a:pt x="34" y="112"/>
                    <a:pt x="34" y="112"/>
                    <a:pt x="34" y="112"/>
                  </a:cubicBezTo>
                  <a:cubicBezTo>
                    <a:pt x="34" y="112"/>
                    <a:pt x="32" y="112"/>
                    <a:pt x="32" y="112"/>
                  </a:cubicBezTo>
                  <a:cubicBezTo>
                    <a:pt x="32" y="112"/>
                    <a:pt x="31" y="112"/>
                    <a:pt x="31" y="111"/>
                  </a:cubicBezTo>
                  <a:cubicBezTo>
                    <a:pt x="31" y="111"/>
                    <a:pt x="31" y="110"/>
                    <a:pt x="32" y="110"/>
                  </a:cubicBezTo>
                  <a:cubicBezTo>
                    <a:pt x="32" y="110"/>
                    <a:pt x="32" y="109"/>
                    <a:pt x="32" y="108"/>
                  </a:cubicBezTo>
                  <a:cubicBezTo>
                    <a:pt x="32" y="108"/>
                    <a:pt x="33" y="108"/>
                    <a:pt x="33" y="108"/>
                  </a:cubicBezTo>
                  <a:cubicBezTo>
                    <a:pt x="33" y="108"/>
                    <a:pt x="34" y="109"/>
                    <a:pt x="34" y="109"/>
                  </a:cubicBezTo>
                  <a:cubicBezTo>
                    <a:pt x="34" y="109"/>
                    <a:pt x="34" y="111"/>
                    <a:pt x="34" y="112"/>
                  </a:cubicBezTo>
                  <a:close/>
                  <a:moveTo>
                    <a:pt x="34" y="89"/>
                  </a:moveTo>
                  <a:cubicBezTo>
                    <a:pt x="34" y="89"/>
                    <a:pt x="34" y="89"/>
                    <a:pt x="34" y="89"/>
                  </a:cubicBezTo>
                  <a:cubicBezTo>
                    <a:pt x="34" y="89"/>
                    <a:pt x="36" y="89"/>
                    <a:pt x="36" y="89"/>
                  </a:cubicBezTo>
                  <a:cubicBezTo>
                    <a:pt x="36" y="89"/>
                    <a:pt x="36" y="90"/>
                    <a:pt x="36" y="91"/>
                  </a:cubicBezTo>
                  <a:cubicBezTo>
                    <a:pt x="37" y="91"/>
                    <a:pt x="37" y="92"/>
                    <a:pt x="37" y="92"/>
                  </a:cubicBezTo>
                  <a:cubicBezTo>
                    <a:pt x="38" y="92"/>
                    <a:pt x="38" y="92"/>
                    <a:pt x="38" y="92"/>
                  </a:cubicBezTo>
                  <a:cubicBezTo>
                    <a:pt x="38" y="92"/>
                    <a:pt x="39" y="91"/>
                    <a:pt x="39" y="92"/>
                  </a:cubicBezTo>
                  <a:cubicBezTo>
                    <a:pt x="40" y="92"/>
                    <a:pt x="41" y="91"/>
                    <a:pt x="41" y="91"/>
                  </a:cubicBezTo>
                  <a:cubicBezTo>
                    <a:pt x="41" y="91"/>
                    <a:pt x="42" y="92"/>
                    <a:pt x="42" y="92"/>
                  </a:cubicBezTo>
                  <a:cubicBezTo>
                    <a:pt x="42" y="93"/>
                    <a:pt x="41" y="94"/>
                    <a:pt x="41" y="94"/>
                  </a:cubicBezTo>
                  <a:cubicBezTo>
                    <a:pt x="40" y="94"/>
                    <a:pt x="39" y="93"/>
                    <a:pt x="39" y="93"/>
                  </a:cubicBezTo>
                  <a:cubicBezTo>
                    <a:pt x="39" y="93"/>
                    <a:pt x="38" y="92"/>
                    <a:pt x="38" y="93"/>
                  </a:cubicBezTo>
                  <a:cubicBezTo>
                    <a:pt x="38" y="93"/>
                    <a:pt x="38" y="94"/>
                    <a:pt x="38" y="95"/>
                  </a:cubicBezTo>
                  <a:cubicBezTo>
                    <a:pt x="39" y="95"/>
                    <a:pt x="39" y="95"/>
                    <a:pt x="39" y="96"/>
                  </a:cubicBezTo>
                  <a:cubicBezTo>
                    <a:pt x="38" y="96"/>
                    <a:pt x="38" y="97"/>
                    <a:pt x="38" y="97"/>
                  </a:cubicBezTo>
                  <a:cubicBezTo>
                    <a:pt x="38" y="98"/>
                    <a:pt x="39" y="99"/>
                    <a:pt x="39" y="99"/>
                  </a:cubicBezTo>
                  <a:cubicBezTo>
                    <a:pt x="39" y="99"/>
                    <a:pt x="39" y="99"/>
                    <a:pt x="39" y="100"/>
                  </a:cubicBezTo>
                  <a:cubicBezTo>
                    <a:pt x="39" y="100"/>
                    <a:pt x="40" y="101"/>
                    <a:pt x="40" y="101"/>
                  </a:cubicBezTo>
                  <a:cubicBezTo>
                    <a:pt x="40" y="102"/>
                    <a:pt x="40" y="103"/>
                    <a:pt x="40" y="103"/>
                  </a:cubicBezTo>
                  <a:cubicBezTo>
                    <a:pt x="41" y="104"/>
                    <a:pt x="41" y="104"/>
                    <a:pt x="41" y="104"/>
                  </a:cubicBezTo>
                  <a:cubicBezTo>
                    <a:pt x="40" y="106"/>
                    <a:pt x="40" y="106"/>
                    <a:pt x="40" y="106"/>
                  </a:cubicBezTo>
                  <a:cubicBezTo>
                    <a:pt x="40" y="106"/>
                    <a:pt x="41" y="107"/>
                    <a:pt x="41" y="107"/>
                  </a:cubicBezTo>
                  <a:cubicBezTo>
                    <a:pt x="41" y="108"/>
                    <a:pt x="43" y="109"/>
                    <a:pt x="43" y="110"/>
                  </a:cubicBezTo>
                  <a:cubicBezTo>
                    <a:pt x="43" y="110"/>
                    <a:pt x="43" y="112"/>
                    <a:pt x="42" y="112"/>
                  </a:cubicBezTo>
                  <a:cubicBezTo>
                    <a:pt x="42" y="112"/>
                    <a:pt x="41" y="113"/>
                    <a:pt x="41" y="112"/>
                  </a:cubicBezTo>
                  <a:cubicBezTo>
                    <a:pt x="40" y="111"/>
                    <a:pt x="39" y="109"/>
                    <a:pt x="39" y="109"/>
                  </a:cubicBezTo>
                  <a:cubicBezTo>
                    <a:pt x="39" y="109"/>
                    <a:pt x="39" y="109"/>
                    <a:pt x="39" y="109"/>
                  </a:cubicBezTo>
                  <a:cubicBezTo>
                    <a:pt x="39" y="110"/>
                    <a:pt x="38" y="111"/>
                    <a:pt x="38" y="111"/>
                  </a:cubicBezTo>
                  <a:cubicBezTo>
                    <a:pt x="38" y="112"/>
                    <a:pt x="40" y="113"/>
                    <a:pt x="40" y="113"/>
                  </a:cubicBezTo>
                  <a:cubicBezTo>
                    <a:pt x="40" y="113"/>
                    <a:pt x="39" y="111"/>
                    <a:pt x="40" y="113"/>
                  </a:cubicBezTo>
                  <a:cubicBezTo>
                    <a:pt x="41" y="115"/>
                    <a:pt x="42" y="116"/>
                    <a:pt x="42" y="116"/>
                  </a:cubicBezTo>
                  <a:cubicBezTo>
                    <a:pt x="42" y="116"/>
                    <a:pt x="43" y="117"/>
                    <a:pt x="44" y="117"/>
                  </a:cubicBezTo>
                  <a:cubicBezTo>
                    <a:pt x="44" y="118"/>
                    <a:pt x="44" y="118"/>
                    <a:pt x="45" y="119"/>
                  </a:cubicBezTo>
                  <a:cubicBezTo>
                    <a:pt x="45" y="119"/>
                    <a:pt x="46" y="120"/>
                    <a:pt x="45" y="120"/>
                  </a:cubicBezTo>
                  <a:cubicBezTo>
                    <a:pt x="44" y="121"/>
                    <a:pt x="45" y="121"/>
                    <a:pt x="44" y="121"/>
                  </a:cubicBezTo>
                  <a:cubicBezTo>
                    <a:pt x="44" y="120"/>
                    <a:pt x="43" y="120"/>
                    <a:pt x="43" y="119"/>
                  </a:cubicBezTo>
                  <a:cubicBezTo>
                    <a:pt x="43" y="118"/>
                    <a:pt x="42" y="117"/>
                    <a:pt x="42" y="116"/>
                  </a:cubicBezTo>
                  <a:cubicBezTo>
                    <a:pt x="41" y="116"/>
                    <a:pt x="40" y="115"/>
                    <a:pt x="40" y="115"/>
                  </a:cubicBezTo>
                  <a:cubicBezTo>
                    <a:pt x="39" y="115"/>
                    <a:pt x="39" y="114"/>
                    <a:pt x="39" y="114"/>
                  </a:cubicBezTo>
                  <a:cubicBezTo>
                    <a:pt x="39" y="114"/>
                    <a:pt x="38" y="114"/>
                    <a:pt x="38" y="114"/>
                  </a:cubicBezTo>
                  <a:cubicBezTo>
                    <a:pt x="38" y="114"/>
                    <a:pt x="36" y="114"/>
                    <a:pt x="36" y="114"/>
                  </a:cubicBezTo>
                  <a:cubicBezTo>
                    <a:pt x="36" y="113"/>
                    <a:pt x="36" y="113"/>
                    <a:pt x="37" y="112"/>
                  </a:cubicBezTo>
                  <a:cubicBezTo>
                    <a:pt x="37" y="112"/>
                    <a:pt x="38" y="112"/>
                    <a:pt x="38" y="112"/>
                  </a:cubicBezTo>
                  <a:cubicBezTo>
                    <a:pt x="38" y="112"/>
                    <a:pt x="37" y="111"/>
                    <a:pt x="37" y="111"/>
                  </a:cubicBezTo>
                  <a:cubicBezTo>
                    <a:pt x="37" y="111"/>
                    <a:pt x="37" y="110"/>
                    <a:pt x="37" y="110"/>
                  </a:cubicBezTo>
                  <a:cubicBezTo>
                    <a:pt x="36" y="110"/>
                    <a:pt x="36" y="111"/>
                    <a:pt x="36" y="110"/>
                  </a:cubicBezTo>
                  <a:cubicBezTo>
                    <a:pt x="36" y="109"/>
                    <a:pt x="36" y="109"/>
                    <a:pt x="36" y="108"/>
                  </a:cubicBezTo>
                  <a:cubicBezTo>
                    <a:pt x="36" y="108"/>
                    <a:pt x="36" y="106"/>
                    <a:pt x="36" y="106"/>
                  </a:cubicBezTo>
                  <a:cubicBezTo>
                    <a:pt x="37" y="107"/>
                    <a:pt x="37" y="107"/>
                    <a:pt x="37" y="107"/>
                  </a:cubicBezTo>
                  <a:cubicBezTo>
                    <a:pt x="38" y="105"/>
                    <a:pt x="38" y="105"/>
                    <a:pt x="38" y="105"/>
                  </a:cubicBezTo>
                  <a:cubicBezTo>
                    <a:pt x="38" y="105"/>
                    <a:pt x="38" y="105"/>
                    <a:pt x="37" y="105"/>
                  </a:cubicBezTo>
                  <a:cubicBezTo>
                    <a:pt x="36" y="105"/>
                    <a:pt x="36" y="103"/>
                    <a:pt x="36" y="103"/>
                  </a:cubicBezTo>
                  <a:cubicBezTo>
                    <a:pt x="36" y="103"/>
                    <a:pt x="36" y="102"/>
                    <a:pt x="36" y="102"/>
                  </a:cubicBezTo>
                  <a:cubicBezTo>
                    <a:pt x="36" y="102"/>
                    <a:pt x="35" y="102"/>
                    <a:pt x="35" y="101"/>
                  </a:cubicBezTo>
                  <a:cubicBezTo>
                    <a:pt x="34" y="100"/>
                    <a:pt x="34" y="99"/>
                    <a:pt x="34" y="99"/>
                  </a:cubicBezTo>
                  <a:cubicBezTo>
                    <a:pt x="34" y="99"/>
                    <a:pt x="35" y="99"/>
                    <a:pt x="34" y="98"/>
                  </a:cubicBezTo>
                  <a:cubicBezTo>
                    <a:pt x="34" y="97"/>
                    <a:pt x="34" y="97"/>
                    <a:pt x="33" y="97"/>
                  </a:cubicBezTo>
                  <a:cubicBezTo>
                    <a:pt x="33" y="96"/>
                    <a:pt x="33" y="95"/>
                    <a:pt x="34" y="95"/>
                  </a:cubicBezTo>
                  <a:cubicBezTo>
                    <a:pt x="34" y="95"/>
                    <a:pt x="34" y="95"/>
                    <a:pt x="35" y="95"/>
                  </a:cubicBezTo>
                  <a:cubicBezTo>
                    <a:pt x="35" y="96"/>
                    <a:pt x="36" y="96"/>
                    <a:pt x="36" y="96"/>
                  </a:cubicBezTo>
                  <a:cubicBezTo>
                    <a:pt x="36" y="95"/>
                    <a:pt x="37" y="94"/>
                    <a:pt x="36" y="94"/>
                  </a:cubicBezTo>
                  <a:cubicBezTo>
                    <a:pt x="36" y="93"/>
                    <a:pt x="35" y="92"/>
                    <a:pt x="35" y="92"/>
                  </a:cubicBezTo>
                  <a:cubicBezTo>
                    <a:pt x="34" y="91"/>
                    <a:pt x="34" y="91"/>
                    <a:pt x="34" y="91"/>
                  </a:cubicBezTo>
                  <a:cubicBezTo>
                    <a:pt x="34" y="91"/>
                    <a:pt x="34" y="91"/>
                    <a:pt x="34" y="90"/>
                  </a:cubicBezTo>
                  <a:cubicBezTo>
                    <a:pt x="34" y="90"/>
                    <a:pt x="34" y="89"/>
                    <a:pt x="34" y="89"/>
                  </a:cubicBezTo>
                  <a:close/>
                  <a:moveTo>
                    <a:pt x="33" y="89"/>
                  </a:moveTo>
                  <a:cubicBezTo>
                    <a:pt x="33" y="89"/>
                    <a:pt x="33" y="89"/>
                    <a:pt x="33" y="89"/>
                  </a:cubicBezTo>
                  <a:cubicBezTo>
                    <a:pt x="33" y="89"/>
                    <a:pt x="32" y="88"/>
                    <a:pt x="32" y="87"/>
                  </a:cubicBezTo>
                  <a:cubicBezTo>
                    <a:pt x="32" y="87"/>
                    <a:pt x="32" y="87"/>
                    <a:pt x="32" y="86"/>
                  </a:cubicBezTo>
                  <a:cubicBezTo>
                    <a:pt x="32" y="85"/>
                    <a:pt x="31" y="85"/>
                    <a:pt x="31" y="84"/>
                  </a:cubicBezTo>
                  <a:cubicBezTo>
                    <a:pt x="32" y="84"/>
                    <a:pt x="32" y="83"/>
                    <a:pt x="32" y="83"/>
                  </a:cubicBezTo>
                  <a:cubicBezTo>
                    <a:pt x="33" y="82"/>
                    <a:pt x="34" y="82"/>
                    <a:pt x="34" y="83"/>
                  </a:cubicBezTo>
                  <a:cubicBezTo>
                    <a:pt x="34" y="83"/>
                    <a:pt x="34" y="84"/>
                    <a:pt x="34" y="85"/>
                  </a:cubicBezTo>
                  <a:cubicBezTo>
                    <a:pt x="34" y="85"/>
                    <a:pt x="34" y="86"/>
                    <a:pt x="34" y="86"/>
                  </a:cubicBezTo>
                  <a:cubicBezTo>
                    <a:pt x="34" y="87"/>
                    <a:pt x="35" y="87"/>
                    <a:pt x="35" y="87"/>
                  </a:cubicBezTo>
                  <a:cubicBezTo>
                    <a:pt x="35" y="88"/>
                    <a:pt x="35" y="89"/>
                    <a:pt x="35" y="89"/>
                  </a:cubicBezTo>
                  <a:lnTo>
                    <a:pt x="33" y="89"/>
                  </a:lnTo>
                  <a:close/>
                </a:path>
              </a:pathLst>
            </a:custGeom>
            <a:solidFill>
              <a:srgbClr val="E6EFF1"/>
            </a:solidFill>
            <a:ln w="12700" cap="rnd" cmpd="sng">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Lato Light"/>
              </a:endParaRPr>
            </a:p>
          </p:txBody>
        </p:sp>
        <p:sp>
          <p:nvSpPr>
            <p:cNvPr id="16" name="Freeform 21">
              <a:extLst>
                <a:ext uri="{FF2B5EF4-FFF2-40B4-BE49-F238E27FC236}">
                  <a16:creationId xmlns:a16="http://schemas.microsoft.com/office/drawing/2014/main" id="{E842C18B-4DB8-EAF0-0BDD-DBA469B0033A}"/>
                </a:ext>
              </a:extLst>
            </p:cNvPr>
            <p:cNvSpPr>
              <a:spLocks/>
            </p:cNvSpPr>
            <p:nvPr/>
          </p:nvSpPr>
          <p:spPr bwMode="auto">
            <a:xfrm>
              <a:off x="4901790" y="4587636"/>
              <a:ext cx="536234" cy="553445"/>
            </a:xfrm>
            <a:custGeom>
              <a:avLst/>
              <a:gdLst>
                <a:gd name="T0" fmla="*/ 13 w 186"/>
                <a:gd name="T1" fmla="*/ 14 h 198"/>
                <a:gd name="T2" fmla="*/ 23 w 186"/>
                <a:gd name="T3" fmla="*/ 6 h 198"/>
                <a:gd name="T4" fmla="*/ 32 w 186"/>
                <a:gd name="T5" fmla="*/ 3 h 198"/>
                <a:gd name="T6" fmla="*/ 48 w 186"/>
                <a:gd name="T7" fmla="*/ 1 h 198"/>
                <a:gd name="T8" fmla="*/ 62 w 186"/>
                <a:gd name="T9" fmla="*/ 9 h 198"/>
                <a:gd name="T10" fmla="*/ 74 w 186"/>
                <a:gd name="T11" fmla="*/ 20 h 198"/>
                <a:gd name="T12" fmla="*/ 77 w 186"/>
                <a:gd name="T13" fmla="*/ 32 h 198"/>
                <a:gd name="T14" fmla="*/ 94 w 186"/>
                <a:gd name="T15" fmla="*/ 40 h 198"/>
                <a:gd name="T16" fmla="*/ 105 w 186"/>
                <a:gd name="T17" fmla="*/ 44 h 198"/>
                <a:gd name="T18" fmla="*/ 109 w 186"/>
                <a:gd name="T19" fmla="*/ 54 h 198"/>
                <a:gd name="T20" fmla="*/ 106 w 186"/>
                <a:gd name="T21" fmla="*/ 63 h 198"/>
                <a:gd name="T22" fmla="*/ 117 w 186"/>
                <a:gd name="T23" fmla="*/ 69 h 198"/>
                <a:gd name="T24" fmla="*/ 131 w 186"/>
                <a:gd name="T25" fmla="*/ 70 h 198"/>
                <a:gd name="T26" fmla="*/ 140 w 186"/>
                <a:gd name="T27" fmla="*/ 68 h 198"/>
                <a:gd name="T28" fmla="*/ 153 w 186"/>
                <a:gd name="T29" fmla="*/ 65 h 198"/>
                <a:gd name="T30" fmla="*/ 154 w 186"/>
                <a:gd name="T31" fmla="*/ 67 h 198"/>
                <a:gd name="T32" fmla="*/ 155 w 186"/>
                <a:gd name="T33" fmla="*/ 77 h 198"/>
                <a:gd name="T34" fmla="*/ 160 w 186"/>
                <a:gd name="T35" fmla="*/ 84 h 198"/>
                <a:gd name="T36" fmla="*/ 156 w 186"/>
                <a:gd name="T37" fmla="*/ 96 h 198"/>
                <a:gd name="T38" fmla="*/ 155 w 186"/>
                <a:gd name="T39" fmla="*/ 112 h 198"/>
                <a:gd name="T40" fmla="*/ 168 w 186"/>
                <a:gd name="T41" fmla="*/ 126 h 198"/>
                <a:gd name="T42" fmla="*/ 182 w 186"/>
                <a:gd name="T43" fmla="*/ 136 h 198"/>
                <a:gd name="T44" fmla="*/ 178 w 186"/>
                <a:gd name="T45" fmla="*/ 151 h 198"/>
                <a:gd name="T46" fmla="*/ 170 w 186"/>
                <a:gd name="T47" fmla="*/ 159 h 198"/>
                <a:gd name="T48" fmla="*/ 170 w 186"/>
                <a:gd name="T49" fmla="*/ 175 h 198"/>
                <a:gd name="T50" fmla="*/ 173 w 186"/>
                <a:gd name="T51" fmla="*/ 185 h 198"/>
                <a:gd name="T52" fmla="*/ 160 w 186"/>
                <a:gd name="T53" fmla="*/ 190 h 198"/>
                <a:gd name="T54" fmla="*/ 150 w 186"/>
                <a:gd name="T55" fmla="*/ 193 h 198"/>
                <a:gd name="T56" fmla="*/ 139 w 186"/>
                <a:gd name="T57" fmla="*/ 197 h 198"/>
                <a:gd name="T58" fmla="*/ 139 w 186"/>
                <a:gd name="T59" fmla="*/ 186 h 198"/>
                <a:gd name="T60" fmla="*/ 144 w 186"/>
                <a:gd name="T61" fmla="*/ 175 h 198"/>
                <a:gd name="T62" fmla="*/ 128 w 186"/>
                <a:gd name="T63" fmla="*/ 172 h 198"/>
                <a:gd name="T64" fmla="*/ 116 w 186"/>
                <a:gd name="T65" fmla="*/ 160 h 198"/>
                <a:gd name="T66" fmla="*/ 101 w 186"/>
                <a:gd name="T67" fmla="*/ 151 h 198"/>
                <a:gd name="T68" fmla="*/ 93 w 186"/>
                <a:gd name="T69" fmla="*/ 157 h 198"/>
                <a:gd name="T70" fmla="*/ 89 w 186"/>
                <a:gd name="T71" fmla="*/ 173 h 198"/>
                <a:gd name="T72" fmla="*/ 81 w 186"/>
                <a:gd name="T73" fmla="*/ 172 h 198"/>
                <a:gd name="T74" fmla="*/ 75 w 186"/>
                <a:gd name="T75" fmla="*/ 168 h 198"/>
                <a:gd name="T76" fmla="*/ 65 w 186"/>
                <a:gd name="T77" fmla="*/ 162 h 198"/>
                <a:gd name="T78" fmla="*/ 57 w 186"/>
                <a:gd name="T79" fmla="*/ 164 h 198"/>
                <a:gd name="T80" fmla="*/ 50 w 186"/>
                <a:gd name="T81" fmla="*/ 161 h 198"/>
                <a:gd name="T82" fmla="*/ 45 w 186"/>
                <a:gd name="T83" fmla="*/ 157 h 198"/>
                <a:gd name="T84" fmla="*/ 40 w 186"/>
                <a:gd name="T85" fmla="*/ 152 h 198"/>
                <a:gd name="T86" fmla="*/ 32 w 186"/>
                <a:gd name="T87" fmla="*/ 148 h 198"/>
                <a:gd name="T88" fmla="*/ 34 w 186"/>
                <a:gd name="T89" fmla="*/ 144 h 198"/>
                <a:gd name="T90" fmla="*/ 43 w 186"/>
                <a:gd name="T91" fmla="*/ 140 h 198"/>
                <a:gd name="T92" fmla="*/ 35 w 186"/>
                <a:gd name="T93" fmla="*/ 127 h 198"/>
                <a:gd name="T94" fmla="*/ 32 w 186"/>
                <a:gd name="T95" fmla="*/ 120 h 198"/>
                <a:gd name="T96" fmla="*/ 43 w 186"/>
                <a:gd name="T97" fmla="*/ 118 h 198"/>
                <a:gd name="T98" fmla="*/ 37 w 186"/>
                <a:gd name="T99" fmla="*/ 111 h 198"/>
                <a:gd name="T100" fmla="*/ 28 w 186"/>
                <a:gd name="T101" fmla="*/ 106 h 198"/>
                <a:gd name="T102" fmla="*/ 22 w 186"/>
                <a:gd name="T103" fmla="*/ 98 h 198"/>
                <a:gd name="T104" fmla="*/ 24 w 186"/>
                <a:gd name="T105" fmla="*/ 87 h 198"/>
                <a:gd name="T106" fmla="*/ 27 w 186"/>
                <a:gd name="T107" fmla="*/ 73 h 198"/>
                <a:gd name="T108" fmla="*/ 15 w 186"/>
                <a:gd name="T109" fmla="*/ 74 h 198"/>
                <a:gd name="T110" fmla="*/ 14 w 186"/>
                <a:gd name="T111" fmla="*/ 63 h 198"/>
                <a:gd name="T112" fmla="*/ 16 w 186"/>
                <a:gd name="T113" fmla="*/ 57 h 198"/>
                <a:gd name="T114" fmla="*/ 24 w 186"/>
                <a:gd name="T115" fmla="*/ 53 h 198"/>
                <a:gd name="T116" fmla="*/ 13 w 186"/>
                <a:gd name="T117" fmla="*/ 51 h 198"/>
                <a:gd name="T118" fmla="*/ 7 w 186"/>
                <a:gd name="T119" fmla="*/ 43 h 198"/>
                <a:gd name="T120" fmla="*/ 5 w 186"/>
                <a:gd name="T121" fmla="*/ 40 h 198"/>
                <a:gd name="T122" fmla="*/ 3 w 186"/>
                <a:gd name="T123" fmla="*/ 31 h 198"/>
                <a:gd name="T124" fmla="*/ 4 w 186"/>
                <a:gd name="T125" fmla="*/ 20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86" h="198">
                  <a:moveTo>
                    <a:pt x="11" y="14"/>
                  </a:moveTo>
                  <a:cubicBezTo>
                    <a:pt x="11" y="14"/>
                    <a:pt x="11" y="14"/>
                    <a:pt x="11" y="14"/>
                  </a:cubicBezTo>
                  <a:cubicBezTo>
                    <a:pt x="11" y="14"/>
                    <a:pt x="11" y="14"/>
                    <a:pt x="11" y="14"/>
                  </a:cubicBezTo>
                  <a:cubicBezTo>
                    <a:pt x="12" y="14"/>
                    <a:pt x="12" y="14"/>
                    <a:pt x="13" y="14"/>
                  </a:cubicBezTo>
                  <a:cubicBezTo>
                    <a:pt x="15" y="14"/>
                    <a:pt x="16" y="14"/>
                    <a:pt x="16" y="14"/>
                  </a:cubicBezTo>
                  <a:cubicBezTo>
                    <a:pt x="17" y="11"/>
                    <a:pt x="17" y="11"/>
                    <a:pt x="17" y="11"/>
                  </a:cubicBezTo>
                  <a:cubicBezTo>
                    <a:pt x="19" y="10"/>
                    <a:pt x="19" y="10"/>
                    <a:pt x="19" y="10"/>
                  </a:cubicBezTo>
                  <a:cubicBezTo>
                    <a:pt x="19" y="10"/>
                    <a:pt x="22" y="6"/>
                    <a:pt x="23" y="6"/>
                  </a:cubicBezTo>
                  <a:cubicBezTo>
                    <a:pt x="25" y="6"/>
                    <a:pt x="23" y="4"/>
                    <a:pt x="23" y="4"/>
                  </a:cubicBezTo>
                  <a:cubicBezTo>
                    <a:pt x="23" y="4"/>
                    <a:pt x="28" y="2"/>
                    <a:pt x="30" y="2"/>
                  </a:cubicBezTo>
                  <a:cubicBezTo>
                    <a:pt x="30" y="2"/>
                    <a:pt x="30" y="2"/>
                    <a:pt x="31" y="2"/>
                  </a:cubicBezTo>
                  <a:cubicBezTo>
                    <a:pt x="32" y="2"/>
                    <a:pt x="32" y="3"/>
                    <a:pt x="32" y="3"/>
                  </a:cubicBezTo>
                  <a:cubicBezTo>
                    <a:pt x="36" y="1"/>
                    <a:pt x="36" y="1"/>
                    <a:pt x="36" y="1"/>
                  </a:cubicBezTo>
                  <a:cubicBezTo>
                    <a:pt x="36" y="1"/>
                    <a:pt x="42" y="0"/>
                    <a:pt x="43" y="0"/>
                  </a:cubicBezTo>
                  <a:cubicBezTo>
                    <a:pt x="44" y="0"/>
                    <a:pt x="46" y="1"/>
                    <a:pt x="46" y="1"/>
                  </a:cubicBezTo>
                  <a:cubicBezTo>
                    <a:pt x="48" y="1"/>
                    <a:pt x="48" y="1"/>
                    <a:pt x="48" y="1"/>
                  </a:cubicBezTo>
                  <a:cubicBezTo>
                    <a:pt x="48" y="1"/>
                    <a:pt x="49" y="2"/>
                    <a:pt x="50" y="2"/>
                  </a:cubicBezTo>
                  <a:cubicBezTo>
                    <a:pt x="52" y="3"/>
                    <a:pt x="53" y="6"/>
                    <a:pt x="54" y="6"/>
                  </a:cubicBezTo>
                  <a:cubicBezTo>
                    <a:pt x="56" y="7"/>
                    <a:pt x="58" y="7"/>
                    <a:pt x="59" y="7"/>
                  </a:cubicBezTo>
                  <a:cubicBezTo>
                    <a:pt x="60" y="8"/>
                    <a:pt x="62" y="9"/>
                    <a:pt x="62" y="9"/>
                  </a:cubicBezTo>
                  <a:cubicBezTo>
                    <a:pt x="62" y="9"/>
                    <a:pt x="67" y="14"/>
                    <a:pt x="68" y="14"/>
                  </a:cubicBezTo>
                  <a:cubicBezTo>
                    <a:pt x="69" y="14"/>
                    <a:pt x="69" y="14"/>
                    <a:pt x="70" y="16"/>
                  </a:cubicBezTo>
                  <a:cubicBezTo>
                    <a:pt x="71" y="17"/>
                    <a:pt x="74" y="16"/>
                    <a:pt x="74" y="16"/>
                  </a:cubicBezTo>
                  <a:cubicBezTo>
                    <a:pt x="74" y="16"/>
                    <a:pt x="75" y="19"/>
                    <a:pt x="74" y="20"/>
                  </a:cubicBezTo>
                  <a:cubicBezTo>
                    <a:pt x="74" y="21"/>
                    <a:pt x="74" y="24"/>
                    <a:pt x="74" y="24"/>
                  </a:cubicBezTo>
                  <a:cubicBezTo>
                    <a:pt x="74" y="24"/>
                    <a:pt x="74" y="25"/>
                    <a:pt x="74" y="26"/>
                  </a:cubicBezTo>
                  <a:cubicBezTo>
                    <a:pt x="75" y="28"/>
                    <a:pt x="76" y="28"/>
                    <a:pt x="76" y="30"/>
                  </a:cubicBezTo>
                  <a:cubicBezTo>
                    <a:pt x="77" y="31"/>
                    <a:pt x="76" y="31"/>
                    <a:pt x="77" y="32"/>
                  </a:cubicBezTo>
                  <a:cubicBezTo>
                    <a:pt x="78" y="33"/>
                    <a:pt x="79" y="35"/>
                    <a:pt x="80" y="35"/>
                  </a:cubicBezTo>
                  <a:cubicBezTo>
                    <a:pt x="81" y="35"/>
                    <a:pt x="82" y="35"/>
                    <a:pt x="85" y="36"/>
                  </a:cubicBezTo>
                  <a:cubicBezTo>
                    <a:pt x="88" y="38"/>
                    <a:pt x="89" y="38"/>
                    <a:pt x="90" y="39"/>
                  </a:cubicBezTo>
                  <a:cubicBezTo>
                    <a:pt x="92" y="40"/>
                    <a:pt x="91" y="39"/>
                    <a:pt x="94" y="40"/>
                  </a:cubicBezTo>
                  <a:cubicBezTo>
                    <a:pt x="98" y="41"/>
                    <a:pt x="97" y="40"/>
                    <a:pt x="98" y="41"/>
                  </a:cubicBezTo>
                  <a:cubicBezTo>
                    <a:pt x="99" y="41"/>
                    <a:pt x="98" y="40"/>
                    <a:pt x="100" y="41"/>
                  </a:cubicBezTo>
                  <a:cubicBezTo>
                    <a:pt x="103" y="41"/>
                    <a:pt x="105" y="42"/>
                    <a:pt x="105" y="42"/>
                  </a:cubicBezTo>
                  <a:cubicBezTo>
                    <a:pt x="105" y="44"/>
                    <a:pt x="105" y="44"/>
                    <a:pt x="105" y="44"/>
                  </a:cubicBezTo>
                  <a:cubicBezTo>
                    <a:pt x="103" y="48"/>
                    <a:pt x="103" y="48"/>
                    <a:pt x="103" y="48"/>
                  </a:cubicBezTo>
                  <a:cubicBezTo>
                    <a:pt x="103" y="51"/>
                    <a:pt x="103" y="51"/>
                    <a:pt x="103" y="51"/>
                  </a:cubicBezTo>
                  <a:cubicBezTo>
                    <a:pt x="103" y="51"/>
                    <a:pt x="101" y="51"/>
                    <a:pt x="103" y="52"/>
                  </a:cubicBezTo>
                  <a:cubicBezTo>
                    <a:pt x="105" y="53"/>
                    <a:pt x="109" y="54"/>
                    <a:pt x="109" y="54"/>
                  </a:cubicBezTo>
                  <a:cubicBezTo>
                    <a:pt x="112" y="56"/>
                    <a:pt x="112" y="56"/>
                    <a:pt x="112" y="56"/>
                  </a:cubicBezTo>
                  <a:cubicBezTo>
                    <a:pt x="112" y="56"/>
                    <a:pt x="110" y="59"/>
                    <a:pt x="109" y="60"/>
                  </a:cubicBezTo>
                  <a:cubicBezTo>
                    <a:pt x="108" y="60"/>
                    <a:pt x="105" y="60"/>
                    <a:pt x="105" y="60"/>
                  </a:cubicBezTo>
                  <a:cubicBezTo>
                    <a:pt x="105" y="60"/>
                    <a:pt x="104" y="63"/>
                    <a:pt x="106" y="63"/>
                  </a:cubicBezTo>
                  <a:cubicBezTo>
                    <a:pt x="107" y="64"/>
                    <a:pt x="109" y="64"/>
                    <a:pt x="110" y="64"/>
                  </a:cubicBezTo>
                  <a:cubicBezTo>
                    <a:pt x="111" y="64"/>
                    <a:pt x="113" y="65"/>
                    <a:pt x="113" y="65"/>
                  </a:cubicBezTo>
                  <a:cubicBezTo>
                    <a:pt x="113" y="65"/>
                    <a:pt x="114" y="65"/>
                    <a:pt x="115" y="66"/>
                  </a:cubicBezTo>
                  <a:cubicBezTo>
                    <a:pt x="115" y="68"/>
                    <a:pt x="116" y="69"/>
                    <a:pt x="117" y="69"/>
                  </a:cubicBezTo>
                  <a:cubicBezTo>
                    <a:pt x="118" y="69"/>
                    <a:pt x="120" y="69"/>
                    <a:pt x="121" y="69"/>
                  </a:cubicBezTo>
                  <a:cubicBezTo>
                    <a:pt x="122" y="69"/>
                    <a:pt x="122" y="68"/>
                    <a:pt x="123" y="68"/>
                  </a:cubicBezTo>
                  <a:cubicBezTo>
                    <a:pt x="124" y="69"/>
                    <a:pt x="130" y="68"/>
                    <a:pt x="130" y="68"/>
                  </a:cubicBezTo>
                  <a:cubicBezTo>
                    <a:pt x="130" y="68"/>
                    <a:pt x="130" y="68"/>
                    <a:pt x="131" y="70"/>
                  </a:cubicBezTo>
                  <a:cubicBezTo>
                    <a:pt x="133" y="73"/>
                    <a:pt x="136" y="74"/>
                    <a:pt x="136" y="74"/>
                  </a:cubicBezTo>
                  <a:cubicBezTo>
                    <a:pt x="136" y="74"/>
                    <a:pt x="137" y="75"/>
                    <a:pt x="137" y="74"/>
                  </a:cubicBezTo>
                  <a:cubicBezTo>
                    <a:pt x="137" y="73"/>
                    <a:pt x="138" y="72"/>
                    <a:pt x="138" y="72"/>
                  </a:cubicBezTo>
                  <a:cubicBezTo>
                    <a:pt x="138" y="72"/>
                    <a:pt x="140" y="69"/>
                    <a:pt x="140" y="68"/>
                  </a:cubicBezTo>
                  <a:cubicBezTo>
                    <a:pt x="141" y="67"/>
                    <a:pt x="142" y="64"/>
                    <a:pt x="143" y="64"/>
                  </a:cubicBezTo>
                  <a:cubicBezTo>
                    <a:pt x="144" y="63"/>
                    <a:pt x="147" y="61"/>
                    <a:pt x="147" y="61"/>
                  </a:cubicBezTo>
                  <a:cubicBezTo>
                    <a:pt x="147" y="61"/>
                    <a:pt x="147" y="60"/>
                    <a:pt x="149" y="61"/>
                  </a:cubicBezTo>
                  <a:cubicBezTo>
                    <a:pt x="150" y="63"/>
                    <a:pt x="153" y="65"/>
                    <a:pt x="153" y="65"/>
                  </a:cubicBezTo>
                  <a:cubicBezTo>
                    <a:pt x="158" y="65"/>
                    <a:pt x="158" y="65"/>
                    <a:pt x="158" y="65"/>
                  </a:cubicBezTo>
                  <a:cubicBezTo>
                    <a:pt x="158" y="65"/>
                    <a:pt x="161" y="66"/>
                    <a:pt x="161" y="67"/>
                  </a:cubicBezTo>
                  <a:cubicBezTo>
                    <a:pt x="161" y="68"/>
                    <a:pt x="160" y="68"/>
                    <a:pt x="158" y="69"/>
                  </a:cubicBezTo>
                  <a:cubicBezTo>
                    <a:pt x="157" y="69"/>
                    <a:pt x="154" y="66"/>
                    <a:pt x="154" y="67"/>
                  </a:cubicBezTo>
                  <a:cubicBezTo>
                    <a:pt x="153" y="68"/>
                    <a:pt x="153" y="70"/>
                    <a:pt x="153" y="70"/>
                  </a:cubicBezTo>
                  <a:cubicBezTo>
                    <a:pt x="149" y="72"/>
                    <a:pt x="149" y="72"/>
                    <a:pt x="149" y="72"/>
                  </a:cubicBezTo>
                  <a:cubicBezTo>
                    <a:pt x="150" y="74"/>
                    <a:pt x="150" y="74"/>
                    <a:pt x="150" y="74"/>
                  </a:cubicBezTo>
                  <a:cubicBezTo>
                    <a:pt x="150" y="74"/>
                    <a:pt x="155" y="76"/>
                    <a:pt x="155" y="77"/>
                  </a:cubicBezTo>
                  <a:cubicBezTo>
                    <a:pt x="155" y="78"/>
                    <a:pt x="155" y="80"/>
                    <a:pt x="155" y="80"/>
                  </a:cubicBezTo>
                  <a:cubicBezTo>
                    <a:pt x="158" y="81"/>
                    <a:pt x="158" y="81"/>
                    <a:pt x="158" y="81"/>
                  </a:cubicBezTo>
                  <a:cubicBezTo>
                    <a:pt x="160" y="80"/>
                    <a:pt x="160" y="80"/>
                    <a:pt x="160" y="80"/>
                  </a:cubicBezTo>
                  <a:cubicBezTo>
                    <a:pt x="160" y="84"/>
                    <a:pt x="160" y="84"/>
                    <a:pt x="160" y="84"/>
                  </a:cubicBezTo>
                  <a:cubicBezTo>
                    <a:pt x="160" y="88"/>
                    <a:pt x="160" y="88"/>
                    <a:pt x="160" y="88"/>
                  </a:cubicBezTo>
                  <a:cubicBezTo>
                    <a:pt x="160" y="91"/>
                    <a:pt x="160" y="91"/>
                    <a:pt x="160" y="91"/>
                  </a:cubicBezTo>
                  <a:cubicBezTo>
                    <a:pt x="160" y="91"/>
                    <a:pt x="161" y="94"/>
                    <a:pt x="160" y="94"/>
                  </a:cubicBezTo>
                  <a:cubicBezTo>
                    <a:pt x="159" y="94"/>
                    <a:pt x="156" y="96"/>
                    <a:pt x="156" y="96"/>
                  </a:cubicBezTo>
                  <a:cubicBezTo>
                    <a:pt x="154" y="99"/>
                    <a:pt x="154" y="99"/>
                    <a:pt x="154" y="99"/>
                  </a:cubicBezTo>
                  <a:cubicBezTo>
                    <a:pt x="154" y="99"/>
                    <a:pt x="154" y="103"/>
                    <a:pt x="154" y="104"/>
                  </a:cubicBezTo>
                  <a:cubicBezTo>
                    <a:pt x="155" y="106"/>
                    <a:pt x="154" y="109"/>
                    <a:pt x="154" y="109"/>
                  </a:cubicBezTo>
                  <a:cubicBezTo>
                    <a:pt x="154" y="109"/>
                    <a:pt x="154" y="111"/>
                    <a:pt x="155" y="112"/>
                  </a:cubicBezTo>
                  <a:cubicBezTo>
                    <a:pt x="156" y="113"/>
                    <a:pt x="157" y="115"/>
                    <a:pt x="157" y="115"/>
                  </a:cubicBezTo>
                  <a:cubicBezTo>
                    <a:pt x="157" y="115"/>
                    <a:pt x="158" y="116"/>
                    <a:pt x="159" y="118"/>
                  </a:cubicBezTo>
                  <a:cubicBezTo>
                    <a:pt x="160" y="120"/>
                    <a:pt x="164" y="125"/>
                    <a:pt x="164" y="125"/>
                  </a:cubicBezTo>
                  <a:cubicBezTo>
                    <a:pt x="164" y="125"/>
                    <a:pt x="167" y="126"/>
                    <a:pt x="168" y="126"/>
                  </a:cubicBezTo>
                  <a:cubicBezTo>
                    <a:pt x="168" y="126"/>
                    <a:pt x="172" y="128"/>
                    <a:pt x="172" y="128"/>
                  </a:cubicBezTo>
                  <a:cubicBezTo>
                    <a:pt x="172" y="128"/>
                    <a:pt x="174" y="128"/>
                    <a:pt x="174" y="129"/>
                  </a:cubicBezTo>
                  <a:cubicBezTo>
                    <a:pt x="174" y="129"/>
                    <a:pt x="178" y="135"/>
                    <a:pt x="178" y="135"/>
                  </a:cubicBezTo>
                  <a:cubicBezTo>
                    <a:pt x="182" y="136"/>
                    <a:pt x="182" y="136"/>
                    <a:pt x="182" y="136"/>
                  </a:cubicBezTo>
                  <a:cubicBezTo>
                    <a:pt x="186" y="136"/>
                    <a:pt x="186" y="136"/>
                    <a:pt x="186" y="136"/>
                  </a:cubicBezTo>
                  <a:cubicBezTo>
                    <a:pt x="186" y="136"/>
                    <a:pt x="185" y="141"/>
                    <a:pt x="184" y="142"/>
                  </a:cubicBezTo>
                  <a:cubicBezTo>
                    <a:pt x="183" y="143"/>
                    <a:pt x="180" y="147"/>
                    <a:pt x="180" y="147"/>
                  </a:cubicBezTo>
                  <a:cubicBezTo>
                    <a:pt x="180" y="147"/>
                    <a:pt x="178" y="149"/>
                    <a:pt x="178" y="151"/>
                  </a:cubicBezTo>
                  <a:cubicBezTo>
                    <a:pt x="179" y="152"/>
                    <a:pt x="179" y="155"/>
                    <a:pt x="179" y="155"/>
                  </a:cubicBezTo>
                  <a:cubicBezTo>
                    <a:pt x="179" y="155"/>
                    <a:pt x="177" y="157"/>
                    <a:pt x="176" y="157"/>
                  </a:cubicBezTo>
                  <a:cubicBezTo>
                    <a:pt x="175" y="157"/>
                    <a:pt x="173" y="157"/>
                    <a:pt x="172" y="158"/>
                  </a:cubicBezTo>
                  <a:cubicBezTo>
                    <a:pt x="171" y="158"/>
                    <a:pt x="170" y="159"/>
                    <a:pt x="170" y="159"/>
                  </a:cubicBezTo>
                  <a:cubicBezTo>
                    <a:pt x="169" y="160"/>
                    <a:pt x="167" y="162"/>
                    <a:pt x="167" y="162"/>
                  </a:cubicBezTo>
                  <a:cubicBezTo>
                    <a:pt x="169" y="165"/>
                    <a:pt x="169" y="165"/>
                    <a:pt x="169" y="165"/>
                  </a:cubicBezTo>
                  <a:cubicBezTo>
                    <a:pt x="170" y="170"/>
                    <a:pt x="170" y="170"/>
                    <a:pt x="170" y="170"/>
                  </a:cubicBezTo>
                  <a:cubicBezTo>
                    <a:pt x="170" y="175"/>
                    <a:pt x="170" y="175"/>
                    <a:pt x="170" y="175"/>
                  </a:cubicBezTo>
                  <a:cubicBezTo>
                    <a:pt x="170" y="175"/>
                    <a:pt x="173" y="176"/>
                    <a:pt x="173" y="177"/>
                  </a:cubicBezTo>
                  <a:cubicBezTo>
                    <a:pt x="174" y="177"/>
                    <a:pt x="175" y="180"/>
                    <a:pt x="175" y="180"/>
                  </a:cubicBezTo>
                  <a:cubicBezTo>
                    <a:pt x="174" y="182"/>
                    <a:pt x="174" y="182"/>
                    <a:pt x="174" y="182"/>
                  </a:cubicBezTo>
                  <a:cubicBezTo>
                    <a:pt x="173" y="185"/>
                    <a:pt x="173" y="185"/>
                    <a:pt x="173" y="185"/>
                  </a:cubicBezTo>
                  <a:cubicBezTo>
                    <a:pt x="173" y="185"/>
                    <a:pt x="172" y="187"/>
                    <a:pt x="171" y="188"/>
                  </a:cubicBezTo>
                  <a:cubicBezTo>
                    <a:pt x="169" y="188"/>
                    <a:pt x="166" y="188"/>
                    <a:pt x="166" y="188"/>
                  </a:cubicBezTo>
                  <a:cubicBezTo>
                    <a:pt x="166" y="188"/>
                    <a:pt x="166" y="187"/>
                    <a:pt x="164" y="188"/>
                  </a:cubicBezTo>
                  <a:cubicBezTo>
                    <a:pt x="162" y="188"/>
                    <a:pt x="160" y="190"/>
                    <a:pt x="160" y="190"/>
                  </a:cubicBezTo>
                  <a:cubicBezTo>
                    <a:pt x="160" y="190"/>
                    <a:pt x="160" y="190"/>
                    <a:pt x="159" y="191"/>
                  </a:cubicBezTo>
                  <a:cubicBezTo>
                    <a:pt x="157" y="191"/>
                    <a:pt x="156" y="191"/>
                    <a:pt x="155" y="191"/>
                  </a:cubicBezTo>
                  <a:cubicBezTo>
                    <a:pt x="154" y="191"/>
                    <a:pt x="152" y="190"/>
                    <a:pt x="152" y="190"/>
                  </a:cubicBezTo>
                  <a:cubicBezTo>
                    <a:pt x="150" y="193"/>
                    <a:pt x="150" y="193"/>
                    <a:pt x="150" y="193"/>
                  </a:cubicBezTo>
                  <a:cubicBezTo>
                    <a:pt x="150" y="193"/>
                    <a:pt x="148" y="194"/>
                    <a:pt x="147" y="194"/>
                  </a:cubicBezTo>
                  <a:cubicBezTo>
                    <a:pt x="147" y="194"/>
                    <a:pt x="144" y="198"/>
                    <a:pt x="144" y="198"/>
                  </a:cubicBezTo>
                  <a:cubicBezTo>
                    <a:pt x="144" y="198"/>
                    <a:pt x="144" y="198"/>
                    <a:pt x="143" y="198"/>
                  </a:cubicBezTo>
                  <a:cubicBezTo>
                    <a:pt x="141" y="198"/>
                    <a:pt x="139" y="197"/>
                    <a:pt x="139" y="197"/>
                  </a:cubicBezTo>
                  <a:cubicBezTo>
                    <a:pt x="136" y="194"/>
                    <a:pt x="136" y="194"/>
                    <a:pt x="136" y="194"/>
                  </a:cubicBezTo>
                  <a:cubicBezTo>
                    <a:pt x="136" y="194"/>
                    <a:pt x="137" y="194"/>
                    <a:pt x="139" y="192"/>
                  </a:cubicBezTo>
                  <a:cubicBezTo>
                    <a:pt x="140" y="191"/>
                    <a:pt x="140" y="191"/>
                    <a:pt x="140" y="190"/>
                  </a:cubicBezTo>
                  <a:cubicBezTo>
                    <a:pt x="139" y="188"/>
                    <a:pt x="138" y="186"/>
                    <a:pt x="139" y="186"/>
                  </a:cubicBezTo>
                  <a:cubicBezTo>
                    <a:pt x="140" y="185"/>
                    <a:pt x="141" y="186"/>
                    <a:pt x="142" y="184"/>
                  </a:cubicBezTo>
                  <a:cubicBezTo>
                    <a:pt x="142" y="183"/>
                    <a:pt x="142" y="182"/>
                    <a:pt x="142" y="180"/>
                  </a:cubicBezTo>
                  <a:cubicBezTo>
                    <a:pt x="142" y="179"/>
                    <a:pt x="142" y="177"/>
                    <a:pt x="143" y="177"/>
                  </a:cubicBezTo>
                  <a:cubicBezTo>
                    <a:pt x="144" y="176"/>
                    <a:pt x="144" y="175"/>
                    <a:pt x="144" y="175"/>
                  </a:cubicBezTo>
                  <a:cubicBezTo>
                    <a:pt x="139" y="174"/>
                    <a:pt x="139" y="174"/>
                    <a:pt x="139" y="174"/>
                  </a:cubicBezTo>
                  <a:cubicBezTo>
                    <a:pt x="136" y="175"/>
                    <a:pt x="136" y="175"/>
                    <a:pt x="136" y="175"/>
                  </a:cubicBezTo>
                  <a:cubicBezTo>
                    <a:pt x="136" y="175"/>
                    <a:pt x="136" y="173"/>
                    <a:pt x="134" y="173"/>
                  </a:cubicBezTo>
                  <a:cubicBezTo>
                    <a:pt x="132" y="172"/>
                    <a:pt x="128" y="172"/>
                    <a:pt x="128" y="172"/>
                  </a:cubicBezTo>
                  <a:cubicBezTo>
                    <a:pt x="127" y="168"/>
                    <a:pt x="127" y="168"/>
                    <a:pt x="127" y="168"/>
                  </a:cubicBezTo>
                  <a:cubicBezTo>
                    <a:pt x="119" y="166"/>
                    <a:pt x="119" y="166"/>
                    <a:pt x="119" y="166"/>
                  </a:cubicBezTo>
                  <a:cubicBezTo>
                    <a:pt x="119" y="166"/>
                    <a:pt x="118" y="162"/>
                    <a:pt x="117" y="161"/>
                  </a:cubicBezTo>
                  <a:cubicBezTo>
                    <a:pt x="116" y="160"/>
                    <a:pt x="116" y="160"/>
                    <a:pt x="116" y="160"/>
                  </a:cubicBezTo>
                  <a:cubicBezTo>
                    <a:pt x="111" y="156"/>
                    <a:pt x="111" y="156"/>
                    <a:pt x="111" y="156"/>
                  </a:cubicBezTo>
                  <a:cubicBezTo>
                    <a:pt x="108" y="156"/>
                    <a:pt x="108" y="156"/>
                    <a:pt x="108" y="156"/>
                  </a:cubicBezTo>
                  <a:cubicBezTo>
                    <a:pt x="108" y="156"/>
                    <a:pt x="107" y="156"/>
                    <a:pt x="105" y="155"/>
                  </a:cubicBezTo>
                  <a:cubicBezTo>
                    <a:pt x="102" y="154"/>
                    <a:pt x="101" y="151"/>
                    <a:pt x="101" y="151"/>
                  </a:cubicBezTo>
                  <a:cubicBezTo>
                    <a:pt x="101" y="151"/>
                    <a:pt x="101" y="149"/>
                    <a:pt x="99" y="150"/>
                  </a:cubicBezTo>
                  <a:cubicBezTo>
                    <a:pt x="97" y="152"/>
                    <a:pt x="95" y="152"/>
                    <a:pt x="94" y="153"/>
                  </a:cubicBezTo>
                  <a:cubicBezTo>
                    <a:pt x="94" y="153"/>
                    <a:pt x="93" y="153"/>
                    <a:pt x="92" y="154"/>
                  </a:cubicBezTo>
                  <a:cubicBezTo>
                    <a:pt x="92" y="155"/>
                    <a:pt x="91" y="155"/>
                    <a:pt x="93" y="157"/>
                  </a:cubicBezTo>
                  <a:cubicBezTo>
                    <a:pt x="94" y="158"/>
                    <a:pt x="95" y="159"/>
                    <a:pt x="95" y="159"/>
                  </a:cubicBezTo>
                  <a:cubicBezTo>
                    <a:pt x="94" y="164"/>
                    <a:pt x="94" y="164"/>
                    <a:pt x="94" y="164"/>
                  </a:cubicBezTo>
                  <a:cubicBezTo>
                    <a:pt x="88" y="170"/>
                    <a:pt x="88" y="170"/>
                    <a:pt x="88" y="170"/>
                  </a:cubicBezTo>
                  <a:cubicBezTo>
                    <a:pt x="89" y="173"/>
                    <a:pt x="89" y="173"/>
                    <a:pt x="89" y="173"/>
                  </a:cubicBezTo>
                  <a:cubicBezTo>
                    <a:pt x="89" y="173"/>
                    <a:pt x="91" y="173"/>
                    <a:pt x="88" y="174"/>
                  </a:cubicBezTo>
                  <a:cubicBezTo>
                    <a:pt x="86" y="175"/>
                    <a:pt x="86" y="176"/>
                    <a:pt x="85" y="176"/>
                  </a:cubicBezTo>
                  <a:cubicBezTo>
                    <a:pt x="85" y="175"/>
                    <a:pt x="84" y="174"/>
                    <a:pt x="82" y="173"/>
                  </a:cubicBezTo>
                  <a:cubicBezTo>
                    <a:pt x="81" y="172"/>
                    <a:pt x="81" y="172"/>
                    <a:pt x="81" y="172"/>
                  </a:cubicBezTo>
                  <a:cubicBezTo>
                    <a:pt x="81" y="172"/>
                    <a:pt x="81" y="172"/>
                    <a:pt x="80" y="171"/>
                  </a:cubicBezTo>
                  <a:cubicBezTo>
                    <a:pt x="80" y="171"/>
                    <a:pt x="80" y="171"/>
                    <a:pt x="80" y="171"/>
                  </a:cubicBezTo>
                  <a:cubicBezTo>
                    <a:pt x="80" y="171"/>
                    <a:pt x="80" y="170"/>
                    <a:pt x="78" y="170"/>
                  </a:cubicBezTo>
                  <a:cubicBezTo>
                    <a:pt x="77" y="170"/>
                    <a:pt x="75" y="168"/>
                    <a:pt x="75" y="168"/>
                  </a:cubicBezTo>
                  <a:cubicBezTo>
                    <a:pt x="72" y="168"/>
                    <a:pt x="72" y="168"/>
                    <a:pt x="72" y="168"/>
                  </a:cubicBezTo>
                  <a:cubicBezTo>
                    <a:pt x="72" y="168"/>
                    <a:pt x="69" y="165"/>
                    <a:pt x="69" y="165"/>
                  </a:cubicBezTo>
                  <a:cubicBezTo>
                    <a:pt x="68" y="165"/>
                    <a:pt x="65" y="164"/>
                    <a:pt x="65" y="164"/>
                  </a:cubicBezTo>
                  <a:cubicBezTo>
                    <a:pt x="65" y="162"/>
                    <a:pt x="65" y="162"/>
                    <a:pt x="65" y="162"/>
                  </a:cubicBezTo>
                  <a:cubicBezTo>
                    <a:pt x="65" y="162"/>
                    <a:pt x="64" y="162"/>
                    <a:pt x="64" y="162"/>
                  </a:cubicBezTo>
                  <a:cubicBezTo>
                    <a:pt x="63" y="162"/>
                    <a:pt x="62" y="163"/>
                    <a:pt x="62" y="163"/>
                  </a:cubicBezTo>
                  <a:cubicBezTo>
                    <a:pt x="59" y="164"/>
                    <a:pt x="59" y="164"/>
                    <a:pt x="59" y="164"/>
                  </a:cubicBezTo>
                  <a:cubicBezTo>
                    <a:pt x="59" y="164"/>
                    <a:pt x="57" y="164"/>
                    <a:pt x="57" y="164"/>
                  </a:cubicBezTo>
                  <a:cubicBezTo>
                    <a:pt x="56" y="163"/>
                    <a:pt x="55" y="161"/>
                    <a:pt x="55" y="161"/>
                  </a:cubicBezTo>
                  <a:cubicBezTo>
                    <a:pt x="55" y="161"/>
                    <a:pt x="55" y="161"/>
                    <a:pt x="54" y="161"/>
                  </a:cubicBezTo>
                  <a:cubicBezTo>
                    <a:pt x="53" y="162"/>
                    <a:pt x="55" y="163"/>
                    <a:pt x="53" y="162"/>
                  </a:cubicBezTo>
                  <a:cubicBezTo>
                    <a:pt x="50" y="161"/>
                    <a:pt x="50" y="161"/>
                    <a:pt x="50" y="161"/>
                  </a:cubicBezTo>
                  <a:cubicBezTo>
                    <a:pt x="48" y="159"/>
                    <a:pt x="48" y="159"/>
                    <a:pt x="48" y="159"/>
                  </a:cubicBezTo>
                  <a:cubicBezTo>
                    <a:pt x="47" y="159"/>
                    <a:pt x="47" y="159"/>
                    <a:pt x="47" y="159"/>
                  </a:cubicBezTo>
                  <a:cubicBezTo>
                    <a:pt x="46" y="159"/>
                    <a:pt x="46" y="159"/>
                    <a:pt x="46" y="159"/>
                  </a:cubicBezTo>
                  <a:cubicBezTo>
                    <a:pt x="46" y="159"/>
                    <a:pt x="45" y="157"/>
                    <a:pt x="45" y="157"/>
                  </a:cubicBezTo>
                  <a:cubicBezTo>
                    <a:pt x="45" y="157"/>
                    <a:pt x="45" y="155"/>
                    <a:pt x="45" y="155"/>
                  </a:cubicBezTo>
                  <a:cubicBezTo>
                    <a:pt x="44" y="155"/>
                    <a:pt x="41" y="154"/>
                    <a:pt x="41" y="154"/>
                  </a:cubicBezTo>
                  <a:cubicBezTo>
                    <a:pt x="40" y="152"/>
                    <a:pt x="40" y="152"/>
                    <a:pt x="40" y="152"/>
                  </a:cubicBezTo>
                  <a:cubicBezTo>
                    <a:pt x="40" y="152"/>
                    <a:pt x="40" y="152"/>
                    <a:pt x="40" y="152"/>
                  </a:cubicBezTo>
                  <a:cubicBezTo>
                    <a:pt x="39" y="152"/>
                    <a:pt x="37" y="151"/>
                    <a:pt x="37" y="151"/>
                  </a:cubicBezTo>
                  <a:cubicBezTo>
                    <a:pt x="36" y="150"/>
                    <a:pt x="36" y="150"/>
                    <a:pt x="36" y="150"/>
                  </a:cubicBezTo>
                  <a:cubicBezTo>
                    <a:pt x="33" y="150"/>
                    <a:pt x="33" y="150"/>
                    <a:pt x="33" y="150"/>
                  </a:cubicBezTo>
                  <a:cubicBezTo>
                    <a:pt x="32" y="148"/>
                    <a:pt x="32" y="148"/>
                    <a:pt x="32" y="148"/>
                  </a:cubicBezTo>
                  <a:cubicBezTo>
                    <a:pt x="32" y="148"/>
                    <a:pt x="31" y="147"/>
                    <a:pt x="31" y="147"/>
                  </a:cubicBezTo>
                  <a:cubicBezTo>
                    <a:pt x="32" y="147"/>
                    <a:pt x="32" y="145"/>
                    <a:pt x="32" y="145"/>
                  </a:cubicBezTo>
                  <a:cubicBezTo>
                    <a:pt x="31" y="145"/>
                    <a:pt x="31" y="145"/>
                    <a:pt x="31" y="145"/>
                  </a:cubicBezTo>
                  <a:cubicBezTo>
                    <a:pt x="32" y="144"/>
                    <a:pt x="34" y="144"/>
                    <a:pt x="34" y="144"/>
                  </a:cubicBezTo>
                  <a:cubicBezTo>
                    <a:pt x="36" y="141"/>
                    <a:pt x="36" y="141"/>
                    <a:pt x="36" y="141"/>
                  </a:cubicBezTo>
                  <a:cubicBezTo>
                    <a:pt x="36" y="141"/>
                    <a:pt x="36" y="141"/>
                    <a:pt x="37" y="141"/>
                  </a:cubicBezTo>
                  <a:cubicBezTo>
                    <a:pt x="39" y="142"/>
                    <a:pt x="40" y="142"/>
                    <a:pt x="41" y="142"/>
                  </a:cubicBezTo>
                  <a:cubicBezTo>
                    <a:pt x="42" y="142"/>
                    <a:pt x="43" y="144"/>
                    <a:pt x="43" y="140"/>
                  </a:cubicBezTo>
                  <a:cubicBezTo>
                    <a:pt x="43" y="137"/>
                    <a:pt x="43" y="136"/>
                    <a:pt x="43" y="136"/>
                  </a:cubicBezTo>
                  <a:cubicBezTo>
                    <a:pt x="38" y="132"/>
                    <a:pt x="38" y="132"/>
                    <a:pt x="38" y="132"/>
                  </a:cubicBezTo>
                  <a:cubicBezTo>
                    <a:pt x="38" y="132"/>
                    <a:pt x="38" y="131"/>
                    <a:pt x="37" y="129"/>
                  </a:cubicBezTo>
                  <a:cubicBezTo>
                    <a:pt x="36" y="128"/>
                    <a:pt x="35" y="127"/>
                    <a:pt x="35" y="127"/>
                  </a:cubicBezTo>
                  <a:cubicBezTo>
                    <a:pt x="34" y="127"/>
                    <a:pt x="32" y="125"/>
                    <a:pt x="32" y="125"/>
                  </a:cubicBezTo>
                  <a:cubicBezTo>
                    <a:pt x="31" y="124"/>
                    <a:pt x="30" y="123"/>
                    <a:pt x="30" y="123"/>
                  </a:cubicBezTo>
                  <a:cubicBezTo>
                    <a:pt x="30" y="123"/>
                    <a:pt x="30" y="121"/>
                    <a:pt x="30" y="120"/>
                  </a:cubicBezTo>
                  <a:cubicBezTo>
                    <a:pt x="31" y="120"/>
                    <a:pt x="31" y="120"/>
                    <a:pt x="32" y="120"/>
                  </a:cubicBezTo>
                  <a:cubicBezTo>
                    <a:pt x="33" y="121"/>
                    <a:pt x="34" y="121"/>
                    <a:pt x="35" y="121"/>
                  </a:cubicBezTo>
                  <a:cubicBezTo>
                    <a:pt x="36" y="121"/>
                    <a:pt x="37" y="121"/>
                    <a:pt x="38" y="121"/>
                  </a:cubicBezTo>
                  <a:cubicBezTo>
                    <a:pt x="38" y="121"/>
                    <a:pt x="41" y="120"/>
                    <a:pt x="41" y="120"/>
                  </a:cubicBezTo>
                  <a:cubicBezTo>
                    <a:pt x="42" y="120"/>
                    <a:pt x="42" y="118"/>
                    <a:pt x="43" y="118"/>
                  </a:cubicBezTo>
                  <a:cubicBezTo>
                    <a:pt x="43" y="118"/>
                    <a:pt x="44" y="117"/>
                    <a:pt x="43" y="116"/>
                  </a:cubicBezTo>
                  <a:cubicBezTo>
                    <a:pt x="43" y="116"/>
                    <a:pt x="41" y="115"/>
                    <a:pt x="41" y="115"/>
                  </a:cubicBezTo>
                  <a:cubicBezTo>
                    <a:pt x="40" y="115"/>
                    <a:pt x="39" y="114"/>
                    <a:pt x="39" y="113"/>
                  </a:cubicBezTo>
                  <a:cubicBezTo>
                    <a:pt x="38" y="113"/>
                    <a:pt x="37" y="112"/>
                    <a:pt x="37" y="111"/>
                  </a:cubicBezTo>
                  <a:cubicBezTo>
                    <a:pt x="36" y="111"/>
                    <a:pt x="36" y="112"/>
                    <a:pt x="35" y="112"/>
                  </a:cubicBezTo>
                  <a:cubicBezTo>
                    <a:pt x="34" y="111"/>
                    <a:pt x="33" y="110"/>
                    <a:pt x="32" y="109"/>
                  </a:cubicBezTo>
                  <a:cubicBezTo>
                    <a:pt x="32" y="108"/>
                    <a:pt x="32" y="108"/>
                    <a:pt x="31" y="107"/>
                  </a:cubicBezTo>
                  <a:cubicBezTo>
                    <a:pt x="30" y="107"/>
                    <a:pt x="29" y="106"/>
                    <a:pt x="28" y="106"/>
                  </a:cubicBezTo>
                  <a:cubicBezTo>
                    <a:pt x="27" y="106"/>
                    <a:pt x="27" y="107"/>
                    <a:pt x="25" y="106"/>
                  </a:cubicBezTo>
                  <a:cubicBezTo>
                    <a:pt x="23" y="106"/>
                    <a:pt x="21" y="105"/>
                    <a:pt x="21" y="104"/>
                  </a:cubicBezTo>
                  <a:cubicBezTo>
                    <a:pt x="22" y="103"/>
                    <a:pt x="21" y="103"/>
                    <a:pt x="22" y="102"/>
                  </a:cubicBezTo>
                  <a:cubicBezTo>
                    <a:pt x="22" y="101"/>
                    <a:pt x="22" y="99"/>
                    <a:pt x="22" y="98"/>
                  </a:cubicBezTo>
                  <a:cubicBezTo>
                    <a:pt x="22" y="97"/>
                    <a:pt x="21" y="98"/>
                    <a:pt x="21" y="95"/>
                  </a:cubicBezTo>
                  <a:cubicBezTo>
                    <a:pt x="20" y="92"/>
                    <a:pt x="22" y="93"/>
                    <a:pt x="22" y="93"/>
                  </a:cubicBezTo>
                  <a:cubicBezTo>
                    <a:pt x="22" y="93"/>
                    <a:pt x="23" y="91"/>
                    <a:pt x="23" y="90"/>
                  </a:cubicBezTo>
                  <a:cubicBezTo>
                    <a:pt x="23" y="90"/>
                    <a:pt x="24" y="87"/>
                    <a:pt x="24" y="87"/>
                  </a:cubicBezTo>
                  <a:cubicBezTo>
                    <a:pt x="27" y="83"/>
                    <a:pt x="27" y="83"/>
                    <a:pt x="27" y="83"/>
                  </a:cubicBezTo>
                  <a:cubicBezTo>
                    <a:pt x="27" y="80"/>
                    <a:pt x="27" y="80"/>
                    <a:pt x="27" y="80"/>
                  </a:cubicBezTo>
                  <a:cubicBezTo>
                    <a:pt x="27" y="76"/>
                    <a:pt x="27" y="76"/>
                    <a:pt x="27" y="76"/>
                  </a:cubicBezTo>
                  <a:cubicBezTo>
                    <a:pt x="27" y="73"/>
                    <a:pt x="27" y="73"/>
                    <a:pt x="27" y="73"/>
                  </a:cubicBezTo>
                  <a:cubicBezTo>
                    <a:pt x="24" y="72"/>
                    <a:pt x="24" y="72"/>
                    <a:pt x="24" y="72"/>
                  </a:cubicBezTo>
                  <a:cubicBezTo>
                    <a:pt x="18" y="71"/>
                    <a:pt x="18" y="71"/>
                    <a:pt x="18" y="71"/>
                  </a:cubicBezTo>
                  <a:cubicBezTo>
                    <a:pt x="18" y="71"/>
                    <a:pt x="18" y="73"/>
                    <a:pt x="17" y="73"/>
                  </a:cubicBezTo>
                  <a:cubicBezTo>
                    <a:pt x="17" y="73"/>
                    <a:pt x="16" y="74"/>
                    <a:pt x="15" y="74"/>
                  </a:cubicBezTo>
                  <a:cubicBezTo>
                    <a:pt x="14" y="73"/>
                    <a:pt x="14" y="73"/>
                    <a:pt x="14" y="73"/>
                  </a:cubicBezTo>
                  <a:cubicBezTo>
                    <a:pt x="16" y="71"/>
                    <a:pt x="16" y="71"/>
                    <a:pt x="16" y="71"/>
                  </a:cubicBezTo>
                  <a:cubicBezTo>
                    <a:pt x="16" y="67"/>
                    <a:pt x="16" y="67"/>
                    <a:pt x="16" y="67"/>
                  </a:cubicBezTo>
                  <a:cubicBezTo>
                    <a:pt x="16" y="67"/>
                    <a:pt x="15" y="65"/>
                    <a:pt x="14" y="63"/>
                  </a:cubicBezTo>
                  <a:cubicBezTo>
                    <a:pt x="13" y="62"/>
                    <a:pt x="12" y="61"/>
                    <a:pt x="12" y="61"/>
                  </a:cubicBezTo>
                  <a:cubicBezTo>
                    <a:pt x="15" y="59"/>
                    <a:pt x="15" y="59"/>
                    <a:pt x="15" y="59"/>
                  </a:cubicBezTo>
                  <a:cubicBezTo>
                    <a:pt x="16" y="58"/>
                    <a:pt x="16" y="58"/>
                    <a:pt x="16" y="58"/>
                  </a:cubicBezTo>
                  <a:cubicBezTo>
                    <a:pt x="16" y="57"/>
                    <a:pt x="16" y="57"/>
                    <a:pt x="16" y="57"/>
                  </a:cubicBezTo>
                  <a:cubicBezTo>
                    <a:pt x="16" y="57"/>
                    <a:pt x="18" y="59"/>
                    <a:pt x="20" y="59"/>
                  </a:cubicBezTo>
                  <a:cubicBezTo>
                    <a:pt x="21" y="59"/>
                    <a:pt x="20" y="59"/>
                    <a:pt x="22" y="58"/>
                  </a:cubicBezTo>
                  <a:cubicBezTo>
                    <a:pt x="24" y="58"/>
                    <a:pt x="27" y="55"/>
                    <a:pt x="27" y="55"/>
                  </a:cubicBezTo>
                  <a:cubicBezTo>
                    <a:pt x="27" y="55"/>
                    <a:pt x="25" y="53"/>
                    <a:pt x="24" y="53"/>
                  </a:cubicBezTo>
                  <a:cubicBezTo>
                    <a:pt x="23" y="54"/>
                    <a:pt x="24" y="54"/>
                    <a:pt x="21" y="54"/>
                  </a:cubicBezTo>
                  <a:cubicBezTo>
                    <a:pt x="18" y="53"/>
                    <a:pt x="17" y="52"/>
                    <a:pt x="17" y="52"/>
                  </a:cubicBezTo>
                  <a:cubicBezTo>
                    <a:pt x="17" y="52"/>
                    <a:pt x="16" y="52"/>
                    <a:pt x="15" y="52"/>
                  </a:cubicBezTo>
                  <a:cubicBezTo>
                    <a:pt x="14" y="52"/>
                    <a:pt x="14" y="52"/>
                    <a:pt x="13" y="51"/>
                  </a:cubicBezTo>
                  <a:cubicBezTo>
                    <a:pt x="11" y="49"/>
                    <a:pt x="9" y="47"/>
                    <a:pt x="9" y="47"/>
                  </a:cubicBezTo>
                  <a:cubicBezTo>
                    <a:pt x="9" y="47"/>
                    <a:pt x="7" y="48"/>
                    <a:pt x="7" y="47"/>
                  </a:cubicBezTo>
                  <a:cubicBezTo>
                    <a:pt x="7" y="46"/>
                    <a:pt x="8" y="45"/>
                    <a:pt x="8" y="45"/>
                  </a:cubicBezTo>
                  <a:cubicBezTo>
                    <a:pt x="7" y="43"/>
                    <a:pt x="7" y="43"/>
                    <a:pt x="7" y="43"/>
                  </a:cubicBezTo>
                  <a:cubicBezTo>
                    <a:pt x="7" y="43"/>
                    <a:pt x="9" y="43"/>
                    <a:pt x="10" y="42"/>
                  </a:cubicBezTo>
                  <a:cubicBezTo>
                    <a:pt x="11" y="42"/>
                    <a:pt x="11" y="39"/>
                    <a:pt x="10" y="39"/>
                  </a:cubicBezTo>
                  <a:cubicBezTo>
                    <a:pt x="9" y="39"/>
                    <a:pt x="8" y="38"/>
                    <a:pt x="7" y="39"/>
                  </a:cubicBezTo>
                  <a:cubicBezTo>
                    <a:pt x="6" y="39"/>
                    <a:pt x="5" y="40"/>
                    <a:pt x="5" y="40"/>
                  </a:cubicBezTo>
                  <a:cubicBezTo>
                    <a:pt x="4" y="40"/>
                    <a:pt x="2" y="39"/>
                    <a:pt x="2" y="38"/>
                  </a:cubicBezTo>
                  <a:cubicBezTo>
                    <a:pt x="2" y="37"/>
                    <a:pt x="1" y="37"/>
                    <a:pt x="3" y="36"/>
                  </a:cubicBezTo>
                  <a:cubicBezTo>
                    <a:pt x="4" y="36"/>
                    <a:pt x="5" y="34"/>
                    <a:pt x="5" y="34"/>
                  </a:cubicBezTo>
                  <a:cubicBezTo>
                    <a:pt x="3" y="31"/>
                    <a:pt x="3" y="31"/>
                    <a:pt x="3" y="31"/>
                  </a:cubicBezTo>
                  <a:cubicBezTo>
                    <a:pt x="4" y="25"/>
                    <a:pt x="4" y="25"/>
                    <a:pt x="4" y="25"/>
                  </a:cubicBezTo>
                  <a:cubicBezTo>
                    <a:pt x="0" y="24"/>
                    <a:pt x="0" y="24"/>
                    <a:pt x="0" y="24"/>
                  </a:cubicBezTo>
                  <a:cubicBezTo>
                    <a:pt x="0" y="22"/>
                    <a:pt x="0" y="22"/>
                    <a:pt x="0" y="22"/>
                  </a:cubicBezTo>
                  <a:cubicBezTo>
                    <a:pt x="4" y="20"/>
                    <a:pt x="4" y="20"/>
                    <a:pt x="4" y="20"/>
                  </a:cubicBezTo>
                  <a:cubicBezTo>
                    <a:pt x="8" y="14"/>
                    <a:pt x="8" y="14"/>
                    <a:pt x="8" y="14"/>
                  </a:cubicBezTo>
                  <a:cubicBezTo>
                    <a:pt x="9" y="15"/>
                    <a:pt x="9" y="15"/>
                    <a:pt x="9" y="15"/>
                  </a:cubicBezTo>
                  <a:cubicBezTo>
                    <a:pt x="9" y="15"/>
                    <a:pt x="10" y="15"/>
                    <a:pt x="11" y="14"/>
                  </a:cubicBezTo>
                  <a:close/>
                </a:path>
              </a:pathLst>
            </a:custGeom>
            <a:solidFill>
              <a:srgbClr val="E6EFF1"/>
            </a:solidFill>
            <a:ln w="12700" cap="rnd" cmpd="sng">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Lato Light"/>
              </a:endParaRPr>
            </a:p>
          </p:txBody>
        </p:sp>
        <p:sp>
          <p:nvSpPr>
            <p:cNvPr id="17" name="Freeform 25">
              <a:extLst>
                <a:ext uri="{FF2B5EF4-FFF2-40B4-BE49-F238E27FC236}">
                  <a16:creationId xmlns:a16="http://schemas.microsoft.com/office/drawing/2014/main" id="{1D5F248A-21DF-4DD1-6FD8-796CA72E837E}"/>
                </a:ext>
              </a:extLst>
            </p:cNvPr>
            <p:cNvSpPr>
              <a:spLocks/>
            </p:cNvSpPr>
            <p:nvPr/>
          </p:nvSpPr>
          <p:spPr bwMode="auto">
            <a:xfrm>
              <a:off x="3495913" y="4419314"/>
              <a:ext cx="498725" cy="304328"/>
            </a:xfrm>
            <a:custGeom>
              <a:avLst/>
              <a:gdLst>
                <a:gd name="T0" fmla="*/ 33 w 173"/>
                <a:gd name="T1" fmla="*/ 82 h 109"/>
                <a:gd name="T2" fmla="*/ 34 w 173"/>
                <a:gd name="T3" fmla="*/ 96 h 109"/>
                <a:gd name="T4" fmla="*/ 43 w 173"/>
                <a:gd name="T5" fmla="*/ 106 h 109"/>
                <a:gd name="T6" fmla="*/ 57 w 173"/>
                <a:gd name="T7" fmla="*/ 101 h 109"/>
                <a:gd name="T8" fmla="*/ 68 w 173"/>
                <a:gd name="T9" fmla="*/ 103 h 109"/>
                <a:gd name="T10" fmla="*/ 78 w 173"/>
                <a:gd name="T11" fmla="*/ 97 h 109"/>
                <a:gd name="T12" fmla="*/ 81 w 173"/>
                <a:gd name="T13" fmla="*/ 85 h 109"/>
                <a:gd name="T14" fmla="*/ 88 w 173"/>
                <a:gd name="T15" fmla="*/ 77 h 109"/>
                <a:gd name="T16" fmla="*/ 94 w 173"/>
                <a:gd name="T17" fmla="*/ 85 h 109"/>
                <a:gd name="T18" fmla="*/ 103 w 173"/>
                <a:gd name="T19" fmla="*/ 92 h 109"/>
                <a:gd name="T20" fmla="*/ 110 w 173"/>
                <a:gd name="T21" fmla="*/ 96 h 109"/>
                <a:gd name="T22" fmla="*/ 113 w 173"/>
                <a:gd name="T23" fmla="*/ 108 h 109"/>
                <a:gd name="T24" fmla="*/ 117 w 173"/>
                <a:gd name="T25" fmla="*/ 101 h 109"/>
                <a:gd name="T26" fmla="*/ 121 w 173"/>
                <a:gd name="T27" fmla="*/ 89 h 109"/>
                <a:gd name="T28" fmla="*/ 126 w 173"/>
                <a:gd name="T29" fmla="*/ 80 h 109"/>
                <a:gd name="T30" fmla="*/ 130 w 173"/>
                <a:gd name="T31" fmla="*/ 72 h 109"/>
                <a:gd name="T32" fmla="*/ 136 w 173"/>
                <a:gd name="T33" fmla="*/ 81 h 109"/>
                <a:gd name="T34" fmla="*/ 147 w 173"/>
                <a:gd name="T35" fmla="*/ 78 h 109"/>
                <a:gd name="T36" fmla="*/ 156 w 173"/>
                <a:gd name="T37" fmla="*/ 84 h 109"/>
                <a:gd name="T38" fmla="*/ 158 w 173"/>
                <a:gd name="T39" fmla="*/ 79 h 109"/>
                <a:gd name="T40" fmla="*/ 156 w 173"/>
                <a:gd name="T41" fmla="*/ 71 h 109"/>
                <a:gd name="T42" fmla="*/ 161 w 173"/>
                <a:gd name="T43" fmla="*/ 64 h 109"/>
                <a:gd name="T44" fmla="*/ 170 w 173"/>
                <a:gd name="T45" fmla="*/ 67 h 109"/>
                <a:gd name="T46" fmla="*/ 170 w 173"/>
                <a:gd name="T47" fmla="*/ 58 h 109"/>
                <a:gd name="T48" fmla="*/ 170 w 173"/>
                <a:gd name="T49" fmla="*/ 45 h 109"/>
                <a:gd name="T50" fmla="*/ 163 w 173"/>
                <a:gd name="T51" fmla="*/ 46 h 109"/>
                <a:gd name="T52" fmla="*/ 152 w 173"/>
                <a:gd name="T53" fmla="*/ 48 h 109"/>
                <a:gd name="T54" fmla="*/ 138 w 173"/>
                <a:gd name="T55" fmla="*/ 40 h 109"/>
                <a:gd name="T56" fmla="*/ 133 w 173"/>
                <a:gd name="T57" fmla="*/ 40 h 109"/>
                <a:gd name="T58" fmla="*/ 133 w 173"/>
                <a:gd name="T59" fmla="*/ 35 h 109"/>
                <a:gd name="T60" fmla="*/ 137 w 173"/>
                <a:gd name="T61" fmla="*/ 24 h 109"/>
                <a:gd name="T62" fmla="*/ 136 w 173"/>
                <a:gd name="T63" fmla="*/ 15 h 109"/>
                <a:gd name="T64" fmla="*/ 125 w 173"/>
                <a:gd name="T65" fmla="*/ 8 h 109"/>
                <a:gd name="T66" fmla="*/ 110 w 173"/>
                <a:gd name="T67" fmla="*/ 7 h 109"/>
                <a:gd name="T68" fmla="*/ 102 w 173"/>
                <a:gd name="T69" fmla="*/ 6 h 109"/>
                <a:gd name="T70" fmla="*/ 103 w 173"/>
                <a:gd name="T71" fmla="*/ 1 h 109"/>
                <a:gd name="T72" fmla="*/ 95 w 173"/>
                <a:gd name="T73" fmla="*/ 2 h 109"/>
                <a:gd name="T74" fmla="*/ 100 w 173"/>
                <a:gd name="T75" fmla="*/ 8 h 109"/>
                <a:gd name="T76" fmla="*/ 92 w 173"/>
                <a:gd name="T77" fmla="*/ 12 h 109"/>
                <a:gd name="T78" fmla="*/ 76 w 173"/>
                <a:gd name="T79" fmla="*/ 13 h 109"/>
                <a:gd name="T80" fmla="*/ 65 w 173"/>
                <a:gd name="T81" fmla="*/ 13 h 109"/>
                <a:gd name="T82" fmla="*/ 59 w 173"/>
                <a:gd name="T83" fmla="*/ 14 h 109"/>
                <a:gd name="T84" fmla="*/ 56 w 173"/>
                <a:gd name="T85" fmla="*/ 20 h 109"/>
                <a:gd name="T86" fmla="*/ 46 w 173"/>
                <a:gd name="T87" fmla="*/ 16 h 109"/>
                <a:gd name="T88" fmla="*/ 39 w 173"/>
                <a:gd name="T89" fmla="*/ 20 h 109"/>
                <a:gd name="T90" fmla="*/ 42 w 173"/>
                <a:gd name="T91" fmla="*/ 23 h 109"/>
                <a:gd name="T92" fmla="*/ 37 w 173"/>
                <a:gd name="T93" fmla="*/ 33 h 109"/>
                <a:gd name="T94" fmla="*/ 29 w 173"/>
                <a:gd name="T95" fmla="*/ 41 h 109"/>
                <a:gd name="T96" fmla="*/ 19 w 173"/>
                <a:gd name="T97" fmla="*/ 47 h 109"/>
                <a:gd name="T98" fmla="*/ 19 w 173"/>
                <a:gd name="T99" fmla="*/ 56 h 109"/>
                <a:gd name="T100" fmla="*/ 7 w 173"/>
                <a:gd name="T101" fmla="*/ 67 h 109"/>
                <a:gd name="T102" fmla="*/ 7 w 173"/>
                <a:gd name="T103" fmla="*/ 77 h 109"/>
                <a:gd name="T104" fmla="*/ 0 w 173"/>
                <a:gd name="T105" fmla="*/ 87 h 109"/>
                <a:gd name="T106" fmla="*/ 10 w 173"/>
                <a:gd name="T107" fmla="*/ 87 h 109"/>
                <a:gd name="T108" fmla="*/ 12 w 173"/>
                <a:gd name="T109" fmla="*/ 77 h 109"/>
                <a:gd name="T110" fmla="*/ 31 w 173"/>
                <a:gd name="T111" fmla="*/ 75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73" h="109">
                  <a:moveTo>
                    <a:pt x="31" y="75"/>
                  </a:moveTo>
                  <a:cubicBezTo>
                    <a:pt x="33" y="76"/>
                    <a:pt x="33" y="76"/>
                    <a:pt x="33" y="76"/>
                  </a:cubicBezTo>
                  <a:cubicBezTo>
                    <a:pt x="33" y="78"/>
                    <a:pt x="33" y="78"/>
                    <a:pt x="33" y="78"/>
                  </a:cubicBezTo>
                  <a:cubicBezTo>
                    <a:pt x="33" y="78"/>
                    <a:pt x="33" y="77"/>
                    <a:pt x="32" y="79"/>
                  </a:cubicBezTo>
                  <a:cubicBezTo>
                    <a:pt x="31" y="80"/>
                    <a:pt x="31" y="80"/>
                    <a:pt x="31" y="80"/>
                  </a:cubicBezTo>
                  <a:cubicBezTo>
                    <a:pt x="32" y="80"/>
                    <a:pt x="33" y="81"/>
                    <a:pt x="33" y="81"/>
                  </a:cubicBezTo>
                  <a:cubicBezTo>
                    <a:pt x="33" y="81"/>
                    <a:pt x="34" y="81"/>
                    <a:pt x="33" y="82"/>
                  </a:cubicBezTo>
                  <a:cubicBezTo>
                    <a:pt x="33" y="84"/>
                    <a:pt x="33" y="85"/>
                    <a:pt x="33" y="85"/>
                  </a:cubicBezTo>
                  <a:cubicBezTo>
                    <a:pt x="33" y="85"/>
                    <a:pt x="33" y="86"/>
                    <a:pt x="33" y="87"/>
                  </a:cubicBezTo>
                  <a:cubicBezTo>
                    <a:pt x="32" y="87"/>
                    <a:pt x="31" y="90"/>
                    <a:pt x="31" y="90"/>
                  </a:cubicBezTo>
                  <a:cubicBezTo>
                    <a:pt x="31" y="90"/>
                    <a:pt x="31" y="90"/>
                    <a:pt x="31" y="91"/>
                  </a:cubicBezTo>
                  <a:cubicBezTo>
                    <a:pt x="32" y="91"/>
                    <a:pt x="35" y="91"/>
                    <a:pt x="35" y="91"/>
                  </a:cubicBezTo>
                  <a:cubicBezTo>
                    <a:pt x="35" y="91"/>
                    <a:pt x="35" y="93"/>
                    <a:pt x="35" y="94"/>
                  </a:cubicBezTo>
                  <a:cubicBezTo>
                    <a:pt x="34" y="94"/>
                    <a:pt x="33" y="96"/>
                    <a:pt x="34" y="96"/>
                  </a:cubicBezTo>
                  <a:cubicBezTo>
                    <a:pt x="35" y="96"/>
                    <a:pt x="36" y="97"/>
                    <a:pt x="36" y="97"/>
                  </a:cubicBezTo>
                  <a:cubicBezTo>
                    <a:pt x="36" y="97"/>
                    <a:pt x="37" y="98"/>
                    <a:pt x="37" y="98"/>
                  </a:cubicBezTo>
                  <a:cubicBezTo>
                    <a:pt x="38" y="98"/>
                    <a:pt x="39" y="99"/>
                    <a:pt x="39" y="99"/>
                  </a:cubicBezTo>
                  <a:cubicBezTo>
                    <a:pt x="39" y="99"/>
                    <a:pt x="41" y="101"/>
                    <a:pt x="41" y="101"/>
                  </a:cubicBezTo>
                  <a:cubicBezTo>
                    <a:pt x="41" y="102"/>
                    <a:pt x="40" y="103"/>
                    <a:pt x="40" y="103"/>
                  </a:cubicBezTo>
                  <a:cubicBezTo>
                    <a:pt x="40" y="103"/>
                    <a:pt x="42" y="105"/>
                    <a:pt x="42" y="105"/>
                  </a:cubicBezTo>
                  <a:cubicBezTo>
                    <a:pt x="42" y="105"/>
                    <a:pt x="42" y="106"/>
                    <a:pt x="43" y="106"/>
                  </a:cubicBezTo>
                  <a:cubicBezTo>
                    <a:pt x="44" y="106"/>
                    <a:pt x="45" y="105"/>
                    <a:pt x="45" y="105"/>
                  </a:cubicBezTo>
                  <a:cubicBezTo>
                    <a:pt x="45" y="105"/>
                    <a:pt x="47" y="104"/>
                    <a:pt x="47" y="104"/>
                  </a:cubicBezTo>
                  <a:cubicBezTo>
                    <a:pt x="47" y="104"/>
                    <a:pt x="48" y="103"/>
                    <a:pt x="49" y="103"/>
                  </a:cubicBezTo>
                  <a:cubicBezTo>
                    <a:pt x="50" y="103"/>
                    <a:pt x="51" y="104"/>
                    <a:pt x="52" y="104"/>
                  </a:cubicBezTo>
                  <a:cubicBezTo>
                    <a:pt x="53" y="104"/>
                    <a:pt x="56" y="104"/>
                    <a:pt x="56" y="104"/>
                  </a:cubicBezTo>
                  <a:cubicBezTo>
                    <a:pt x="56" y="102"/>
                    <a:pt x="56" y="102"/>
                    <a:pt x="56" y="102"/>
                  </a:cubicBezTo>
                  <a:cubicBezTo>
                    <a:pt x="56" y="102"/>
                    <a:pt x="56" y="101"/>
                    <a:pt x="57" y="101"/>
                  </a:cubicBezTo>
                  <a:cubicBezTo>
                    <a:pt x="58" y="101"/>
                    <a:pt x="59" y="101"/>
                    <a:pt x="59" y="101"/>
                  </a:cubicBezTo>
                  <a:cubicBezTo>
                    <a:pt x="59" y="101"/>
                    <a:pt x="58" y="100"/>
                    <a:pt x="59" y="100"/>
                  </a:cubicBezTo>
                  <a:cubicBezTo>
                    <a:pt x="59" y="100"/>
                    <a:pt x="61" y="100"/>
                    <a:pt x="62" y="101"/>
                  </a:cubicBezTo>
                  <a:cubicBezTo>
                    <a:pt x="62" y="101"/>
                    <a:pt x="64" y="100"/>
                    <a:pt x="64" y="101"/>
                  </a:cubicBezTo>
                  <a:cubicBezTo>
                    <a:pt x="64" y="101"/>
                    <a:pt x="65" y="102"/>
                    <a:pt x="65" y="102"/>
                  </a:cubicBezTo>
                  <a:cubicBezTo>
                    <a:pt x="65" y="102"/>
                    <a:pt x="66" y="104"/>
                    <a:pt x="66" y="103"/>
                  </a:cubicBezTo>
                  <a:cubicBezTo>
                    <a:pt x="67" y="103"/>
                    <a:pt x="67" y="103"/>
                    <a:pt x="68" y="103"/>
                  </a:cubicBezTo>
                  <a:cubicBezTo>
                    <a:pt x="68" y="104"/>
                    <a:pt x="70" y="104"/>
                    <a:pt x="71" y="104"/>
                  </a:cubicBezTo>
                  <a:cubicBezTo>
                    <a:pt x="71" y="103"/>
                    <a:pt x="71" y="103"/>
                    <a:pt x="71" y="103"/>
                  </a:cubicBezTo>
                  <a:cubicBezTo>
                    <a:pt x="71" y="102"/>
                    <a:pt x="70" y="101"/>
                    <a:pt x="72" y="101"/>
                  </a:cubicBezTo>
                  <a:cubicBezTo>
                    <a:pt x="73" y="101"/>
                    <a:pt x="73" y="100"/>
                    <a:pt x="74" y="100"/>
                  </a:cubicBezTo>
                  <a:cubicBezTo>
                    <a:pt x="75" y="100"/>
                    <a:pt x="76" y="100"/>
                    <a:pt x="76" y="100"/>
                  </a:cubicBezTo>
                  <a:cubicBezTo>
                    <a:pt x="76" y="100"/>
                    <a:pt x="76" y="100"/>
                    <a:pt x="77" y="99"/>
                  </a:cubicBezTo>
                  <a:cubicBezTo>
                    <a:pt x="78" y="98"/>
                    <a:pt x="78" y="97"/>
                    <a:pt x="78" y="97"/>
                  </a:cubicBezTo>
                  <a:cubicBezTo>
                    <a:pt x="78" y="96"/>
                    <a:pt x="78" y="95"/>
                    <a:pt x="78" y="95"/>
                  </a:cubicBezTo>
                  <a:cubicBezTo>
                    <a:pt x="79" y="94"/>
                    <a:pt x="79" y="94"/>
                    <a:pt x="79" y="94"/>
                  </a:cubicBezTo>
                  <a:cubicBezTo>
                    <a:pt x="80" y="93"/>
                    <a:pt x="80" y="93"/>
                    <a:pt x="80" y="93"/>
                  </a:cubicBezTo>
                  <a:cubicBezTo>
                    <a:pt x="80" y="93"/>
                    <a:pt x="80" y="93"/>
                    <a:pt x="81" y="91"/>
                  </a:cubicBezTo>
                  <a:cubicBezTo>
                    <a:pt x="81" y="90"/>
                    <a:pt x="81" y="90"/>
                    <a:pt x="81" y="90"/>
                  </a:cubicBezTo>
                  <a:cubicBezTo>
                    <a:pt x="82" y="88"/>
                    <a:pt x="82" y="88"/>
                    <a:pt x="82" y="88"/>
                  </a:cubicBezTo>
                  <a:cubicBezTo>
                    <a:pt x="81" y="85"/>
                    <a:pt x="81" y="85"/>
                    <a:pt x="81" y="85"/>
                  </a:cubicBezTo>
                  <a:cubicBezTo>
                    <a:pt x="80" y="84"/>
                    <a:pt x="80" y="84"/>
                    <a:pt x="80" y="84"/>
                  </a:cubicBezTo>
                  <a:cubicBezTo>
                    <a:pt x="81" y="83"/>
                    <a:pt x="81" y="83"/>
                    <a:pt x="81" y="83"/>
                  </a:cubicBezTo>
                  <a:cubicBezTo>
                    <a:pt x="81" y="83"/>
                    <a:pt x="82" y="82"/>
                    <a:pt x="83" y="82"/>
                  </a:cubicBezTo>
                  <a:cubicBezTo>
                    <a:pt x="84" y="82"/>
                    <a:pt x="84" y="82"/>
                    <a:pt x="84" y="81"/>
                  </a:cubicBezTo>
                  <a:cubicBezTo>
                    <a:pt x="85" y="81"/>
                    <a:pt x="87" y="79"/>
                    <a:pt x="87" y="79"/>
                  </a:cubicBezTo>
                  <a:cubicBezTo>
                    <a:pt x="87" y="79"/>
                    <a:pt x="87" y="79"/>
                    <a:pt x="88" y="79"/>
                  </a:cubicBezTo>
                  <a:cubicBezTo>
                    <a:pt x="88" y="78"/>
                    <a:pt x="88" y="77"/>
                    <a:pt x="88" y="77"/>
                  </a:cubicBezTo>
                  <a:cubicBezTo>
                    <a:pt x="88" y="77"/>
                    <a:pt x="88" y="76"/>
                    <a:pt x="89" y="76"/>
                  </a:cubicBezTo>
                  <a:cubicBezTo>
                    <a:pt x="90" y="75"/>
                    <a:pt x="94" y="74"/>
                    <a:pt x="94" y="74"/>
                  </a:cubicBezTo>
                  <a:cubicBezTo>
                    <a:pt x="94" y="74"/>
                    <a:pt x="93" y="76"/>
                    <a:pt x="93" y="77"/>
                  </a:cubicBezTo>
                  <a:cubicBezTo>
                    <a:pt x="93" y="78"/>
                    <a:pt x="94" y="80"/>
                    <a:pt x="94" y="80"/>
                  </a:cubicBezTo>
                  <a:cubicBezTo>
                    <a:pt x="94" y="80"/>
                    <a:pt x="93" y="82"/>
                    <a:pt x="93" y="82"/>
                  </a:cubicBezTo>
                  <a:cubicBezTo>
                    <a:pt x="93" y="83"/>
                    <a:pt x="93" y="84"/>
                    <a:pt x="93" y="84"/>
                  </a:cubicBezTo>
                  <a:cubicBezTo>
                    <a:pt x="94" y="85"/>
                    <a:pt x="94" y="85"/>
                    <a:pt x="94" y="85"/>
                  </a:cubicBezTo>
                  <a:cubicBezTo>
                    <a:pt x="94" y="85"/>
                    <a:pt x="94" y="86"/>
                    <a:pt x="94" y="86"/>
                  </a:cubicBezTo>
                  <a:cubicBezTo>
                    <a:pt x="95" y="86"/>
                    <a:pt x="96" y="88"/>
                    <a:pt x="96" y="88"/>
                  </a:cubicBezTo>
                  <a:cubicBezTo>
                    <a:pt x="97" y="88"/>
                    <a:pt x="97" y="88"/>
                    <a:pt x="97" y="88"/>
                  </a:cubicBezTo>
                  <a:cubicBezTo>
                    <a:pt x="97" y="88"/>
                    <a:pt x="98" y="89"/>
                    <a:pt x="98" y="90"/>
                  </a:cubicBezTo>
                  <a:cubicBezTo>
                    <a:pt x="98" y="90"/>
                    <a:pt x="99" y="91"/>
                    <a:pt x="100" y="92"/>
                  </a:cubicBezTo>
                  <a:cubicBezTo>
                    <a:pt x="100" y="92"/>
                    <a:pt x="101" y="92"/>
                    <a:pt x="101" y="92"/>
                  </a:cubicBezTo>
                  <a:cubicBezTo>
                    <a:pt x="102" y="92"/>
                    <a:pt x="103" y="92"/>
                    <a:pt x="103" y="92"/>
                  </a:cubicBezTo>
                  <a:cubicBezTo>
                    <a:pt x="103" y="93"/>
                    <a:pt x="105" y="93"/>
                    <a:pt x="106" y="93"/>
                  </a:cubicBezTo>
                  <a:cubicBezTo>
                    <a:pt x="106" y="94"/>
                    <a:pt x="108" y="93"/>
                    <a:pt x="108" y="93"/>
                  </a:cubicBezTo>
                  <a:cubicBezTo>
                    <a:pt x="109" y="94"/>
                    <a:pt x="109" y="94"/>
                    <a:pt x="109" y="94"/>
                  </a:cubicBezTo>
                  <a:cubicBezTo>
                    <a:pt x="110" y="94"/>
                    <a:pt x="110" y="94"/>
                    <a:pt x="110" y="94"/>
                  </a:cubicBezTo>
                  <a:cubicBezTo>
                    <a:pt x="110" y="94"/>
                    <a:pt x="111" y="94"/>
                    <a:pt x="111" y="95"/>
                  </a:cubicBezTo>
                  <a:cubicBezTo>
                    <a:pt x="110" y="96"/>
                    <a:pt x="110" y="96"/>
                    <a:pt x="110" y="96"/>
                  </a:cubicBezTo>
                  <a:cubicBezTo>
                    <a:pt x="110" y="96"/>
                    <a:pt x="110" y="96"/>
                    <a:pt x="110" y="96"/>
                  </a:cubicBezTo>
                  <a:cubicBezTo>
                    <a:pt x="109" y="97"/>
                    <a:pt x="108" y="99"/>
                    <a:pt x="108" y="99"/>
                  </a:cubicBezTo>
                  <a:cubicBezTo>
                    <a:pt x="111" y="101"/>
                    <a:pt x="111" y="101"/>
                    <a:pt x="111" y="101"/>
                  </a:cubicBezTo>
                  <a:cubicBezTo>
                    <a:pt x="111" y="101"/>
                    <a:pt x="112" y="101"/>
                    <a:pt x="112" y="102"/>
                  </a:cubicBezTo>
                  <a:cubicBezTo>
                    <a:pt x="113" y="103"/>
                    <a:pt x="113" y="104"/>
                    <a:pt x="113" y="104"/>
                  </a:cubicBezTo>
                  <a:cubicBezTo>
                    <a:pt x="113" y="104"/>
                    <a:pt x="113" y="104"/>
                    <a:pt x="113" y="104"/>
                  </a:cubicBezTo>
                  <a:cubicBezTo>
                    <a:pt x="113" y="105"/>
                    <a:pt x="113" y="107"/>
                    <a:pt x="113" y="107"/>
                  </a:cubicBezTo>
                  <a:cubicBezTo>
                    <a:pt x="113" y="107"/>
                    <a:pt x="111" y="108"/>
                    <a:pt x="113" y="108"/>
                  </a:cubicBezTo>
                  <a:cubicBezTo>
                    <a:pt x="115" y="108"/>
                    <a:pt x="115" y="108"/>
                    <a:pt x="115" y="108"/>
                  </a:cubicBezTo>
                  <a:cubicBezTo>
                    <a:pt x="116" y="108"/>
                    <a:pt x="117" y="109"/>
                    <a:pt x="117" y="109"/>
                  </a:cubicBezTo>
                  <a:cubicBezTo>
                    <a:pt x="118" y="108"/>
                    <a:pt x="118" y="108"/>
                    <a:pt x="118" y="108"/>
                  </a:cubicBezTo>
                  <a:cubicBezTo>
                    <a:pt x="118" y="108"/>
                    <a:pt x="117" y="106"/>
                    <a:pt x="119" y="105"/>
                  </a:cubicBezTo>
                  <a:cubicBezTo>
                    <a:pt x="120" y="104"/>
                    <a:pt x="120" y="104"/>
                    <a:pt x="120" y="104"/>
                  </a:cubicBezTo>
                  <a:cubicBezTo>
                    <a:pt x="120" y="104"/>
                    <a:pt x="117" y="103"/>
                    <a:pt x="117" y="102"/>
                  </a:cubicBezTo>
                  <a:cubicBezTo>
                    <a:pt x="117" y="102"/>
                    <a:pt x="116" y="102"/>
                    <a:pt x="117" y="101"/>
                  </a:cubicBezTo>
                  <a:cubicBezTo>
                    <a:pt x="117" y="100"/>
                    <a:pt x="116" y="100"/>
                    <a:pt x="117" y="99"/>
                  </a:cubicBezTo>
                  <a:cubicBezTo>
                    <a:pt x="117" y="99"/>
                    <a:pt x="118" y="99"/>
                    <a:pt x="118" y="98"/>
                  </a:cubicBezTo>
                  <a:cubicBezTo>
                    <a:pt x="118" y="98"/>
                    <a:pt x="117" y="96"/>
                    <a:pt x="117" y="96"/>
                  </a:cubicBezTo>
                  <a:cubicBezTo>
                    <a:pt x="119" y="95"/>
                    <a:pt x="119" y="95"/>
                    <a:pt x="119" y="95"/>
                  </a:cubicBezTo>
                  <a:cubicBezTo>
                    <a:pt x="119" y="95"/>
                    <a:pt x="119" y="94"/>
                    <a:pt x="119" y="94"/>
                  </a:cubicBezTo>
                  <a:cubicBezTo>
                    <a:pt x="119" y="93"/>
                    <a:pt x="119" y="91"/>
                    <a:pt x="119" y="91"/>
                  </a:cubicBezTo>
                  <a:cubicBezTo>
                    <a:pt x="120" y="91"/>
                    <a:pt x="121" y="89"/>
                    <a:pt x="121" y="89"/>
                  </a:cubicBezTo>
                  <a:cubicBezTo>
                    <a:pt x="121" y="89"/>
                    <a:pt x="123" y="89"/>
                    <a:pt x="123" y="89"/>
                  </a:cubicBezTo>
                  <a:cubicBezTo>
                    <a:pt x="123" y="88"/>
                    <a:pt x="124" y="87"/>
                    <a:pt x="124" y="87"/>
                  </a:cubicBezTo>
                  <a:cubicBezTo>
                    <a:pt x="124" y="87"/>
                    <a:pt x="124" y="87"/>
                    <a:pt x="125" y="86"/>
                  </a:cubicBezTo>
                  <a:cubicBezTo>
                    <a:pt x="125" y="85"/>
                    <a:pt x="125" y="84"/>
                    <a:pt x="125" y="84"/>
                  </a:cubicBezTo>
                  <a:cubicBezTo>
                    <a:pt x="125" y="83"/>
                    <a:pt x="126" y="82"/>
                    <a:pt x="126" y="82"/>
                  </a:cubicBezTo>
                  <a:cubicBezTo>
                    <a:pt x="126" y="81"/>
                    <a:pt x="126" y="81"/>
                    <a:pt x="126" y="81"/>
                  </a:cubicBezTo>
                  <a:cubicBezTo>
                    <a:pt x="126" y="81"/>
                    <a:pt x="126" y="80"/>
                    <a:pt x="126" y="80"/>
                  </a:cubicBezTo>
                  <a:cubicBezTo>
                    <a:pt x="126" y="79"/>
                    <a:pt x="126" y="78"/>
                    <a:pt x="126" y="78"/>
                  </a:cubicBezTo>
                  <a:cubicBezTo>
                    <a:pt x="126" y="76"/>
                    <a:pt x="126" y="76"/>
                    <a:pt x="126" y="76"/>
                  </a:cubicBezTo>
                  <a:cubicBezTo>
                    <a:pt x="125" y="74"/>
                    <a:pt x="125" y="74"/>
                    <a:pt x="125" y="74"/>
                  </a:cubicBezTo>
                  <a:cubicBezTo>
                    <a:pt x="125" y="73"/>
                    <a:pt x="125" y="73"/>
                    <a:pt x="125" y="73"/>
                  </a:cubicBezTo>
                  <a:cubicBezTo>
                    <a:pt x="127" y="71"/>
                    <a:pt x="127" y="71"/>
                    <a:pt x="127" y="71"/>
                  </a:cubicBezTo>
                  <a:cubicBezTo>
                    <a:pt x="127" y="71"/>
                    <a:pt x="128" y="70"/>
                    <a:pt x="128" y="71"/>
                  </a:cubicBezTo>
                  <a:cubicBezTo>
                    <a:pt x="129" y="71"/>
                    <a:pt x="130" y="72"/>
                    <a:pt x="130" y="72"/>
                  </a:cubicBezTo>
                  <a:cubicBezTo>
                    <a:pt x="131" y="72"/>
                    <a:pt x="131" y="72"/>
                    <a:pt x="131" y="72"/>
                  </a:cubicBezTo>
                  <a:cubicBezTo>
                    <a:pt x="133" y="71"/>
                    <a:pt x="133" y="71"/>
                    <a:pt x="133" y="71"/>
                  </a:cubicBezTo>
                  <a:cubicBezTo>
                    <a:pt x="133" y="71"/>
                    <a:pt x="134" y="71"/>
                    <a:pt x="134" y="72"/>
                  </a:cubicBezTo>
                  <a:cubicBezTo>
                    <a:pt x="133" y="72"/>
                    <a:pt x="132" y="73"/>
                    <a:pt x="133" y="74"/>
                  </a:cubicBezTo>
                  <a:cubicBezTo>
                    <a:pt x="133" y="74"/>
                    <a:pt x="134" y="75"/>
                    <a:pt x="134" y="76"/>
                  </a:cubicBezTo>
                  <a:cubicBezTo>
                    <a:pt x="134" y="77"/>
                    <a:pt x="134" y="77"/>
                    <a:pt x="134" y="79"/>
                  </a:cubicBezTo>
                  <a:cubicBezTo>
                    <a:pt x="134" y="80"/>
                    <a:pt x="136" y="80"/>
                    <a:pt x="136" y="81"/>
                  </a:cubicBezTo>
                  <a:cubicBezTo>
                    <a:pt x="137" y="81"/>
                    <a:pt x="135" y="82"/>
                    <a:pt x="138" y="82"/>
                  </a:cubicBezTo>
                  <a:cubicBezTo>
                    <a:pt x="140" y="82"/>
                    <a:pt x="142" y="83"/>
                    <a:pt x="142" y="82"/>
                  </a:cubicBezTo>
                  <a:cubicBezTo>
                    <a:pt x="143" y="82"/>
                    <a:pt x="143" y="82"/>
                    <a:pt x="143" y="81"/>
                  </a:cubicBezTo>
                  <a:cubicBezTo>
                    <a:pt x="142" y="80"/>
                    <a:pt x="143" y="79"/>
                    <a:pt x="143" y="79"/>
                  </a:cubicBezTo>
                  <a:cubicBezTo>
                    <a:pt x="143" y="79"/>
                    <a:pt x="144" y="79"/>
                    <a:pt x="144" y="79"/>
                  </a:cubicBezTo>
                  <a:cubicBezTo>
                    <a:pt x="145" y="79"/>
                    <a:pt x="145" y="80"/>
                    <a:pt x="146" y="79"/>
                  </a:cubicBezTo>
                  <a:cubicBezTo>
                    <a:pt x="146" y="79"/>
                    <a:pt x="147" y="78"/>
                    <a:pt x="147" y="78"/>
                  </a:cubicBezTo>
                  <a:cubicBezTo>
                    <a:pt x="149" y="78"/>
                    <a:pt x="149" y="78"/>
                    <a:pt x="149" y="78"/>
                  </a:cubicBezTo>
                  <a:cubicBezTo>
                    <a:pt x="149" y="78"/>
                    <a:pt x="148" y="77"/>
                    <a:pt x="150" y="77"/>
                  </a:cubicBezTo>
                  <a:cubicBezTo>
                    <a:pt x="151" y="77"/>
                    <a:pt x="153" y="77"/>
                    <a:pt x="153" y="77"/>
                  </a:cubicBezTo>
                  <a:cubicBezTo>
                    <a:pt x="153" y="77"/>
                    <a:pt x="153" y="78"/>
                    <a:pt x="153" y="79"/>
                  </a:cubicBezTo>
                  <a:cubicBezTo>
                    <a:pt x="154" y="80"/>
                    <a:pt x="154" y="80"/>
                    <a:pt x="154" y="80"/>
                  </a:cubicBezTo>
                  <a:cubicBezTo>
                    <a:pt x="154" y="80"/>
                    <a:pt x="153" y="80"/>
                    <a:pt x="154" y="82"/>
                  </a:cubicBezTo>
                  <a:cubicBezTo>
                    <a:pt x="155" y="83"/>
                    <a:pt x="156" y="83"/>
                    <a:pt x="156" y="84"/>
                  </a:cubicBezTo>
                  <a:cubicBezTo>
                    <a:pt x="157" y="84"/>
                    <a:pt x="156" y="86"/>
                    <a:pt x="156" y="86"/>
                  </a:cubicBezTo>
                  <a:cubicBezTo>
                    <a:pt x="156" y="86"/>
                    <a:pt x="158" y="86"/>
                    <a:pt x="158" y="86"/>
                  </a:cubicBezTo>
                  <a:cubicBezTo>
                    <a:pt x="158" y="85"/>
                    <a:pt x="158" y="85"/>
                    <a:pt x="159" y="85"/>
                  </a:cubicBezTo>
                  <a:cubicBezTo>
                    <a:pt x="159" y="85"/>
                    <a:pt x="159" y="85"/>
                    <a:pt x="159" y="85"/>
                  </a:cubicBezTo>
                  <a:cubicBezTo>
                    <a:pt x="159" y="85"/>
                    <a:pt x="160" y="84"/>
                    <a:pt x="160" y="83"/>
                  </a:cubicBezTo>
                  <a:cubicBezTo>
                    <a:pt x="160" y="83"/>
                    <a:pt x="160" y="80"/>
                    <a:pt x="159" y="80"/>
                  </a:cubicBezTo>
                  <a:cubicBezTo>
                    <a:pt x="159" y="80"/>
                    <a:pt x="158" y="80"/>
                    <a:pt x="158" y="79"/>
                  </a:cubicBezTo>
                  <a:cubicBezTo>
                    <a:pt x="157" y="78"/>
                    <a:pt x="157" y="78"/>
                    <a:pt x="158" y="78"/>
                  </a:cubicBezTo>
                  <a:cubicBezTo>
                    <a:pt x="158" y="78"/>
                    <a:pt x="159" y="77"/>
                    <a:pt x="159" y="77"/>
                  </a:cubicBezTo>
                  <a:cubicBezTo>
                    <a:pt x="159" y="77"/>
                    <a:pt x="160" y="76"/>
                    <a:pt x="159" y="76"/>
                  </a:cubicBezTo>
                  <a:cubicBezTo>
                    <a:pt x="159" y="75"/>
                    <a:pt x="158" y="74"/>
                    <a:pt x="158" y="74"/>
                  </a:cubicBezTo>
                  <a:cubicBezTo>
                    <a:pt x="158" y="74"/>
                    <a:pt x="157" y="75"/>
                    <a:pt x="156" y="74"/>
                  </a:cubicBezTo>
                  <a:cubicBezTo>
                    <a:pt x="156" y="74"/>
                    <a:pt x="156" y="74"/>
                    <a:pt x="156" y="73"/>
                  </a:cubicBezTo>
                  <a:cubicBezTo>
                    <a:pt x="156" y="73"/>
                    <a:pt x="156" y="71"/>
                    <a:pt x="156" y="71"/>
                  </a:cubicBezTo>
                  <a:cubicBezTo>
                    <a:pt x="155" y="71"/>
                    <a:pt x="155" y="71"/>
                    <a:pt x="155" y="71"/>
                  </a:cubicBezTo>
                  <a:cubicBezTo>
                    <a:pt x="156" y="69"/>
                    <a:pt x="156" y="69"/>
                    <a:pt x="156" y="69"/>
                  </a:cubicBezTo>
                  <a:cubicBezTo>
                    <a:pt x="156" y="68"/>
                    <a:pt x="156" y="68"/>
                    <a:pt x="156" y="68"/>
                  </a:cubicBezTo>
                  <a:cubicBezTo>
                    <a:pt x="156" y="68"/>
                    <a:pt x="156" y="67"/>
                    <a:pt x="157" y="67"/>
                  </a:cubicBezTo>
                  <a:cubicBezTo>
                    <a:pt x="157" y="66"/>
                    <a:pt x="157" y="66"/>
                    <a:pt x="157" y="65"/>
                  </a:cubicBezTo>
                  <a:cubicBezTo>
                    <a:pt x="158" y="65"/>
                    <a:pt x="158" y="64"/>
                    <a:pt x="158" y="64"/>
                  </a:cubicBezTo>
                  <a:cubicBezTo>
                    <a:pt x="159" y="64"/>
                    <a:pt x="160" y="64"/>
                    <a:pt x="161" y="64"/>
                  </a:cubicBezTo>
                  <a:cubicBezTo>
                    <a:pt x="161" y="64"/>
                    <a:pt x="161" y="63"/>
                    <a:pt x="162" y="63"/>
                  </a:cubicBezTo>
                  <a:cubicBezTo>
                    <a:pt x="162" y="63"/>
                    <a:pt x="163" y="64"/>
                    <a:pt x="163" y="64"/>
                  </a:cubicBezTo>
                  <a:cubicBezTo>
                    <a:pt x="163" y="64"/>
                    <a:pt x="163" y="64"/>
                    <a:pt x="163" y="65"/>
                  </a:cubicBezTo>
                  <a:cubicBezTo>
                    <a:pt x="163" y="65"/>
                    <a:pt x="166" y="67"/>
                    <a:pt x="166" y="67"/>
                  </a:cubicBezTo>
                  <a:cubicBezTo>
                    <a:pt x="166" y="67"/>
                    <a:pt x="166" y="67"/>
                    <a:pt x="167" y="67"/>
                  </a:cubicBezTo>
                  <a:cubicBezTo>
                    <a:pt x="167" y="67"/>
                    <a:pt x="166" y="67"/>
                    <a:pt x="167" y="67"/>
                  </a:cubicBezTo>
                  <a:cubicBezTo>
                    <a:pt x="167" y="68"/>
                    <a:pt x="170" y="67"/>
                    <a:pt x="170" y="67"/>
                  </a:cubicBezTo>
                  <a:cubicBezTo>
                    <a:pt x="171" y="67"/>
                    <a:pt x="171" y="67"/>
                    <a:pt x="171" y="67"/>
                  </a:cubicBezTo>
                  <a:cubicBezTo>
                    <a:pt x="171" y="67"/>
                    <a:pt x="171" y="67"/>
                    <a:pt x="171" y="66"/>
                  </a:cubicBezTo>
                  <a:cubicBezTo>
                    <a:pt x="172" y="66"/>
                    <a:pt x="172" y="65"/>
                    <a:pt x="172" y="64"/>
                  </a:cubicBezTo>
                  <a:cubicBezTo>
                    <a:pt x="172" y="64"/>
                    <a:pt x="173" y="64"/>
                    <a:pt x="172" y="63"/>
                  </a:cubicBezTo>
                  <a:cubicBezTo>
                    <a:pt x="170" y="62"/>
                    <a:pt x="169" y="62"/>
                    <a:pt x="169" y="62"/>
                  </a:cubicBezTo>
                  <a:cubicBezTo>
                    <a:pt x="169" y="62"/>
                    <a:pt x="167" y="60"/>
                    <a:pt x="168" y="60"/>
                  </a:cubicBezTo>
                  <a:cubicBezTo>
                    <a:pt x="169" y="59"/>
                    <a:pt x="170" y="58"/>
                    <a:pt x="170" y="58"/>
                  </a:cubicBezTo>
                  <a:cubicBezTo>
                    <a:pt x="169" y="56"/>
                    <a:pt x="169" y="56"/>
                    <a:pt x="169" y="56"/>
                  </a:cubicBezTo>
                  <a:cubicBezTo>
                    <a:pt x="170" y="55"/>
                    <a:pt x="170" y="55"/>
                    <a:pt x="170" y="55"/>
                  </a:cubicBezTo>
                  <a:cubicBezTo>
                    <a:pt x="169" y="53"/>
                    <a:pt x="169" y="53"/>
                    <a:pt x="169" y="53"/>
                  </a:cubicBezTo>
                  <a:cubicBezTo>
                    <a:pt x="169" y="53"/>
                    <a:pt x="170" y="52"/>
                    <a:pt x="170" y="52"/>
                  </a:cubicBezTo>
                  <a:cubicBezTo>
                    <a:pt x="170" y="51"/>
                    <a:pt x="171" y="48"/>
                    <a:pt x="171" y="48"/>
                  </a:cubicBezTo>
                  <a:cubicBezTo>
                    <a:pt x="171" y="48"/>
                    <a:pt x="171" y="47"/>
                    <a:pt x="171" y="46"/>
                  </a:cubicBezTo>
                  <a:cubicBezTo>
                    <a:pt x="171" y="46"/>
                    <a:pt x="170" y="45"/>
                    <a:pt x="170" y="45"/>
                  </a:cubicBezTo>
                  <a:cubicBezTo>
                    <a:pt x="169" y="44"/>
                    <a:pt x="169" y="44"/>
                    <a:pt x="169" y="44"/>
                  </a:cubicBezTo>
                  <a:cubicBezTo>
                    <a:pt x="169" y="44"/>
                    <a:pt x="168" y="42"/>
                    <a:pt x="168" y="42"/>
                  </a:cubicBezTo>
                  <a:cubicBezTo>
                    <a:pt x="167" y="43"/>
                    <a:pt x="166" y="43"/>
                    <a:pt x="166" y="43"/>
                  </a:cubicBezTo>
                  <a:cubicBezTo>
                    <a:pt x="166" y="43"/>
                    <a:pt x="166" y="45"/>
                    <a:pt x="166" y="45"/>
                  </a:cubicBezTo>
                  <a:cubicBezTo>
                    <a:pt x="165" y="46"/>
                    <a:pt x="164" y="46"/>
                    <a:pt x="164" y="46"/>
                  </a:cubicBezTo>
                  <a:cubicBezTo>
                    <a:pt x="164" y="46"/>
                    <a:pt x="164" y="46"/>
                    <a:pt x="164" y="46"/>
                  </a:cubicBezTo>
                  <a:cubicBezTo>
                    <a:pt x="163" y="46"/>
                    <a:pt x="163" y="46"/>
                    <a:pt x="163" y="46"/>
                  </a:cubicBezTo>
                  <a:cubicBezTo>
                    <a:pt x="162" y="48"/>
                    <a:pt x="162" y="48"/>
                    <a:pt x="162" y="48"/>
                  </a:cubicBezTo>
                  <a:cubicBezTo>
                    <a:pt x="161" y="49"/>
                    <a:pt x="161" y="49"/>
                    <a:pt x="161" y="49"/>
                  </a:cubicBezTo>
                  <a:cubicBezTo>
                    <a:pt x="161" y="49"/>
                    <a:pt x="159" y="50"/>
                    <a:pt x="158" y="50"/>
                  </a:cubicBezTo>
                  <a:cubicBezTo>
                    <a:pt x="158" y="50"/>
                    <a:pt x="156" y="50"/>
                    <a:pt x="156" y="50"/>
                  </a:cubicBezTo>
                  <a:cubicBezTo>
                    <a:pt x="155" y="49"/>
                    <a:pt x="155" y="49"/>
                    <a:pt x="155" y="49"/>
                  </a:cubicBezTo>
                  <a:cubicBezTo>
                    <a:pt x="152" y="48"/>
                    <a:pt x="152" y="48"/>
                    <a:pt x="152" y="48"/>
                  </a:cubicBezTo>
                  <a:cubicBezTo>
                    <a:pt x="152" y="48"/>
                    <a:pt x="152" y="48"/>
                    <a:pt x="152" y="48"/>
                  </a:cubicBezTo>
                  <a:cubicBezTo>
                    <a:pt x="150" y="47"/>
                    <a:pt x="150" y="47"/>
                    <a:pt x="150" y="47"/>
                  </a:cubicBezTo>
                  <a:cubicBezTo>
                    <a:pt x="149" y="46"/>
                    <a:pt x="149" y="46"/>
                    <a:pt x="149" y="46"/>
                  </a:cubicBezTo>
                  <a:cubicBezTo>
                    <a:pt x="149" y="44"/>
                    <a:pt x="149" y="44"/>
                    <a:pt x="149" y="44"/>
                  </a:cubicBezTo>
                  <a:cubicBezTo>
                    <a:pt x="147" y="42"/>
                    <a:pt x="147" y="42"/>
                    <a:pt x="147" y="42"/>
                  </a:cubicBezTo>
                  <a:cubicBezTo>
                    <a:pt x="143" y="41"/>
                    <a:pt x="143" y="41"/>
                    <a:pt x="143" y="41"/>
                  </a:cubicBezTo>
                  <a:cubicBezTo>
                    <a:pt x="140" y="40"/>
                    <a:pt x="140" y="40"/>
                    <a:pt x="140" y="40"/>
                  </a:cubicBezTo>
                  <a:cubicBezTo>
                    <a:pt x="138" y="40"/>
                    <a:pt x="138" y="40"/>
                    <a:pt x="138" y="40"/>
                  </a:cubicBezTo>
                  <a:cubicBezTo>
                    <a:pt x="138" y="40"/>
                    <a:pt x="134" y="40"/>
                    <a:pt x="134" y="40"/>
                  </a:cubicBezTo>
                  <a:cubicBezTo>
                    <a:pt x="134" y="40"/>
                    <a:pt x="133" y="40"/>
                    <a:pt x="133" y="40"/>
                  </a:cubicBezTo>
                  <a:cubicBezTo>
                    <a:pt x="133" y="40"/>
                    <a:pt x="133" y="40"/>
                    <a:pt x="133" y="40"/>
                  </a:cubicBezTo>
                  <a:cubicBezTo>
                    <a:pt x="133" y="40"/>
                    <a:pt x="133" y="40"/>
                    <a:pt x="133" y="40"/>
                  </a:cubicBezTo>
                  <a:cubicBezTo>
                    <a:pt x="133" y="40"/>
                    <a:pt x="133" y="40"/>
                    <a:pt x="133" y="40"/>
                  </a:cubicBezTo>
                  <a:cubicBezTo>
                    <a:pt x="133" y="40"/>
                    <a:pt x="133" y="40"/>
                    <a:pt x="133" y="40"/>
                  </a:cubicBezTo>
                  <a:cubicBezTo>
                    <a:pt x="133" y="40"/>
                    <a:pt x="133" y="40"/>
                    <a:pt x="133" y="40"/>
                  </a:cubicBezTo>
                  <a:cubicBezTo>
                    <a:pt x="132" y="40"/>
                    <a:pt x="132" y="40"/>
                    <a:pt x="132" y="40"/>
                  </a:cubicBezTo>
                  <a:cubicBezTo>
                    <a:pt x="133" y="38"/>
                    <a:pt x="133" y="38"/>
                    <a:pt x="133" y="38"/>
                  </a:cubicBezTo>
                  <a:cubicBezTo>
                    <a:pt x="134" y="38"/>
                    <a:pt x="134" y="38"/>
                    <a:pt x="134" y="38"/>
                  </a:cubicBezTo>
                  <a:cubicBezTo>
                    <a:pt x="134" y="37"/>
                    <a:pt x="134" y="37"/>
                    <a:pt x="134" y="37"/>
                  </a:cubicBezTo>
                  <a:cubicBezTo>
                    <a:pt x="134" y="37"/>
                    <a:pt x="133" y="36"/>
                    <a:pt x="133" y="36"/>
                  </a:cubicBezTo>
                  <a:cubicBezTo>
                    <a:pt x="133" y="36"/>
                    <a:pt x="133" y="35"/>
                    <a:pt x="133" y="35"/>
                  </a:cubicBezTo>
                  <a:cubicBezTo>
                    <a:pt x="133" y="35"/>
                    <a:pt x="133" y="35"/>
                    <a:pt x="133" y="35"/>
                  </a:cubicBezTo>
                  <a:cubicBezTo>
                    <a:pt x="133" y="35"/>
                    <a:pt x="133" y="34"/>
                    <a:pt x="133" y="34"/>
                  </a:cubicBezTo>
                  <a:cubicBezTo>
                    <a:pt x="133" y="34"/>
                    <a:pt x="133" y="34"/>
                    <a:pt x="133" y="34"/>
                  </a:cubicBezTo>
                  <a:cubicBezTo>
                    <a:pt x="133" y="33"/>
                    <a:pt x="133" y="33"/>
                    <a:pt x="133" y="33"/>
                  </a:cubicBezTo>
                  <a:cubicBezTo>
                    <a:pt x="134" y="30"/>
                    <a:pt x="134" y="30"/>
                    <a:pt x="134" y="30"/>
                  </a:cubicBezTo>
                  <a:cubicBezTo>
                    <a:pt x="136" y="28"/>
                    <a:pt x="136" y="28"/>
                    <a:pt x="136" y="28"/>
                  </a:cubicBezTo>
                  <a:cubicBezTo>
                    <a:pt x="136" y="28"/>
                    <a:pt x="136" y="26"/>
                    <a:pt x="137" y="26"/>
                  </a:cubicBezTo>
                  <a:cubicBezTo>
                    <a:pt x="137" y="25"/>
                    <a:pt x="137" y="24"/>
                    <a:pt x="137" y="24"/>
                  </a:cubicBezTo>
                  <a:cubicBezTo>
                    <a:pt x="139" y="23"/>
                    <a:pt x="139" y="23"/>
                    <a:pt x="139" y="23"/>
                  </a:cubicBezTo>
                  <a:cubicBezTo>
                    <a:pt x="139" y="23"/>
                    <a:pt x="140" y="22"/>
                    <a:pt x="140" y="22"/>
                  </a:cubicBezTo>
                  <a:cubicBezTo>
                    <a:pt x="140" y="21"/>
                    <a:pt x="139" y="20"/>
                    <a:pt x="139" y="20"/>
                  </a:cubicBezTo>
                  <a:cubicBezTo>
                    <a:pt x="139" y="19"/>
                    <a:pt x="140" y="18"/>
                    <a:pt x="140" y="18"/>
                  </a:cubicBezTo>
                  <a:cubicBezTo>
                    <a:pt x="139" y="18"/>
                    <a:pt x="139" y="17"/>
                    <a:pt x="138" y="17"/>
                  </a:cubicBezTo>
                  <a:cubicBezTo>
                    <a:pt x="138" y="17"/>
                    <a:pt x="137" y="17"/>
                    <a:pt x="137" y="16"/>
                  </a:cubicBezTo>
                  <a:cubicBezTo>
                    <a:pt x="137" y="16"/>
                    <a:pt x="136" y="15"/>
                    <a:pt x="136" y="15"/>
                  </a:cubicBezTo>
                  <a:cubicBezTo>
                    <a:pt x="136" y="15"/>
                    <a:pt x="136" y="13"/>
                    <a:pt x="135" y="13"/>
                  </a:cubicBezTo>
                  <a:cubicBezTo>
                    <a:pt x="135" y="13"/>
                    <a:pt x="134" y="13"/>
                    <a:pt x="133" y="12"/>
                  </a:cubicBezTo>
                  <a:cubicBezTo>
                    <a:pt x="132" y="12"/>
                    <a:pt x="131" y="11"/>
                    <a:pt x="131" y="11"/>
                  </a:cubicBezTo>
                  <a:cubicBezTo>
                    <a:pt x="130" y="11"/>
                    <a:pt x="128" y="9"/>
                    <a:pt x="128" y="9"/>
                  </a:cubicBezTo>
                  <a:cubicBezTo>
                    <a:pt x="128" y="9"/>
                    <a:pt x="128" y="9"/>
                    <a:pt x="127" y="9"/>
                  </a:cubicBezTo>
                  <a:cubicBezTo>
                    <a:pt x="127" y="9"/>
                    <a:pt x="126" y="8"/>
                    <a:pt x="126" y="8"/>
                  </a:cubicBezTo>
                  <a:cubicBezTo>
                    <a:pt x="125" y="8"/>
                    <a:pt x="125" y="8"/>
                    <a:pt x="125" y="8"/>
                  </a:cubicBezTo>
                  <a:cubicBezTo>
                    <a:pt x="125" y="8"/>
                    <a:pt x="125" y="8"/>
                    <a:pt x="125" y="8"/>
                  </a:cubicBezTo>
                  <a:cubicBezTo>
                    <a:pt x="124" y="8"/>
                    <a:pt x="124" y="8"/>
                    <a:pt x="123" y="7"/>
                  </a:cubicBezTo>
                  <a:cubicBezTo>
                    <a:pt x="121" y="7"/>
                    <a:pt x="122" y="7"/>
                    <a:pt x="120" y="7"/>
                  </a:cubicBezTo>
                  <a:cubicBezTo>
                    <a:pt x="119" y="7"/>
                    <a:pt x="118" y="7"/>
                    <a:pt x="118" y="7"/>
                  </a:cubicBezTo>
                  <a:cubicBezTo>
                    <a:pt x="118" y="7"/>
                    <a:pt x="117" y="6"/>
                    <a:pt x="115" y="6"/>
                  </a:cubicBezTo>
                  <a:cubicBezTo>
                    <a:pt x="114" y="7"/>
                    <a:pt x="112" y="8"/>
                    <a:pt x="111" y="8"/>
                  </a:cubicBezTo>
                  <a:cubicBezTo>
                    <a:pt x="111" y="8"/>
                    <a:pt x="110" y="7"/>
                    <a:pt x="110" y="7"/>
                  </a:cubicBezTo>
                  <a:cubicBezTo>
                    <a:pt x="110" y="7"/>
                    <a:pt x="110" y="6"/>
                    <a:pt x="110" y="6"/>
                  </a:cubicBezTo>
                  <a:cubicBezTo>
                    <a:pt x="110" y="6"/>
                    <a:pt x="109" y="5"/>
                    <a:pt x="108" y="4"/>
                  </a:cubicBezTo>
                  <a:cubicBezTo>
                    <a:pt x="108" y="4"/>
                    <a:pt x="107" y="4"/>
                    <a:pt x="107" y="4"/>
                  </a:cubicBezTo>
                  <a:cubicBezTo>
                    <a:pt x="107" y="4"/>
                    <a:pt x="107" y="4"/>
                    <a:pt x="107" y="5"/>
                  </a:cubicBezTo>
                  <a:cubicBezTo>
                    <a:pt x="107" y="6"/>
                    <a:pt x="109" y="6"/>
                    <a:pt x="107" y="6"/>
                  </a:cubicBezTo>
                  <a:cubicBezTo>
                    <a:pt x="106" y="5"/>
                    <a:pt x="105" y="5"/>
                    <a:pt x="105" y="5"/>
                  </a:cubicBezTo>
                  <a:cubicBezTo>
                    <a:pt x="102" y="6"/>
                    <a:pt x="102" y="6"/>
                    <a:pt x="102" y="6"/>
                  </a:cubicBezTo>
                  <a:cubicBezTo>
                    <a:pt x="103" y="5"/>
                    <a:pt x="103" y="5"/>
                    <a:pt x="103" y="5"/>
                  </a:cubicBezTo>
                  <a:cubicBezTo>
                    <a:pt x="103" y="5"/>
                    <a:pt x="104" y="5"/>
                    <a:pt x="104" y="5"/>
                  </a:cubicBezTo>
                  <a:cubicBezTo>
                    <a:pt x="104" y="4"/>
                    <a:pt x="104" y="4"/>
                    <a:pt x="104" y="4"/>
                  </a:cubicBezTo>
                  <a:cubicBezTo>
                    <a:pt x="104" y="4"/>
                    <a:pt x="104" y="3"/>
                    <a:pt x="104" y="3"/>
                  </a:cubicBezTo>
                  <a:cubicBezTo>
                    <a:pt x="105" y="3"/>
                    <a:pt x="106" y="2"/>
                    <a:pt x="105" y="2"/>
                  </a:cubicBezTo>
                  <a:cubicBezTo>
                    <a:pt x="104" y="2"/>
                    <a:pt x="103" y="2"/>
                    <a:pt x="103" y="2"/>
                  </a:cubicBezTo>
                  <a:cubicBezTo>
                    <a:pt x="103" y="1"/>
                    <a:pt x="103" y="1"/>
                    <a:pt x="103" y="1"/>
                  </a:cubicBezTo>
                  <a:cubicBezTo>
                    <a:pt x="103" y="1"/>
                    <a:pt x="102" y="0"/>
                    <a:pt x="102" y="0"/>
                  </a:cubicBezTo>
                  <a:cubicBezTo>
                    <a:pt x="102" y="1"/>
                    <a:pt x="102" y="2"/>
                    <a:pt x="102" y="2"/>
                  </a:cubicBezTo>
                  <a:cubicBezTo>
                    <a:pt x="101" y="2"/>
                    <a:pt x="101" y="2"/>
                    <a:pt x="101" y="1"/>
                  </a:cubicBezTo>
                  <a:cubicBezTo>
                    <a:pt x="101" y="0"/>
                    <a:pt x="101" y="0"/>
                    <a:pt x="101" y="0"/>
                  </a:cubicBezTo>
                  <a:cubicBezTo>
                    <a:pt x="100" y="0"/>
                    <a:pt x="99" y="0"/>
                    <a:pt x="99" y="0"/>
                  </a:cubicBezTo>
                  <a:cubicBezTo>
                    <a:pt x="99" y="0"/>
                    <a:pt x="100" y="1"/>
                    <a:pt x="98" y="1"/>
                  </a:cubicBezTo>
                  <a:cubicBezTo>
                    <a:pt x="97" y="1"/>
                    <a:pt x="96" y="2"/>
                    <a:pt x="95" y="2"/>
                  </a:cubicBezTo>
                  <a:cubicBezTo>
                    <a:pt x="94" y="3"/>
                    <a:pt x="94" y="4"/>
                    <a:pt x="94" y="4"/>
                  </a:cubicBezTo>
                  <a:cubicBezTo>
                    <a:pt x="94" y="5"/>
                    <a:pt x="92" y="5"/>
                    <a:pt x="92" y="6"/>
                  </a:cubicBezTo>
                  <a:cubicBezTo>
                    <a:pt x="93" y="6"/>
                    <a:pt x="92" y="6"/>
                    <a:pt x="94" y="7"/>
                  </a:cubicBezTo>
                  <a:cubicBezTo>
                    <a:pt x="95" y="7"/>
                    <a:pt x="95" y="7"/>
                    <a:pt x="96" y="7"/>
                  </a:cubicBezTo>
                  <a:cubicBezTo>
                    <a:pt x="97" y="8"/>
                    <a:pt x="98" y="7"/>
                    <a:pt x="98" y="7"/>
                  </a:cubicBezTo>
                  <a:cubicBezTo>
                    <a:pt x="98" y="7"/>
                    <a:pt x="98" y="7"/>
                    <a:pt x="99" y="8"/>
                  </a:cubicBezTo>
                  <a:cubicBezTo>
                    <a:pt x="99" y="8"/>
                    <a:pt x="100" y="7"/>
                    <a:pt x="100" y="8"/>
                  </a:cubicBezTo>
                  <a:cubicBezTo>
                    <a:pt x="100" y="9"/>
                    <a:pt x="101" y="10"/>
                    <a:pt x="100" y="10"/>
                  </a:cubicBezTo>
                  <a:cubicBezTo>
                    <a:pt x="99" y="10"/>
                    <a:pt x="98" y="11"/>
                    <a:pt x="98" y="10"/>
                  </a:cubicBezTo>
                  <a:cubicBezTo>
                    <a:pt x="98" y="10"/>
                    <a:pt x="98" y="9"/>
                    <a:pt x="97" y="9"/>
                  </a:cubicBezTo>
                  <a:cubicBezTo>
                    <a:pt x="97" y="9"/>
                    <a:pt x="96" y="9"/>
                    <a:pt x="96" y="9"/>
                  </a:cubicBezTo>
                  <a:cubicBezTo>
                    <a:pt x="95" y="11"/>
                    <a:pt x="95" y="11"/>
                    <a:pt x="95" y="11"/>
                  </a:cubicBezTo>
                  <a:cubicBezTo>
                    <a:pt x="95" y="11"/>
                    <a:pt x="95" y="12"/>
                    <a:pt x="94" y="12"/>
                  </a:cubicBezTo>
                  <a:cubicBezTo>
                    <a:pt x="93" y="12"/>
                    <a:pt x="94" y="12"/>
                    <a:pt x="92" y="12"/>
                  </a:cubicBezTo>
                  <a:cubicBezTo>
                    <a:pt x="90" y="12"/>
                    <a:pt x="90" y="11"/>
                    <a:pt x="89" y="11"/>
                  </a:cubicBezTo>
                  <a:cubicBezTo>
                    <a:pt x="89" y="11"/>
                    <a:pt x="89" y="11"/>
                    <a:pt x="88" y="11"/>
                  </a:cubicBezTo>
                  <a:cubicBezTo>
                    <a:pt x="88" y="11"/>
                    <a:pt x="86" y="9"/>
                    <a:pt x="85" y="11"/>
                  </a:cubicBezTo>
                  <a:cubicBezTo>
                    <a:pt x="84" y="12"/>
                    <a:pt x="83" y="13"/>
                    <a:pt x="83" y="13"/>
                  </a:cubicBezTo>
                  <a:cubicBezTo>
                    <a:pt x="80" y="13"/>
                    <a:pt x="80" y="13"/>
                    <a:pt x="80" y="13"/>
                  </a:cubicBezTo>
                  <a:cubicBezTo>
                    <a:pt x="80" y="13"/>
                    <a:pt x="79" y="13"/>
                    <a:pt x="78" y="13"/>
                  </a:cubicBezTo>
                  <a:cubicBezTo>
                    <a:pt x="77" y="13"/>
                    <a:pt x="76" y="13"/>
                    <a:pt x="76" y="13"/>
                  </a:cubicBezTo>
                  <a:cubicBezTo>
                    <a:pt x="75" y="14"/>
                    <a:pt x="74" y="11"/>
                    <a:pt x="74" y="11"/>
                  </a:cubicBezTo>
                  <a:cubicBezTo>
                    <a:pt x="74" y="11"/>
                    <a:pt x="75" y="9"/>
                    <a:pt x="72" y="11"/>
                  </a:cubicBezTo>
                  <a:cubicBezTo>
                    <a:pt x="69" y="13"/>
                    <a:pt x="68" y="13"/>
                    <a:pt x="68" y="13"/>
                  </a:cubicBezTo>
                  <a:cubicBezTo>
                    <a:pt x="67" y="13"/>
                    <a:pt x="66" y="14"/>
                    <a:pt x="66" y="14"/>
                  </a:cubicBezTo>
                  <a:cubicBezTo>
                    <a:pt x="65" y="13"/>
                    <a:pt x="65" y="13"/>
                    <a:pt x="65" y="13"/>
                  </a:cubicBezTo>
                  <a:cubicBezTo>
                    <a:pt x="65" y="13"/>
                    <a:pt x="65" y="13"/>
                    <a:pt x="65" y="13"/>
                  </a:cubicBezTo>
                  <a:cubicBezTo>
                    <a:pt x="65" y="13"/>
                    <a:pt x="65" y="13"/>
                    <a:pt x="65" y="13"/>
                  </a:cubicBezTo>
                  <a:cubicBezTo>
                    <a:pt x="66" y="13"/>
                    <a:pt x="66" y="12"/>
                    <a:pt x="66" y="12"/>
                  </a:cubicBezTo>
                  <a:cubicBezTo>
                    <a:pt x="65" y="11"/>
                    <a:pt x="65" y="11"/>
                    <a:pt x="65" y="11"/>
                  </a:cubicBezTo>
                  <a:cubicBezTo>
                    <a:pt x="62" y="12"/>
                    <a:pt x="62" y="12"/>
                    <a:pt x="62" y="12"/>
                  </a:cubicBezTo>
                  <a:cubicBezTo>
                    <a:pt x="62" y="12"/>
                    <a:pt x="63" y="12"/>
                    <a:pt x="62" y="12"/>
                  </a:cubicBezTo>
                  <a:cubicBezTo>
                    <a:pt x="62" y="12"/>
                    <a:pt x="60" y="12"/>
                    <a:pt x="60" y="12"/>
                  </a:cubicBezTo>
                  <a:cubicBezTo>
                    <a:pt x="60" y="14"/>
                    <a:pt x="60" y="14"/>
                    <a:pt x="60" y="14"/>
                  </a:cubicBezTo>
                  <a:cubicBezTo>
                    <a:pt x="60" y="14"/>
                    <a:pt x="59" y="14"/>
                    <a:pt x="59" y="14"/>
                  </a:cubicBezTo>
                  <a:cubicBezTo>
                    <a:pt x="59" y="14"/>
                    <a:pt x="59" y="15"/>
                    <a:pt x="59" y="15"/>
                  </a:cubicBezTo>
                  <a:cubicBezTo>
                    <a:pt x="59" y="15"/>
                    <a:pt x="59" y="16"/>
                    <a:pt x="59" y="16"/>
                  </a:cubicBezTo>
                  <a:cubicBezTo>
                    <a:pt x="59" y="16"/>
                    <a:pt x="58" y="16"/>
                    <a:pt x="58" y="16"/>
                  </a:cubicBezTo>
                  <a:cubicBezTo>
                    <a:pt x="58" y="16"/>
                    <a:pt x="57" y="16"/>
                    <a:pt x="57" y="16"/>
                  </a:cubicBezTo>
                  <a:cubicBezTo>
                    <a:pt x="57" y="16"/>
                    <a:pt x="56" y="18"/>
                    <a:pt x="56" y="18"/>
                  </a:cubicBezTo>
                  <a:cubicBezTo>
                    <a:pt x="56" y="18"/>
                    <a:pt x="56" y="19"/>
                    <a:pt x="56" y="19"/>
                  </a:cubicBezTo>
                  <a:cubicBezTo>
                    <a:pt x="56" y="19"/>
                    <a:pt x="56" y="19"/>
                    <a:pt x="56" y="20"/>
                  </a:cubicBezTo>
                  <a:cubicBezTo>
                    <a:pt x="55" y="20"/>
                    <a:pt x="54" y="20"/>
                    <a:pt x="54" y="20"/>
                  </a:cubicBezTo>
                  <a:cubicBezTo>
                    <a:pt x="54" y="20"/>
                    <a:pt x="53" y="20"/>
                    <a:pt x="52" y="20"/>
                  </a:cubicBezTo>
                  <a:cubicBezTo>
                    <a:pt x="52" y="20"/>
                    <a:pt x="51" y="20"/>
                    <a:pt x="51" y="20"/>
                  </a:cubicBezTo>
                  <a:cubicBezTo>
                    <a:pt x="50" y="20"/>
                    <a:pt x="50" y="21"/>
                    <a:pt x="50" y="21"/>
                  </a:cubicBezTo>
                  <a:cubicBezTo>
                    <a:pt x="50" y="21"/>
                    <a:pt x="48" y="20"/>
                    <a:pt x="48" y="20"/>
                  </a:cubicBezTo>
                  <a:cubicBezTo>
                    <a:pt x="47" y="20"/>
                    <a:pt x="47" y="19"/>
                    <a:pt x="47" y="18"/>
                  </a:cubicBezTo>
                  <a:cubicBezTo>
                    <a:pt x="47" y="18"/>
                    <a:pt x="46" y="16"/>
                    <a:pt x="46" y="16"/>
                  </a:cubicBezTo>
                  <a:cubicBezTo>
                    <a:pt x="45" y="17"/>
                    <a:pt x="45" y="17"/>
                    <a:pt x="45" y="17"/>
                  </a:cubicBezTo>
                  <a:cubicBezTo>
                    <a:pt x="42" y="17"/>
                    <a:pt x="42" y="17"/>
                    <a:pt x="42" y="17"/>
                  </a:cubicBezTo>
                  <a:cubicBezTo>
                    <a:pt x="40" y="16"/>
                    <a:pt x="40" y="16"/>
                    <a:pt x="40" y="16"/>
                  </a:cubicBezTo>
                  <a:cubicBezTo>
                    <a:pt x="40" y="18"/>
                    <a:pt x="40" y="18"/>
                    <a:pt x="40" y="18"/>
                  </a:cubicBezTo>
                  <a:cubicBezTo>
                    <a:pt x="40" y="18"/>
                    <a:pt x="41" y="19"/>
                    <a:pt x="41" y="19"/>
                  </a:cubicBezTo>
                  <a:cubicBezTo>
                    <a:pt x="41" y="19"/>
                    <a:pt x="40" y="19"/>
                    <a:pt x="40" y="19"/>
                  </a:cubicBezTo>
                  <a:cubicBezTo>
                    <a:pt x="39" y="20"/>
                    <a:pt x="39" y="20"/>
                    <a:pt x="39" y="20"/>
                  </a:cubicBezTo>
                  <a:cubicBezTo>
                    <a:pt x="38" y="20"/>
                    <a:pt x="38" y="20"/>
                    <a:pt x="38" y="20"/>
                  </a:cubicBezTo>
                  <a:cubicBezTo>
                    <a:pt x="38" y="20"/>
                    <a:pt x="37" y="22"/>
                    <a:pt x="37" y="22"/>
                  </a:cubicBezTo>
                  <a:cubicBezTo>
                    <a:pt x="37" y="23"/>
                    <a:pt x="36" y="23"/>
                    <a:pt x="36" y="23"/>
                  </a:cubicBezTo>
                  <a:cubicBezTo>
                    <a:pt x="36" y="23"/>
                    <a:pt x="35" y="23"/>
                    <a:pt x="36" y="24"/>
                  </a:cubicBezTo>
                  <a:cubicBezTo>
                    <a:pt x="37" y="24"/>
                    <a:pt x="38" y="24"/>
                    <a:pt x="38" y="24"/>
                  </a:cubicBezTo>
                  <a:cubicBezTo>
                    <a:pt x="39" y="24"/>
                    <a:pt x="40" y="24"/>
                    <a:pt x="40" y="24"/>
                  </a:cubicBezTo>
                  <a:cubicBezTo>
                    <a:pt x="40" y="24"/>
                    <a:pt x="42" y="23"/>
                    <a:pt x="42" y="23"/>
                  </a:cubicBezTo>
                  <a:cubicBezTo>
                    <a:pt x="42" y="24"/>
                    <a:pt x="42" y="24"/>
                    <a:pt x="42" y="24"/>
                  </a:cubicBezTo>
                  <a:cubicBezTo>
                    <a:pt x="42" y="26"/>
                    <a:pt x="42" y="26"/>
                    <a:pt x="42" y="26"/>
                  </a:cubicBezTo>
                  <a:cubicBezTo>
                    <a:pt x="41" y="26"/>
                    <a:pt x="41" y="26"/>
                    <a:pt x="41" y="26"/>
                  </a:cubicBezTo>
                  <a:cubicBezTo>
                    <a:pt x="41" y="26"/>
                    <a:pt x="41" y="27"/>
                    <a:pt x="41" y="27"/>
                  </a:cubicBezTo>
                  <a:cubicBezTo>
                    <a:pt x="40" y="28"/>
                    <a:pt x="39" y="28"/>
                    <a:pt x="39" y="28"/>
                  </a:cubicBezTo>
                  <a:cubicBezTo>
                    <a:pt x="38" y="29"/>
                    <a:pt x="38" y="29"/>
                    <a:pt x="38" y="30"/>
                  </a:cubicBezTo>
                  <a:cubicBezTo>
                    <a:pt x="38" y="31"/>
                    <a:pt x="37" y="33"/>
                    <a:pt x="37" y="33"/>
                  </a:cubicBezTo>
                  <a:cubicBezTo>
                    <a:pt x="35" y="34"/>
                    <a:pt x="35" y="34"/>
                    <a:pt x="35" y="34"/>
                  </a:cubicBezTo>
                  <a:cubicBezTo>
                    <a:pt x="33" y="36"/>
                    <a:pt x="33" y="36"/>
                    <a:pt x="33" y="36"/>
                  </a:cubicBezTo>
                  <a:cubicBezTo>
                    <a:pt x="32" y="36"/>
                    <a:pt x="32" y="36"/>
                    <a:pt x="32" y="36"/>
                  </a:cubicBezTo>
                  <a:cubicBezTo>
                    <a:pt x="31" y="37"/>
                    <a:pt x="31" y="37"/>
                    <a:pt x="31" y="37"/>
                  </a:cubicBezTo>
                  <a:cubicBezTo>
                    <a:pt x="31" y="38"/>
                    <a:pt x="31" y="38"/>
                    <a:pt x="31" y="38"/>
                  </a:cubicBezTo>
                  <a:cubicBezTo>
                    <a:pt x="29" y="39"/>
                    <a:pt x="29" y="39"/>
                    <a:pt x="29" y="39"/>
                  </a:cubicBezTo>
                  <a:cubicBezTo>
                    <a:pt x="29" y="41"/>
                    <a:pt x="29" y="41"/>
                    <a:pt x="29" y="41"/>
                  </a:cubicBezTo>
                  <a:cubicBezTo>
                    <a:pt x="28" y="42"/>
                    <a:pt x="28" y="42"/>
                    <a:pt x="28" y="42"/>
                  </a:cubicBezTo>
                  <a:cubicBezTo>
                    <a:pt x="27" y="42"/>
                    <a:pt x="27" y="42"/>
                    <a:pt x="27" y="42"/>
                  </a:cubicBezTo>
                  <a:cubicBezTo>
                    <a:pt x="26" y="44"/>
                    <a:pt x="26" y="44"/>
                    <a:pt x="26" y="44"/>
                  </a:cubicBezTo>
                  <a:cubicBezTo>
                    <a:pt x="26" y="44"/>
                    <a:pt x="25" y="45"/>
                    <a:pt x="25" y="45"/>
                  </a:cubicBezTo>
                  <a:cubicBezTo>
                    <a:pt x="24" y="45"/>
                    <a:pt x="23" y="46"/>
                    <a:pt x="23" y="46"/>
                  </a:cubicBezTo>
                  <a:cubicBezTo>
                    <a:pt x="21" y="46"/>
                    <a:pt x="21" y="46"/>
                    <a:pt x="21" y="46"/>
                  </a:cubicBezTo>
                  <a:cubicBezTo>
                    <a:pt x="21" y="46"/>
                    <a:pt x="20" y="46"/>
                    <a:pt x="19" y="47"/>
                  </a:cubicBezTo>
                  <a:cubicBezTo>
                    <a:pt x="19" y="48"/>
                    <a:pt x="19" y="48"/>
                    <a:pt x="19" y="48"/>
                  </a:cubicBezTo>
                  <a:cubicBezTo>
                    <a:pt x="19" y="49"/>
                    <a:pt x="20" y="50"/>
                    <a:pt x="20" y="50"/>
                  </a:cubicBezTo>
                  <a:cubicBezTo>
                    <a:pt x="20" y="52"/>
                    <a:pt x="20" y="52"/>
                    <a:pt x="20" y="52"/>
                  </a:cubicBezTo>
                  <a:cubicBezTo>
                    <a:pt x="20" y="52"/>
                    <a:pt x="19" y="52"/>
                    <a:pt x="19" y="53"/>
                  </a:cubicBezTo>
                  <a:cubicBezTo>
                    <a:pt x="19" y="53"/>
                    <a:pt x="19" y="54"/>
                    <a:pt x="19" y="54"/>
                  </a:cubicBezTo>
                  <a:cubicBezTo>
                    <a:pt x="19" y="54"/>
                    <a:pt x="19" y="55"/>
                    <a:pt x="19" y="55"/>
                  </a:cubicBezTo>
                  <a:cubicBezTo>
                    <a:pt x="19" y="55"/>
                    <a:pt x="19" y="56"/>
                    <a:pt x="19" y="56"/>
                  </a:cubicBezTo>
                  <a:cubicBezTo>
                    <a:pt x="19" y="56"/>
                    <a:pt x="19" y="57"/>
                    <a:pt x="18" y="58"/>
                  </a:cubicBezTo>
                  <a:cubicBezTo>
                    <a:pt x="18" y="58"/>
                    <a:pt x="17" y="59"/>
                    <a:pt x="17" y="59"/>
                  </a:cubicBezTo>
                  <a:cubicBezTo>
                    <a:pt x="17" y="59"/>
                    <a:pt x="15" y="59"/>
                    <a:pt x="15" y="59"/>
                  </a:cubicBezTo>
                  <a:cubicBezTo>
                    <a:pt x="15" y="60"/>
                    <a:pt x="13" y="60"/>
                    <a:pt x="13" y="60"/>
                  </a:cubicBezTo>
                  <a:cubicBezTo>
                    <a:pt x="11" y="62"/>
                    <a:pt x="11" y="62"/>
                    <a:pt x="11" y="62"/>
                  </a:cubicBezTo>
                  <a:cubicBezTo>
                    <a:pt x="7" y="66"/>
                    <a:pt x="7" y="66"/>
                    <a:pt x="7" y="66"/>
                  </a:cubicBezTo>
                  <a:cubicBezTo>
                    <a:pt x="7" y="66"/>
                    <a:pt x="7" y="67"/>
                    <a:pt x="7" y="67"/>
                  </a:cubicBezTo>
                  <a:cubicBezTo>
                    <a:pt x="7" y="67"/>
                    <a:pt x="7" y="69"/>
                    <a:pt x="7" y="69"/>
                  </a:cubicBezTo>
                  <a:cubicBezTo>
                    <a:pt x="7" y="70"/>
                    <a:pt x="6" y="71"/>
                    <a:pt x="6" y="71"/>
                  </a:cubicBezTo>
                  <a:cubicBezTo>
                    <a:pt x="5" y="72"/>
                    <a:pt x="5" y="72"/>
                    <a:pt x="5" y="72"/>
                  </a:cubicBezTo>
                  <a:cubicBezTo>
                    <a:pt x="5" y="74"/>
                    <a:pt x="5" y="74"/>
                    <a:pt x="5" y="74"/>
                  </a:cubicBezTo>
                  <a:cubicBezTo>
                    <a:pt x="5" y="75"/>
                    <a:pt x="5" y="75"/>
                    <a:pt x="5" y="75"/>
                  </a:cubicBezTo>
                  <a:cubicBezTo>
                    <a:pt x="6" y="76"/>
                    <a:pt x="6" y="76"/>
                    <a:pt x="6" y="76"/>
                  </a:cubicBezTo>
                  <a:cubicBezTo>
                    <a:pt x="7" y="77"/>
                    <a:pt x="7" y="77"/>
                    <a:pt x="7" y="77"/>
                  </a:cubicBezTo>
                  <a:cubicBezTo>
                    <a:pt x="7" y="80"/>
                    <a:pt x="7" y="80"/>
                    <a:pt x="7" y="80"/>
                  </a:cubicBezTo>
                  <a:cubicBezTo>
                    <a:pt x="6" y="82"/>
                    <a:pt x="6" y="82"/>
                    <a:pt x="6" y="82"/>
                  </a:cubicBezTo>
                  <a:cubicBezTo>
                    <a:pt x="6" y="84"/>
                    <a:pt x="6" y="84"/>
                    <a:pt x="6" y="84"/>
                  </a:cubicBezTo>
                  <a:cubicBezTo>
                    <a:pt x="4" y="84"/>
                    <a:pt x="4" y="84"/>
                    <a:pt x="4" y="84"/>
                  </a:cubicBezTo>
                  <a:cubicBezTo>
                    <a:pt x="4" y="84"/>
                    <a:pt x="3" y="85"/>
                    <a:pt x="2" y="85"/>
                  </a:cubicBezTo>
                  <a:cubicBezTo>
                    <a:pt x="2" y="85"/>
                    <a:pt x="1" y="86"/>
                    <a:pt x="1" y="86"/>
                  </a:cubicBezTo>
                  <a:cubicBezTo>
                    <a:pt x="0" y="87"/>
                    <a:pt x="0" y="87"/>
                    <a:pt x="0" y="87"/>
                  </a:cubicBezTo>
                  <a:cubicBezTo>
                    <a:pt x="1" y="88"/>
                    <a:pt x="1" y="88"/>
                    <a:pt x="1" y="88"/>
                  </a:cubicBezTo>
                  <a:cubicBezTo>
                    <a:pt x="1" y="90"/>
                    <a:pt x="1" y="90"/>
                    <a:pt x="1" y="90"/>
                  </a:cubicBezTo>
                  <a:cubicBezTo>
                    <a:pt x="2" y="90"/>
                    <a:pt x="2" y="90"/>
                    <a:pt x="2" y="90"/>
                  </a:cubicBezTo>
                  <a:cubicBezTo>
                    <a:pt x="4" y="89"/>
                    <a:pt x="4" y="89"/>
                    <a:pt x="4" y="89"/>
                  </a:cubicBezTo>
                  <a:cubicBezTo>
                    <a:pt x="6" y="90"/>
                    <a:pt x="6" y="90"/>
                    <a:pt x="6" y="90"/>
                  </a:cubicBezTo>
                  <a:cubicBezTo>
                    <a:pt x="9" y="89"/>
                    <a:pt x="9" y="89"/>
                    <a:pt x="9" y="89"/>
                  </a:cubicBezTo>
                  <a:cubicBezTo>
                    <a:pt x="9" y="89"/>
                    <a:pt x="9" y="88"/>
                    <a:pt x="10" y="87"/>
                  </a:cubicBezTo>
                  <a:cubicBezTo>
                    <a:pt x="11" y="86"/>
                    <a:pt x="12" y="86"/>
                    <a:pt x="12" y="86"/>
                  </a:cubicBezTo>
                  <a:cubicBezTo>
                    <a:pt x="13" y="84"/>
                    <a:pt x="13" y="84"/>
                    <a:pt x="13" y="84"/>
                  </a:cubicBezTo>
                  <a:cubicBezTo>
                    <a:pt x="12" y="84"/>
                    <a:pt x="12" y="84"/>
                    <a:pt x="12" y="84"/>
                  </a:cubicBezTo>
                  <a:cubicBezTo>
                    <a:pt x="12" y="82"/>
                    <a:pt x="12" y="82"/>
                    <a:pt x="12" y="82"/>
                  </a:cubicBezTo>
                  <a:cubicBezTo>
                    <a:pt x="10" y="81"/>
                    <a:pt x="10" y="81"/>
                    <a:pt x="10" y="81"/>
                  </a:cubicBezTo>
                  <a:cubicBezTo>
                    <a:pt x="10" y="81"/>
                    <a:pt x="10" y="80"/>
                    <a:pt x="10" y="80"/>
                  </a:cubicBezTo>
                  <a:cubicBezTo>
                    <a:pt x="11" y="79"/>
                    <a:pt x="12" y="77"/>
                    <a:pt x="12" y="77"/>
                  </a:cubicBezTo>
                  <a:cubicBezTo>
                    <a:pt x="15" y="76"/>
                    <a:pt x="15" y="76"/>
                    <a:pt x="15" y="76"/>
                  </a:cubicBezTo>
                  <a:cubicBezTo>
                    <a:pt x="18" y="75"/>
                    <a:pt x="18" y="75"/>
                    <a:pt x="18" y="75"/>
                  </a:cubicBezTo>
                  <a:cubicBezTo>
                    <a:pt x="19" y="74"/>
                    <a:pt x="19" y="74"/>
                    <a:pt x="19" y="74"/>
                  </a:cubicBezTo>
                  <a:cubicBezTo>
                    <a:pt x="21" y="73"/>
                    <a:pt x="21" y="73"/>
                    <a:pt x="21" y="73"/>
                  </a:cubicBezTo>
                  <a:cubicBezTo>
                    <a:pt x="21" y="73"/>
                    <a:pt x="24" y="73"/>
                    <a:pt x="24" y="73"/>
                  </a:cubicBezTo>
                  <a:cubicBezTo>
                    <a:pt x="24" y="73"/>
                    <a:pt x="28" y="73"/>
                    <a:pt x="28" y="73"/>
                  </a:cubicBezTo>
                  <a:lnTo>
                    <a:pt x="31" y="75"/>
                  </a:lnTo>
                  <a:close/>
                </a:path>
              </a:pathLst>
            </a:custGeom>
            <a:solidFill>
              <a:srgbClr val="E6EFF1"/>
            </a:solidFill>
            <a:ln w="12700" cap="rnd" cmpd="sng">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Lato Light"/>
              </a:endParaRPr>
            </a:p>
          </p:txBody>
        </p:sp>
        <p:sp>
          <p:nvSpPr>
            <p:cNvPr id="18" name="Freeform 51">
              <a:extLst>
                <a:ext uri="{FF2B5EF4-FFF2-40B4-BE49-F238E27FC236}">
                  <a16:creationId xmlns:a16="http://schemas.microsoft.com/office/drawing/2014/main" id="{8A31F59B-7593-0F0E-29C5-88AB105F405F}"/>
                </a:ext>
              </a:extLst>
            </p:cNvPr>
            <p:cNvSpPr>
              <a:spLocks/>
            </p:cNvSpPr>
            <p:nvPr/>
          </p:nvSpPr>
          <p:spPr bwMode="auto">
            <a:xfrm>
              <a:off x="4850390" y="2737433"/>
              <a:ext cx="625143" cy="374349"/>
            </a:xfrm>
            <a:custGeom>
              <a:avLst/>
              <a:gdLst>
                <a:gd name="T0" fmla="*/ 31 w 217"/>
                <a:gd name="T1" fmla="*/ 35 h 134"/>
                <a:gd name="T2" fmla="*/ 42 w 217"/>
                <a:gd name="T3" fmla="*/ 43 h 134"/>
                <a:gd name="T4" fmla="*/ 55 w 217"/>
                <a:gd name="T5" fmla="*/ 53 h 134"/>
                <a:gd name="T6" fmla="*/ 66 w 217"/>
                <a:gd name="T7" fmla="*/ 68 h 134"/>
                <a:gd name="T8" fmla="*/ 83 w 217"/>
                <a:gd name="T9" fmla="*/ 64 h 134"/>
                <a:gd name="T10" fmla="*/ 87 w 217"/>
                <a:gd name="T11" fmla="*/ 37 h 134"/>
                <a:gd name="T12" fmla="*/ 83 w 217"/>
                <a:gd name="T13" fmla="*/ 16 h 134"/>
                <a:gd name="T14" fmla="*/ 99 w 217"/>
                <a:gd name="T15" fmla="*/ 3 h 134"/>
                <a:gd name="T16" fmla="*/ 112 w 217"/>
                <a:gd name="T17" fmla="*/ 2 h 134"/>
                <a:gd name="T18" fmla="*/ 125 w 217"/>
                <a:gd name="T19" fmla="*/ 5 h 134"/>
                <a:gd name="T20" fmla="*/ 142 w 217"/>
                <a:gd name="T21" fmla="*/ 17 h 134"/>
                <a:gd name="T22" fmla="*/ 152 w 217"/>
                <a:gd name="T23" fmla="*/ 17 h 134"/>
                <a:gd name="T24" fmla="*/ 159 w 217"/>
                <a:gd name="T25" fmla="*/ 11 h 134"/>
                <a:gd name="T26" fmla="*/ 177 w 217"/>
                <a:gd name="T27" fmla="*/ 11 h 134"/>
                <a:gd name="T28" fmla="*/ 184 w 217"/>
                <a:gd name="T29" fmla="*/ 18 h 134"/>
                <a:gd name="T30" fmla="*/ 192 w 217"/>
                <a:gd name="T31" fmla="*/ 31 h 134"/>
                <a:gd name="T32" fmla="*/ 192 w 217"/>
                <a:gd name="T33" fmla="*/ 46 h 134"/>
                <a:gd name="T34" fmla="*/ 198 w 217"/>
                <a:gd name="T35" fmla="*/ 49 h 134"/>
                <a:gd name="T36" fmla="*/ 206 w 217"/>
                <a:gd name="T37" fmla="*/ 58 h 134"/>
                <a:gd name="T38" fmla="*/ 212 w 217"/>
                <a:gd name="T39" fmla="*/ 66 h 134"/>
                <a:gd name="T40" fmla="*/ 216 w 217"/>
                <a:gd name="T41" fmla="*/ 78 h 134"/>
                <a:gd name="T42" fmla="*/ 211 w 217"/>
                <a:gd name="T43" fmla="*/ 83 h 134"/>
                <a:gd name="T44" fmla="*/ 207 w 217"/>
                <a:gd name="T45" fmla="*/ 100 h 134"/>
                <a:gd name="T46" fmla="*/ 192 w 217"/>
                <a:gd name="T47" fmla="*/ 103 h 134"/>
                <a:gd name="T48" fmla="*/ 185 w 217"/>
                <a:gd name="T49" fmla="*/ 112 h 134"/>
                <a:gd name="T50" fmla="*/ 177 w 217"/>
                <a:gd name="T51" fmla="*/ 115 h 134"/>
                <a:gd name="T52" fmla="*/ 165 w 217"/>
                <a:gd name="T53" fmla="*/ 114 h 134"/>
                <a:gd name="T54" fmla="*/ 157 w 217"/>
                <a:gd name="T55" fmla="*/ 105 h 134"/>
                <a:gd name="T56" fmla="*/ 146 w 217"/>
                <a:gd name="T57" fmla="*/ 101 h 134"/>
                <a:gd name="T58" fmla="*/ 139 w 217"/>
                <a:gd name="T59" fmla="*/ 97 h 134"/>
                <a:gd name="T60" fmla="*/ 124 w 217"/>
                <a:gd name="T61" fmla="*/ 97 h 134"/>
                <a:gd name="T62" fmla="*/ 117 w 217"/>
                <a:gd name="T63" fmla="*/ 87 h 134"/>
                <a:gd name="T64" fmla="*/ 108 w 217"/>
                <a:gd name="T65" fmla="*/ 99 h 134"/>
                <a:gd name="T66" fmla="*/ 94 w 217"/>
                <a:gd name="T67" fmla="*/ 100 h 134"/>
                <a:gd name="T68" fmla="*/ 80 w 217"/>
                <a:gd name="T69" fmla="*/ 100 h 134"/>
                <a:gd name="T70" fmla="*/ 67 w 217"/>
                <a:gd name="T71" fmla="*/ 107 h 134"/>
                <a:gd name="T72" fmla="*/ 55 w 217"/>
                <a:gd name="T73" fmla="*/ 104 h 134"/>
                <a:gd name="T74" fmla="*/ 34 w 217"/>
                <a:gd name="T75" fmla="*/ 106 h 134"/>
                <a:gd name="T76" fmla="*/ 21 w 217"/>
                <a:gd name="T77" fmla="*/ 113 h 134"/>
                <a:gd name="T78" fmla="*/ 14 w 217"/>
                <a:gd name="T79" fmla="*/ 122 h 134"/>
                <a:gd name="T80" fmla="*/ 9 w 217"/>
                <a:gd name="T81" fmla="*/ 131 h 134"/>
                <a:gd name="T82" fmla="*/ 5 w 217"/>
                <a:gd name="T83" fmla="*/ 128 h 134"/>
                <a:gd name="T84" fmla="*/ 3 w 217"/>
                <a:gd name="T85" fmla="*/ 108 h 134"/>
                <a:gd name="T86" fmla="*/ 7 w 217"/>
                <a:gd name="T87" fmla="*/ 83 h 134"/>
                <a:gd name="T88" fmla="*/ 8 w 217"/>
                <a:gd name="T89" fmla="*/ 60 h 134"/>
                <a:gd name="T90" fmla="*/ 19 w 217"/>
                <a:gd name="T91" fmla="*/ 45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17" h="134">
                  <a:moveTo>
                    <a:pt x="19" y="45"/>
                  </a:moveTo>
                  <a:cubicBezTo>
                    <a:pt x="24" y="40"/>
                    <a:pt x="24" y="40"/>
                    <a:pt x="24" y="40"/>
                  </a:cubicBezTo>
                  <a:cubicBezTo>
                    <a:pt x="24" y="40"/>
                    <a:pt x="30" y="35"/>
                    <a:pt x="31" y="35"/>
                  </a:cubicBezTo>
                  <a:cubicBezTo>
                    <a:pt x="33" y="34"/>
                    <a:pt x="36" y="32"/>
                    <a:pt x="36" y="33"/>
                  </a:cubicBezTo>
                  <a:cubicBezTo>
                    <a:pt x="36" y="34"/>
                    <a:pt x="37" y="41"/>
                    <a:pt x="37" y="41"/>
                  </a:cubicBezTo>
                  <a:cubicBezTo>
                    <a:pt x="42" y="43"/>
                    <a:pt x="42" y="43"/>
                    <a:pt x="42" y="43"/>
                  </a:cubicBezTo>
                  <a:cubicBezTo>
                    <a:pt x="46" y="46"/>
                    <a:pt x="46" y="46"/>
                    <a:pt x="46" y="46"/>
                  </a:cubicBezTo>
                  <a:cubicBezTo>
                    <a:pt x="54" y="50"/>
                    <a:pt x="54" y="50"/>
                    <a:pt x="54" y="50"/>
                  </a:cubicBezTo>
                  <a:cubicBezTo>
                    <a:pt x="55" y="53"/>
                    <a:pt x="55" y="53"/>
                    <a:pt x="55" y="53"/>
                  </a:cubicBezTo>
                  <a:cubicBezTo>
                    <a:pt x="55" y="53"/>
                    <a:pt x="54" y="55"/>
                    <a:pt x="56" y="58"/>
                  </a:cubicBezTo>
                  <a:cubicBezTo>
                    <a:pt x="59" y="61"/>
                    <a:pt x="60" y="61"/>
                    <a:pt x="61" y="64"/>
                  </a:cubicBezTo>
                  <a:cubicBezTo>
                    <a:pt x="62" y="66"/>
                    <a:pt x="66" y="68"/>
                    <a:pt x="66" y="68"/>
                  </a:cubicBezTo>
                  <a:cubicBezTo>
                    <a:pt x="71" y="69"/>
                    <a:pt x="71" y="69"/>
                    <a:pt x="71" y="69"/>
                  </a:cubicBezTo>
                  <a:cubicBezTo>
                    <a:pt x="71" y="69"/>
                    <a:pt x="76" y="71"/>
                    <a:pt x="77" y="70"/>
                  </a:cubicBezTo>
                  <a:cubicBezTo>
                    <a:pt x="78" y="69"/>
                    <a:pt x="83" y="65"/>
                    <a:pt x="83" y="64"/>
                  </a:cubicBezTo>
                  <a:cubicBezTo>
                    <a:pt x="84" y="63"/>
                    <a:pt x="87" y="59"/>
                    <a:pt x="88" y="58"/>
                  </a:cubicBezTo>
                  <a:cubicBezTo>
                    <a:pt x="89" y="57"/>
                    <a:pt x="92" y="50"/>
                    <a:pt x="92" y="49"/>
                  </a:cubicBezTo>
                  <a:cubicBezTo>
                    <a:pt x="92" y="47"/>
                    <a:pt x="88" y="39"/>
                    <a:pt x="87" y="37"/>
                  </a:cubicBezTo>
                  <a:cubicBezTo>
                    <a:pt x="87" y="35"/>
                    <a:pt x="86" y="29"/>
                    <a:pt x="86" y="29"/>
                  </a:cubicBezTo>
                  <a:cubicBezTo>
                    <a:pt x="82" y="21"/>
                    <a:pt x="82" y="21"/>
                    <a:pt x="82" y="21"/>
                  </a:cubicBezTo>
                  <a:cubicBezTo>
                    <a:pt x="82" y="21"/>
                    <a:pt x="82" y="16"/>
                    <a:pt x="83" y="16"/>
                  </a:cubicBezTo>
                  <a:cubicBezTo>
                    <a:pt x="84" y="15"/>
                    <a:pt x="89" y="11"/>
                    <a:pt x="89" y="11"/>
                  </a:cubicBezTo>
                  <a:cubicBezTo>
                    <a:pt x="94" y="6"/>
                    <a:pt x="94" y="6"/>
                    <a:pt x="94" y="6"/>
                  </a:cubicBezTo>
                  <a:cubicBezTo>
                    <a:pt x="99" y="3"/>
                    <a:pt x="99" y="3"/>
                    <a:pt x="99" y="3"/>
                  </a:cubicBezTo>
                  <a:cubicBezTo>
                    <a:pt x="103" y="0"/>
                    <a:pt x="103" y="0"/>
                    <a:pt x="103" y="0"/>
                  </a:cubicBezTo>
                  <a:cubicBezTo>
                    <a:pt x="108" y="2"/>
                    <a:pt x="108" y="2"/>
                    <a:pt x="108" y="2"/>
                  </a:cubicBezTo>
                  <a:cubicBezTo>
                    <a:pt x="112" y="2"/>
                    <a:pt x="112" y="2"/>
                    <a:pt x="112" y="2"/>
                  </a:cubicBezTo>
                  <a:cubicBezTo>
                    <a:pt x="116" y="4"/>
                    <a:pt x="116" y="4"/>
                    <a:pt x="116" y="4"/>
                  </a:cubicBezTo>
                  <a:cubicBezTo>
                    <a:pt x="121" y="4"/>
                    <a:pt x="121" y="4"/>
                    <a:pt x="121" y="4"/>
                  </a:cubicBezTo>
                  <a:cubicBezTo>
                    <a:pt x="125" y="5"/>
                    <a:pt x="125" y="5"/>
                    <a:pt x="125" y="5"/>
                  </a:cubicBezTo>
                  <a:cubicBezTo>
                    <a:pt x="130" y="7"/>
                    <a:pt x="130" y="7"/>
                    <a:pt x="130" y="7"/>
                  </a:cubicBezTo>
                  <a:cubicBezTo>
                    <a:pt x="139" y="13"/>
                    <a:pt x="139" y="13"/>
                    <a:pt x="139" y="13"/>
                  </a:cubicBezTo>
                  <a:cubicBezTo>
                    <a:pt x="142" y="17"/>
                    <a:pt x="142" y="17"/>
                    <a:pt x="142" y="17"/>
                  </a:cubicBezTo>
                  <a:cubicBezTo>
                    <a:pt x="145" y="18"/>
                    <a:pt x="145" y="18"/>
                    <a:pt x="145" y="18"/>
                  </a:cubicBezTo>
                  <a:cubicBezTo>
                    <a:pt x="145" y="18"/>
                    <a:pt x="147" y="20"/>
                    <a:pt x="149" y="19"/>
                  </a:cubicBezTo>
                  <a:cubicBezTo>
                    <a:pt x="150" y="19"/>
                    <a:pt x="151" y="18"/>
                    <a:pt x="152" y="17"/>
                  </a:cubicBezTo>
                  <a:cubicBezTo>
                    <a:pt x="154" y="16"/>
                    <a:pt x="155" y="14"/>
                    <a:pt x="155" y="14"/>
                  </a:cubicBezTo>
                  <a:cubicBezTo>
                    <a:pt x="157" y="14"/>
                    <a:pt x="157" y="14"/>
                    <a:pt x="157" y="14"/>
                  </a:cubicBezTo>
                  <a:cubicBezTo>
                    <a:pt x="159" y="11"/>
                    <a:pt x="159" y="11"/>
                    <a:pt x="159" y="11"/>
                  </a:cubicBezTo>
                  <a:cubicBezTo>
                    <a:pt x="167" y="13"/>
                    <a:pt x="167" y="13"/>
                    <a:pt x="167" y="13"/>
                  </a:cubicBezTo>
                  <a:cubicBezTo>
                    <a:pt x="171" y="13"/>
                    <a:pt x="171" y="13"/>
                    <a:pt x="171" y="13"/>
                  </a:cubicBezTo>
                  <a:cubicBezTo>
                    <a:pt x="177" y="11"/>
                    <a:pt x="177" y="11"/>
                    <a:pt x="177" y="11"/>
                  </a:cubicBezTo>
                  <a:cubicBezTo>
                    <a:pt x="180" y="14"/>
                    <a:pt x="180" y="14"/>
                    <a:pt x="180" y="14"/>
                  </a:cubicBezTo>
                  <a:cubicBezTo>
                    <a:pt x="180" y="17"/>
                    <a:pt x="180" y="17"/>
                    <a:pt x="180" y="17"/>
                  </a:cubicBezTo>
                  <a:cubicBezTo>
                    <a:pt x="184" y="18"/>
                    <a:pt x="184" y="18"/>
                    <a:pt x="184" y="18"/>
                  </a:cubicBezTo>
                  <a:cubicBezTo>
                    <a:pt x="184" y="18"/>
                    <a:pt x="187" y="20"/>
                    <a:pt x="188" y="20"/>
                  </a:cubicBezTo>
                  <a:cubicBezTo>
                    <a:pt x="189" y="20"/>
                    <a:pt x="191" y="21"/>
                    <a:pt x="191" y="21"/>
                  </a:cubicBezTo>
                  <a:cubicBezTo>
                    <a:pt x="192" y="31"/>
                    <a:pt x="192" y="31"/>
                    <a:pt x="192" y="31"/>
                  </a:cubicBezTo>
                  <a:cubicBezTo>
                    <a:pt x="190" y="34"/>
                    <a:pt x="190" y="34"/>
                    <a:pt x="190" y="34"/>
                  </a:cubicBezTo>
                  <a:cubicBezTo>
                    <a:pt x="192" y="42"/>
                    <a:pt x="192" y="42"/>
                    <a:pt x="192" y="42"/>
                  </a:cubicBezTo>
                  <a:cubicBezTo>
                    <a:pt x="192" y="46"/>
                    <a:pt x="192" y="46"/>
                    <a:pt x="192" y="46"/>
                  </a:cubicBezTo>
                  <a:cubicBezTo>
                    <a:pt x="196" y="43"/>
                    <a:pt x="196" y="43"/>
                    <a:pt x="196" y="43"/>
                  </a:cubicBezTo>
                  <a:cubicBezTo>
                    <a:pt x="200" y="46"/>
                    <a:pt x="200" y="46"/>
                    <a:pt x="200" y="46"/>
                  </a:cubicBezTo>
                  <a:cubicBezTo>
                    <a:pt x="198" y="49"/>
                    <a:pt x="198" y="49"/>
                    <a:pt x="198" y="49"/>
                  </a:cubicBezTo>
                  <a:cubicBezTo>
                    <a:pt x="203" y="53"/>
                    <a:pt x="203" y="53"/>
                    <a:pt x="203" y="53"/>
                  </a:cubicBezTo>
                  <a:cubicBezTo>
                    <a:pt x="207" y="55"/>
                    <a:pt x="207" y="55"/>
                    <a:pt x="207" y="55"/>
                  </a:cubicBezTo>
                  <a:cubicBezTo>
                    <a:pt x="206" y="58"/>
                    <a:pt x="206" y="58"/>
                    <a:pt x="206" y="58"/>
                  </a:cubicBezTo>
                  <a:cubicBezTo>
                    <a:pt x="206" y="58"/>
                    <a:pt x="207" y="59"/>
                    <a:pt x="208" y="59"/>
                  </a:cubicBezTo>
                  <a:cubicBezTo>
                    <a:pt x="209" y="60"/>
                    <a:pt x="211" y="61"/>
                    <a:pt x="211" y="61"/>
                  </a:cubicBezTo>
                  <a:cubicBezTo>
                    <a:pt x="211" y="61"/>
                    <a:pt x="212" y="64"/>
                    <a:pt x="212" y="66"/>
                  </a:cubicBezTo>
                  <a:cubicBezTo>
                    <a:pt x="213" y="67"/>
                    <a:pt x="217" y="70"/>
                    <a:pt x="217" y="70"/>
                  </a:cubicBezTo>
                  <a:cubicBezTo>
                    <a:pt x="216" y="75"/>
                    <a:pt x="216" y="75"/>
                    <a:pt x="216" y="75"/>
                  </a:cubicBezTo>
                  <a:cubicBezTo>
                    <a:pt x="216" y="75"/>
                    <a:pt x="216" y="77"/>
                    <a:pt x="216" y="78"/>
                  </a:cubicBezTo>
                  <a:cubicBezTo>
                    <a:pt x="216" y="79"/>
                    <a:pt x="216" y="80"/>
                    <a:pt x="216" y="81"/>
                  </a:cubicBezTo>
                  <a:cubicBezTo>
                    <a:pt x="216" y="80"/>
                    <a:pt x="216" y="80"/>
                    <a:pt x="216" y="80"/>
                  </a:cubicBezTo>
                  <a:cubicBezTo>
                    <a:pt x="211" y="83"/>
                    <a:pt x="211" y="83"/>
                    <a:pt x="211" y="83"/>
                  </a:cubicBezTo>
                  <a:cubicBezTo>
                    <a:pt x="210" y="90"/>
                    <a:pt x="210" y="90"/>
                    <a:pt x="210" y="90"/>
                  </a:cubicBezTo>
                  <a:cubicBezTo>
                    <a:pt x="205" y="95"/>
                    <a:pt x="205" y="95"/>
                    <a:pt x="205" y="95"/>
                  </a:cubicBezTo>
                  <a:cubicBezTo>
                    <a:pt x="207" y="100"/>
                    <a:pt x="207" y="100"/>
                    <a:pt x="207" y="100"/>
                  </a:cubicBezTo>
                  <a:cubicBezTo>
                    <a:pt x="205" y="103"/>
                    <a:pt x="205" y="103"/>
                    <a:pt x="205" y="103"/>
                  </a:cubicBezTo>
                  <a:cubicBezTo>
                    <a:pt x="197" y="103"/>
                    <a:pt x="197" y="103"/>
                    <a:pt x="197" y="103"/>
                  </a:cubicBezTo>
                  <a:cubicBezTo>
                    <a:pt x="197" y="103"/>
                    <a:pt x="196" y="103"/>
                    <a:pt x="192" y="103"/>
                  </a:cubicBezTo>
                  <a:cubicBezTo>
                    <a:pt x="188" y="103"/>
                    <a:pt x="189" y="103"/>
                    <a:pt x="189" y="103"/>
                  </a:cubicBezTo>
                  <a:cubicBezTo>
                    <a:pt x="186" y="106"/>
                    <a:pt x="186" y="106"/>
                    <a:pt x="186" y="106"/>
                  </a:cubicBezTo>
                  <a:cubicBezTo>
                    <a:pt x="185" y="112"/>
                    <a:pt x="185" y="112"/>
                    <a:pt x="185" y="112"/>
                  </a:cubicBezTo>
                  <a:cubicBezTo>
                    <a:pt x="185" y="112"/>
                    <a:pt x="183" y="112"/>
                    <a:pt x="179" y="113"/>
                  </a:cubicBezTo>
                  <a:cubicBezTo>
                    <a:pt x="177" y="114"/>
                    <a:pt x="177" y="115"/>
                    <a:pt x="177" y="115"/>
                  </a:cubicBezTo>
                  <a:cubicBezTo>
                    <a:pt x="177" y="115"/>
                    <a:pt x="177" y="115"/>
                    <a:pt x="177" y="115"/>
                  </a:cubicBezTo>
                  <a:cubicBezTo>
                    <a:pt x="174" y="115"/>
                    <a:pt x="174" y="115"/>
                    <a:pt x="174" y="115"/>
                  </a:cubicBezTo>
                  <a:cubicBezTo>
                    <a:pt x="169" y="114"/>
                    <a:pt x="169" y="114"/>
                    <a:pt x="169" y="114"/>
                  </a:cubicBezTo>
                  <a:cubicBezTo>
                    <a:pt x="165" y="114"/>
                    <a:pt x="165" y="114"/>
                    <a:pt x="165" y="114"/>
                  </a:cubicBezTo>
                  <a:cubicBezTo>
                    <a:pt x="163" y="110"/>
                    <a:pt x="163" y="110"/>
                    <a:pt x="163" y="110"/>
                  </a:cubicBezTo>
                  <a:cubicBezTo>
                    <a:pt x="160" y="109"/>
                    <a:pt x="160" y="109"/>
                    <a:pt x="160" y="109"/>
                  </a:cubicBezTo>
                  <a:cubicBezTo>
                    <a:pt x="157" y="105"/>
                    <a:pt x="157" y="105"/>
                    <a:pt x="157" y="105"/>
                  </a:cubicBezTo>
                  <a:cubicBezTo>
                    <a:pt x="153" y="104"/>
                    <a:pt x="153" y="104"/>
                    <a:pt x="153" y="104"/>
                  </a:cubicBezTo>
                  <a:cubicBezTo>
                    <a:pt x="151" y="101"/>
                    <a:pt x="151" y="101"/>
                    <a:pt x="151" y="101"/>
                  </a:cubicBezTo>
                  <a:cubicBezTo>
                    <a:pt x="146" y="101"/>
                    <a:pt x="146" y="101"/>
                    <a:pt x="146" y="101"/>
                  </a:cubicBezTo>
                  <a:cubicBezTo>
                    <a:pt x="143" y="99"/>
                    <a:pt x="143" y="99"/>
                    <a:pt x="143" y="99"/>
                  </a:cubicBezTo>
                  <a:cubicBezTo>
                    <a:pt x="142" y="97"/>
                    <a:pt x="142" y="97"/>
                    <a:pt x="142" y="97"/>
                  </a:cubicBezTo>
                  <a:cubicBezTo>
                    <a:pt x="139" y="97"/>
                    <a:pt x="139" y="97"/>
                    <a:pt x="139" y="97"/>
                  </a:cubicBezTo>
                  <a:cubicBezTo>
                    <a:pt x="135" y="98"/>
                    <a:pt x="135" y="98"/>
                    <a:pt x="135" y="98"/>
                  </a:cubicBezTo>
                  <a:cubicBezTo>
                    <a:pt x="128" y="100"/>
                    <a:pt x="128" y="100"/>
                    <a:pt x="128" y="100"/>
                  </a:cubicBezTo>
                  <a:cubicBezTo>
                    <a:pt x="124" y="97"/>
                    <a:pt x="124" y="97"/>
                    <a:pt x="124" y="97"/>
                  </a:cubicBezTo>
                  <a:cubicBezTo>
                    <a:pt x="123" y="96"/>
                    <a:pt x="123" y="96"/>
                    <a:pt x="123" y="96"/>
                  </a:cubicBezTo>
                  <a:cubicBezTo>
                    <a:pt x="119" y="93"/>
                    <a:pt x="119" y="93"/>
                    <a:pt x="119" y="93"/>
                  </a:cubicBezTo>
                  <a:cubicBezTo>
                    <a:pt x="117" y="87"/>
                    <a:pt x="117" y="87"/>
                    <a:pt x="117" y="87"/>
                  </a:cubicBezTo>
                  <a:cubicBezTo>
                    <a:pt x="117" y="87"/>
                    <a:pt x="113" y="90"/>
                    <a:pt x="112" y="90"/>
                  </a:cubicBezTo>
                  <a:cubicBezTo>
                    <a:pt x="112" y="90"/>
                    <a:pt x="109" y="95"/>
                    <a:pt x="109" y="95"/>
                  </a:cubicBezTo>
                  <a:cubicBezTo>
                    <a:pt x="108" y="99"/>
                    <a:pt x="108" y="99"/>
                    <a:pt x="108" y="99"/>
                  </a:cubicBezTo>
                  <a:cubicBezTo>
                    <a:pt x="102" y="97"/>
                    <a:pt x="102" y="97"/>
                    <a:pt x="102" y="97"/>
                  </a:cubicBezTo>
                  <a:cubicBezTo>
                    <a:pt x="102" y="97"/>
                    <a:pt x="99" y="101"/>
                    <a:pt x="99" y="102"/>
                  </a:cubicBezTo>
                  <a:cubicBezTo>
                    <a:pt x="98" y="102"/>
                    <a:pt x="94" y="100"/>
                    <a:pt x="94" y="100"/>
                  </a:cubicBezTo>
                  <a:cubicBezTo>
                    <a:pt x="88" y="100"/>
                    <a:pt x="88" y="100"/>
                    <a:pt x="88" y="100"/>
                  </a:cubicBezTo>
                  <a:cubicBezTo>
                    <a:pt x="88" y="100"/>
                    <a:pt x="82" y="100"/>
                    <a:pt x="81" y="99"/>
                  </a:cubicBezTo>
                  <a:cubicBezTo>
                    <a:pt x="80" y="99"/>
                    <a:pt x="80" y="100"/>
                    <a:pt x="80" y="100"/>
                  </a:cubicBezTo>
                  <a:cubicBezTo>
                    <a:pt x="75" y="101"/>
                    <a:pt x="75" y="101"/>
                    <a:pt x="75" y="101"/>
                  </a:cubicBezTo>
                  <a:cubicBezTo>
                    <a:pt x="69" y="102"/>
                    <a:pt x="69" y="102"/>
                    <a:pt x="69" y="102"/>
                  </a:cubicBezTo>
                  <a:cubicBezTo>
                    <a:pt x="69" y="102"/>
                    <a:pt x="68" y="106"/>
                    <a:pt x="67" y="107"/>
                  </a:cubicBezTo>
                  <a:cubicBezTo>
                    <a:pt x="66" y="107"/>
                    <a:pt x="63" y="104"/>
                    <a:pt x="62" y="103"/>
                  </a:cubicBezTo>
                  <a:cubicBezTo>
                    <a:pt x="62" y="102"/>
                    <a:pt x="59" y="101"/>
                    <a:pt x="59" y="101"/>
                  </a:cubicBezTo>
                  <a:cubicBezTo>
                    <a:pt x="55" y="104"/>
                    <a:pt x="55" y="104"/>
                    <a:pt x="55" y="104"/>
                  </a:cubicBezTo>
                  <a:cubicBezTo>
                    <a:pt x="55" y="104"/>
                    <a:pt x="48" y="105"/>
                    <a:pt x="47" y="105"/>
                  </a:cubicBezTo>
                  <a:cubicBezTo>
                    <a:pt x="46" y="105"/>
                    <a:pt x="41" y="107"/>
                    <a:pt x="41" y="107"/>
                  </a:cubicBezTo>
                  <a:cubicBezTo>
                    <a:pt x="34" y="106"/>
                    <a:pt x="34" y="106"/>
                    <a:pt x="34" y="106"/>
                  </a:cubicBezTo>
                  <a:cubicBezTo>
                    <a:pt x="31" y="109"/>
                    <a:pt x="31" y="109"/>
                    <a:pt x="31" y="109"/>
                  </a:cubicBezTo>
                  <a:cubicBezTo>
                    <a:pt x="25" y="113"/>
                    <a:pt x="25" y="113"/>
                    <a:pt x="25" y="113"/>
                  </a:cubicBezTo>
                  <a:cubicBezTo>
                    <a:pt x="21" y="113"/>
                    <a:pt x="21" y="113"/>
                    <a:pt x="21" y="113"/>
                  </a:cubicBezTo>
                  <a:cubicBezTo>
                    <a:pt x="19" y="118"/>
                    <a:pt x="19" y="118"/>
                    <a:pt x="19" y="118"/>
                  </a:cubicBezTo>
                  <a:cubicBezTo>
                    <a:pt x="15" y="120"/>
                    <a:pt x="15" y="120"/>
                    <a:pt x="15" y="120"/>
                  </a:cubicBezTo>
                  <a:cubicBezTo>
                    <a:pt x="14" y="122"/>
                    <a:pt x="14" y="122"/>
                    <a:pt x="14" y="122"/>
                  </a:cubicBezTo>
                  <a:cubicBezTo>
                    <a:pt x="13" y="128"/>
                    <a:pt x="13" y="128"/>
                    <a:pt x="13" y="128"/>
                  </a:cubicBezTo>
                  <a:cubicBezTo>
                    <a:pt x="13" y="128"/>
                    <a:pt x="10" y="129"/>
                    <a:pt x="8" y="129"/>
                  </a:cubicBezTo>
                  <a:cubicBezTo>
                    <a:pt x="7" y="130"/>
                    <a:pt x="9" y="131"/>
                    <a:pt x="9" y="131"/>
                  </a:cubicBezTo>
                  <a:cubicBezTo>
                    <a:pt x="8" y="134"/>
                    <a:pt x="8" y="134"/>
                    <a:pt x="8" y="134"/>
                  </a:cubicBezTo>
                  <a:cubicBezTo>
                    <a:pt x="8" y="134"/>
                    <a:pt x="7" y="133"/>
                    <a:pt x="7" y="133"/>
                  </a:cubicBezTo>
                  <a:cubicBezTo>
                    <a:pt x="7" y="133"/>
                    <a:pt x="6" y="130"/>
                    <a:pt x="5" y="128"/>
                  </a:cubicBezTo>
                  <a:cubicBezTo>
                    <a:pt x="3" y="126"/>
                    <a:pt x="1" y="117"/>
                    <a:pt x="1" y="117"/>
                  </a:cubicBezTo>
                  <a:cubicBezTo>
                    <a:pt x="3" y="113"/>
                    <a:pt x="3" y="113"/>
                    <a:pt x="3" y="113"/>
                  </a:cubicBezTo>
                  <a:cubicBezTo>
                    <a:pt x="3" y="113"/>
                    <a:pt x="3" y="109"/>
                    <a:pt x="3" y="108"/>
                  </a:cubicBezTo>
                  <a:cubicBezTo>
                    <a:pt x="2" y="106"/>
                    <a:pt x="1" y="97"/>
                    <a:pt x="1" y="97"/>
                  </a:cubicBezTo>
                  <a:cubicBezTo>
                    <a:pt x="1" y="97"/>
                    <a:pt x="0" y="93"/>
                    <a:pt x="0" y="92"/>
                  </a:cubicBezTo>
                  <a:cubicBezTo>
                    <a:pt x="0" y="91"/>
                    <a:pt x="7" y="83"/>
                    <a:pt x="7" y="83"/>
                  </a:cubicBezTo>
                  <a:cubicBezTo>
                    <a:pt x="7" y="82"/>
                    <a:pt x="8" y="74"/>
                    <a:pt x="8" y="74"/>
                  </a:cubicBezTo>
                  <a:cubicBezTo>
                    <a:pt x="6" y="68"/>
                    <a:pt x="6" y="68"/>
                    <a:pt x="6" y="68"/>
                  </a:cubicBezTo>
                  <a:cubicBezTo>
                    <a:pt x="8" y="60"/>
                    <a:pt x="8" y="60"/>
                    <a:pt x="8" y="60"/>
                  </a:cubicBezTo>
                  <a:cubicBezTo>
                    <a:pt x="10" y="51"/>
                    <a:pt x="10" y="51"/>
                    <a:pt x="10" y="51"/>
                  </a:cubicBezTo>
                  <a:cubicBezTo>
                    <a:pt x="10" y="51"/>
                    <a:pt x="11" y="47"/>
                    <a:pt x="12" y="47"/>
                  </a:cubicBezTo>
                  <a:cubicBezTo>
                    <a:pt x="13" y="46"/>
                    <a:pt x="19" y="45"/>
                    <a:pt x="19" y="45"/>
                  </a:cubicBezTo>
                  <a:close/>
                </a:path>
              </a:pathLst>
            </a:custGeom>
            <a:solidFill>
              <a:srgbClr val="E6EFF1"/>
            </a:solidFill>
            <a:ln w="12700" cap="rnd" cmpd="sng">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Lato Light"/>
              </a:endParaRPr>
            </a:p>
          </p:txBody>
        </p:sp>
        <p:sp>
          <p:nvSpPr>
            <p:cNvPr id="19" name="Freeform 61">
              <a:extLst>
                <a:ext uri="{FF2B5EF4-FFF2-40B4-BE49-F238E27FC236}">
                  <a16:creationId xmlns:a16="http://schemas.microsoft.com/office/drawing/2014/main" id="{862322AD-6741-80C0-E53A-0B9DBE5E37A3}"/>
                </a:ext>
              </a:extLst>
            </p:cNvPr>
            <p:cNvSpPr>
              <a:spLocks noEditPoints="1"/>
            </p:cNvSpPr>
            <p:nvPr/>
          </p:nvSpPr>
          <p:spPr bwMode="auto">
            <a:xfrm>
              <a:off x="4573937" y="4759999"/>
              <a:ext cx="454271" cy="389162"/>
            </a:xfrm>
            <a:custGeom>
              <a:avLst/>
              <a:gdLst>
                <a:gd name="T0" fmla="*/ 132 w 158"/>
                <a:gd name="T1" fmla="*/ 9 h 139"/>
                <a:gd name="T2" fmla="*/ 138 w 158"/>
                <a:gd name="T3" fmla="*/ 25 h 139"/>
                <a:gd name="T4" fmla="*/ 135 w 158"/>
                <a:gd name="T5" fmla="*/ 42 h 139"/>
                <a:gd name="T6" fmla="*/ 151 w 158"/>
                <a:gd name="T7" fmla="*/ 49 h 139"/>
                <a:gd name="T8" fmla="*/ 152 w 158"/>
                <a:gd name="T9" fmla="*/ 59 h 139"/>
                <a:gd name="T10" fmla="*/ 149 w 158"/>
                <a:gd name="T11" fmla="*/ 65 h 139"/>
                <a:gd name="T12" fmla="*/ 151 w 158"/>
                <a:gd name="T13" fmla="*/ 79 h 139"/>
                <a:gd name="T14" fmla="*/ 141 w 158"/>
                <a:gd name="T15" fmla="*/ 85 h 139"/>
                <a:gd name="T16" fmla="*/ 135 w 158"/>
                <a:gd name="T17" fmla="*/ 87 h 139"/>
                <a:gd name="T18" fmla="*/ 140 w 158"/>
                <a:gd name="T19" fmla="*/ 93 h 139"/>
                <a:gd name="T20" fmla="*/ 138 w 158"/>
                <a:gd name="T21" fmla="*/ 97 h 139"/>
                <a:gd name="T22" fmla="*/ 129 w 158"/>
                <a:gd name="T23" fmla="*/ 103 h 139"/>
                <a:gd name="T24" fmla="*/ 121 w 158"/>
                <a:gd name="T25" fmla="*/ 115 h 139"/>
                <a:gd name="T26" fmla="*/ 125 w 158"/>
                <a:gd name="T27" fmla="*/ 129 h 139"/>
                <a:gd name="T28" fmla="*/ 126 w 158"/>
                <a:gd name="T29" fmla="*/ 137 h 139"/>
                <a:gd name="T30" fmla="*/ 118 w 158"/>
                <a:gd name="T31" fmla="*/ 139 h 139"/>
                <a:gd name="T32" fmla="*/ 114 w 158"/>
                <a:gd name="T33" fmla="*/ 138 h 139"/>
                <a:gd name="T34" fmla="*/ 113 w 158"/>
                <a:gd name="T35" fmla="*/ 137 h 139"/>
                <a:gd name="T36" fmla="*/ 113 w 158"/>
                <a:gd name="T37" fmla="*/ 137 h 139"/>
                <a:gd name="T38" fmla="*/ 113 w 158"/>
                <a:gd name="T39" fmla="*/ 137 h 139"/>
                <a:gd name="T40" fmla="*/ 112 w 158"/>
                <a:gd name="T41" fmla="*/ 137 h 139"/>
                <a:gd name="T42" fmla="*/ 99 w 158"/>
                <a:gd name="T43" fmla="*/ 129 h 139"/>
                <a:gd name="T44" fmla="*/ 87 w 158"/>
                <a:gd name="T45" fmla="*/ 116 h 139"/>
                <a:gd name="T46" fmla="*/ 68 w 158"/>
                <a:gd name="T47" fmla="*/ 100 h 139"/>
                <a:gd name="T48" fmla="*/ 56 w 158"/>
                <a:gd name="T49" fmla="*/ 89 h 139"/>
                <a:gd name="T50" fmla="*/ 43 w 158"/>
                <a:gd name="T51" fmla="*/ 79 h 139"/>
                <a:gd name="T52" fmla="*/ 31 w 158"/>
                <a:gd name="T53" fmla="*/ 68 h 139"/>
                <a:gd name="T54" fmla="*/ 23 w 158"/>
                <a:gd name="T55" fmla="*/ 54 h 139"/>
                <a:gd name="T56" fmla="*/ 14 w 158"/>
                <a:gd name="T57" fmla="*/ 43 h 139"/>
                <a:gd name="T58" fmla="*/ 5 w 158"/>
                <a:gd name="T59" fmla="*/ 36 h 139"/>
                <a:gd name="T60" fmla="*/ 1 w 158"/>
                <a:gd name="T61" fmla="*/ 20 h 139"/>
                <a:gd name="T62" fmla="*/ 2 w 158"/>
                <a:gd name="T63" fmla="*/ 10 h 139"/>
                <a:gd name="T64" fmla="*/ 8 w 158"/>
                <a:gd name="T65" fmla="*/ 7 h 139"/>
                <a:gd name="T66" fmla="*/ 23 w 158"/>
                <a:gd name="T67" fmla="*/ 13 h 139"/>
                <a:gd name="T68" fmla="*/ 35 w 158"/>
                <a:gd name="T69" fmla="*/ 4 h 139"/>
                <a:gd name="T70" fmla="*/ 48 w 158"/>
                <a:gd name="T71" fmla="*/ 2 h 139"/>
                <a:gd name="T72" fmla="*/ 61 w 158"/>
                <a:gd name="T73" fmla="*/ 4 h 139"/>
                <a:gd name="T74" fmla="*/ 80 w 158"/>
                <a:gd name="T75" fmla="*/ 6 h 139"/>
                <a:gd name="T76" fmla="*/ 90 w 158"/>
                <a:gd name="T77" fmla="*/ 3 h 139"/>
                <a:gd name="T78" fmla="*/ 97 w 158"/>
                <a:gd name="T79" fmla="*/ 2 h 139"/>
                <a:gd name="T80" fmla="*/ 98 w 158"/>
                <a:gd name="T81" fmla="*/ 2 h 139"/>
                <a:gd name="T82" fmla="*/ 98 w 158"/>
                <a:gd name="T83" fmla="*/ 2 h 139"/>
                <a:gd name="T84" fmla="*/ 99 w 158"/>
                <a:gd name="T85" fmla="*/ 2 h 139"/>
                <a:gd name="T86" fmla="*/ 99 w 158"/>
                <a:gd name="T87" fmla="*/ 2 h 139"/>
                <a:gd name="T88" fmla="*/ 99 w 158"/>
                <a:gd name="T89" fmla="*/ 2 h 139"/>
                <a:gd name="T90" fmla="*/ 100 w 158"/>
                <a:gd name="T91" fmla="*/ 1 h 139"/>
                <a:gd name="T92" fmla="*/ 100 w 158"/>
                <a:gd name="T93" fmla="*/ 1 h 139"/>
                <a:gd name="T94" fmla="*/ 100 w 158"/>
                <a:gd name="T95" fmla="*/ 1 h 139"/>
                <a:gd name="T96" fmla="*/ 100 w 158"/>
                <a:gd name="T97" fmla="*/ 1 h 139"/>
                <a:gd name="T98" fmla="*/ 100 w 158"/>
                <a:gd name="T99" fmla="*/ 1 h 139"/>
                <a:gd name="T100" fmla="*/ 103 w 158"/>
                <a:gd name="T101" fmla="*/ 4 h 139"/>
                <a:gd name="T102" fmla="*/ 117 w 158"/>
                <a:gd name="T103" fmla="*/ 8 h 139"/>
                <a:gd name="T104" fmla="*/ 130 w 158"/>
                <a:gd name="T105" fmla="*/ 12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58" h="139">
                  <a:moveTo>
                    <a:pt x="145" y="83"/>
                  </a:moveTo>
                  <a:cubicBezTo>
                    <a:pt x="146" y="83"/>
                    <a:pt x="146" y="83"/>
                    <a:pt x="146" y="83"/>
                  </a:cubicBezTo>
                  <a:cubicBezTo>
                    <a:pt x="146" y="83"/>
                    <a:pt x="146" y="83"/>
                    <a:pt x="146" y="83"/>
                  </a:cubicBezTo>
                  <a:cubicBezTo>
                    <a:pt x="145" y="83"/>
                    <a:pt x="145" y="83"/>
                    <a:pt x="145" y="83"/>
                  </a:cubicBezTo>
                  <a:close/>
                  <a:moveTo>
                    <a:pt x="132" y="9"/>
                  </a:moveTo>
                  <a:cubicBezTo>
                    <a:pt x="132" y="9"/>
                    <a:pt x="132" y="9"/>
                    <a:pt x="132" y="9"/>
                  </a:cubicBezTo>
                  <a:cubicBezTo>
                    <a:pt x="138" y="10"/>
                    <a:pt x="138" y="10"/>
                    <a:pt x="138" y="10"/>
                  </a:cubicBezTo>
                  <a:cubicBezTo>
                    <a:pt x="141" y="11"/>
                    <a:pt x="141" y="11"/>
                    <a:pt x="141" y="11"/>
                  </a:cubicBezTo>
                  <a:cubicBezTo>
                    <a:pt x="141" y="14"/>
                    <a:pt x="141" y="14"/>
                    <a:pt x="141" y="14"/>
                  </a:cubicBezTo>
                  <a:cubicBezTo>
                    <a:pt x="141" y="18"/>
                    <a:pt x="141" y="18"/>
                    <a:pt x="141" y="18"/>
                  </a:cubicBezTo>
                  <a:cubicBezTo>
                    <a:pt x="141" y="21"/>
                    <a:pt x="141" y="21"/>
                    <a:pt x="141" y="21"/>
                  </a:cubicBezTo>
                  <a:cubicBezTo>
                    <a:pt x="138" y="25"/>
                    <a:pt x="138" y="25"/>
                    <a:pt x="138" y="25"/>
                  </a:cubicBezTo>
                  <a:cubicBezTo>
                    <a:pt x="138" y="25"/>
                    <a:pt x="137" y="28"/>
                    <a:pt x="137" y="28"/>
                  </a:cubicBezTo>
                  <a:cubicBezTo>
                    <a:pt x="137" y="29"/>
                    <a:pt x="136" y="31"/>
                    <a:pt x="136" y="31"/>
                  </a:cubicBezTo>
                  <a:cubicBezTo>
                    <a:pt x="136" y="31"/>
                    <a:pt x="134" y="30"/>
                    <a:pt x="135" y="33"/>
                  </a:cubicBezTo>
                  <a:cubicBezTo>
                    <a:pt x="135" y="36"/>
                    <a:pt x="136" y="35"/>
                    <a:pt x="136" y="36"/>
                  </a:cubicBezTo>
                  <a:cubicBezTo>
                    <a:pt x="136" y="37"/>
                    <a:pt x="136" y="39"/>
                    <a:pt x="136" y="40"/>
                  </a:cubicBezTo>
                  <a:cubicBezTo>
                    <a:pt x="135" y="41"/>
                    <a:pt x="136" y="41"/>
                    <a:pt x="135" y="42"/>
                  </a:cubicBezTo>
                  <a:cubicBezTo>
                    <a:pt x="135" y="43"/>
                    <a:pt x="137" y="44"/>
                    <a:pt x="139" y="44"/>
                  </a:cubicBezTo>
                  <a:cubicBezTo>
                    <a:pt x="141" y="45"/>
                    <a:pt x="141" y="44"/>
                    <a:pt x="142" y="44"/>
                  </a:cubicBezTo>
                  <a:cubicBezTo>
                    <a:pt x="143" y="44"/>
                    <a:pt x="144" y="45"/>
                    <a:pt x="145" y="45"/>
                  </a:cubicBezTo>
                  <a:cubicBezTo>
                    <a:pt x="146" y="46"/>
                    <a:pt x="146" y="46"/>
                    <a:pt x="146" y="47"/>
                  </a:cubicBezTo>
                  <a:cubicBezTo>
                    <a:pt x="147" y="48"/>
                    <a:pt x="148" y="49"/>
                    <a:pt x="149" y="50"/>
                  </a:cubicBezTo>
                  <a:cubicBezTo>
                    <a:pt x="150" y="50"/>
                    <a:pt x="150" y="49"/>
                    <a:pt x="151" y="49"/>
                  </a:cubicBezTo>
                  <a:cubicBezTo>
                    <a:pt x="151" y="50"/>
                    <a:pt x="152" y="51"/>
                    <a:pt x="153" y="51"/>
                  </a:cubicBezTo>
                  <a:cubicBezTo>
                    <a:pt x="153" y="52"/>
                    <a:pt x="154" y="53"/>
                    <a:pt x="155" y="53"/>
                  </a:cubicBezTo>
                  <a:cubicBezTo>
                    <a:pt x="155" y="53"/>
                    <a:pt x="157" y="54"/>
                    <a:pt x="157" y="54"/>
                  </a:cubicBezTo>
                  <a:cubicBezTo>
                    <a:pt x="158" y="55"/>
                    <a:pt x="157" y="56"/>
                    <a:pt x="157" y="56"/>
                  </a:cubicBezTo>
                  <a:cubicBezTo>
                    <a:pt x="156" y="56"/>
                    <a:pt x="156" y="58"/>
                    <a:pt x="155" y="58"/>
                  </a:cubicBezTo>
                  <a:cubicBezTo>
                    <a:pt x="155" y="58"/>
                    <a:pt x="152" y="59"/>
                    <a:pt x="152" y="59"/>
                  </a:cubicBezTo>
                  <a:cubicBezTo>
                    <a:pt x="151" y="59"/>
                    <a:pt x="150" y="59"/>
                    <a:pt x="149" y="59"/>
                  </a:cubicBezTo>
                  <a:cubicBezTo>
                    <a:pt x="148" y="59"/>
                    <a:pt x="147" y="59"/>
                    <a:pt x="146" y="58"/>
                  </a:cubicBezTo>
                  <a:cubicBezTo>
                    <a:pt x="145" y="58"/>
                    <a:pt x="145" y="58"/>
                    <a:pt x="144" y="58"/>
                  </a:cubicBezTo>
                  <a:cubicBezTo>
                    <a:pt x="144" y="59"/>
                    <a:pt x="144" y="61"/>
                    <a:pt x="144" y="61"/>
                  </a:cubicBezTo>
                  <a:cubicBezTo>
                    <a:pt x="144" y="61"/>
                    <a:pt x="145" y="62"/>
                    <a:pt x="146" y="63"/>
                  </a:cubicBezTo>
                  <a:cubicBezTo>
                    <a:pt x="146" y="63"/>
                    <a:pt x="148" y="65"/>
                    <a:pt x="149" y="65"/>
                  </a:cubicBezTo>
                  <a:cubicBezTo>
                    <a:pt x="149" y="65"/>
                    <a:pt x="150" y="66"/>
                    <a:pt x="151" y="67"/>
                  </a:cubicBezTo>
                  <a:cubicBezTo>
                    <a:pt x="152" y="69"/>
                    <a:pt x="152" y="70"/>
                    <a:pt x="152" y="70"/>
                  </a:cubicBezTo>
                  <a:cubicBezTo>
                    <a:pt x="157" y="74"/>
                    <a:pt x="157" y="74"/>
                    <a:pt x="157" y="74"/>
                  </a:cubicBezTo>
                  <a:cubicBezTo>
                    <a:pt x="157" y="74"/>
                    <a:pt x="157" y="75"/>
                    <a:pt x="157" y="78"/>
                  </a:cubicBezTo>
                  <a:cubicBezTo>
                    <a:pt x="157" y="82"/>
                    <a:pt x="156" y="80"/>
                    <a:pt x="155" y="80"/>
                  </a:cubicBezTo>
                  <a:cubicBezTo>
                    <a:pt x="154" y="80"/>
                    <a:pt x="153" y="80"/>
                    <a:pt x="151" y="79"/>
                  </a:cubicBezTo>
                  <a:cubicBezTo>
                    <a:pt x="150" y="79"/>
                    <a:pt x="150" y="79"/>
                    <a:pt x="150" y="79"/>
                  </a:cubicBezTo>
                  <a:cubicBezTo>
                    <a:pt x="148" y="82"/>
                    <a:pt x="148" y="82"/>
                    <a:pt x="148" y="82"/>
                  </a:cubicBezTo>
                  <a:cubicBezTo>
                    <a:pt x="148" y="82"/>
                    <a:pt x="146" y="82"/>
                    <a:pt x="145" y="83"/>
                  </a:cubicBezTo>
                  <a:cubicBezTo>
                    <a:pt x="144" y="83"/>
                    <a:pt x="144" y="83"/>
                    <a:pt x="144" y="83"/>
                  </a:cubicBezTo>
                  <a:cubicBezTo>
                    <a:pt x="144" y="83"/>
                    <a:pt x="142" y="84"/>
                    <a:pt x="142" y="84"/>
                  </a:cubicBezTo>
                  <a:cubicBezTo>
                    <a:pt x="142" y="84"/>
                    <a:pt x="141" y="85"/>
                    <a:pt x="141" y="85"/>
                  </a:cubicBezTo>
                  <a:cubicBezTo>
                    <a:pt x="140" y="85"/>
                    <a:pt x="140" y="85"/>
                    <a:pt x="140" y="85"/>
                  </a:cubicBezTo>
                  <a:cubicBezTo>
                    <a:pt x="139" y="84"/>
                    <a:pt x="139" y="84"/>
                    <a:pt x="139" y="84"/>
                  </a:cubicBezTo>
                  <a:cubicBezTo>
                    <a:pt x="138" y="83"/>
                    <a:pt x="138" y="83"/>
                    <a:pt x="138" y="83"/>
                  </a:cubicBezTo>
                  <a:cubicBezTo>
                    <a:pt x="136" y="85"/>
                    <a:pt x="136" y="85"/>
                    <a:pt x="136" y="85"/>
                  </a:cubicBezTo>
                  <a:cubicBezTo>
                    <a:pt x="135" y="86"/>
                    <a:pt x="135" y="86"/>
                    <a:pt x="135" y="86"/>
                  </a:cubicBezTo>
                  <a:cubicBezTo>
                    <a:pt x="135" y="86"/>
                    <a:pt x="135" y="87"/>
                    <a:pt x="135" y="87"/>
                  </a:cubicBezTo>
                  <a:cubicBezTo>
                    <a:pt x="135" y="87"/>
                    <a:pt x="137" y="87"/>
                    <a:pt x="137" y="87"/>
                  </a:cubicBezTo>
                  <a:cubicBezTo>
                    <a:pt x="137" y="89"/>
                    <a:pt x="137" y="89"/>
                    <a:pt x="137" y="89"/>
                  </a:cubicBezTo>
                  <a:cubicBezTo>
                    <a:pt x="137" y="89"/>
                    <a:pt x="137" y="89"/>
                    <a:pt x="138" y="89"/>
                  </a:cubicBezTo>
                  <a:cubicBezTo>
                    <a:pt x="138" y="89"/>
                    <a:pt x="139" y="90"/>
                    <a:pt x="139" y="90"/>
                  </a:cubicBezTo>
                  <a:cubicBezTo>
                    <a:pt x="140" y="91"/>
                    <a:pt x="140" y="91"/>
                    <a:pt x="140" y="91"/>
                  </a:cubicBezTo>
                  <a:cubicBezTo>
                    <a:pt x="140" y="93"/>
                    <a:pt x="140" y="93"/>
                    <a:pt x="140" y="93"/>
                  </a:cubicBezTo>
                  <a:cubicBezTo>
                    <a:pt x="142" y="94"/>
                    <a:pt x="142" y="94"/>
                    <a:pt x="142" y="94"/>
                  </a:cubicBezTo>
                  <a:cubicBezTo>
                    <a:pt x="142" y="96"/>
                    <a:pt x="142" y="96"/>
                    <a:pt x="142" y="96"/>
                  </a:cubicBezTo>
                  <a:cubicBezTo>
                    <a:pt x="141" y="97"/>
                    <a:pt x="141" y="97"/>
                    <a:pt x="141" y="97"/>
                  </a:cubicBezTo>
                  <a:cubicBezTo>
                    <a:pt x="140" y="98"/>
                    <a:pt x="140" y="98"/>
                    <a:pt x="140" y="98"/>
                  </a:cubicBezTo>
                  <a:cubicBezTo>
                    <a:pt x="138" y="98"/>
                    <a:pt x="138" y="98"/>
                    <a:pt x="138" y="98"/>
                  </a:cubicBezTo>
                  <a:cubicBezTo>
                    <a:pt x="138" y="97"/>
                    <a:pt x="138" y="97"/>
                    <a:pt x="138" y="97"/>
                  </a:cubicBezTo>
                  <a:cubicBezTo>
                    <a:pt x="137" y="95"/>
                    <a:pt x="137" y="95"/>
                    <a:pt x="137" y="95"/>
                  </a:cubicBezTo>
                  <a:cubicBezTo>
                    <a:pt x="136" y="94"/>
                    <a:pt x="136" y="94"/>
                    <a:pt x="136" y="94"/>
                  </a:cubicBezTo>
                  <a:cubicBezTo>
                    <a:pt x="133" y="95"/>
                    <a:pt x="133" y="95"/>
                    <a:pt x="133" y="95"/>
                  </a:cubicBezTo>
                  <a:cubicBezTo>
                    <a:pt x="133" y="97"/>
                    <a:pt x="133" y="97"/>
                    <a:pt x="133" y="97"/>
                  </a:cubicBezTo>
                  <a:cubicBezTo>
                    <a:pt x="128" y="101"/>
                    <a:pt x="128" y="101"/>
                    <a:pt x="128" y="101"/>
                  </a:cubicBezTo>
                  <a:cubicBezTo>
                    <a:pt x="129" y="103"/>
                    <a:pt x="129" y="103"/>
                    <a:pt x="129" y="103"/>
                  </a:cubicBezTo>
                  <a:cubicBezTo>
                    <a:pt x="127" y="105"/>
                    <a:pt x="127" y="105"/>
                    <a:pt x="127" y="105"/>
                  </a:cubicBezTo>
                  <a:cubicBezTo>
                    <a:pt x="127" y="108"/>
                    <a:pt x="127" y="108"/>
                    <a:pt x="127" y="108"/>
                  </a:cubicBezTo>
                  <a:cubicBezTo>
                    <a:pt x="128" y="111"/>
                    <a:pt x="128" y="111"/>
                    <a:pt x="128" y="111"/>
                  </a:cubicBezTo>
                  <a:cubicBezTo>
                    <a:pt x="128" y="113"/>
                    <a:pt x="128" y="113"/>
                    <a:pt x="128" y="113"/>
                  </a:cubicBezTo>
                  <a:cubicBezTo>
                    <a:pt x="124" y="114"/>
                    <a:pt x="124" y="114"/>
                    <a:pt x="124" y="114"/>
                  </a:cubicBezTo>
                  <a:cubicBezTo>
                    <a:pt x="121" y="115"/>
                    <a:pt x="121" y="115"/>
                    <a:pt x="121" y="115"/>
                  </a:cubicBezTo>
                  <a:cubicBezTo>
                    <a:pt x="121" y="118"/>
                    <a:pt x="121" y="118"/>
                    <a:pt x="121" y="118"/>
                  </a:cubicBezTo>
                  <a:cubicBezTo>
                    <a:pt x="121" y="119"/>
                    <a:pt x="121" y="119"/>
                    <a:pt x="121" y="119"/>
                  </a:cubicBezTo>
                  <a:cubicBezTo>
                    <a:pt x="124" y="123"/>
                    <a:pt x="124" y="123"/>
                    <a:pt x="124" y="123"/>
                  </a:cubicBezTo>
                  <a:cubicBezTo>
                    <a:pt x="123" y="124"/>
                    <a:pt x="123" y="124"/>
                    <a:pt x="123" y="124"/>
                  </a:cubicBezTo>
                  <a:cubicBezTo>
                    <a:pt x="122" y="125"/>
                    <a:pt x="122" y="125"/>
                    <a:pt x="122" y="125"/>
                  </a:cubicBezTo>
                  <a:cubicBezTo>
                    <a:pt x="125" y="129"/>
                    <a:pt x="125" y="129"/>
                    <a:pt x="125" y="129"/>
                  </a:cubicBezTo>
                  <a:cubicBezTo>
                    <a:pt x="126" y="130"/>
                    <a:pt x="126" y="130"/>
                    <a:pt x="126" y="130"/>
                  </a:cubicBezTo>
                  <a:cubicBezTo>
                    <a:pt x="128" y="130"/>
                    <a:pt x="128" y="130"/>
                    <a:pt x="128" y="130"/>
                  </a:cubicBezTo>
                  <a:cubicBezTo>
                    <a:pt x="128" y="132"/>
                    <a:pt x="128" y="132"/>
                    <a:pt x="128" y="132"/>
                  </a:cubicBezTo>
                  <a:cubicBezTo>
                    <a:pt x="128" y="133"/>
                    <a:pt x="128" y="133"/>
                    <a:pt x="128" y="133"/>
                  </a:cubicBezTo>
                  <a:cubicBezTo>
                    <a:pt x="128" y="135"/>
                    <a:pt x="128" y="135"/>
                    <a:pt x="128" y="135"/>
                  </a:cubicBezTo>
                  <a:cubicBezTo>
                    <a:pt x="126" y="137"/>
                    <a:pt x="126" y="137"/>
                    <a:pt x="126" y="137"/>
                  </a:cubicBezTo>
                  <a:cubicBezTo>
                    <a:pt x="127" y="139"/>
                    <a:pt x="127" y="139"/>
                    <a:pt x="127" y="139"/>
                  </a:cubicBezTo>
                  <a:cubicBezTo>
                    <a:pt x="125" y="138"/>
                    <a:pt x="125" y="138"/>
                    <a:pt x="125" y="138"/>
                  </a:cubicBezTo>
                  <a:cubicBezTo>
                    <a:pt x="124" y="139"/>
                    <a:pt x="124" y="139"/>
                    <a:pt x="124" y="139"/>
                  </a:cubicBezTo>
                  <a:cubicBezTo>
                    <a:pt x="124" y="139"/>
                    <a:pt x="124" y="139"/>
                    <a:pt x="124" y="139"/>
                  </a:cubicBezTo>
                  <a:cubicBezTo>
                    <a:pt x="121" y="138"/>
                    <a:pt x="121" y="138"/>
                    <a:pt x="121" y="138"/>
                  </a:cubicBezTo>
                  <a:cubicBezTo>
                    <a:pt x="121" y="138"/>
                    <a:pt x="119" y="139"/>
                    <a:pt x="118" y="139"/>
                  </a:cubicBezTo>
                  <a:cubicBezTo>
                    <a:pt x="118" y="139"/>
                    <a:pt x="117" y="139"/>
                    <a:pt x="117" y="139"/>
                  </a:cubicBezTo>
                  <a:cubicBezTo>
                    <a:pt x="117" y="139"/>
                    <a:pt x="115" y="138"/>
                    <a:pt x="114" y="138"/>
                  </a:cubicBezTo>
                  <a:cubicBezTo>
                    <a:pt x="114" y="138"/>
                    <a:pt x="114" y="138"/>
                    <a:pt x="114" y="138"/>
                  </a:cubicBezTo>
                  <a:cubicBezTo>
                    <a:pt x="114" y="138"/>
                    <a:pt x="114" y="138"/>
                    <a:pt x="114" y="138"/>
                  </a:cubicBezTo>
                  <a:cubicBezTo>
                    <a:pt x="114" y="138"/>
                    <a:pt x="114" y="138"/>
                    <a:pt x="114" y="138"/>
                  </a:cubicBezTo>
                  <a:cubicBezTo>
                    <a:pt x="114" y="138"/>
                    <a:pt x="114" y="138"/>
                    <a:pt x="114" y="138"/>
                  </a:cubicBezTo>
                  <a:cubicBezTo>
                    <a:pt x="114" y="138"/>
                    <a:pt x="114" y="138"/>
                    <a:pt x="114" y="138"/>
                  </a:cubicBezTo>
                  <a:cubicBezTo>
                    <a:pt x="114" y="137"/>
                    <a:pt x="114" y="137"/>
                    <a:pt x="114" y="137"/>
                  </a:cubicBezTo>
                  <a:cubicBezTo>
                    <a:pt x="114" y="137"/>
                    <a:pt x="114" y="137"/>
                    <a:pt x="114" y="137"/>
                  </a:cubicBezTo>
                  <a:cubicBezTo>
                    <a:pt x="114" y="137"/>
                    <a:pt x="114" y="137"/>
                    <a:pt x="114" y="137"/>
                  </a:cubicBezTo>
                  <a:cubicBezTo>
                    <a:pt x="114" y="137"/>
                    <a:pt x="114" y="137"/>
                    <a:pt x="114" y="137"/>
                  </a:cubicBezTo>
                  <a:cubicBezTo>
                    <a:pt x="113" y="137"/>
                    <a:pt x="113" y="137"/>
                    <a:pt x="113" y="137"/>
                  </a:cubicBezTo>
                  <a:cubicBezTo>
                    <a:pt x="113" y="137"/>
                    <a:pt x="113" y="137"/>
                    <a:pt x="113" y="137"/>
                  </a:cubicBezTo>
                  <a:cubicBezTo>
                    <a:pt x="113" y="137"/>
                    <a:pt x="113" y="137"/>
                    <a:pt x="113" y="137"/>
                  </a:cubicBezTo>
                  <a:cubicBezTo>
                    <a:pt x="113" y="137"/>
                    <a:pt x="113" y="137"/>
                    <a:pt x="113" y="137"/>
                  </a:cubicBezTo>
                  <a:cubicBezTo>
                    <a:pt x="113" y="137"/>
                    <a:pt x="113" y="137"/>
                    <a:pt x="113" y="137"/>
                  </a:cubicBezTo>
                  <a:cubicBezTo>
                    <a:pt x="113" y="137"/>
                    <a:pt x="113" y="137"/>
                    <a:pt x="113" y="137"/>
                  </a:cubicBezTo>
                  <a:cubicBezTo>
                    <a:pt x="113" y="137"/>
                    <a:pt x="113" y="137"/>
                    <a:pt x="113" y="137"/>
                  </a:cubicBezTo>
                  <a:cubicBezTo>
                    <a:pt x="113" y="137"/>
                    <a:pt x="113" y="137"/>
                    <a:pt x="113" y="137"/>
                  </a:cubicBezTo>
                  <a:cubicBezTo>
                    <a:pt x="113" y="137"/>
                    <a:pt x="113" y="137"/>
                    <a:pt x="113" y="137"/>
                  </a:cubicBezTo>
                  <a:cubicBezTo>
                    <a:pt x="113" y="137"/>
                    <a:pt x="113" y="137"/>
                    <a:pt x="113" y="137"/>
                  </a:cubicBezTo>
                  <a:cubicBezTo>
                    <a:pt x="113" y="137"/>
                    <a:pt x="113" y="137"/>
                    <a:pt x="113" y="137"/>
                  </a:cubicBezTo>
                  <a:cubicBezTo>
                    <a:pt x="113" y="137"/>
                    <a:pt x="113" y="137"/>
                    <a:pt x="113" y="137"/>
                  </a:cubicBezTo>
                  <a:cubicBezTo>
                    <a:pt x="113" y="137"/>
                    <a:pt x="113" y="137"/>
                    <a:pt x="113" y="137"/>
                  </a:cubicBezTo>
                  <a:cubicBezTo>
                    <a:pt x="112" y="137"/>
                    <a:pt x="112" y="137"/>
                    <a:pt x="112" y="137"/>
                  </a:cubicBezTo>
                  <a:cubicBezTo>
                    <a:pt x="112" y="137"/>
                    <a:pt x="112" y="137"/>
                    <a:pt x="112" y="137"/>
                  </a:cubicBezTo>
                  <a:cubicBezTo>
                    <a:pt x="112" y="137"/>
                    <a:pt x="112" y="137"/>
                    <a:pt x="112" y="137"/>
                  </a:cubicBezTo>
                  <a:cubicBezTo>
                    <a:pt x="112" y="137"/>
                    <a:pt x="112" y="137"/>
                    <a:pt x="112" y="137"/>
                  </a:cubicBezTo>
                  <a:cubicBezTo>
                    <a:pt x="112" y="137"/>
                    <a:pt x="112" y="137"/>
                    <a:pt x="112" y="137"/>
                  </a:cubicBezTo>
                  <a:cubicBezTo>
                    <a:pt x="112" y="137"/>
                    <a:pt x="112" y="137"/>
                    <a:pt x="112" y="137"/>
                  </a:cubicBezTo>
                  <a:cubicBezTo>
                    <a:pt x="112" y="137"/>
                    <a:pt x="112" y="137"/>
                    <a:pt x="112" y="137"/>
                  </a:cubicBezTo>
                  <a:cubicBezTo>
                    <a:pt x="112" y="137"/>
                    <a:pt x="112" y="137"/>
                    <a:pt x="112" y="137"/>
                  </a:cubicBezTo>
                  <a:cubicBezTo>
                    <a:pt x="112" y="137"/>
                    <a:pt x="112" y="137"/>
                    <a:pt x="112" y="137"/>
                  </a:cubicBezTo>
                  <a:cubicBezTo>
                    <a:pt x="106" y="134"/>
                    <a:pt x="106" y="134"/>
                    <a:pt x="106" y="134"/>
                  </a:cubicBezTo>
                  <a:cubicBezTo>
                    <a:pt x="101" y="131"/>
                    <a:pt x="101" y="131"/>
                    <a:pt x="101" y="131"/>
                  </a:cubicBezTo>
                  <a:cubicBezTo>
                    <a:pt x="99" y="129"/>
                    <a:pt x="99" y="129"/>
                    <a:pt x="99" y="129"/>
                  </a:cubicBezTo>
                  <a:cubicBezTo>
                    <a:pt x="98" y="125"/>
                    <a:pt x="98" y="125"/>
                    <a:pt x="98" y="125"/>
                  </a:cubicBezTo>
                  <a:cubicBezTo>
                    <a:pt x="93" y="124"/>
                    <a:pt x="93" y="124"/>
                    <a:pt x="93" y="124"/>
                  </a:cubicBezTo>
                  <a:cubicBezTo>
                    <a:pt x="93" y="121"/>
                    <a:pt x="87" y="126"/>
                    <a:pt x="89" y="120"/>
                  </a:cubicBezTo>
                  <a:cubicBezTo>
                    <a:pt x="89" y="120"/>
                    <a:pt x="89" y="119"/>
                    <a:pt x="89" y="119"/>
                  </a:cubicBezTo>
                  <a:cubicBezTo>
                    <a:pt x="89" y="119"/>
                    <a:pt x="89" y="119"/>
                    <a:pt x="89" y="119"/>
                  </a:cubicBezTo>
                  <a:cubicBezTo>
                    <a:pt x="89" y="118"/>
                    <a:pt x="87" y="116"/>
                    <a:pt x="87" y="116"/>
                  </a:cubicBezTo>
                  <a:cubicBezTo>
                    <a:pt x="81" y="113"/>
                    <a:pt x="80" y="110"/>
                    <a:pt x="77" y="109"/>
                  </a:cubicBezTo>
                  <a:cubicBezTo>
                    <a:pt x="76" y="109"/>
                    <a:pt x="76" y="109"/>
                    <a:pt x="76" y="109"/>
                  </a:cubicBezTo>
                  <a:cubicBezTo>
                    <a:pt x="72" y="105"/>
                    <a:pt x="72" y="105"/>
                    <a:pt x="72" y="105"/>
                  </a:cubicBezTo>
                  <a:cubicBezTo>
                    <a:pt x="70" y="104"/>
                    <a:pt x="70" y="104"/>
                    <a:pt x="70" y="104"/>
                  </a:cubicBezTo>
                  <a:cubicBezTo>
                    <a:pt x="68" y="102"/>
                    <a:pt x="68" y="102"/>
                    <a:pt x="68" y="102"/>
                  </a:cubicBezTo>
                  <a:cubicBezTo>
                    <a:pt x="68" y="100"/>
                    <a:pt x="68" y="100"/>
                    <a:pt x="68" y="100"/>
                  </a:cubicBezTo>
                  <a:cubicBezTo>
                    <a:pt x="67" y="96"/>
                    <a:pt x="67" y="96"/>
                    <a:pt x="67" y="96"/>
                  </a:cubicBezTo>
                  <a:cubicBezTo>
                    <a:pt x="67" y="96"/>
                    <a:pt x="67" y="96"/>
                    <a:pt x="67" y="96"/>
                  </a:cubicBezTo>
                  <a:cubicBezTo>
                    <a:pt x="67" y="96"/>
                    <a:pt x="63" y="95"/>
                    <a:pt x="61" y="94"/>
                  </a:cubicBezTo>
                  <a:cubicBezTo>
                    <a:pt x="59" y="93"/>
                    <a:pt x="59" y="93"/>
                    <a:pt x="59" y="93"/>
                  </a:cubicBezTo>
                  <a:cubicBezTo>
                    <a:pt x="57" y="90"/>
                    <a:pt x="57" y="90"/>
                    <a:pt x="57" y="90"/>
                  </a:cubicBezTo>
                  <a:cubicBezTo>
                    <a:pt x="56" y="89"/>
                    <a:pt x="56" y="89"/>
                    <a:pt x="56" y="89"/>
                  </a:cubicBezTo>
                  <a:cubicBezTo>
                    <a:pt x="53" y="86"/>
                    <a:pt x="53" y="86"/>
                    <a:pt x="53" y="86"/>
                  </a:cubicBezTo>
                  <a:cubicBezTo>
                    <a:pt x="52" y="86"/>
                    <a:pt x="52" y="86"/>
                    <a:pt x="52" y="86"/>
                  </a:cubicBezTo>
                  <a:cubicBezTo>
                    <a:pt x="47" y="84"/>
                    <a:pt x="47" y="84"/>
                    <a:pt x="47" y="84"/>
                  </a:cubicBezTo>
                  <a:cubicBezTo>
                    <a:pt x="46" y="82"/>
                    <a:pt x="46" y="82"/>
                    <a:pt x="46" y="82"/>
                  </a:cubicBezTo>
                  <a:cubicBezTo>
                    <a:pt x="44" y="81"/>
                    <a:pt x="44" y="81"/>
                    <a:pt x="44" y="81"/>
                  </a:cubicBezTo>
                  <a:cubicBezTo>
                    <a:pt x="43" y="79"/>
                    <a:pt x="43" y="79"/>
                    <a:pt x="43" y="79"/>
                  </a:cubicBezTo>
                  <a:cubicBezTo>
                    <a:pt x="40" y="78"/>
                    <a:pt x="40" y="78"/>
                    <a:pt x="40" y="78"/>
                  </a:cubicBezTo>
                  <a:cubicBezTo>
                    <a:pt x="39" y="76"/>
                    <a:pt x="39" y="76"/>
                    <a:pt x="39" y="76"/>
                  </a:cubicBezTo>
                  <a:cubicBezTo>
                    <a:pt x="38" y="75"/>
                    <a:pt x="38" y="75"/>
                    <a:pt x="38" y="75"/>
                  </a:cubicBezTo>
                  <a:cubicBezTo>
                    <a:pt x="35" y="71"/>
                    <a:pt x="35" y="71"/>
                    <a:pt x="35" y="71"/>
                  </a:cubicBezTo>
                  <a:cubicBezTo>
                    <a:pt x="32" y="69"/>
                    <a:pt x="32" y="69"/>
                    <a:pt x="32" y="69"/>
                  </a:cubicBezTo>
                  <a:cubicBezTo>
                    <a:pt x="31" y="68"/>
                    <a:pt x="31" y="68"/>
                    <a:pt x="31" y="68"/>
                  </a:cubicBezTo>
                  <a:cubicBezTo>
                    <a:pt x="30" y="67"/>
                    <a:pt x="30" y="67"/>
                    <a:pt x="30" y="67"/>
                  </a:cubicBezTo>
                  <a:cubicBezTo>
                    <a:pt x="28" y="64"/>
                    <a:pt x="28" y="64"/>
                    <a:pt x="28" y="64"/>
                  </a:cubicBezTo>
                  <a:cubicBezTo>
                    <a:pt x="25" y="61"/>
                    <a:pt x="25" y="61"/>
                    <a:pt x="25" y="61"/>
                  </a:cubicBezTo>
                  <a:cubicBezTo>
                    <a:pt x="23" y="59"/>
                    <a:pt x="23" y="59"/>
                    <a:pt x="23" y="59"/>
                  </a:cubicBezTo>
                  <a:cubicBezTo>
                    <a:pt x="21" y="56"/>
                    <a:pt x="21" y="56"/>
                    <a:pt x="21" y="56"/>
                  </a:cubicBezTo>
                  <a:cubicBezTo>
                    <a:pt x="23" y="54"/>
                    <a:pt x="23" y="54"/>
                    <a:pt x="23" y="54"/>
                  </a:cubicBezTo>
                  <a:cubicBezTo>
                    <a:pt x="22" y="53"/>
                    <a:pt x="21" y="53"/>
                    <a:pt x="21" y="52"/>
                  </a:cubicBezTo>
                  <a:cubicBezTo>
                    <a:pt x="20" y="52"/>
                    <a:pt x="18" y="51"/>
                    <a:pt x="19" y="50"/>
                  </a:cubicBezTo>
                  <a:cubicBezTo>
                    <a:pt x="19" y="49"/>
                    <a:pt x="18" y="48"/>
                    <a:pt x="18" y="46"/>
                  </a:cubicBezTo>
                  <a:cubicBezTo>
                    <a:pt x="18" y="45"/>
                    <a:pt x="18" y="44"/>
                    <a:pt x="17" y="44"/>
                  </a:cubicBezTo>
                  <a:cubicBezTo>
                    <a:pt x="16" y="43"/>
                    <a:pt x="16" y="43"/>
                    <a:pt x="16" y="43"/>
                  </a:cubicBezTo>
                  <a:cubicBezTo>
                    <a:pt x="15" y="43"/>
                    <a:pt x="14" y="43"/>
                    <a:pt x="14" y="43"/>
                  </a:cubicBezTo>
                  <a:cubicBezTo>
                    <a:pt x="13" y="43"/>
                    <a:pt x="13" y="43"/>
                    <a:pt x="13" y="43"/>
                  </a:cubicBezTo>
                  <a:cubicBezTo>
                    <a:pt x="13" y="43"/>
                    <a:pt x="14" y="41"/>
                    <a:pt x="14" y="39"/>
                  </a:cubicBezTo>
                  <a:cubicBezTo>
                    <a:pt x="10" y="38"/>
                    <a:pt x="10" y="38"/>
                    <a:pt x="10" y="38"/>
                  </a:cubicBezTo>
                  <a:cubicBezTo>
                    <a:pt x="10" y="38"/>
                    <a:pt x="10" y="35"/>
                    <a:pt x="8" y="34"/>
                  </a:cubicBezTo>
                  <a:cubicBezTo>
                    <a:pt x="6" y="34"/>
                    <a:pt x="6" y="34"/>
                    <a:pt x="6" y="34"/>
                  </a:cubicBezTo>
                  <a:cubicBezTo>
                    <a:pt x="5" y="35"/>
                    <a:pt x="5" y="36"/>
                    <a:pt x="5" y="36"/>
                  </a:cubicBezTo>
                  <a:cubicBezTo>
                    <a:pt x="1" y="32"/>
                    <a:pt x="1" y="32"/>
                    <a:pt x="1" y="32"/>
                  </a:cubicBezTo>
                  <a:cubicBezTo>
                    <a:pt x="1" y="32"/>
                    <a:pt x="1" y="31"/>
                    <a:pt x="2" y="29"/>
                  </a:cubicBezTo>
                  <a:cubicBezTo>
                    <a:pt x="4" y="27"/>
                    <a:pt x="2" y="26"/>
                    <a:pt x="2" y="26"/>
                  </a:cubicBezTo>
                  <a:cubicBezTo>
                    <a:pt x="1" y="23"/>
                    <a:pt x="1" y="23"/>
                    <a:pt x="1" y="23"/>
                  </a:cubicBezTo>
                  <a:cubicBezTo>
                    <a:pt x="2" y="21"/>
                    <a:pt x="2" y="21"/>
                    <a:pt x="2" y="21"/>
                  </a:cubicBezTo>
                  <a:cubicBezTo>
                    <a:pt x="1" y="20"/>
                    <a:pt x="1" y="20"/>
                    <a:pt x="1" y="20"/>
                  </a:cubicBezTo>
                  <a:cubicBezTo>
                    <a:pt x="0" y="19"/>
                    <a:pt x="0" y="19"/>
                    <a:pt x="0" y="19"/>
                  </a:cubicBezTo>
                  <a:cubicBezTo>
                    <a:pt x="0" y="19"/>
                    <a:pt x="0" y="19"/>
                    <a:pt x="0" y="19"/>
                  </a:cubicBezTo>
                  <a:cubicBezTo>
                    <a:pt x="0" y="19"/>
                    <a:pt x="0" y="19"/>
                    <a:pt x="0" y="19"/>
                  </a:cubicBezTo>
                  <a:cubicBezTo>
                    <a:pt x="2" y="15"/>
                    <a:pt x="2" y="15"/>
                    <a:pt x="2" y="15"/>
                  </a:cubicBezTo>
                  <a:cubicBezTo>
                    <a:pt x="2" y="15"/>
                    <a:pt x="1" y="13"/>
                    <a:pt x="1" y="11"/>
                  </a:cubicBezTo>
                  <a:cubicBezTo>
                    <a:pt x="1" y="11"/>
                    <a:pt x="2" y="10"/>
                    <a:pt x="2" y="10"/>
                  </a:cubicBezTo>
                  <a:cubicBezTo>
                    <a:pt x="2" y="10"/>
                    <a:pt x="2" y="10"/>
                    <a:pt x="2" y="10"/>
                  </a:cubicBezTo>
                  <a:cubicBezTo>
                    <a:pt x="2" y="9"/>
                    <a:pt x="2" y="9"/>
                    <a:pt x="2" y="9"/>
                  </a:cubicBezTo>
                  <a:cubicBezTo>
                    <a:pt x="2" y="9"/>
                    <a:pt x="2" y="9"/>
                    <a:pt x="2" y="9"/>
                  </a:cubicBezTo>
                  <a:cubicBezTo>
                    <a:pt x="3" y="9"/>
                    <a:pt x="3" y="9"/>
                    <a:pt x="3" y="9"/>
                  </a:cubicBezTo>
                  <a:cubicBezTo>
                    <a:pt x="3" y="9"/>
                    <a:pt x="3" y="9"/>
                    <a:pt x="3" y="9"/>
                  </a:cubicBezTo>
                  <a:cubicBezTo>
                    <a:pt x="3" y="8"/>
                    <a:pt x="8" y="7"/>
                    <a:pt x="8" y="7"/>
                  </a:cubicBezTo>
                  <a:cubicBezTo>
                    <a:pt x="10" y="6"/>
                    <a:pt x="10" y="6"/>
                    <a:pt x="10" y="6"/>
                  </a:cubicBezTo>
                  <a:cubicBezTo>
                    <a:pt x="14" y="11"/>
                    <a:pt x="14" y="11"/>
                    <a:pt x="14" y="11"/>
                  </a:cubicBezTo>
                  <a:cubicBezTo>
                    <a:pt x="18" y="15"/>
                    <a:pt x="18" y="15"/>
                    <a:pt x="18" y="15"/>
                  </a:cubicBezTo>
                  <a:cubicBezTo>
                    <a:pt x="21" y="17"/>
                    <a:pt x="21" y="17"/>
                    <a:pt x="21" y="17"/>
                  </a:cubicBezTo>
                  <a:cubicBezTo>
                    <a:pt x="21" y="17"/>
                    <a:pt x="22" y="16"/>
                    <a:pt x="23" y="16"/>
                  </a:cubicBezTo>
                  <a:cubicBezTo>
                    <a:pt x="23" y="15"/>
                    <a:pt x="23" y="13"/>
                    <a:pt x="23" y="13"/>
                  </a:cubicBezTo>
                  <a:cubicBezTo>
                    <a:pt x="25" y="11"/>
                    <a:pt x="25" y="11"/>
                    <a:pt x="25" y="11"/>
                  </a:cubicBezTo>
                  <a:cubicBezTo>
                    <a:pt x="26" y="9"/>
                    <a:pt x="26" y="9"/>
                    <a:pt x="26" y="9"/>
                  </a:cubicBezTo>
                  <a:cubicBezTo>
                    <a:pt x="26" y="7"/>
                    <a:pt x="26" y="7"/>
                    <a:pt x="26" y="7"/>
                  </a:cubicBezTo>
                  <a:cubicBezTo>
                    <a:pt x="28" y="6"/>
                    <a:pt x="28" y="6"/>
                    <a:pt x="28" y="6"/>
                  </a:cubicBezTo>
                  <a:cubicBezTo>
                    <a:pt x="31" y="5"/>
                    <a:pt x="31" y="5"/>
                    <a:pt x="31" y="5"/>
                  </a:cubicBezTo>
                  <a:cubicBezTo>
                    <a:pt x="35" y="4"/>
                    <a:pt x="35" y="4"/>
                    <a:pt x="35" y="4"/>
                  </a:cubicBezTo>
                  <a:cubicBezTo>
                    <a:pt x="35" y="4"/>
                    <a:pt x="38" y="5"/>
                    <a:pt x="39" y="5"/>
                  </a:cubicBezTo>
                  <a:cubicBezTo>
                    <a:pt x="39" y="5"/>
                    <a:pt x="40" y="5"/>
                    <a:pt x="40" y="5"/>
                  </a:cubicBezTo>
                  <a:cubicBezTo>
                    <a:pt x="42" y="2"/>
                    <a:pt x="42" y="2"/>
                    <a:pt x="42" y="2"/>
                  </a:cubicBezTo>
                  <a:cubicBezTo>
                    <a:pt x="42" y="2"/>
                    <a:pt x="42" y="2"/>
                    <a:pt x="42" y="2"/>
                  </a:cubicBezTo>
                  <a:cubicBezTo>
                    <a:pt x="43" y="0"/>
                    <a:pt x="43" y="0"/>
                    <a:pt x="43" y="0"/>
                  </a:cubicBezTo>
                  <a:cubicBezTo>
                    <a:pt x="48" y="2"/>
                    <a:pt x="48" y="2"/>
                    <a:pt x="48" y="2"/>
                  </a:cubicBezTo>
                  <a:cubicBezTo>
                    <a:pt x="50" y="4"/>
                    <a:pt x="50" y="4"/>
                    <a:pt x="50" y="4"/>
                  </a:cubicBezTo>
                  <a:cubicBezTo>
                    <a:pt x="55" y="5"/>
                    <a:pt x="55" y="5"/>
                    <a:pt x="55" y="5"/>
                  </a:cubicBezTo>
                  <a:cubicBezTo>
                    <a:pt x="55" y="5"/>
                    <a:pt x="55" y="5"/>
                    <a:pt x="55" y="5"/>
                  </a:cubicBezTo>
                  <a:cubicBezTo>
                    <a:pt x="57" y="5"/>
                    <a:pt x="57" y="5"/>
                    <a:pt x="57" y="5"/>
                  </a:cubicBezTo>
                  <a:cubicBezTo>
                    <a:pt x="57" y="4"/>
                    <a:pt x="57" y="4"/>
                    <a:pt x="57" y="4"/>
                  </a:cubicBezTo>
                  <a:cubicBezTo>
                    <a:pt x="61" y="4"/>
                    <a:pt x="61" y="4"/>
                    <a:pt x="61" y="4"/>
                  </a:cubicBezTo>
                  <a:cubicBezTo>
                    <a:pt x="66" y="5"/>
                    <a:pt x="66" y="5"/>
                    <a:pt x="66" y="5"/>
                  </a:cubicBezTo>
                  <a:cubicBezTo>
                    <a:pt x="69" y="5"/>
                    <a:pt x="69" y="5"/>
                    <a:pt x="69" y="5"/>
                  </a:cubicBezTo>
                  <a:cubicBezTo>
                    <a:pt x="74" y="5"/>
                    <a:pt x="74" y="5"/>
                    <a:pt x="74" y="5"/>
                  </a:cubicBezTo>
                  <a:cubicBezTo>
                    <a:pt x="77" y="6"/>
                    <a:pt x="77" y="6"/>
                    <a:pt x="77" y="6"/>
                  </a:cubicBezTo>
                  <a:cubicBezTo>
                    <a:pt x="79" y="7"/>
                    <a:pt x="79" y="7"/>
                    <a:pt x="79" y="7"/>
                  </a:cubicBezTo>
                  <a:cubicBezTo>
                    <a:pt x="79" y="7"/>
                    <a:pt x="79" y="7"/>
                    <a:pt x="80" y="6"/>
                  </a:cubicBezTo>
                  <a:cubicBezTo>
                    <a:pt x="80" y="6"/>
                    <a:pt x="83" y="6"/>
                    <a:pt x="83" y="6"/>
                  </a:cubicBezTo>
                  <a:cubicBezTo>
                    <a:pt x="84" y="3"/>
                    <a:pt x="84" y="3"/>
                    <a:pt x="84" y="3"/>
                  </a:cubicBezTo>
                  <a:cubicBezTo>
                    <a:pt x="85" y="5"/>
                    <a:pt x="85" y="5"/>
                    <a:pt x="85" y="5"/>
                  </a:cubicBezTo>
                  <a:cubicBezTo>
                    <a:pt x="86" y="5"/>
                    <a:pt x="88" y="5"/>
                    <a:pt x="88" y="5"/>
                  </a:cubicBezTo>
                  <a:cubicBezTo>
                    <a:pt x="89" y="2"/>
                    <a:pt x="89" y="2"/>
                    <a:pt x="89" y="2"/>
                  </a:cubicBezTo>
                  <a:cubicBezTo>
                    <a:pt x="90" y="3"/>
                    <a:pt x="90" y="3"/>
                    <a:pt x="90" y="3"/>
                  </a:cubicBezTo>
                  <a:cubicBezTo>
                    <a:pt x="91" y="3"/>
                    <a:pt x="91" y="3"/>
                    <a:pt x="92" y="3"/>
                  </a:cubicBezTo>
                  <a:cubicBezTo>
                    <a:pt x="93" y="3"/>
                    <a:pt x="94" y="2"/>
                    <a:pt x="94" y="2"/>
                  </a:cubicBezTo>
                  <a:cubicBezTo>
                    <a:pt x="94" y="2"/>
                    <a:pt x="95" y="3"/>
                    <a:pt x="95" y="3"/>
                  </a:cubicBezTo>
                  <a:cubicBezTo>
                    <a:pt x="95" y="3"/>
                    <a:pt x="96" y="2"/>
                    <a:pt x="97" y="2"/>
                  </a:cubicBezTo>
                  <a:cubicBezTo>
                    <a:pt x="97" y="2"/>
                    <a:pt x="97" y="2"/>
                    <a:pt x="97" y="2"/>
                  </a:cubicBezTo>
                  <a:cubicBezTo>
                    <a:pt x="97" y="2"/>
                    <a:pt x="97" y="2"/>
                    <a:pt x="97" y="2"/>
                  </a:cubicBezTo>
                  <a:cubicBezTo>
                    <a:pt x="98" y="2"/>
                    <a:pt x="98" y="2"/>
                    <a:pt x="98" y="2"/>
                  </a:cubicBezTo>
                  <a:cubicBezTo>
                    <a:pt x="98" y="2"/>
                    <a:pt x="98" y="2"/>
                    <a:pt x="98" y="2"/>
                  </a:cubicBezTo>
                  <a:cubicBezTo>
                    <a:pt x="98" y="2"/>
                    <a:pt x="98" y="2"/>
                    <a:pt x="98" y="2"/>
                  </a:cubicBezTo>
                  <a:cubicBezTo>
                    <a:pt x="98" y="2"/>
                    <a:pt x="98" y="2"/>
                    <a:pt x="98" y="2"/>
                  </a:cubicBezTo>
                  <a:cubicBezTo>
                    <a:pt x="98" y="2"/>
                    <a:pt x="98" y="2"/>
                    <a:pt x="98" y="2"/>
                  </a:cubicBezTo>
                  <a:cubicBezTo>
                    <a:pt x="98" y="2"/>
                    <a:pt x="98" y="2"/>
                    <a:pt x="98" y="2"/>
                  </a:cubicBezTo>
                  <a:cubicBezTo>
                    <a:pt x="98" y="2"/>
                    <a:pt x="98" y="2"/>
                    <a:pt x="98" y="2"/>
                  </a:cubicBezTo>
                  <a:cubicBezTo>
                    <a:pt x="98" y="2"/>
                    <a:pt x="98" y="2"/>
                    <a:pt x="98" y="2"/>
                  </a:cubicBezTo>
                  <a:cubicBezTo>
                    <a:pt x="98" y="2"/>
                    <a:pt x="98" y="2"/>
                    <a:pt x="98" y="2"/>
                  </a:cubicBezTo>
                  <a:cubicBezTo>
                    <a:pt x="98" y="2"/>
                    <a:pt x="98" y="2"/>
                    <a:pt x="98" y="2"/>
                  </a:cubicBezTo>
                  <a:cubicBezTo>
                    <a:pt x="98" y="2"/>
                    <a:pt x="98" y="2"/>
                    <a:pt x="98" y="2"/>
                  </a:cubicBezTo>
                  <a:cubicBezTo>
                    <a:pt x="98" y="2"/>
                    <a:pt x="98" y="2"/>
                    <a:pt x="98" y="2"/>
                  </a:cubicBezTo>
                  <a:cubicBezTo>
                    <a:pt x="98" y="2"/>
                    <a:pt x="98" y="2"/>
                    <a:pt x="98" y="2"/>
                  </a:cubicBezTo>
                  <a:cubicBezTo>
                    <a:pt x="98" y="2"/>
                    <a:pt x="98" y="2"/>
                    <a:pt x="98" y="2"/>
                  </a:cubicBezTo>
                  <a:cubicBezTo>
                    <a:pt x="99" y="2"/>
                    <a:pt x="99" y="2"/>
                    <a:pt x="99" y="2"/>
                  </a:cubicBezTo>
                  <a:cubicBezTo>
                    <a:pt x="99" y="2"/>
                    <a:pt x="99" y="2"/>
                    <a:pt x="99" y="2"/>
                  </a:cubicBezTo>
                  <a:cubicBezTo>
                    <a:pt x="99" y="2"/>
                    <a:pt x="99" y="2"/>
                    <a:pt x="99" y="2"/>
                  </a:cubicBezTo>
                  <a:cubicBezTo>
                    <a:pt x="99" y="2"/>
                    <a:pt x="99" y="2"/>
                    <a:pt x="99" y="2"/>
                  </a:cubicBezTo>
                  <a:cubicBezTo>
                    <a:pt x="99" y="2"/>
                    <a:pt x="99" y="2"/>
                    <a:pt x="99" y="2"/>
                  </a:cubicBezTo>
                  <a:cubicBezTo>
                    <a:pt x="99" y="2"/>
                    <a:pt x="99" y="2"/>
                    <a:pt x="99" y="2"/>
                  </a:cubicBezTo>
                  <a:cubicBezTo>
                    <a:pt x="99" y="2"/>
                    <a:pt x="99" y="2"/>
                    <a:pt x="99" y="2"/>
                  </a:cubicBezTo>
                  <a:cubicBezTo>
                    <a:pt x="99" y="2"/>
                    <a:pt x="99" y="2"/>
                    <a:pt x="99" y="2"/>
                  </a:cubicBezTo>
                  <a:cubicBezTo>
                    <a:pt x="99" y="2"/>
                    <a:pt x="99" y="2"/>
                    <a:pt x="99" y="2"/>
                  </a:cubicBezTo>
                  <a:cubicBezTo>
                    <a:pt x="99" y="2"/>
                    <a:pt x="99" y="2"/>
                    <a:pt x="99" y="2"/>
                  </a:cubicBezTo>
                  <a:cubicBezTo>
                    <a:pt x="99" y="2"/>
                    <a:pt x="99" y="2"/>
                    <a:pt x="99" y="2"/>
                  </a:cubicBezTo>
                  <a:cubicBezTo>
                    <a:pt x="99" y="2"/>
                    <a:pt x="99" y="2"/>
                    <a:pt x="99" y="2"/>
                  </a:cubicBezTo>
                  <a:cubicBezTo>
                    <a:pt x="99" y="2"/>
                    <a:pt x="99" y="2"/>
                    <a:pt x="99" y="2"/>
                  </a:cubicBezTo>
                  <a:cubicBezTo>
                    <a:pt x="99" y="2"/>
                    <a:pt x="99" y="2"/>
                    <a:pt x="99" y="2"/>
                  </a:cubicBezTo>
                  <a:cubicBezTo>
                    <a:pt x="99" y="2"/>
                    <a:pt x="99" y="2"/>
                    <a:pt x="99" y="2"/>
                  </a:cubicBezTo>
                  <a:cubicBezTo>
                    <a:pt x="99" y="2"/>
                    <a:pt x="99" y="2"/>
                    <a:pt x="99" y="2"/>
                  </a:cubicBezTo>
                  <a:cubicBezTo>
                    <a:pt x="99" y="1"/>
                    <a:pt x="99" y="1"/>
                    <a:pt x="99" y="1"/>
                  </a:cubicBezTo>
                  <a:cubicBezTo>
                    <a:pt x="99" y="1"/>
                    <a:pt x="99" y="1"/>
                    <a:pt x="99" y="1"/>
                  </a:cubicBezTo>
                  <a:cubicBezTo>
                    <a:pt x="99" y="1"/>
                    <a:pt x="99" y="1"/>
                    <a:pt x="99" y="1"/>
                  </a:cubicBezTo>
                  <a:cubicBezTo>
                    <a:pt x="99" y="1"/>
                    <a:pt x="99" y="1"/>
                    <a:pt x="99" y="1"/>
                  </a:cubicBezTo>
                  <a:cubicBezTo>
                    <a:pt x="99" y="1"/>
                    <a:pt x="99" y="1"/>
                    <a:pt x="99" y="1"/>
                  </a:cubicBezTo>
                  <a:cubicBezTo>
                    <a:pt x="100" y="1"/>
                    <a:pt x="100" y="1"/>
                    <a:pt x="100" y="1"/>
                  </a:cubicBezTo>
                  <a:cubicBezTo>
                    <a:pt x="100" y="1"/>
                    <a:pt x="100" y="1"/>
                    <a:pt x="100" y="1"/>
                  </a:cubicBezTo>
                  <a:cubicBezTo>
                    <a:pt x="100" y="1"/>
                    <a:pt x="100" y="1"/>
                    <a:pt x="100" y="1"/>
                  </a:cubicBezTo>
                  <a:cubicBezTo>
                    <a:pt x="100" y="1"/>
                    <a:pt x="100" y="1"/>
                    <a:pt x="100" y="1"/>
                  </a:cubicBezTo>
                  <a:cubicBezTo>
                    <a:pt x="100" y="1"/>
                    <a:pt x="100" y="1"/>
                    <a:pt x="100" y="1"/>
                  </a:cubicBezTo>
                  <a:cubicBezTo>
                    <a:pt x="100" y="1"/>
                    <a:pt x="100" y="1"/>
                    <a:pt x="100" y="1"/>
                  </a:cubicBezTo>
                  <a:cubicBezTo>
                    <a:pt x="100" y="1"/>
                    <a:pt x="100" y="1"/>
                    <a:pt x="100" y="1"/>
                  </a:cubicBezTo>
                  <a:cubicBezTo>
                    <a:pt x="100" y="1"/>
                    <a:pt x="100" y="1"/>
                    <a:pt x="100" y="1"/>
                  </a:cubicBezTo>
                  <a:cubicBezTo>
                    <a:pt x="100" y="1"/>
                    <a:pt x="100" y="1"/>
                    <a:pt x="100" y="1"/>
                  </a:cubicBezTo>
                  <a:cubicBezTo>
                    <a:pt x="100" y="1"/>
                    <a:pt x="100" y="1"/>
                    <a:pt x="100" y="1"/>
                  </a:cubicBezTo>
                  <a:cubicBezTo>
                    <a:pt x="100" y="1"/>
                    <a:pt x="100" y="1"/>
                    <a:pt x="100" y="1"/>
                  </a:cubicBezTo>
                  <a:cubicBezTo>
                    <a:pt x="100" y="1"/>
                    <a:pt x="100" y="1"/>
                    <a:pt x="100" y="1"/>
                  </a:cubicBezTo>
                  <a:cubicBezTo>
                    <a:pt x="100" y="1"/>
                    <a:pt x="100" y="1"/>
                    <a:pt x="100" y="1"/>
                  </a:cubicBezTo>
                  <a:cubicBezTo>
                    <a:pt x="100" y="1"/>
                    <a:pt x="100" y="1"/>
                    <a:pt x="100" y="1"/>
                  </a:cubicBezTo>
                  <a:cubicBezTo>
                    <a:pt x="100" y="1"/>
                    <a:pt x="100" y="1"/>
                    <a:pt x="100" y="1"/>
                  </a:cubicBezTo>
                  <a:cubicBezTo>
                    <a:pt x="100" y="1"/>
                    <a:pt x="100" y="1"/>
                    <a:pt x="100" y="1"/>
                  </a:cubicBezTo>
                  <a:cubicBezTo>
                    <a:pt x="100" y="1"/>
                    <a:pt x="100" y="1"/>
                    <a:pt x="100" y="1"/>
                  </a:cubicBezTo>
                  <a:cubicBezTo>
                    <a:pt x="100" y="1"/>
                    <a:pt x="100" y="1"/>
                    <a:pt x="100" y="1"/>
                  </a:cubicBezTo>
                  <a:cubicBezTo>
                    <a:pt x="100" y="1"/>
                    <a:pt x="100" y="1"/>
                    <a:pt x="100" y="1"/>
                  </a:cubicBezTo>
                  <a:cubicBezTo>
                    <a:pt x="100" y="1"/>
                    <a:pt x="100" y="1"/>
                    <a:pt x="100" y="1"/>
                  </a:cubicBezTo>
                  <a:cubicBezTo>
                    <a:pt x="100" y="1"/>
                    <a:pt x="100" y="1"/>
                    <a:pt x="100" y="1"/>
                  </a:cubicBezTo>
                  <a:cubicBezTo>
                    <a:pt x="100" y="1"/>
                    <a:pt x="100" y="1"/>
                    <a:pt x="100" y="1"/>
                  </a:cubicBezTo>
                  <a:cubicBezTo>
                    <a:pt x="100" y="1"/>
                    <a:pt x="100" y="1"/>
                    <a:pt x="100" y="1"/>
                  </a:cubicBezTo>
                  <a:cubicBezTo>
                    <a:pt x="100" y="1"/>
                    <a:pt x="100" y="1"/>
                    <a:pt x="100" y="1"/>
                  </a:cubicBezTo>
                  <a:cubicBezTo>
                    <a:pt x="100" y="1"/>
                    <a:pt x="100" y="1"/>
                    <a:pt x="100" y="1"/>
                  </a:cubicBezTo>
                  <a:cubicBezTo>
                    <a:pt x="100" y="1"/>
                    <a:pt x="100" y="1"/>
                    <a:pt x="100" y="1"/>
                  </a:cubicBezTo>
                  <a:cubicBezTo>
                    <a:pt x="100" y="1"/>
                    <a:pt x="100" y="1"/>
                    <a:pt x="100" y="1"/>
                  </a:cubicBezTo>
                  <a:cubicBezTo>
                    <a:pt x="100" y="1"/>
                    <a:pt x="100" y="1"/>
                    <a:pt x="100" y="1"/>
                  </a:cubicBezTo>
                  <a:cubicBezTo>
                    <a:pt x="100" y="1"/>
                    <a:pt x="100" y="1"/>
                    <a:pt x="100" y="1"/>
                  </a:cubicBezTo>
                  <a:cubicBezTo>
                    <a:pt x="100" y="1"/>
                    <a:pt x="101" y="3"/>
                    <a:pt x="103" y="4"/>
                  </a:cubicBezTo>
                  <a:cubicBezTo>
                    <a:pt x="103" y="4"/>
                    <a:pt x="103" y="4"/>
                    <a:pt x="103" y="4"/>
                  </a:cubicBezTo>
                  <a:cubicBezTo>
                    <a:pt x="105" y="4"/>
                    <a:pt x="105" y="4"/>
                    <a:pt x="105" y="4"/>
                  </a:cubicBezTo>
                  <a:cubicBezTo>
                    <a:pt x="105" y="4"/>
                    <a:pt x="105" y="4"/>
                    <a:pt x="105" y="4"/>
                  </a:cubicBezTo>
                  <a:cubicBezTo>
                    <a:pt x="105" y="4"/>
                    <a:pt x="106" y="3"/>
                    <a:pt x="107" y="3"/>
                  </a:cubicBezTo>
                  <a:cubicBezTo>
                    <a:pt x="109" y="3"/>
                    <a:pt x="110" y="3"/>
                    <a:pt x="111" y="3"/>
                  </a:cubicBezTo>
                  <a:cubicBezTo>
                    <a:pt x="113" y="3"/>
                    <a:pt x="114" y="5"/>
                    <a:pt x="114" y="5"/>
                  </a:cubicBezTo>
                  <a:cubicBezTo>
                    <a:pt x="117" y="8"/>
                    <a:pt x="117" y="8"/>
                    <a:pt x="117" y="8"/>
                  </a:cubicBezTo>
                  <a:cubicBezTo>
                    <a:pt x="117" y="8"/>
                    <a:pt x="118" y="10"/>
                    <a:pt x="118" y="11"/>
                  </a:cubicBezTo>
                  <a:cubicBezTo>
                    <a:pt x="119" y="12"/>
                    <a:pt x="119" y="13"/>
                    <a:pt x="119" y="13"/>
                  </a:cubicBezTo>
                  <a:cubicBezTo>
                    <a:pt x="119" y="13"/>
                    <a:pt x="119" y="13"/>
                    <a:pt x="119" y="13"/>
                  </a:cubicBezTo>
                  <a:cubicBezTo>
                    <a:pt x="120" y="13"/>
                    <a:pt x="127" y="16"/>
                    <a:pt x="128" y="16"/>
                  </a:cubicBezTo>
                  <a:cubicBezTo>
                    <a:pt x="128" y="16"/>
                    <a:pt x="129" y="16"/>
                    <a:pt x="129" y="16"/>
                  </a:cubicBezTo>
                  <a:cubicBezTo>
                    <a:pt x="129" y="14"/>
                    <a:pt x="128" y="13"/>
                    <a:pt x="130" y="12"/>
                  </a:cubicBezTo>
                  <a:cubicBezTo>
                    <a:pt x="131" y="12"/>
                    <a:pt x="132" y="14"/>
                    <a:pt x="132" y="12"/>
                  </a:cubicBezTo>
                  <a:cubicBezTo>
                    <a:pt x="132" y="10"/>
                    <a:pt x="133" y="11"/>
                    <a:pt x="132" y="9"/>
                  </a:cubicBezTo>
                  <a:close/>
                </a:path>
              </a:pathLst>
            </a:custGeom>
            <a:solidFill>
              <a:srgbClr val="E6EFF1"/>
            </a:solidFill>
            <a:ln w="12700" cap="rnd" cmpd="sng">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Lato Light"/>
              </a:endParaRPr>
            </a:p>
          </p:txBody>
        </p:sp>
        <p:sp>
          <p:nvSpPr>
            <p:cNvPr id="20" name="Freeform 63">
              <a:extLst>
                <a:ext uri="{FF2B5EF4-FFF2-40B4-BE49-F238E27FC236}">
                  <a16:creationId xmlns:a16="http://schemas.microsoft.com/office/drawing/2014/main" id="{51B43069-AAF2-5338-BFD5-9A6BF70C60FE}"/>
                </a:ext>
              </a:extLst>
            </p:cNvPr>
            <p:cNvSpPr>
              <a:spLocks noEditPoints="1"/>
            </p:cNvSpPr>
            <p:nvPr/>
          </p:nvSpPr>
          <p:spPr bwMode="auto">
            <a:xfrm>
              <a:off x="3743192" y="2924609"/>
              <a:ext cx="407037" cy="467263"/>
            </a:xfrm>
            <a:custGeom>
              <a:avLst/>
              <a:gdLst>
                <a:gd name="T0" fmla="*/ 71 w 141"/>
                <a:gd name="T1" fmla="*/ 5 h 167"/>
                <a:gd name="T2" fmla="*/ 67 w 141"/>
                <a:gd name="T3" fmla="*/ 47 h 167"/>
                <a:gd name="T4" fmla="*/ 87 w 141"/>
                <a:gd name="T5" fmla="*/ 73 h 167"/>
                <a:gd name="T6" fmla="*/ 76 w 141"/>
                <a:gd name="T7" fmla="*/ 89 h 167"/>
                <a:gd name="T8" fmla="*/ 66 w 141"/>
                <a:gd name="T9" fmla="*/ 95 h 167"/>
                <a:gd name="T10" fmla="*/ 60 w 141"/>
                <a:gd name="T11" fmla="*/ 106 h 167"/>
                <a:gd name="T12" fmla="*/ 51 w 141"/>
                <a:gd name="T13" fmla="*/ 115 h 167"/>
                <a:gd name="T14" fmla="*/ 47 w 141"/>
                <a:gd name="T15" fmla="*/ 129 h 167"/>
                <a:gd name="T16" fmla="*/ 44 w 141"/>
                <a:gd name="T17" fmla="*/ 146 h 167"/>
                <a:gd name="T18" fmla="*/ 36 w 141"/>
                <a:gd name="T19" fmla="*/ 157 h 167"/>
                <a:gd name="T20" fmla="*/ 17 w 141"/>
                <a:gd name="T21" fmla="*/ 140 h 167"/>
                <a:gd name="T22" fmla="*/ 4 w 141"/>
                <a:gd name="T23" fmla="*/ 120 h 167"/>
                <a:gd name="T24" fmla="*/ 8 w 141"/>
                <a:gd name="T25" fmla="*/ 95 h 167"/>
                <a:gd name="T26" fmla="*/ 6 w 141"/>
                <a:gd name="T27" fmla="*/ 60 h 167"/>
                <a:gd name="T28" fmla="*/ 18 w 141"/>
                <a:gd name="T29" fmla="*/ 62 h 167"/>
                <a:gd name="T30" fmla="*/ 24 w 141"/>
                <a:gd name="T31" fmla="*/ 44 h 167"/>
                <a:gd name="T32" fmla="*/ 25 w 141"/>
                <a:gd name="T33" fmla="*/ 54 h 167"/>
                <a:gd name="T34" fmla="*/ 33 w 141"/>
                <a:gd name="T35" fmla="*/ 60 h 167"/>
                <a:gd name="T36" fmla="*/ 36 w 141"/>
                <a:gd name="T37" fmla="*/ 56 h 167"/>
                <a:gd name="T38" fmla="*/ 47 w 141"/>
                <a:gd name="T39" fmla="*/ 40 h 167"/>
                <a:gd name="T40" fmla="*/ 34 w 141"/>
                <a:gd name="T41" fmla="*/ 40 h 167"/>
                <a:gd name="T42" fmla="*/ 18 w 141"/>
                <a:gd name="T43" fmla="*/ 46 h 167"/>
                <a:gd name="T44" fmla="*/ 17 w 141"/>
                <a:gd name="T45" fmla="*/ 59 h 167"/>
                <a:gd name="T46" fmla="*/ 5 w 141"/>
                <a:gd name="T47" fmla="*/ 51 h 167"/>
                <a:gd name="T48" fmla="*/ 24 w 141"/>
                <a:gd name="T49" fmla="*/ 33 h 167"/>
                <a:gd name="T50" fmla="*/ 11 w 141"/>
                <a:gd name="T51" fmla="*/ 144 h 167"/>
                <a:gd name="T52" fmla="*/ 68 w 141"/>
                <a:gd name="T53" fmla="*/ 112 h 167"/>
                <a:gd name="T54" fmla="*/ 68 w 141"/>
                <a:gd name="T55" fmla="*/ 112 h 167"/>
                <a:gd name="T56" fmla="*/ 107 w 141"/>
                <a:gd name="T57" fmla="*/ 153 h 167"/>
                <a:gd name="T58" fmla="*/ 105 w 141"/>
                <a:gd name="T59" fmla="*/ 151 h 167"/>
                <a:gd name="T60" fmla="*/ 128 w 141"/>
                <a:gd name="T61" fmla="*/ 143 h 167"/>
                <a:gd name="T62" fmla="*/ 124 w 141"/>
                <a:gd name="T63" fmla="*/ 138 h 167"/>
                <a:gd name="T64" fmla="*/ 132 w 141"/>
                <a:gd name="T65" fmla="*/ 124 h 167"/>
                <a:gd name="T66" fmla="*/ 139 w 141"/>
                <a:gd name="T67" fmla="*/ 110 h 167"/>
                <a:gd name="T68" fmla="*/ 133 w 141"/>
                <a:gd name="T69" fmla="*/ 87 h 167"/>
                <a:gd name="T70" fmla="*/ 119 w 141"/>
                <a:gd name="T71" fmla="*/ 97 h 167"/>
                <a:gd name="T72" fmla="*/ 111 w 141"/>
                <a:gd name="T73" fmla="*/ 108 h 167"/>
                <a:gd name="T74" fmla="*/ 113 w 141"/>
                <a:gd name="T75" fmla="*/ 95 h 167"/>
                <a:gd name="T76" fmla="*/ 105 w 141"/>
                <a:gd name="T77" fmla="*/ 99 h 167"/>
                <a:gd name="T78" fmla="*/ 88 w 141"/>
                <a:gd name="T79" fmla="*/ 108 h 167"/>
                <a:gd name="T80" fmla="*/ 96 w 141"/>
                <a:gd name="T81" fmla="*/ 127 h 167"/>
                <a:gd name="T82" fmla="*/ 112 w 141"/>
                <a:gd name="T83" fmla="*/ 136 h 167"/>
                <a:gd name="T84" fmla="*/ 125 w 141"/>
                <a:gd name="T85" fmla="*/ 147 h 167"/>
                <a:gd name="T86" fmla="*/ 132 w 141"/>
                <a:gd name="T87" fmla="*/ 149 h 167"/>
                <a:gd name="T88" fmla="*/ 128 w 141"/>
                <a:gd name="T89" fmla="*/ 147 h 167"/>
                <a:gd name="T90" fmla="*/ 111 w 141"/>
                <a:gd name="T91" fmla="*/ 154 h 167"/>
                <a:gd name="T92" fmla="*/ 93 w 141"/>
                <a:gd name="T93" fmla="*/ 154 h 167"/>
                <a:gd name="T94" fmla="*/ 106 w 141"/>
                <a:gd name="T95" fmla="*/ 167 h 167"/>
                <a:gd name="T96" fmla="*/ 77 w 141"/>
                <a:gd name="T97" fmla="*/ 121 h 167"/>
                <a:gd name="T98" fmla="*/ 52 w 141"/>
                <a:gd name="T99" fmla="*/ 119 h 167"/>
                <a:gd name="T100" fmla="*/ 61 w 141"/>
                <a:gd name="T101" fmla="*/ 139 h 167"/>
                <a:gd name="T102" fmla="*/ 83 w 141"/>
                <a:gd name="T103" fmla="*/ 143 h 167"/>
                <a:gd name="T104" fmla="*/ 84 w 141"/>
                <a:gd name="T105" fmla="*/ 120 h 167"/>
                <a:gd name="T106" fmla="*/ 74 w 141"/>
                <a:gd name="T107" fmla="*/ 115 h 167"/>
                <a:gd name="T108" fmla="*/ 78 w 141"/>
                <a:gd name="T109" fmla="*/ 99 h 167"/>
                <a:gd name="T110" fmla="*/ 75 w 141"/>
                <a:gd name="T111" fmla="*/ 107 h 167"/>
                <a:gd name="T112" fmla="*/ 89 w 141"/>
                <a:gd name="T113" fmla="*/ 142 h 167"/>
                <a:gd name="T114" fmla="*/ 80 w 141"/>
                <a:gd name="T115" fmla="*/ 157 h 167"/>
                <a:gd name="T116" fmla="*/ 66 w 141"/>
                <a:gd name="T117" fmla="*/ 150 h 167"/>
                <a:gd name="T118" fmla="*/ 67 w 141"/>
                <a:gd name="T119" fmla="*/ 150 h 167"/>
                <a:gd name="T120" fmla="*/ 61 w 141"/>
                <a:gd name="T121" fmla="*/ 155 h 167"/>
                <a:gd name="T122" fmla="*/ 83 w 141"/>
                <a:gd name="T123" fmla="*/ 25 h 167"/>
                <a:gd name="T124" fmla="*/ 85 w 141"/>
                <a:gd name="T125" fmla="*/ 23 h 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41" h="167">
                  <a:moveTo>
                    <a:pt x="38" y="33"/>
                  </a:moveTo>
                  <a:cubicBezTo>
                    <a:pt x="44" y="30"/>
                    <a:pt x="44" y="30"/>
                    <a:pt x="44" y="30"/>
                  </a:cubicBezTo>
                  <a:cubicBezTo>
                    <a:pt x="47" y="24"/>
                    <a:pt x="47" y="24"/>
                    <a:pt x="47" y="24"/>
                  </a:cubicBezTo>
                  <a:cubicBezTo>
                    <a:pt x="51" y="17"/>
                    <a:pt x="51" y="17"/>
                    <a:pt x="51" y="17"/>
                  </a:cubicBezTo>
                  <a:cubicBezTo>
                    <a:pt x="53" y="14"/>
                    <a:pt x="53" y="14"/>
                    <a:pt x="53" y="14"/>
                  </a:cubicBezTo>
                  <a:cubicBezTo>
                    <a:pt x="55" y="9"/>
                    <a:pt x="55" y="9"/>
                    <a:pt x="55" y="9"/>
                  </a:cubicBezTo>
                  <a:cubicBezTo>
                    <a:pt x="61" y="7"/>
                    <a:pt x="61" y="7"/>
                    <a:pt x="61" y="7"/>
                  </a:cubicBezTo>
                  <a:cubicBezTo>
                    <a:pt x="61" y="7"/>
                    <a:pt x="65" y="6"/>
                    <a:pt x="66" y="6"/>
                  </a:cubicBezTo>
                  <a:cubicBezTo>
                    <a:pt x="67" y="5"/>
                    <a:pt x="73" y="0"/>
                    <a:pt x="73" y="0"/>
                  </a:cubicBezTo>
                  <a:cubicBezTo>
                    <a:pt x="74" y="0"/>
                    <a:pt x="74" y="0"/>
                    <a:pt x="74" y="0"/>
                  </a:cubicBezTo>
                  <a:cubicBezTo>
                    <a:pt x="71" y="5"/>
                    <a:pt x="71" y="5"/>
                    <a:pt x="71" y="5"/>
                  </a:cubicBezTo>
                  <a:cubicBezTo>
                    <a:pt x="71" y="8"/>
                    <a:pt x="71" y="8"/>
                    <a:pt x="71" y="8"/>
                  </a:cubicBezTo>
                  <a:cubicBezTo>
                    <a:pt x="71" y="10"/>
                    <a:pt x="71" y="10"/>
                    <a:pt x="71" y="10"/>
                  </a:cubicBezTo>
                  <a:cubicBezTo>
                    <a:pt x="72" y="14"/>
                    <a:pt x="72" y="14"/>
                    <a:pt x="72" y="14"/>
                  </a:cubicBezTo>
                  <a:cubicBezTo>
                    <a:pt x="73" y="15"/>
                    <a:pt x="73" y="15"/>
                    <a:pt x="73" y="15"/>
                  </a:cubicBezTo>
                  <a:cubicBezTo>
                    <a:pt x="73" y="19"/>
                    <a:pt x="73" y="19"/>
                    <a:pt x="73" y="19"/>
                  </a:cubicBezTo>
                  <a:cubicBezTo>
                    <a:pt x="73" y="23"/>
                    <a:pt x="73" y="23"/>
                    <a:pt x="73" y="23"/>
                  </a:cubicBezTo>
                  <a:cubicBezTo>
                    <a:pt x="73" y="23"/>
                    <a:pt x="76" y="25"/>
                    <a:pt x="75" y="26"/>
                  </a:cubicBezTo>
                  <a:cubicBezTo>
                    <a:pt x="73" y="27"/>
                    <a:pt x="71" y="30"/>
                    <a:pt x="71" y="30"/>
                  </a:cubicBezTo>
                  <a:cubicBezTo>
                    <a:pt x="70" y="36"/>
                    <a:pt x="70" y="36"/>
                    <a:pt x="70" y="36"/>
                  </a:cubicBezTo>
                  <a:cubicBezTo>
                    <a:pt x="66" y="41"/>
                    <a:pt x="66" y="41"/>
                    <a:pt x="66" y="41"/>
                  </a:cubicBezTo>
                  <a:cubicBezTo>
                    <a:pt x="67" y="47"/>
                    <a:pt x="67" y="47"/>
                    <a:pt x="67" y="47"/>
                  </a:cubicBezTo>
                  <a:cubicBezTo>
                    <a:pt x="68" y="52"/>
                    <a:pt x="68" y="52"/>
                    <a:pt x="68" y="52"/>
                  </a:cubicBezTo>
                  <a:cubicBezTo>
                    <a:pt x="67" y="56"/>
                    <a:pt x="67" y="56"/>
                    <a:pt x="67" y="56"/>
                  </a:cubicBezTo>
                  <a:cubicBezTo>
                    <a:pt x="70" y="59"/>
                    <a:pt x="70" y="59"/>
                    <a:pt x="70" y="59"/>
                  </a:cubicBezTo>
                  <a:cubicBezTo>
                    <a:pt x="69" y="61"/>
                    <a:pt x="69" y="61"/>
                    <a:pt x="69" y="61"/>
                  </a:cubicBezTo>
                  <a:cubicBezTo>
                    <a:pt x="70" y="64"/>
                    <a:pt x="70" y="64"/>
                    <a:pt x="70" y="64"/>
                  </a:cubicBezTo>
                  <a:cubicBezTo>
                    <a:pt x="73" y="66"/>
                    <a:pt x="73" y="66"/>
                    <a:pt x="73" y="66"/>
                  </a:cubicBezTo>
                  <a:cubicBezTo>
                    <a:pt x="73" y="66"/>
                    <a:pt x="75" y="66"/>
                    <a:pt x="76" y="66"/>
                  </a:cubicBezTo>
                  <a:cubicBezTo>
                    <a:pt x="77" y="66"/>
                    <a:pt x="80" y="65"/>
                    <a:pt x="81" y="65"/>
                  </a:cubicBezTo>
                  <a:cubicBezTo>
                    <a:pt x="82" y="65"/>
                    <a:pt x="84" y="66"/>
                    <a:pt x="84" y="66"/>
                  </a:cubicBezTo>
                  <a:cubicBezTo>
                    <a:pt x="87" y="70"/>
                    <a:pt x="87" y="70"/>
                    <a:pt x="87" y="70"/>
                  </a:cubicBezTo>
                  <a:cubicBezTo>
                    <a:pt x="87" y="73"/>
                    <a:pt x="87" y="73"/>
                    <a:pt x="87" y="73"/>
                  </a:cubicBezTo>
                  <a:cubicBezTo>
                    <a:pt x="87" y="73"/>
                    <a:pt x="86" y="75"/>
                    <a:pt x="86" y="76"/>
                  </a:cubicBezTo>
                  <a:cubicBezTo>
                    <a:pt x="85" y="77"/>
                    <a:pt x="84" y="79"/>
                    <a:pt x="84" y="79"/>
                  </a:cubicBezTo>
                  <a:cubicBezTo>
                    <a:pt x="82" y="81"/>
                    <a:pt x="82" y="81"/>
                    <a:pt x="82" y="81"/>
                  </a:cubicBezTo>
                  <a:cubicBezTo>
                    <a:pt x="81" y="84"/>
                    <a:pt x="81" y="84"/>
                    <a:pt x="81" y="84"/>
                  </a:cubicBezTo>
                  <a:cubicBezTo>
                    <a:pt x="80" y="86"/>
                    <a:pt x="80" y="86"/>
                    <a:pt x="80" y="86"/>
                  </a:cubicBezTo>
                  <a:cubicBezTo>
                    <a:pt x="80" y="86"/>
                    <a:pt x="80" y="86"/>
                    <a:pt x="80" y="86"/>
                  </a:cubicBezTo>
                  <a:cubicBezTo>
                    <a:pt x="78" y="84"/>
                    <a:pt x="78" y="84"/>
                    <a:pt x="78" y="84"/>
                  </a:cubicBezTo>
                  <a:cubicBezTo>
                    <a:pt x="78" y="84"/>
                    <a:pt x="78" y="81"/>
                    <a:pt x="77" y="82"/>
                  </a:cubicBezTo>
                  <a:cubicBezTo>
                    <a:pt x="76" y="82"/>
                    <a:pt x="75" y="84"/>
                    <a:pt x="75" y="84"/>
                  </a:cubicBezTo>
                  <a:cubicBezTo>
                    <a:pt x="76" y="86"/>
                    <a:pt x="76" y="86"/>
                    <a:pt x="76" y="86"/>
                  </a:cubicBezTo>
                  <a:cubicBezTo>
                    <a:pt x="76" y="86"/>
                    <a:pt x="77" y="89"/>
                    <a:pt x="76" y="89"/>
                  </a:cubicBezTo>
                  <a:cubicBezTo>
                    <a:pt x="75" y="89"/>
                    <a:pt x="74" y="89"/>
                    <a:pt x="74" y="89"/>
                  </a:cubicBezTo>
                  <a:cubicBezTo>
                    <a:pt x="73" y="85"/>
                    <a:pt x="73" y="85"/>
                    <a:pt x="73" y="85"/>
                  </a:cubicBezTo>
                  <a:cubicBezTo>
                    <a:pt x="70" y="84"/>
                    <a:pt x="70" y="84"/>
                    <a:pt x="70" y="84"/>
                  </a:cubicBezTo>
                  <a:cubicBezTo>
                    <a:pt x="72" y="80"/>
                    <a:pt x="72" y="80"/>
                    <a:pt x="72" y="80"/>
                  </a:cubicBezTo>
                  <a:cubicBezTo>
                    <a:pt x="70" y="79"/>
                    <a:pt x="70" y="79"/>
                    <a:pt x="70" y="79"/>
                  </a:cubicBezTo>
                  <a:cubicBezTo>
                    <a:pt x="70" y="79"/>
                    <a:pt x="69" y="79"/>
                    <a:pt x="68" y="80"/>
                  </a:cubicBezTo>
                  <a:cubicBezTo>
                    <a:pt x="68" y="81"/>
                    <a:pt x="67" y="85"/>
                    <a:pt x="67" y="85"/>
                  </a:cubicBezTo>
                  <a:cubicBezTo>
                    <a:pt x="66" y="89"/>
                    <a:pt x="66" y="89"/>
                    <a:pt x="66" y="89"/>
                  </a:cubicBezTo>
                  <a:cubicBezTo>
                    <a:pt x="66" y="89"/>
                    <a:pt x="67" y="90"/>
                    <a:pt x="67" y="91"/>
                  </a:cubicBezTo>
                  <a:cubicBezTo>
                    <a:pt x="67" y="92"/>
                    <a:pt x="66" y="93"/>
                    <a:pt x="66" y="93"/>
                  </a:cubicBezTo>
                  <a:cubicBezTo>
                    <a:pt x="66" y="93"/>
                    <a:pt x="66" y="94"/>
                    <a:pt x="66" y="95"/>
                  </a:cubicBezTo>
                  <a:cubicBezTo>
                    <a:pt x="66" y="95"/>
                    <a:pt x="67" y="97"/>
                    <a:pt x="67" y="98"/>
                  </a:cubicBezTo>
                  <a:cubicBezTo>
                    <a:pt x="67" y="98"/>
                    <a:pt x="67" y="99"/>
                    <a:pt x="66" y="99"/>
                  </a:cubicBezTo>
                  <a:cubicBezTo>
                    <a:pt x="66" y="100"/>
                    <a:pt x="66" y="100"/>
                    <a:pt x="66" y="101"/>
                  </a:cubicBezTo>
                  <a:cubicBezTo>
                    <a:pt x="65" y="101"/>
                    <a:pt x="64" y="102"/>
                    <a:pt x="64" y="102"/>
                  </a:cubicBezTo>
                  <a:cubicBezTo>
                    <a:pt x="64" y="102"/>
                    <a:pt x="62" y="103"/>
                    <a:pt x="62" y="103"/>
                  </a:cubicBezTo>
                  <a:cubicBezTo>
                    <a:pt x="62" y="103"/>
                    <a:pt x="61" y="102"/>
                    <a:pt x="60" y="102"/>
                  </a:cubicBezTo>
                  <a:cubicBezTo>
                    <a:pt x="59" y="102"/>
                    <a:pt x="59" y="101"/>
                    <a:pt x="58" y="102"/>
                  </a:cubicBezTo>
                  <a:cubicBezTo>
                    <a:pt x="57" y="103"/>
                    <a:pt x="57" y="103"/>
                    <a:pt x="57" y="103"/>
                  </a:cubicBezTo>
                  <a:cubicBezTo>
                    <a:pt x="58" y="104"/>
                    <a:pt x="58" y="104"/>
                    <a:pt x="58" y="104"/>
                  </a:cubicBezTo>
                  <a:cubicBezTo>
                    <a:pt x="60" y="104"/>
                    <a:pt x="60" y="104"/>
                    <a:pt x="60" y="104"/>
                  </a:cubicBezTo>
                  <a:cubicBezTo>
                    <a:pt x="60" y="106"/>
                    <a:pt x="60" y="106"/>
                    <a:pt x="60" y="106"/>
                  </a:cubicBezTo>
                  <a:cubicBezTo>
                    <a:pt x="60" y="106"/>
                    <a:pt x="61" y="106"/>
                    <a:pt x="61" y="107"/>
                  </a:cubicBezTo>
                  <a:cubicBezTo>
                    <a:pt x="60" y="108"/>
                    <a:pt x="59" y="109"/>
                    <a:pt x="59" y="109"/>
                  </a:cubicBezTo>
                  <a:cubicBezTo>
                    <a:pt x="57" y="111"/>
                    <a:pt x="57" y="111"/>
                    <a:pt x="57" y="111"/>
                  </a:cubicBezTo>
                  <a:cubicBezTo>
                    <a:pt x="55" y="112"/>
                    <a:pt x="55" y="112"/>
                    <a:pt x="55" y="112"/>
                  </a:cubicBezTo>
                  <a:cubicBezTo>
                    <a:pt x="55" y="112"/>
                    <a:pt x="53" y="111"/>
                    <a:pt x="53" y="112"/>
                  </a:cubicBezTo>
                  <a:cubicBezTo>
                    <a:pt x="52" y="112"/>
                    <a:pt x="51" y="112"/>
                    <a:pt x="51" y="112"/>
                  </a:cubicBezTo>
                  <a:cubicBezTo>
                    <a:pt x="51" y="113"/>
                    <a:pt x="53" y="115"/>
                    <a:pt x="53" y="115"/>
                  </a:cubicBezTo>
                  <a:cubicBezTo>
                    <a:pt x="49" y="111"/>
                    <a:pt x="49" y="111"/>
                    <a:pt x="49" y="111"/>
                  </a:cubicBezTo>
                  <a:cubicBezTo>
                    <a:pt x="47" y="111"/>
                    <a:pt x="47" y="111"/>
                    <a:pt x="47" y="111"/>
                  </a:cubicBezTo>
                  <a:cubicBezTo>
                    <a:pt x="50" y="113"/>
                    <a:pt x="50" y="113"/>
                    <a:pt x="50" y="113"/>
                  </a:cubicBezTo>
                  <a:cubicBezTo>
                    <a:pt x="51" y="115"/>
                    <a:pt x="51" y="115"/>
                    <a:pt x="51" y="115"/>
                  </a:cubicBezTo>
                  <a:cubicBezTo>
                    <a:pt x="53" y="116"/>
                    <a:pt x="53" y="116"/>
                    <a:pt x="53" y="116"/>
                  </a:cubicBezTo>
                  <a:cubicBezTo>
                    <a:pt x="52" y="117"/>
                    <a:pt x="52" y="117"/>
                    <a:pt x="52" y="117"/>
                  </a:cubicBezTo>
                  <a:cubicBezTo>
                    <a:pt x="51" y="118"/>
                    <a:pt x="51" y="118"/>
                    <a:pt x="51" y="118"/>
                  </a:cubicBezTo>
                  <a:cubicBezTo>
                    <a:pt x="49" y="120"/>
                    <a:pt x="49" y="120"/>
                    <a:pt x="49" y="120"/>
                  </a:cubicBezTo>
                  <a:cubicBezTo>
                    <a:pt x="49" y="120"/>
                    <a:pt x="48" y="121"/>
                    <a:pt x="47" y="121"/>
                  </a:cubicBezTo>
                  <a:cubicBezTo>
                    <a:pt x="47" y="121"/>
                    <a:pt x="44" y="121"/>
                    <a:pt x="44" y="121"/>
                  </a:cubicBezTo>
                  <a:cubicBezTo>
                    <a:pt x="45" y="122"/>
                    <a:pt x="45" y="122"/>
                    <a:pt x="45" y="122"/>
                  </a:cubicBezTo>
                  <a:cubicBezTo>
                    <a:pt x="47" y="123"/>
                    <a:pt x="47" y="123"/>
                    <a:pt x="47" y="123"/>
                  </a:cubicBezTo>
                  <a:cubicBezTo>
                    <a:pt x="47" y="123"/>
                    <a:pt x="48" y="122"/>
                    <a:pt x="48" y="123"/>
                  </a:cubicBezTo>
                  <a:cubicBezTo>
                    <a:pt x="47" y="123"/>
                    <a:pt x="47" y="123"/>
                    <a:pt x="47" y="124"/>
                  </a:cubicBezTo>
                  <a:cubicBezTo>
                    <a:pt x="47" y="126"/>
                    <a:pt x="47" y="129"/>
                    <a:pt x="47" y="129"/>
                  </a:cubicBezTo>
                  <a:cubicBezTo>
                    <a:pt x="49" y="132"/>
                    <a:pt x="49" y="132"/>
                    <a:pt x="49" y="132"/>
                  </a:cubicBezTo>
                  <a:cubicBezTo>
                    <a:pt x="50" y="133"/>
                    <a:pt x="50" y="133"/>
                    <a:pt x="50" y="133"/>
                  </a:cubicBezTo>
                  <a:cubicBezTo>
                    <a:pt x="50" y="133"/>
                    <a:pt x="50" y="133"/>
                    <a:pt x="50" y="134"/>
                  </a:cubicBezTo>
                  <a:cubicBezTo>
                    <a:pt x="50" y="134"/>
                    <a:pt x="50" y="135"/>
                    <a:pt x="50" y="135"/>
                  </a:cubicBezTo>
                  <a:cubicBezTo>
                    <a:pt x="50" y="137"/>
                    <a:pt x="50" y="137"/>
                    <a:pt x="50" y="137"/>
                  </a:cubicBezTo>
                  <a:cubicBezTo>
                    <a:pt x="50" y="137"/>
                    <a:pt x="49" y="138"/>
                    <a:pt x="48" y="138"/>
                  </a:cubicBezTo>
                  <a:cubicBezTo>
                    <a:pt x="48" y="138"/>
                    <a:pt x="44" y="139"/>
                    <a:pt x="44" y="139"/>
                  </a:cubicBezTo>
                  <a:cubicBezTo>
                    <a:pt x="43" y="141"/>
                    <a:pt x="43" y="141"/>
                    <a:pt x="43" y="141"/>
                  </a:cubicBezTo>
                  <a:cubicBezTo>
                    <a:pt x="45" y="142"/>
                    <a:pt x="45" y="142"/>
                    <a:pt x="45" y="142"/>
                  </a:cubicBezTo>
                  <a:cubicBezTo>
                    <a:pt x="45" y="142"/>
                    <a:pt x="45" y="144"/>
                    <a:pt x="45" y="144"/>
                  </a:cubicBezTo>
                  <a:cubicBezTo>
                    <a:pt x="45" y="145"/>
                    <a:pt x="44" y="146"/>
                    <a:pt x="44" y="146"/>
                  </a:cubicBezTo>
                  <a:cubicBezTo>
                    <a:pt x="46" y="146"/>
                    <a:pt x="46" y="146"/>
                    <a:pt x="46" y="146"/>
                  </a:cubicBezTo>
                  <a:cubicBezTo>
                    <a:pt x="49" y="147"/>
                    <a:pt x="49" y="147"/>
                    <a:pt x="49" y="147"/>
                  </a:cubicBezTo>
                  <a:cubicBezTo>
                    <a:pt x="53" y="152"/>
                    <a:pt x="53" y="152"/>
                    <a:pt x="53" y="152"/>
                  </a:cubicBezTo>
                  <a:cubicBezTo>
                    <a:pt x="52" y="156"/>
                    <a:pt x="52" y="156"/>
                    <a:pt x="52" y="156"/>
                  </a:cubicBezTo>
                  <a:cubicBezTo>
                    <a:pt x="50" y="158"/>
                    <a:pt x="50" y="158"/>
                    <a:pt x="50" y="158"/>
                  </a:cubicBezTo>
                  <a:cubicBezTo>
                    <a:pt x="48" y="154"/>
                    <a:pt x="48" y="154"/>
                    <a:pt x="48" y="154"/>
                  </a:cubicBezTo>
                  <a:cubicBezTo>
                    <a:pt x="48" y="154"/>
                    <a:pt x="47" y="154"/>
                    <a:pt x="47" y="155"/>
                  </a:cubicBezTo>
                  <a:cubicBezTo>
                    <a:pt x="46" y="155"/>
                    <a:pt x="43" y="157"/>
                    <a:pt x="43" y="157"/>
                  </a:cubicBezTo>
                  <a:cubicBezTo>
                    <a:pt x="43" y="157"/>
                    <a:pt x="41" y="158"/>
                    <a:pt x="40" y="158"/>
                  </a:cubicBezTo>
                  <a:cubicBezTo>
                    <a:pt x="40" y="158"/>
                    <a:pt x="39" y="158"/>
                    <a:pt x="39" y="158"/>
                  </a:cubicBezTo>
                  <a:cubicBezTo>
                    <a:pt x="36" y="157"/>
                    <a:pt x="36" y="157"/>
                    <a:pt x="36" y="157"/>
                  </a:cubicBezTo>
                  <a:cubicBezTo>
                    <a:pt x="32" y="155"/>
                    <a:pt x="32" y="155"/>
                    <a:pt x="32" y="155"/>
                  </a:cubicBezTo>
                  <a:cubicBezTo>
                    <a:pt x="32" y="155"/>
                    <a:pt x="30" y="154"/>
                    <a:pt x="29" y="154"/>
                  </a:cubicBezTo>
                  <a:cubicBezTo>
                    <a:pt x="28" y="154"/>
                    <a:pt x="23" y="152"/>
                    <a:pt x="23" y="152"/>
                  </a:cubicBezTo>
                  <a:cubicBezTo>
                    <a:pt x="21" y="153"/>
                    <a:pt x="21" y="153"/>
                    <a:pt x="21" y="153"/>
                  </a:cubicBezTo>
                  <a:cubicBezTo>
                    <a:pt x="18" y="153"/>
                    <a:pt x="18" y="153"/>
                    <a:pt x="18" y="153"/>
                  </a:cubicBezTo>
                  <a:cubicBezTo>
                    <a:pt x="16" y="152"/>
                    <a:pt x="16" y="152"/>
                    <a:pt x="16" y="152"/>
                  </a:cubicBezTo>
                  <a:cubicBezTo>
                    <a:pt x="14" y="149"/>
                    <a:pt x="14" y="149"/>
                    <a:pt x="14" y="149"/>
                  </a:cubicBezTo>
                  <a:cubicBezTo>
                    <a:pt x="14" y="149"/>
                    <a:pt x="13" y="147"/>
                    <a:pt x="13" y="147"/>
                  </a:cubicBezTo>
                  <a:cubicBezTo>
                    <a:pt x="13" y="147"/>
                    <a:pt x="16" y="145"/>
                    <a:pt x="16" y="145"/>
                  </a:cubicBezTo>
                  <a:cubicBezTo>
                    <a:pt x="17" y="145"/>
                    <a:pt x="17" y="144"/>
                    <a:pt x="17" y="144"/>
                  </a:cubicBezTo>
                  <a:cubicBezTo>
                    <a:pt x="17" y="140"/>
                    <a:pt x="17" y="140"/>
                    <a:pt x="17" y="140"/>
                  </a:cubicBezTo>
                  <a:cubicBezTo>
                    <a:pt x="17" y="140"/>
                    <a:pt x="17" y="138"/>
                    <a:pt x="17" y="138"/>
                  </a:cubicBezTo>
                  <a:cubicBezTo>
                    <a:pt x="17" y="137"/>
                    <a:pt x="18" y="136"/>
                    <a:pt x="18" y="136"/>
                  </a:cubicBezTo>
                  <a:cubicBezTo>
                    <a:pt x="18" y="136"/>
                    <a:pt x="18" y="133"/>
                    <a:pt x="17" y="132"/>
                  </a:cubicBezTo>
                  <a:cubicBezTo>
                    <a:pt x="17" y="130"/>
                    <a:pt x="17" y="128"/>
                    <a:pt x="17" y="128"/>
                  </a:cubicBezTo>
                  <a:cubicBezTo>
                    <a:pt x="15" y="125"/>
                    <a:pt x="15" y="125"/>
                    <a:pt x="15" y="125"/>
                  </a:cubicBezTo>
                  <a:cubicBezTo>
                    <a:pt x="15" y="125"/>
                    <a:pt x="14" y="125"/>
                    <a:pt x="12" y="124"/>
                  </a:cubicBezTo>
                  <a:cubicBezTo>
                    <a:pt x="10" y="123"/>
                    <a:pt x="7" y="122"/>
                    <a:pt x="7" y="122"/>
                  </a:cubicBezTo>
                  <a:cubicBezTo>
                    <a:pt x="7" y="119"/>
                    <a:pt x="7" y="119"/>
                    <a:pt x="7" y="119"/>
                  </a:cubicBezTo>
                  <a:cubicBezTo>
                    <a:pt x="6" y="118"/>
                    <a:pt x="6" y="118"/>
                    <a:pt x="6" y="118"/>
                  </a:cubicBezTo>
                  <a:cubicBezTo>
                    <a:pt x="6" y="118"/>
                    <a:pt x="4" y="118"/>
                    <a:pt x="4" y="119"/>
                  </a:cubicBezTo>
                  <a:cubicBezTo>
                    <a:pt x="4" y="119"/>
                    <a:pt x="4" y="120"/>
                    <a:pt x="4" y="120"/>
                  </a:cubicBezTo>
                  <a:cubicBezTo>
                    <a:pt x="2" y="119"/>
                    <a:pt x="2" y="119"/>
                    <a:pt x="2" y="119"/>
                  </a:cubicBezTo>
                  <a:cubicBezTo>
                    <a:pt x="2" y="119"/>
                    <a:pt x="0" y="116"/>
                    <a:pt x="0" y="115"/>
                  </a:cubicBezTo>
                  <a:cubicBezTo>
                    <a:pt x="1" y="115"/>
                    <a:pt x="2" y="114"/>
                    <a:pt x="2" y="113"/>
                  </a:cubicBezTo>
                  <a:cubicBezTo>
                    <a:pt x="3" y="112"/>
                    <a:pt x="4" y="110"/>
                    <a:pt x="4" y="109"/>
                  </a:cubicBezTo>
                  <a:cubicBezTo>
                    <a:pt x="4" y="109"/>
                    <a:pt x="4" y="105"/>
                    <a:pt x="4" y="105"/>
                  </a:cubicBezTo>
                  <a:cubicBezTo>
                    <a:pt x="4" y="105"/>
                    <a:pt x="3" y="104"/>
                    <a:pt x="4" y="104"/>
                  </a:cubicBezTo>
                  <a:cubicBezTo>
                    <a:pt x="5" y="104"/>
                    <a:pt x="4" y="104"/>
                    <a:pt x="5" y="104"/>
                  </a:cubicBezTo>
                  <a:cubicBezTo>
                    <a:pt x="6" y="103"/>
                    <a:pt x="9" y="101"/>
                    <a:pt x="9" y="101"/>
                  </a:cubicBezTo>
                  <a:cubicBezTo>
                    <a:pt x="9" y="99"/>
                    <a:pt x="9" y="99"/>
                    <a:pt x="9" y="99"/>
                  </a:cubicBezTo>
                  <a:cubicBezTo>
                    <a:pt x="9" y="99"/>
                    <a:pt x="8" y="97"/>
                    <a:pt x="8" y="96"/>
                  </a:cubicBezTo>
                  <a:cubicBezTo>
                    <a:pt x="8" y="96"/>
                    <a:pt x="8" y="96"/>
                    <a:pt x="8" y="95"/>
                  </a:cubicBezTo>
                  <a:cubicBezTo>
                    <a:pt x="8" y="93"/>
                    <a:pt x="4" y="89"/>
                    <a:pt x="4" y="89"/>
                  </a:cubicBezTo>
                  <a:cubicBezTo>
                    <a:pt x="2" y="89"/>
                    <a:pt x="2" y="89"/>
                    <a:pt x="2" y="89"/>
                  </a:cubicBezTo>
                  <a:cubicBezTo>
                    <a:pt x="2" y="89"/>
                    <a:pt x="2" y="88"/>
                    <a:pt x="2" y="87"/>
                  </a:cubicBezTo>
                  <a:cubicBezTo>
                    <a:pt x="2" y="87"/>
                    <a:pt x="2" y="84"/>
                    <a:pt x="2" y="84"/>
                  </a:cubicBezTo>
                  <a:cubicBezTo>
                    <a:pt x="3" y="80"/>
                    <a:pt x="3" y="80"/>
                    <a:pt x="3" y="80"/>
                  </a:cubicBezTo>
                  <a:cubicBezTo>
                    <a:pt x="2" y="73"/>
                    <a:pt x="2" y="73"/>
                    <a:pt x="2" y="73"/>
                  </a:cubicBezTo>
                  <a:cubicBezTo>
                    <a:pt x="2" y="68"/>
                    <a:pt x="2" y="68"/>
                    <a:pt x="2" y="68"/>
                  </a:cubicBezTo>
                  <a:cubicBezTo>
                    <a:pt x="2" y="68"/>
                    <a:pt x="2" y="64"/>
                    <a:pt x="2" y="63"/>
                  </a:cubicBezTo>
                  <a:cubicBezTo>
                    <a:pt x="2" y="63"/>
                    <a:pt x="4" y="59"/>
                    <a:pt x="4" y="59"/>
                  </a:cubicBezTo>
                  <a:cubicBezTo>
                    <a:pt x="5" y="57"/>
                    <a:pt x="5" y="57"/>
                    <a:pt x="5" y="57"/>
                  </a:cubicBezTo>
                  <a:cubicBezTo>
                    <a:pt x="6" y="60"/>
                    <a:pt x="6" y="60"/>
                    <a:pt x="6" y="60"/>
                  </a:cubicBezTo>
                  <a:cubicBezTo>
                    <a:pt x="6" y="60"/>
                    <a:pt x="5" y="61"/>
                    <a:pt x="6" y="62"/>
                  </a:cubicBezTo>
                  <a:cubicBezTo>
                    <a:pt x="7" y="62"/>
                    <a:pt x="8" y="62"/>
                    <a:pt x="9" y="62"/>
                  </a:cubicBezTo>
                  <a:cubicBezTo>
                    <a:pt x="9" y="62"/>
                    <a:pt x="10" y="63"/>
                    <a:pt x="10" y="63"/>
                  </a:cubicBezTo>
                  <a:cubicBezTo>
                    <a:pt x="13" y="65"/>
                    <a:pt x="13" y="65"/>
                    <a:pt x="13" y="65"/>
                  </a:cubicBezTo>
                  <a:cubicBezTo>
                    <a:pt x="15" y="67"/>
                    <a:pt x="15" y="67"/>
                    <a:pt x="15" y="67"/>
                  </a:cubicBezTo>
                  <a:cubicBezTo>
                    <a:pt x="17" y="68"/>
                    <a:pt x="17" y="68"/>
                    <a:pt x="17" y="68"/>
                  </a:cubicBezTo>
                  <a:cubicBezTo>
                    <a:pt x="19" y="68"/>
                    <a:pt x="19" y="68"/>
                    <a:pt x="19" y="68"/>
                  </a:cubicBezTo>
                  <a:cubicBezTo>
                    <a:pt x="20" y="67"/>
                    <a:pt x="20" y="67"/>
                    <a:pt x="20" y="67"/>
                  </a:cubicBezTo>
                  <a:cubicBezTo>
                    <a:pt x="20" y="67"/>
                    <a:pt x="20" y="66"/>
                    <a:pt x="20" y="66"/>
                  </a:cubicBezTo>
                  <a:cubicBezTo>
                    <a:pt x="20" y="66"/>
                    <a:pt x="19" y="64"/>
                    <a:pt x="19" y="64"/>
                  </a:cubicBezTo>
                  <a:cubicBezTo>
                    <a:pt x="19" y="63"/>
                    <a:pt x="18" y="62"/>
                    <a:pt x="18" y="62"/>
                  </a:cubicBezTo>
                  <a:cubicBezTo>
                    <a:pt x="21" y="60"/>
                    <a:pt x="21" y="60"/>
                    <a:pt x="21" y="60"/>
                  </a:cubicBezTo>
                  <a:cubicBezTo>
                    <a:pt x="22" y="58"/>
                    <a:pt x="22" y="58"/>
                    <a:pt x="22" y="58"/>
                  </a:cubicBezTo>
                  <a:cubicBezTo>
                    <a:pt x="22" y="58"/>
                    <a:pt x="22" y="57"/>
                    <a:pt x="21" y="57"/>
                  </a:cubicBezTo>
                  <a:cubicBezTo>
                    <a:pt x="20" y="57"/>
                    <a:pt x="18" y="57"/>
                    <a:pt x="18" y="57"/>
                  </a:cubicBezTo>
                  <a:cubicBezTo>
                    <a:pt x="18" y="57"/>
                    <a:pt x="17" y="56"/>
                    <a:pt x="17" y="56"/>
                  </a:cubicBezTo>
                  <a:cubicBezTo>
                    <a:pt x="17" y="56"/>
                    <a:pt x="16" y="54"/>
                    <a:pt x="16" y="54"/>
                  </a:cubicBezTo>
                  <a:cubicBezTo>
                    <a:pt x="16" y="54"/>
                    <a:pt x="16" y="52"/>
                    <a:pt x="17" y="52"/>
                  </a:cubicBezTo>
                  <a:cubicBezTo>
                    <a:pt x="17" y="51"/>
                    <a:pt x="18" y="48"/>
                    <a:pt x="18" y="48"/>
                  </a:cubicBezTo>
                  <a:cubicBezTo>
                    <a:pt x="18" y="48"/>
                    <a:pt x="17" y="46"/>
                    <a:pt x="19" y="46"/>
                  </a:cubicBezTo>
                  <a:cubicBezTo>
                    <a:pt x="21" y="46"/>
                    <a:pt x="22" y="46"/>
                    <a:pt x="22" y="46"/>
                  </a:cubicBezTo>
                  <a:cubicBezTo>
                    <a:pt x="22" y="46"/>
                    <a:pt x="23" y="44"/>
                    <a:pt x="24" y="44"/>
                  </a:cubicBezTo>
                  <a:cubicBezTo>
                    <a:pt x="24" y="44"/>
                    <a:pt x="25" y="43"/>
                    <a:pt x="25" y="44"/>
                  </a:cubicBezTo>
                  <a:cubicBezTo>
                    <a:pt x="26" y="44"/>
                    <a:pt x="25" y="47"/>
                    <a:pt x="25" y="47"/>
                  </a:cubicBezTo>
                  <a:cubicBezTo>
                    <a:pt x="23" y="49"/>
                    <a:pt x="23" y="49"/>
                    <a:pt x="23" y="49"/>
                  </a:cubicBezTo>
                  <a:cubicBezTo>
                    <a:pt x="23" y="49"/>
                    <a:pt x="24" y="50"/>
                    <a:pt x="24" y="51"/>
                  </a:cubicBezTo>
                  <a:cubicBezTo>
                    <a:pt x="24" y="52"/>
                    <a:pt x="24" y="53"/>
                    <a:pt x="24" y="53"/>
                  </a:cubicBezTo>
                  <a:cubicBezTo>
                    <a:pt x="22" y="56"/>
                    <a:pt x="22" y="56"/>
                    <a:pt x="22" y="56"/>
                  </a:cubicBezTo>
                  <a:cubicBezTo>
                    <a:pt x="22" y="56"/>
                    <a:pt x="23" y="56"/>
                    <a:pt x="23" y="56"/>
                  </a:cubicBezTo>
                  <a:cubicBezTo>
                    <a:pt x="23" y="57"/>
                    <a:pt x="23" y="58"/>
                    <a:pt x="23" y="58"/>
                  </a:cubicBezTo>
                  <a:cubicBezTo>
                    <a:pt x="26" y="57"/>
                    <a:pt x="26" y="57"/>
                    <a:pt x="26" y="57"/>
                  </a:cubicBezTo>
                  <a:cubicBezTo>
                    <a:pt x="26" y="57"/>
                    <a:pt x="25" y="56"/>
                    <a:pt x="25" y="56"/>
                  </a:cubicBezTo>
                  <a:cubicBezTo>
                    <a:pt x="25" y="56"/>
                    <a:pt x="24" y="55"/>
                    <a:pt x="25" y="54"/>
                  </a:cubicBezTo>
                  <a:cubicBezTo>
                    <a:pt x="26" y="53"/>
                    <a:pt x="26" y="52"/>
                    <a:pt x="27" y="52"/>
                  </a:cubicBezTo>
                  <a:cubicBezTo>
                    <a:pt x="27" y="51"/>
                    <a:pt x="27" y="51"/>
                    <a:pt x="29" y="51"/>
                  </a:cubicBezTo>
                  <a:cubicBezTo>
                    <a:pt x="30" y="51"/>
                    <a:pt x="32" y="53"/>
                    <a:pt x="32" y="53"/>
                  </a:cubicBezTo>
                  <a:cubicBezTo>
                    <a:pt x="32" y="53"/>
                    <a:pt x="33" y="54"/>
                    <a:pt x="32" y="54"/>
                  </a:cubicBezTo>
                  <a:cubicBezTo>
                    <a:pt x="32" y="55"/>
                    <a:pt x="31" y="56"/>
                    <a:pt x="31" y="56"/>
                  </a:cubicBezTo>
                  <a:cubicBezTo>
                    <a:pt x="33" y="59"/>
                    <a:pt x="33" y="59"/>
                    <a:pt x="33" y="59"/>
                  </a:cubicBezTo>
                  <a:cubicBezTo>
                    <a:pt x="33" y="59"/>
                    <a:pt x="32" y="59"/>
                    <a:pt x="31" y="60"/>
                  </a:cubicBezTo>
                  <a:cubicBezTo>
                    <a:pt x="31" y="60"/>
                    <a:pt x="31" y="61"/>
                    <a:pt x="31" y="61"/>
                  </a:cubicBezTo>
                  <a:cubicBezTo>
                    <a:pt x="31" y="62"/>
                    <a:pt x="28" y="63"/>
                    <a:pt x="31" y="63"/>
                  </a:cubicBezTo>
                  <a:cubicBezTo>
                    <a:pt x="33" y="63"/>
                    <a:pt x="33" y="63"/>
                    <a:pt x="33" y="62"/>
                  </a:cubicBezTo>
                  <a:cubicBezTo>
                    <a:pt x="33" y="62"/>
                    <a:pt x="33" y="60"/>
                    <a:pt x="33" y="60"/>
                  </a:cubicBezTo>
                  <a:cubicBezTo>
                    <a:pt x="33" y="60"/>
                    <a:pt x="34" y="60"/>
                    <a:pt x="34" y="60"/>
                  </a:cubicBezTo>
                  <a:cubicBezTo>
                    <a:pt x="35" y="60"/>
                    <a:pt x="36" y="60"/>
                    <a:pt x="36" y="60"/>
                  </a:cubicBezTo>
                  <a:cubicBezTo>
                    <a:pt x="37" y="61"/>
                    <a:pt x="37" y="61"/>
                    <a:pt x="37" y="61"/>
                  </a:cubicBezTo>
                  <a:cubicBezTo>
                    <a:pt x="37" y="61"/>
                    <a:pt x="37" y="62"/>
                    <a:pt x="37" y="63"/>
                  </a:cubicBezTo>
                  <a:cubicBezTo>
                    <a:pt x="37" y="63"/>
                    <a:pt x="37" y="64"/>
                    <a:pt x="37" y="64"/>
                  </a:cubicBezTo>
                  <a:cubicBezTo>
                    <a:pt x="37" y="64"/>
                    <a:pt x="39" y="66"/>
                    <a:pt x="39" y="65"/>
                  </a:cubicBezTo>
                  <a:cubicBezTo>
                    <a:pt x="39" y="64"/>
                    <a:pt x="40" y="65"/>
                    <a:pt x="39" y="63"/>
                  </a:cubicBezTo>
                  <a:cubicBezTo>
                    <a:pt x="38" y="62"/>
                    <a:pt x="38" y="60"/>
                    <a:pt x="38" y="60"/>
                  </a:cubicBezTo>
                  <a:cubicBezTo>
                    <a:pt x="38" y="60"/>
                    <a:pt x="38" y="60"/>
                    <a:pt x="38" y="59"/>
                  </a:cubicBezTo>
                  <a:cubicBezTo>
                    <a:pt x="38" y="59"/>
                    <a:pt x="38" y="58"/>
                    <a:pt x="38" y="58"/>
                  </a:cubicBezTo>
                  <a:cubicBezTo>
                    <a:pt x="37" y="57"/>
                    <a:pt x="36" y="57"/>
                    <a:pt x="36" y="56"/>
                  </a:cubicBezTo>
                  <a:cubicBezTo>
                    <a:pt x="36" y="56"/>
                    <a:pt x="33" y="53"/>
                    <a:pt x="33" y="53"/>
                  </a:cubicBezTo>
                  <a:cubicBezTo>
                    <a:pt x="33" y="53"/>
                    <a:pt x="33" y="52"/>
                    <a:pt x="33" y="51"/>
                  </a:cubicBezTo>
                  <a:cubicBezTo>
                    <a:pt x="33" y="49"/>
                    <a:pt x="33" y="48"/>
                    <a:pt x="33" y="47"/>
                  </a:cubicBezTo>
                  <a:cubicBezTo>
                    <a:pt x="33" y="47"/>
                    <a:pt x="34" y="45"/>
                    <a:pt x="34" y="45"/>
                  </a:cubicBezTo>
                  <a:cubicBezTo>
                    <a:pt x="34" y="45"/>
                    <a:pt x="34" y="43"/>
                    <a:pt x="35" y="42"/>
                  </a:cubicBezTo>
                  <a:cubicBezTo>
                    <a:pt x="36" y="42"/>
                    <a:pt x="35" y="41"/>
                    <a:pt x="36" y="41"/>
                  </a:cubicBezTo>
                  <a:cubicBezTo>
                    <a:pt x="38" y="40"/>
                    <a:pt x="37" y="40"/>
                    <a:pt x="39" y="40"/>
                  </a:cubicBezTo>
                  <a:cubicBezTo>
                    <a:pt x="40" y="40"/>
                    <a:pt x="42" y="41"/>
                    <a:pt x="43" y="41"/>
                  </a:cubicBezTo>
                  <a:cubicBezTo>
                    <a:pt x="43" y="41"/>
                    <a:pt x="46" y="42"/>
                    <a:pt x="46" y="42"/>
                  </a:cubicBezTo>
                  <a:cubicBezTo>
                    <a:pt x="46" y="42"/>
                    <a:pt x="46" y="41"/>
                    <a:pt x="46" y="41"/>
                  </a:cubicBezTo>
                  <a:cubicBezTo>
                    <a:pt x="47" y="41"/>
                    <a:pt x="47" y="39"/>
                    <a:pt x="47" y="40"/>
                  </a:cubicBezTo>
                  <a:cubicBezTo>
                    <a:pt x="48" y="40"/>
                    <a:pt x="48" y="41"/>
                    <a:pt x="49" y="40"/>
                  </a:cubicBezTo>
                  <a:cubicBezTo>
                    <a:pt x="50" y="39"/>
                    <a:pt x="50" y="38"/>
                    <a:pt x="50" y="38"/>
                  </a:cubicBezTo>
                  <a:cubicBezTo>
                    <a:pt x="50" y="38"/>
                    <a:pt x="51" y="38"/>
                    <a:pt x="52" y="37"/>
                  </a:cubicBezTo>
                  <a:cubicBezTo>
                    <a:pt x="52" y="37"/>
                    <a:pt x="51" y="36"/>
                    <a:pt x="50" y="36"/>
                  </a:cubicBezTo>
                  <a:cubicBezTo>
                    <a:pt x="50" y="36"/>
                    <a:pt x="48" y="36"/>
                    <a:pt x="47" y="37"/>
                  </a:cubicBezTo>
                  <a:cubicBezTo>
                    <a:pt x="46" y="37"/>
                    <a:pt x="47" y="37"/>
                    <a:pt x="45" y="37"/>
                  </a:cubicBezTo>
                  <a:cubicBezTo>
                    <a:pt x="44" y="38"/>
                    <a:pt x="44" y="38"/>
                    <a:pt x="42" y="38"/>
                  </a:cubicBezTo>
                  <a:cubicBezTo>
                    <a:pt x="40" y="38"/>
                    <a:pt x="40" y="38"/>
                    <a:pt x="39" y="39"/>
                  </a:cubicBezTo>
                  <a:cubicBezTo>
                    <a:pt x="38" y="40"/>
                    <a:pt x="37" y="40"/>
                    <a:pt x="37" y="40"/>
                  </a:cubicBezTo>
                  <a:cubicBezTo>
                    <a:pt x="36" y="40"/>
                    <a:pt x="36" y="40"/>
                    <a:pt x="36" y="40"/>
                  </a:cubicBezTo>
                  <a:cubicBezTo>
                    <a:pt x="36" y="40"/>
                    <a:pt x="35" y="40"/>
                    <a:pt x="34" y="40"/>
                  </a:cubicBezTo>
                  <a:cubicBezTo>
                    <a:pt x="34" y="40"/>
                    <a:pt x="33" y="39"/>
                    <a:pt x="33" y="39"/>
                  </a:cubicBezTo>
                  <a:cubicBezTo>
                    <a:pt x="33" y="39"/>
                    <a:pt x="33" y="39"/>
                    <a:pt x="32" y="39"/>
                  </a:cubicBezTo>
                  <a:cubicBezTo>
                    <a:pt x="31" y="39"/>
                    <a:pt x="30" y="40"/>
                    <a:pt x="30" y="40"/>
                  </a:cubicBezTo>
                  <a:cubicBezTo>
                    <a:pt x="28" y="40"/>
                    <a:pt x="28" y="40"/>
                    <a:pt x="28" y="40"/>
                  </a:cubicBezTo>
                  <a:cubicBezTo>
                    <a:pt x="28" y="40"/>
                    <a:pt x="27" y="40"/>
                    <a:pt x="26" y="40"/>
                  </a:cubicBezTo>
                  <a:cubicBezTo>
                    <a:pt x="26" y="41"/>
                    <a:pt x="24" y="41"/>
                    <a:pt x="24" y="41"/>
                  </a:cubicBezTo>
                  <a:cubicBezTo>
                    <a:pt x="24" y="41"/>
                    <a:pt x="24" y="41"/>
                    <a:pt x="23" y="41"/>
                  </a:cubicBezTo>
                  <a:cubicBezTo>
                    <a:pt x="23" y="42"/>
                    <a:pt x="24" y="42"/>
                    <a:pt x="23" y="43"/>
                  </a:cubicBezTo>
                  <a:cubicBezTo>
                    <a:pt x="22" y="43"/>
                    <a:pt x="20" y="43"/>
                    <a:pt x="20" y="43"/>
                  </a:cubicBezTo>
                  <a:cubicBezTo>
                    <a:pt x="19" y="44"/>
                    <a:pt x="19" y="44"/>
                    <a:pt x="19" y="44"/>
                  </a:cubicBezTo>
                  <a:cubicBezTo>
                    <a:pt x="18" y="46"/>
                    <a:pt x="18" y="46"/>
                    <a:pt x="18" y="46"/>
                  </a:cubicBezTo>
                  <a:cubicBezTo>
                    <a:pt x="17" y="46"/>
                    <a:pt x="17" y="46"/>
                    <a:pt x="17" y="46"/>
                  </a:cubicBezTo>
                  <a:cubicBezTo>
                    <a:pt x="16" y="49"/>
                    <a:pt x="16" y="49"/>
                    <a:pt x="16" y="49"/>
                  </a:cubicBezTo>
                  <a:cubicBezTo>
                    <a:pt x="16" y="50"/>
                    <a:pt x="16" y="50"/>
                    <a:pt x="16" y="50"/>
                  </a:cubicBezTo>
                  <a:cubicBezTo>
                    <a:pt x="14" y="52"/>
                    <a:pt x="14" y="52"/>
                    <a:pt x="14" y="52"/>
                  </a:cubicBezTo>
                  <a:cubicBezTo>
                    <a:pt x="13" y="53"/>
                    <a:pt x="13" y="53"/>
                    <a:pt x="13" y="53"/>
                  </a:cubicBezTo>
                  <a:cubicBezTo>
                    <a:pt x="13" y="53"/>
                    <a:pt x="13" y="53"/>
                    <a:pt x="14" y="54"/>
                  </a:cubicBezTo>
                  <a:cubicBezTo>
                    <a:pt x="14" y="54"/>
                    <a:pt x="14" y="55"/>
                    <a:pt x="14" y="55"/>
                  </a:cubicBezTo>
                  <a:cubicBezTo>
                    <a:pt x="13" y="56"/>
                    <a:pt x="13" y="56"/>
                    <a:pt x="13" y="56"/>
                  </a:cubicBezTo>
                  <a:cubicBezTo>
                    <a:pt x="14" y="58"/>
                    <a:pt x="14" y="58"/>
                    <a:pt x="14" y="58"/>
                  </a:cubicBezTo>
                  <a:cubicBezTo>
                    <a:pt x="16" y="57"/>
                    <a:pt x="16" y="57"/>
                    <a:pt x="16" y="57"/>
                  </a:cubicBezTo>
                  <a:cubicBezTo>
                    <a:pt x="17" y="59"/>
                    <a:pt x="17" y="59"/>
                    <a:pt x="17" y="59"/>
                  </a:cubicBezTo>
                  <a:cubicBezTo>
                    <a:pt x="16" y="61"/>
                    <a:pt x="16" y="61"/>
                    <a:pt x="16" y="61"/>
                  </a:cubicBezTo>
                  <a:cubicBezTo>
                    <a:pt x="16" y="61"/>
                    <a:pt x="15" y="62"/>
                    <a:pt x="14" y="62"/>
                  </a:cubicBezTo>
                  <a:cubicBezTo>
                    <a:pt x="14" y="62"/>
                    <a:pt x="13" y="61"/>
                    <a:pt x="13" y="61"/>
                  </a:cubicBezTo>
                  <a:cubicBezTo>
                    <a:pt x="12" y="59"/>
                    <a:pt x="12" y="59"/>
                    <a:pt x="12" y="59"/>
                  </a:cubicBezTo>
                  <a:cubicBezTo>
                    <a:pt x="12" y="58"/>
                    <a:pt x="12" y="58"/>
                    <a:pt x="12" y="58"/>
                  </a:cubicBezTo>
                  <a:cubicBezTo>
                    <a:pt x="12" y="57"/>
                    <a:pt x="12" y="57"/>
                    <a:pt x="12" y="57"/>
                  </a:cubicBezTo>
                  <a:cubicBezTo>
                    <a:pt x="9" y="58"/>
                    <a:pt x="9" y="58"/>
                    <a:pt x="9" y="58"/>
                  </a:cubicBezTo>
                  <a:cubicBezTo>
                    <a:pt x="9" y="57"/>
                    <a:pt x="9" y="57"/>
                    <a:pt x="9" y="57"/>
                  </a:cubicBezTo>
                  <a:cubicBezTo>
                    <a:pt x="9" y="57"/>
                    <a:pt x="8" y="56"/>
                    <a:pt x="8" y="56"/>
                  </a:cubicBezTo>
                  <a:cubicBezTo>
                    <a:pt x="8" y="55"/>
                    <a:pt x="7" y="54"/>
                    <a:pt x="7" y="54"/>
                  </a:cubicBezTo>
                  <a:cubicBezTo>
                    <a:pt x="5" y="51"/>
                    <a:pt x="5" y="51"/>
                    <a:pt x="5" y="51"/>
                  </a:cubicBezTo>
                  <a:cubicBezTo>
                    <a:pt x="5" y="51"/>
                    <a:pt x="5" y="51"/>
                    <a:pt x="6" y="51"/>
                  </a:cubicBezTo>
                  <a:cubicBezTo>
                    <a:pt x="6" y="50"/>
                    <a:pt x="6" y="50"/>
                    <a:pt x="7" y="49"/>
                  </a:cubicBezTo>
                  <a:cubicBezTo>
                    <a:pt x="7" y="48"/>
                    <a:pt x="9" y="46"/>
                    <a:pt x="9" y="46"/>
                  </a:cubicBezTo>
                  <a:cubicBezTo>
                    <a:pt x="10" y="43"/>
                    <a:pt x="10" y="43"/>
                    <a:pt x="10" y="43"/>
                  </a:cubicBezTo>
                  <a:cubicBezTo>
                    <a:pt x="12" y="41"/>
                    <a:pt x="12" y="41"/>
                    <a:pt x="12" y="41"/>
                  </a:cubicBezTo>
                  <a:cubicBezTo>
                    <a:pt x="13" y="39"/>
                    <a:pt x="13" y="39"/>
                    <a:pt x="13" y="39"/>
                  </a:cubicBezTo>
                  <a:cubicBezTo>
                    <a:pt x="15" y="36"/>
                    <a:pt x="15" y="36"/>
                    <a:pt x="15" y="36"/>
                  </a:cubicBezTo>
                  <a:cubicBezTo>
                    <a:pt x="17" y="34"/>
                    <a:pt x="17" y="34"/>
                    <a:pt x="17" y="34"/>
                  </a:cubicBezTo>
                  <a:cubicBezTo>
                    <a:pt x="20" y="34"/>
                    <a:pt x="20" y="34"/>
                    <a:pt x="20" y="34"/>
                  </a:cubicBezTo>
                  <a:cubicBezTo>
                    <a:pt x="20" y="34"/>
                    <a:pt x="22" y="35"/>
                    <a:pt x="22" y="35"/>
                  </a:cubicBezTo>
                  <a:cubicBezTo>
                    <a:pt x="23" y="34"/>
                    <a:pt x="24" y="33"/>
                    <a:pt x="24" y="33"/>
                  </a:cubicBezTo>
                  <a:cubicBezTo>
                    <a:pt x="28" y="32"/>
                    <a:pt x="28" y="32"/>
                    <a:pt x="28" y="32"/>
                  </a:cubicBezTo>
                  <a:cubicBezTo>
                    <a:pt x="29" y="32"/>
                    <a:pt x="29" y="32"/>
                    <a:pt x="29" y="32"/>
                  </a:cubicBezTo>
                  <a:cubicBezTo>
                    <a:pt x="32" y="33"/>
                    <a:pt x="32" y="33"/>
                    <a:pt x="32" y="33"/>
                  </a:cubicBezTo>
                  <a:cubicBezTo>
                    <a:pt x="34" y="33"/>
                    <a:pt x="34" y="33"/>
                    <a:pt x="34" y="33"/>
                  </a:cubicBezTo>
                  <a:cubicBezTo>
                    <a:pt x="38" y="33"/>
                    <a:pt x="38" y="33"/>
                    <a:pt x="38" y="33"/>
                  </a:cubicBezTo>
                  <a:close/>
                  <a:moveTo>
                    <a:pt x="16" y="139"/>
                  </a:moveTo>
                  <a:cubicBezTo>
                    <a:pt x="16" y="139"/>
                    <a:pt x="16" y="139"/>
                    <a:pt x="16" y="139"/>
                  </a:cubicBezTo>
                  <a:cubicBezTo>
                    <a:pt x="16" y="139"/>
                    <a:pt x="14" y="138"/>
                    <a:pt x="14" y="138"/>
                  </a:cubicBezTo>
                  <a:cubicBezTo>
                    <a:pt x="14" y="139"/>
                    <a:pt x="13" y="140"/>
                    <a:pt x="13" y="140"/>
                  </a:cubicBezTo>
                  <a:cubicBezTo>
                    <a:pt x="12" y="143"/>
                    <a:pt x="12" y="143"/>
                    <a:pt x="12" y="143"/>
                  </a:cubicBezTo>
                  <a:cubicBezTo>
                    <a:pt x="11" y="144"/>
                    <a:pt x="11" y="144"/>
                    <a:pt x="11" y="144"/>
                  </a:cubicBezTo>
                  <a:cubicBezTo>
                    <a:pt x="11" y="146"/>
                    <a:pt x="11" y="146"/>
                    <a:pt x="11" y="146"/>
                  </a:cubicBezTo>
                  <a:cubicBezTo>
                    <a:pt x="8" y="147"/>
                    <a:pt x="8" y="147"/>
                    <a:pt x="8" y="147"/>
                  </a:cubicBezTo>
                  <a:cubicBezTo>
                    <a:pt x="8" y="147"/>
                    <a:pt x="8" y="148"/>
                    <a:pt x="9" y="148"/>
                  </a:cubicBezTo>
                  <a:cubicBezTo>
                    <a:pt x="10" y="148"/>
                    <a:pt x="11" y="148"/>
                    <a:pt x="11" y="148"/>
                  </a:cubicBezTo>
                  <a:cubicBezTo>
                    <a:pt x="11" y="147"/>
                    <a:pt x="12" y="146"/>
                    <a:pt x="12" y="146"/>
                  </a:cubicBezTo>
                  <a:cubicBezTo>
                    <a:pt x="12" y="146"/>
                    <a:pt x="13" y="145"/>
                    <a:pt x="13" y="145"/>
                  </a:cubicBezTo>
                  <a:cubicBezTo>
                    <a:pt x="14" y="145"/>
                    <a:pt x="16" y="145"/>
                    <a:pt x="16" y="144"/>
                  </a:cubicBezTo>
                  <a:cubicBezTo>
                    <a:pt x="16" y="143"/>
                    <a:pt x="16" y="142"/>
                    <a:pt x="16" y="142"/>
                  </a:cubicBezTo>
                  <a:cubicBezTo>
                    <a:pt x="16" y="141"/>
                    <a:pt x="16" y="141"/>
                    <a:pt x="16" y="141"/>
                  </a:cubicBezTo>
                  <a:cubicBezTo>
                    <a:pt x="16" y="139"/>
                    <a:pt x="16" y="139"/>
                    <a:pt x="16" y="139"/>
                  </a:cubicBezTo>
                  <a:close/>
                  <a:moveTo>
                    <a:pt x="68" y="112"/>
                  </a:moveTo>
                  <a:cubicBezTo>
                    <a:pt x="68" y="112"/>
                    <a:pt x="68" y="112"/>
                    <a:pt x="68" y="112"/>
                  </a:cubicBezTo>
                  <a:cubicBezTo>
                    <a:pt x="68" y="112"/>
                    <a:pt x="68" y="112"/>
                    <a:pt x="68" y="112"/>
                  </a:cubicBezTo>
                  <a:cubicBezTo>
                    <a:pt x="68" y="112"/>
                    <a:pt x="69" y="111"/>
                    <a:pt x="69" y="111"/>
                  </a:cubicBezTo>
                  <a:cubicBezTo>
                    <a:pt x="69" y="110"/>
                    <a:pt x="68" y="109"/>
                    <a:pt x="68" y="109"/>
                  </a:cubicBezTo>
                  <a:cubicBezTo>
                    <a:pt x="68" y="108"/>
                    <a:pt x="69" y="108"/>
                    <a:pt x="69" y="108"/>
                  </a:cubicBezTo>
                  <a:cubicBezTo>
                    <a:pt x="69" y="108"/>
                    <a:pt x="69" y="107"/>
                    <a:pt x="69" y="107"/>
                  </a:cubicBezTo>
                  <a:cubicBezTo>
                    <a:pt x="69" y="107"/>
                    <a:pt x="68" y="107"/>
                    <a:pt x="68" y="107"/>
                  </a:cubicBezTo>
                  <a:cubicBezTo>
                    <a:pt x="67" y="107"/>
                    <a:pt x="67" y="108"/>
                    <a:pt x="67" y="108"/>
                  </a:cubicBezTo>
                  <a:cubicBezTo>
                    <a:pt x="67" y="108"/>
                    <a:pt x="67" y="109"/>
                    <a:pt x="67" y="109"/>
                  </a:cubicBezTo>
                  <a:cubicBezTo>
                    <a:pt x="67" y="109"/>
                    <a:pt x="67" y="110"/>
                    <a:pt x="67" y="110"/>
                  </a:cubicBezTo>
                  <a:cubicBezTo>
                    <a:pt x="67" y="110"/>
                    <a:pt x="68" y="112"/>
                    <a:pt x="68" y="112"/>
                  </a:cubicBezTo>
                  <a:close/>
                  <a:moveTo>
                    <a:pt x="95" y="139"/>
                  </a:moveTo>
                  <a:cubicBezTo>
                    <a:pt x="95" y="139"/>
                    <a:pt x="95" y="139"/>
                    <a:pt x="95" y="139"/>
                  </a:cubicBezTo>
                  <a:cubicBezTo>
                    <a:pt x="96" y="138"/>
                    <a:pt x="96" y="138"/>
                    <a:pt x="96" y="138"/>
                  </a:cubicBezTo>
                  <a:cubicBezTo>
                    <a:pt x="97" y="139"/>
                    <a:pt x="97" y="139"/>
                    <a:pt x="97" y="139"/>
                  </a:cubicBezTo>
                  <a:cubicBezTo>
                    <a:pt x="97" y="139"/>
                    <a:pt x="96" y="140"/>
                    <a:pt x="96" y="140"/>
                  </a:cubicBezTo>
                  <a:cubicBezTo>
                    <a:pt x="96" y="140"/>
                    <a:pt x="95" y="139"/>
                    <a:pt x="95" y="139"/>
                  </a:cubicBezTo>
                  <a:cubicBezTo>
                    <a:pt x="95" y="139"/>
                    <a:pt x="95" y="139"/>
                    <a:pt x="95" y="139"/>
                  </a:cubicBezTo>
                  <a:close/>
                  <a:moveTo>
                    <a:pt x="106" y="152"/>
                  </a:moveTo>
                  <a:cubicBezTo>
                    <a:pt x="106" y="152"/>
                    <a:pt x="106" y="152"/>
                    <a:pt x="106" y="152"/>
                  </a:cubicBezTo>
                  <a:cubicBezTo>
                    <a:pt x="107" y="152"/>
                    <a:pt x="107" y="152"/>
                    <a:pt x="107" y="152"/>
                  </a:cubicBezTo>
                  <a:cubicBezTo>
                    <a:pt x="107" y="153"/>
                    <a:pt x="107" y="153"/>
                    <a:pt x="107" y="153"/>
                  </a:cubicBezTo>
                  <a:cubicBezTo>
                    <a:pt x="106" y="154"/>
                    <a:pt x="106" y="154"/>
                    <a:pt x="106" y="154"/>
                  </a:cubicBezTo>
                  <a:cubicBezTo>
                    <a:pt x="106" y="153"/>
                    <a:pt x="106" y="153"/>
                    <a:pt x="106" y="153"/>
                  </a:cubicBezTo>
                  <a:cubicBezTo>
                    <a:pt x="106" y="152"/>
                    <a:pt x="106" y="152"/>
                    <a:pt x="106" y="152"/>
                  </a:cubicBezTo>
                  <a:close/>
                  <a:moveTo>
                    <a:pt x="103" y="150"/>
                  </a:moveTo>
                  <a:cubicBezTo>
                    <a:pt x="103" y="150"/>
                    <a:pt x="103" y="150"/>
                    <a:pt x="103" y="150"/>
                  </a:cubicBezTo>
                  <a:cubicBezTo>
                    <a:pt x="102" y="149"/>
                    <a:pt x="102" y="149"/>
                    <a:pt x="102" y="149"/>
                  </a:cubicBezTo>
                  <a:cubicBezTo>
                    <a:pt x="104" y="149"/>
                    <a:pt x="104" y="149"/>
                    <a:pt x="104" y="149"/>
                  </a:cubicBezTo>
                  <a:cubicBezTo>
                    <a:pt x="104" y="149"/>
                    <a:pt x="104" y="149"/>
                    <a:pt x="105" y="149"/>
                  </a:cubicBezTo>
                  <a:cubicBezTo>
                    <a:pt x="105" y="149"/>
                    <a:pt x="106" y="150"/>
                    <a:pt x="106" y="150"/>
                  </a:cubicBezTo>
                  <a:cubicBezTo>
                    <a:pt x="106" y="150"/>
                    <a:pt x="106" y="150"/>
                    <a:pt x="106" y="150"/>
                  </a:cubicBezTo>
                  <a:cubicBezTo>
                    <a:pt x="105" y="150"/>
                    <a:pt x="105" y="151"/>
                    <a:pt x="105" y="151"/>
                  </a:cubicBezTo>
                  <a:cubicBezTo>
                    <a:pt x="104" y="151"/>
                    <a:pt x="103" y="150"/>
                    <a:pt x="103" y="150"/>
                  </a:cubicBezTo>
                  <a:close/>
                  <a:moveTo>
                    <a:pt x="108" y="150"/>
                  </a:moveTo>
                  <a:cubicBezTo>
                    <a:pt x="108" y="150"/>
                    <a:pt x="108" y="150"/>
                    <a:pt x="108" y="150"/>
                  </a:cubicBezTo>
                  <a:cubicBezTo>
                    <a:pt x="107" y="148"/>
                    <a:pt x="107" y="148"/>
                    <a:pt x="107" y="148"/>
                  </a:cubicBezTo>
                  <a:cubicBezTo>
                    <a:pt x="108" y="147"/>
                    <a:pt x="108" y="147"/>
                    <a:pt x="108" y="147"/>
                  </a:cubicBezTo>
                  <a:cubicBezTo>
                    <a:pt x="108" y="147"/>
                    <a:pt x="109" y="148"/>
                    <a:pt x="109" y="148"/>
                  </a:cubicBezTo>
                  <a:cubicBezTo>
                    <a:pt x="109" y="148"/>
                    <a:pt x="108" y="149"/>
                    <a:pt x="108" y="149"/>
                  </a:cubicBezTo>
                  <a:cubicBezTo>
                    <a:pt x="108" y="150"/>
                    <a:pt x="108" y="150"/>
                    <a:pt x="108" y="150"/>
                  </a:cubicBezTo>
                  <a:close/>
                  <a:moveTo>
                    <a:pt x="129" y="144"/>
                  </a:moveTo>
                  <a:cubicBezTo>
                    <a:pt x="129" y="144"/>
                    <a:pt x="129" y="144"/>
                    <a:pt x="129" y="144"/>
                  </a:cubicBezTo>
                  <a:cubicBezTo>
                    <a:pt x="128" y="143"/>
                    <a:pt x="128" y="143"/>
                    <a:pt x="128" y="143"/>
                  </a:cubicBezTo>
                  <a:cubicBezTo>
                    <a:pt x="128" y="143"/>
                    <a:pt x="129" y="142"/>
                    <a:pt x="129" y="142"/>
                  </a:cubicBezTo>
                  <a:cubicBezTo>
                    <a:pt x="130" y="142"/>
                    <a:pt x="131" y="142"/>
                    <a:pt x="131" y="142"/>
                  </a:cubicBezTo>
                  <a:cubicBezTo>
                    <a:pt x="129" y="144"/>
                    <a:pt x="129" y="144"/>
                    <a:pt x="129" y="144"/>
                  </a:cubicBezTo>
                  <a:close/>
                  <a:moveTo>
                    <a:pt x="127" y="145"/>
                  </a:moveTo>
                  <a:cubicBezTo>
                    <a:pt x="127" y="145"/>
                    <a:pt x="127" y="145"/>
                    <a:pt x="127" y="145"/>
                  </a:cubicBezTo>
                  <a:cubicBezTo>
                    <a:pt x="127" y="142"/>
                    <a:pt x="127" y="142"/>
                    <a:pt x="127" y="142"/>
                  </a:cubicBezTo>
                  <a:cubicBezTo>
                    <a:pt x="128" y="141"/>
                    <a:pt x="128" y="141"/>
                    <a:pt x="128" y="141"/>
                  </a:cubicBezTo>
                  <a:cubicBezTo>
                    <a:pt x="127" y="140"/>
                    <a:pt x="127" y="140"/>
                    <a:pt x="127" y="140"/>
                  </a:cubicBezTo>
                  <a:cubicBezTo>
                    <a:pt x="126" y="140"/>
                    <a:pt x="126" y="140"/>
                    <a:pt x="126" y="140"/>
                  </a:cubicBezTo>
                  <a:cubicBezTo>
                    <a:pt x="126" y="140"/>
                    <a:pt x="125" y="138"/>
                    <a:pt x="125" y="138"/>
                  </a:cubicBezTo>
                  <a:cubicBezTo>
                    <a:pt x="125" y="138"/>
                    <a:pt x="124" y="138"/>
                    <a:pt x="124" y="138"/>
                  </a:cubicBezTo>
                  <a:cubicBezTo>
                    <a:pt x="124" y="138"/>
                    <a:pt x="123" y="138"/>
                    <a:pt x="123" y="138"/>
                  </a:cubicBezTo>
                  <a:cubicBezTo>
                    <a:pt x="123" y="138"/>
                    <a:pt x="124" y="137"/>
                    <a:pt x="124" y="137"/>
                  </a:cubicBezTo>
                  <a:cubicBezTo>
                    <a:pt x="124" y="137"/>
                    <a:pt x="124" y="137"/>
                    <a:pt x="125" y="137"/>
                  </a:cubicBezTo>
                  <a:cubicBezTo>
                    <a:pt x="126" y="136"/>
                    <a:pt x="126" y="136"/>
                    <a:pt x="126" y="136"/>
                  </a:cubicBezTo>
                  <a:cubicBezTo>
                    <a:pt x="126" y="136"/>
                    <a:pt x="128" y="133"/>
                    <a:pt x="130" y="133"/>
                  </a:cubicBezTo>
                  <a:cubicBezTo>
                    <a:pt x="131" y="133"/>
                    <a:pt x="133" y="133"/>
                    <a:pt x="133" y="133"/>
                  </a:cubicBezTo>
                  <a:cubicBezTo>
                    <a:pt x="135" y="131"/>
                    <a:pt x="135" y="131"/>
                    <a:pt x="135" y="131"/>
                  </a:cubicBezTo>
                  <a:cubicBezTo>
                    <a:pt x="135" y="131"/>
                    <a:pt x="135" y="130"/>
                    <a:pt x="135" y="130"/>
                  </a:cubicBezTo>
                  <a:cubicBezTo>
                    <a:pt x="136" y="130"/>
                    <a:pt x="135" y="128"/>
                    <a:pt x="135" y="128"/>
                  </a:cubicBezTo>
                  <a:cubicBezTo>
                    <a:pt x="135" y="126"/>
                    <a:pt x="135" y="126"/>
                    <a:pt x="135" y="126"/>
                  </a:cubicBezTo>
                  <a:cubicBezTo>
                    <a:pt x="135" y="126"/>
                    <a:pt x="132" y="124"/>
                    <a:pt x="132" y="124"/>
                  </a:cubicBezTo>
                  <a:cubicBezTo>
                    <a:pt x="132" y="124"/>
                    <a:pt x="128" y="122"/>
                    <a:pt x="128" y="122"/>
                  </a:cubicBezTo>
                  <a:cubicBezTo>
                    <a:pt x="128" y="122"/>
                    <a:pt x="128" y="120"/>
                    <a:pt x="127" y="120"/>
                  </a:cubicBezTo>
                  <a:cubicBezTo>
                    <a:pt x="127" y="120"/>
                    <a:pt x="128" y="118"/>
                    <a:pt x="128" y="118"/>
                  </a:cubicBezTo>
                  <a:cubicBezTo>
                    <a:pt x="128" y="118"/>
                    <a:pt x="130" y="115"/>
                    <a:pt x="132" y="114"/>
                  </a:cubicBezTo>
                  <a:cubicBezTo>
                    <a:pt x="133" y="113"/>
                    <a:pt x="134" y="113"/>
                    <a:pt x="134" y="113"/>
                  </a:cubicBezTo>
                  <a:cubicBezTo>
                    <a:pt x="135" y="113"/>
                    <a:pt x="136" y="114"/>
                    <a:pt x="137" y="115"/>
                  </a:cubicBezTo>
                  <a:cubicBezTo>
                    <a:pt x="137" y="115"/>
                    <a:pt x="138" y="115"/>
                    <a:pt x="139" y="115"/>
                  </a:cubicBezTo>
                  <a:cubicBezTo>
                    <a:pt x="140" y="115"/>
                    <a:pt x="141" y="115"/>
                    <a:pt x="141" y="115"/>
                  </a:cubicBezTo>
                  <a:cubicBezTo>
                    <a:pt x="141" y="115"/>
                    <a:pt x="141" y="113"/>
                    <a:pt x="141" y="112"/>
                  </a:cubicBezTo>
                  <a:cubicBezTo>
                    <a:pt x="141" y="111"/>
                    <a:pt x="141" y="112"/>
                    <a:pt x="140" y="111"/>
                  </a:cubicBezTo>
                  <a:cubicBezTo>
                    <a:pt x="140" y="111"/>
                    <a:pt x="139" y="110"/>
                    <a:pt x="139" y="110"/>
                  </a:cubicBezTo>
                  <a:cubicBezTo>
                    <a:pt x="139" y="110"/>
                    <a:pt x="139" y="109"/>
                    <a:pt x="139" y="109"/>
                  </a:cubicBezTo>
                  <a:cubicBezTo>
                    <a:pt x="139" y="109"/>
                    <a:pt x="139" y="108"/>
                    <a:pt x="139" y="107"/>
                  </a:cubicBezTo>
                  <a:cubicBezTo>
                    <a:pt x="139" y="107"/>
                    <a:pt x="139" y="104"/>
                    <a:pt x="139" y="104"/>
                  </a:cubicBezTo>
                  <a:cubicBezTo>
                    <a:pt x="139" y="103"/>
                    <a:pt x="138" y="101"/>
                    <a:pt x="138" y="101"/>
                  </a:cubicBezTo>
                  <a:cubicBezTo>
                    <a:pt x="138" y="100"/>
                    <a:pt x="137" y="99"/>
                    <a:pt x="137" y="99"/>
                  </a:cubicBezTo>
                  <a:cubicBezTo>
                    <a:pt x="136" y="97"/>
                    <a:pt x="136" y="97"/>
                    <a:pt x="136" y="97"/>
                  </a:cubicBezTo>
                  <a:cubicBezTo>
                    <a:pt x="136" y="97"/>
                    <a:pt x="136" y="97"/>
                    <a:pt x="136" y="96"/>
                  </a:cubicBezTo>
                  <a:cubicBezTo>
                    <a:pt x="136" y="94"/>
                    <a:pt x="137" y="92"/>
                    <a:pt x="137" y="92"/>
                  </a:cubicBezTo>
                  <a:cubicBezTo>
                    <a:pt x="138" y="91"/>
                    <a:pt x="138" y="89"/>
                    <a:pt x="138" y="89"/>
                  </a:cubicBezTo>
                  <a:cubicBezTo>
                    <a:pt x="137" y="88"/>
                    <a:pt x="137" y="88"/>
                    <a:pt x="137" y="88"/>
                  </a:cubicBezTo>
                  <a:cubicBezTo>
                    <a:pt x="137" y="88"/>
                    <a:pt x="133" y="87"/>
                    <a:pt x="133" y="87"/>
                  </a:cubicBezTo>
                  <a:cubicBezTo>
                    <a:pt x="133" y="87"/>
                    <a:pt x="132" y="86"/>
                    <a:pt x="132" y="86"/>
                  </a:cubicBezTo>
                  <a:cubicBezTo>
                    <a:pt x="132" y="85"/>
                    <a:pt x="131" y="85"/>
                    <a:pt x="131" y="85"/>
                  </a:cubicBezTo>
                  <a:cubicBezTo>
                    <a:pt x="131" y="85"/>
                    <a:pt x="127" y="86"/>
                    <a:pt x="127" y="86"/>
                  </a:cubicBezTo>
                  <a:cubicBezTo>
                    <a:pt x="127" y="86"/>
                    <a:pt x="125" y="87"/>
                    <a:pt x="124" y="88"/>
                  </a:cubicBezTo>
                  <a:cubicBezTo>
                    <a:pt x="122" y="88"/>
                    <a:pt x="122" y="88"/>
                    <a:pt x="121" y="89"/>
                  </a:cubicBezTo>
                  <a:cubicBezTo>
                    <a:pt x="119" y="90"/>
                    <a:pt x="119" y="91"/>
                    <a:pt x="118" y="92"/>
                  </a:cubicBezTo>
                  <a:cubicBezTo>
                    <a:pt x="117" y="92"/>
                    <a:pt x="116" y="94"/>
                    <a:pt x="116" y="94"/>
                  </a:cubicBezTo>
                  <a:cubicBezTo>
                    <a:pt x="115" y="95"/>
                    <a:pt x="115" y="95"/>
                    <a:pt x="116" y="96"/>
                  </a:cubicBezTo>
                  <a:cubicBezTo>
                    <a:pt x="116" y="97"/>
                    <a:pt x="117" y="96"/>
                    <a:pt x="117" y="96"/>
                  </a:cubicBezTo>
                  <a:cubicBezTo>
                    <a:pt x="117" y="96"/>
                    <a:pt x="118" y="96"/>
                    <a:pt x="119" y="96"/>
                  </a:cubicBezTo>
                  <a:cubicBezTo>
                    <a:pt x="120" y="96"/>
                    <a:pt x="120" y="97"/>
                    <a:pt x="119" y="97"/>
                  </a:cubicBezTo>
                  <a:cubicBezTo>
                    <a:pt x="119" y="97"/>
                    <a:pt x="119" y="98"/>
                    <a:pt x="119" y="98"/>
                  </a:cubicBezTo>
                  <a:cubicBezTo>
                    <a:pt x="119" y="98"/>
                    <a:pt x="119" y="98"/>
                    <a:pt x="118" y="99"/>
                  </a:cubicBezTo>
                  <a:cubicBezTo>
                    <a:pt x="118" y="99"/>
                    <a:pt x="118" y="100"/>
                    <a:pt x="118" y="101"/>
                  </a:cubicBezTo>
                  <a:cubicBezTo>
                    <a:pt x="118" y="102"/>
                    <a:pt x="117" y="102"/>
                    <a:pt x="117" y="102"/>
                  </a:cubicBezTo>
                  <a:cubicBezTo>
                    <a:pt x="116" y="103"/>
                    <a:pt x="116" y="103"/>
                    <a:pt x="115" y="104"/>
                  </a:cubicBezTo>
                  <a:cubicBezTo>
                    <a:pt x="114" y="104"/>
                    <a:pt x="114" y="105"/>
                    <a:pt x="114" y="105"/>
                  </a:cubicBezTo>
                  <a:cubicBezTo>
                    <a:pt x="114" y="106"/>
                    <a:pt x="114" y="106"/>
                    <a:pt x="115" y="107"/>
                  </a:cubicBezTo>
                  <a:cubicBezTo>
                    <a:pt x="115" y="108"/>
                    <a:pt x="115" y="108"/>
                    <a:pt x="115" y="108"/>
                  </a:cubicBezTo>
                  <a:cubicBezTo>
                    <a:pt x="115" y="109"/>
                    <a:pt x="114" y="110"/>
                    <a:pt x="114" y="109"/>
                  </a:cubicBezTo>
                  <a:cubicBezTo>
                    <a:pt x="114" y="109"/>
                    <a:pt x="114" y="108"/>
                    <a:pt x="114" y="108"/>
                  </a:cubicBezTo>
                  <a:cubicBezTo>
                    <a:pt x="111" y="108"/>
                    <a:pt x="111" y="108"/>
                    <a:pt x="111" y="108"/>
                  </a:cubicBezTo>
                  <a:cubicBezTo>
                    <a:pt x="111" y="108"/>
                    <a:pt x="111" y="108"/>
                    <a:pt x="110" y="108"/>
                  </a:cubicBezTo>
                  <a:cubicBezTo>
                    <a:pt x="110" y="108"/>
                    <a:pt x="112" y="106"/>
                    <a:pt x="112" y="106"/>
                  </a:cubicBezTo>
                  <a:cubicBezTo>
                    <a:pt x="113" y="105"/>
                    <a:pt x="113" y="105"/>
                    <a:pt x="113" y="105"/>
                  </a:cubicBezTo>
                  <a:cubicBezTo>
                    <a:pt x="113" y="104"/>
                    <a:pt x="113" y="104"/>
                    <a:pt x="113" y="104"/>
                  </a:cubicBezTo>
                  <a:cubicBezTo>
                    <a:pt x="110" y="104"/>
                    <a:pt x="110" y="104"/>
                    <a:pt x="110" y="104"/>
                  </a:cubicBezTo>
                  <a:cubicBezTo>
                    <a:pt x="109" y="104"/>
                    <a:pt x="109" y="104"/>
                    <a:pt x="109" y="104"/>
                  </a:cubicBezTo>
                  <a:cubicBezTo>
                    <a:pt x="110" y="103"/>
                    <a:pt x="110" y="103"/>
                    <a:pt x="110" y="103"/>
                  </a:cubicBezTo>
                  <a:cubicBezTo>
                    <a:pt x="110" y="101"/>
                    <a:pt x="110" y="101"/>
                    <a:pt x="110" y="101"/>
                  </a:cubicBezTo>
                  <a:cubicBezTo>
                    <a:pt x="111" y="99"/>
                    <a:pt x="111" y="99"/>
                    <a:pt x="111" y="99"/>
                  </a:cubicBezTo>
                  <a:cubicBezTo>
                    <a:pt x="111" y="99"/>
                    <a:pt x="111" y="97"/>
                    <a:pt x="112" y="97"/>
                  </a:cubicBezTo>
                  <a:cubicBezTo>
                    <a:pt x="112" y="97"/>
                    <a:pt x="113" y="96"/>
                    <a:pt x="113" y="95"/>
                  </a:cubicBezTo>
                  <a:cubicBezTo>
                    <a:pt x="114" y="95"/>
                    <a:pt x="113" y="94"/>
                    <a:pt x="113" y="94"/>
                  </a:cubicBezTo>
                  <a:cubicBezTo>
                    <a:pt x="111" y="94"/>
                    <a:pt x="111" y="94"/>
                    <a:pt x="111" y="94"/>
                  </a:cubicBezTo>
                  <a:cubicBezTo>
                    <a:pt x="109" y="95"/>
                    <a:pt x="109" y="95"/>
                    <a:pt x="109" y="95"/>
                  </a:cubicBezTo>
                  <a:cubicBezTo>
                    <a:pt x="109" y="95"/>
                    <a:pt x="106" y="96"/>
                    <a:pt x="105" y="96"/>
                  </a:cubicBezTo>
                  <a:cubicBezTo>
                    <a:pt x="104" y="96"/>
                    <a:pt x="105" y="96"/>
                    <a:pt x="104" y="96"/>
                  </a:cubicBezTo>
                  <a:cubicBezTo>
                    <a:pt x="104" y="95"/>
                    <a:pt x="103" y="95"/>
                    <a:pt x="103" y="95"/>
                  </a:cubicBezTo>
                  <a:cubicBezTo>
                    <a:pt x="103" y="95"/>
                    <a:pt x="101" y="95"/>
                    <a:pt x="101" y="95"/>
                  </a:cubicBezTo>
                  <a:cubicBezTo>
                    <a:pt x="100" y="95"/>
                    <a:pt x="100" y="96"/>
                    <a:pt x="100" y="96"/>
                  </a:cubicBezTo>
                  <a:cubicBezTo>
                    <a:pt x="100" y="96"/>
                    <a:pt x="103" y="97"/>
                    <a:pt x="104" y="98"/>
                  </a:cubicBezTo>
                  <a:cubicBezTo>
                    <a:pt x="104" y="98"/>
                    <a:pt x="105" y="98"/>
                    <a:pt x="105" y="98"/>
                  </a:cubicBezTo>
                  <a:cubicBezTo>
                    <a:pt x="105" y="99"/>
                    <a:pt x="105" y="99"/>
                    <a:pt x="105" y="99"/>
                  </a:cubicBezTo>
                  <a:cubicBezTo>
                    <a:pt x="105" y="99"/>
                    <a:pt x="104" y="101"/>
                    <a:pt x="103" y="101"/>
                  </a:cubicBezTo>
                  <a:cubicBezTo>
                    <a:pt x="103" y="102"/>
                    <a:pt x="102" y="102"/>
                    <a:pt x="102" y="102"/>
                  </a:cubicBezTo>
                  <a:cubicBezTo>
                    <a:pt x="100" y="103"/>
                    <a:pt x="100" y="103"/>
                    <a:pt x="100" y="103"/>
                  </a:cubicBezTo>
                  <a:cubicBezTo>
                    <a:pt x="100" y="103"/>
                    <a:pt x="101" y="105"/>
                    <a:pt x="101" y="105"/>
                  </a:cubicBezTo>
                  <a:cubicBezTo>
                    <a:pt x="101" y="105"/>
                    <a:pt x="101" y="107"/>
                    <a:pt x="101" y="107"/>
                  </a:cubicBezTo>
                  <a:cubicBezTo>
                    <a:pt x="99" y="106"/>
                    <a:pt x="99" y="106"/>
                    <a:pt x="99" y="106"/>
                  </a:cubicBezTo>
                  <a:cubicBezTo>
                    <a:pt x="96" y="108"/>
                    <a:pt x="96" y="108"/>
                    <a:pt x="96" y="108"/>
                  </a:cubicBezTo>
                  <a:cubicBezTo>
                    <a:pt x="96" y="108"/>
                    <a:pt x="95" y="108"/>
                    <a:pt x="95" y="108"/>
                  </a:cubicBezTo>
                  <a:cubicBezTo>
                    <a:pt x="94" y="108"/>
                    <a:pt x="94" y="107"/>
                    <a:pt x="94" y="107"/>
                  </a:cubicBezTo>
                  <a:cubicBezTo>
                    <a:pt x="93" y="109"/>
                    <a:pt x="93" y="109"/>
                    <a:pt x="93" y="109"/>
                  </a:cubicBezTo>
                  <a:cubicBezTo>
                    <a:pt x="93" y="109"/>
                    <a:pt x="89" y="108"/>
                    <a:pt x="88" y="108"/>
                  </a:cubicBezTo>
                  <a:cubicBezTo>
                    <a:pt x="88" y="108"/>
                    <a:pt x="88" y="110"/>
                    <a:pt x="88" y="110"/>
                  </a:cubicBezTo>
                  <a:cubicBezTo>
                    <a:pt x="90" y="111"/>
                    <a:pt x="90" y="111"/>
                    <a:pt x="90" y="111"/>
                  </a:cubicBezTo>
                  <a:cubicBezTo>
                    <a:pt x="88" y="112"/>
                    <a:pt x="88" y="112"/>
                    <a:pt x="88" y="112"/>
                  </a:cubicBezTo>
                  <a:cubicBezTo>
                    <a:pt x="92" y="114"/>
                    <a:pt x="92" y="114"/>
                    <a:pt x="92" y="114"/>
                  </a:cubicBezTo>
                  <a:cubicBezTo>
                    <a:pt x="93" y="115"/>
                    <a:pt x="93" y="115"/>
                    <a:pt x="93" y="115"/>
                  </a:cubicBezTo>
                  <a:cubicBezTo>
                    <a:pt x="94" y="118"/>
                    <a:pt x="94" y="118"/>
                    <a:pt x="94" y="118"/>
                  </a:cubicBezTo>
                  <a:cubicBezTo>
                    <a:pt x="93" y="119"/>
                    <a:pt x="93" y="119"/>
                    <a:pt x="93" y="119"/>
                  </a:cubicBezTo>
                  <a:cubicBezTo>
                    <a:pt x="95" y="121"/>
                    <a:pt x="95" y="121"/>
                    <a:pt x="95" y="121"/>
                  </a:cubicBezTo>
                  <a:cubicBezTo>
                    <a:pt x="95" y="121"/>
                    <a:pt x="95" y="122"/>
                    <a:pt x="96" y="123"/>
                  </a:cubicBezTo>
                  <a:cubicBezTo>
                    <a:pt x="96" y="123"/>
                    <a:pt x="96" y="125"/>
                    <a:pt x="96" y="125"/>
                  </a:cubicBezTo>
                  <a:cubicBezTo>
                    <a:pt x="96" y="127"/>
                    <a:pt x="96" y="127"/>
                    <a:pt x="96" y="127"/>
                  </a:cubicBezTo>
                  <a:cubicBezTo>
                    <a:pt x="96" y="128"/>
                    <a:pt x="96" y="128"/>
                    <a:pt x="96" y="128"/>
                  </a:cubicBezTo>
                  <a:cubicBezTo>
                    <a:pt x="96" y="128"/>
                    <a:pt x="94" y="129"/>
                    <a:pt x="94" y="130"/>
                  </a:cubicBezTo>
                  <a:cubicBezTo>
                    <a:pt x="94" y="130"/>
                    <a:pt x="95" y="130"/>
                    <a:pt x="95" y="130"/>
                  </a:cubicBezTo>
                  <a:cubicBezTo>
                    <a:pt x="97" y="132"/>
                    <a:pt x="97" y="132"/>
                    <a:pt x="97" y="132"/>
                  </a:cubicBezTo>
                  <a:cubicBezTo>
                    <a:pt x="98" y="134"/>
                    <a:pt x="98" y="134"/>
                    <a:pt x="98" y="134"/>
                  </a:cubicBezTo>
                  <a:cubicBezTo>
                    <a:pt x="98" y="134"/>
                    <a:pt x="97" y="135"/>
                    <a:pt x="97" y="136"/>
                  </a:cubicBezTo>
                  <a:cubicBezTo>
                    <a:pt x="97" y="136"/>
                    <a:pt x="99" y="137"/>
                    <a:pt x="99" y="137"/>
                  </a:cubicBezTo>
                  <a:cubicBezTo>
                    <a:pt x="103" y="137"/>
                    <a:pt x="103" y="137"/>
                    <a:pt x="103" y="137"/>
                  </a:cubicBezTo>
                  <a:cubicBezTo>
                    <a:pt x="105" y="137"/>
                    <a:pt x="105" y="137"/>
                    <a:pt x="105" y="137"/>
                  </a:cubicBezTo>
                  <a:cubicBezTo>
                    <a:pt x="105" y="137"/>
                    <a:pt x="108" y="137"/>
                    <a:pt x="109" y="137"/>
                  </a:cubicBezTo>
                  <a:cubicBezTo>
                    <a:pt x="109" y="137"/>
                    <a:pt x="112" y="136"/>
                    <a:pt x="112" y="136"/>
                  </a:cubicBezTo>
                  <a:cubicBezTo>
                    <a:pt x="112" y="136"/>
                    <a:pt x="114" y="138"/>
                    <a:pt x="115" y="138"/>
                  </a:cubicBezTo>
                  <a:cubicBezTo>
                    <a:pt x="116" y="139"/>
                    <a:pt x="115" y="140"/>
                    <a:pt x="115" y="140"/>
                  </a:cubicBezTo>
                  <a:cubicBezTo>
                    <a:pt x="115" y="141"/>
                    <a:pt x="114" y="141"/>
                    <a:pt x="114" y="141"/>
                  </a:cubicBezTo>
                  <a:cubicBezTo>
                    <a:pt x="114" y="141"/>
                    <a:pt x="115" y="144"/>
                    <a:pt x="115" y="144"/>
                  </a:cubicBezTo>
                  <a:cubicBezTo>
                    <a:pt x="116" y="145"/>
                    <a:pt x="116" y="144"/>
                    <a:pt x="116" y="144"/>
                  </a:cubicBezTo>
                  <a:cubicBezTo>
                    <a:pt x="116" y="144"/>
                    <a:pt x="117" y="145"/>
                    <a:pt x="118" y="146"/>
                  </a:cubicBezTo>
                  <a:cubicBezTo>
                    <a:pt x="118" y="147"/>
                    <a:pt x="119" y="147"/>
                    <a:pt x="119" y="147"/>
                  </a:cubicBezTo>
                  <a:cubicBezTo>
                    <a:pt x="120" y="147"/>
                    <a:pt x="120" y="147"/>
                    <a:pt x="120" y="147"/>
                  </a:cubicBezTo>
                  <a:cubicBezTo>
                    <a:pt x="120" y="147"/>
                    <a:pt x="121" y="147"/>
                    <a:pt x="121" y="148"/>
                  </a:cubicBezTo>
                  <a:cubicBezTo>
                    <a:pt x="122" y="148"/>
                    <a:pt x="123" y="148"/>
                    <a:pt x="124" y="148"/>
                  </a:cubicBezTo>
                  <a:cubicBezTo>
                    <a:pt x="124" y="148"/>
                    <a:pt x="125" y="148"/>
                    <a:pt x="125" y="147"/>
                  </a:cubicBezTo>
                  <a:cubicBezTo>
                    <a:pt x="125" y="147"/>
                    <a:pt x="126" y="147"/>
                    <a:pt x="127" y="147"/>
                  </a:cubicBezTo>
                  <a:cubicBezTo>
                    <a:pt x="127" y="146"/>
                    <a:pt x="127" y="145"/>
                    <a:pt x="127" y="145"/>
                  </a:cubicBezTo>
                  <a:cubicBezTo>
                    <a:pt x="127" y="145"/>
                    <a:pt x="127" y="145"/>
                    <a:pt x="127" y="145"/>
                  </a:cubicBezTo>
                  <a:close/>
                  <a:moveTo>
                    <a:pt x="127" y="150"/>
                  </a:moveTo>
                  <a:cubicBezTo>
                    <a:pt x="127" y="150"/>
                    <a:pt x="127" y="150"/>
                    <a:pt x="127" y="150"/>
                  </a:cubicBezTo>
                  <a:cubicBezTo>
                    <a:pt x="126" y="151"/>
                    <a:pt x="126" y="151"/>
                    <a:pt x="126" y="151"/>
                  </a:cubicBezTo>
                  <a:cubicBezTo>
                    <a:pt x="127" y="151"/>
                    <a:pt x="127" y="151"/>
                    <a:pt x="127" y="151"/>
                  </a:cubicBezTo>
                  <a:cubicBezTo>
                    <a:pt x="127" y="151"/>
                    <a:pt x="129" y="152"/>
                    <a:pt x="129" y="152"/>
                  </a:cubicBezTo>
                  <a:cubicBezTo>
                    <a:pt x="130" y="152"/>
                    <a:pt x="130" y="152"/>
                    <a:pt x="130" y="152"/>
                  </a:cubicBezTo>
                  <a:cubicBezTo>
                    <a:pt x="131" y="151"/>
                    <a:pt x="131" y="151"/>
                    <a:pt x="131" y="151"/>
                  </a:cubicBezTo>
                  <a:cubicBezTo>
                    <a:pt x="132" y="149"/>
                    <a:pt x="132" y="149"/>
                    <a:pt x="132" y="149"/>
                  </a:cubicBezTo>
                  <a:cubicBezTo>
                    <a:pt x="135" y="148"/>
                    <a:pt x="135" y="148"/>
                    <a:pt x="135" y="148"/>
                  </a:cubicBezTo>
                  <a:cubicBezTo>
                    <a:pt x="135" y="148"/>
                    <a:pt x="138" y="148"/>
                    <a:pt x="138" y="148"/>
                  </a:cubicBezTo>
                  <a:cubicBezTo>
                    <a:pt x="138" y="148"/>
                    <a:pt x="139" y="147"/>
                    <a:pt x="139" y="147"/>
                  </a:cubicBezTo>
                  <a:cubicBezTo>
                    <a:pt x="139" y="146"/>
                    <a:pt x="139" y="146"/>
                    <a:pt x="139" y="146"/>
                  </a:cubicBezTo>
                  <a:cubicBezTo>
                    <a:pt x="137" y="144"/>
                    <a:pt x="137" y="144"/>
                    <a:pt x="137" y="144"/>
                  </a:cubicBezTo>
                  <a:cubicBezTo>
                    <a:pt x="135" y="144"/>
                    <a:pt x="135" y="144"/>
                    <a:pt x="135" y="144"/>
                  </a:cubicBezTo>
                  <a:cubicBezTo>
                    <a:pt x="135" y="144"/>
                    <a:pt x="133" y="144"/>
                    <a:pt x="132" y="144"/>
                  </a:cubicBezTo>
                  <a:cubicBezTo>
                    <a:pt x="132" y="144"/>
                    <a:pt x="131" y="144"/>
                    <a:pt x="131" y="144"/>
                  </a:cubicBezTo>
                  <a:cubicBezTo>
                    <a:pt x="131" y="144"/>
                    <a:pt x="131" y="145"/>
                    <a:pt x="131" y="146"/>
                  </a:cubicBezTo>
                  <a:cubicBezTo>
                    <a:pt x="130" y="147"/>
                    <a:pt x="130" y="147"/>
                    <a:pt x="129" y="147"/>
                  </a:cubicBezTo>
                  <a:cubicBezTo>
                    <a:pt x="129" y="147"/>
                    <a:pt x="128" y="147"/>
                    <a:pt x="128" y="147"/>
                  </a:cubicBezTo>
                  <a:cubicBezTo>
                    <a:pt x="127" y="150"/>
                    <a:pt x="127" y="150"/>
                    <a:pt x="127" y="150"/>
                  </a:cubicBezTo>
                  <a:close/>
                  <a:moveTo>
                    <a:pt x="116" y="162"/>
                  </a:moveTo>
                  <a:cubicBezTo>
                    <a:pt x="116" y="162"/>
                    <a:pt x="116" y="162"/>
                    <a:pt x="116" y="162"/>
                  </a:cubicBezTo>
                  <a:cubicBezTo>
                    <a:pt x="117" y="162"/>
                    <a:pt x="117" y="162"/>
                    <a:pt x="117" y="162"/>
                  </a:cubicBezTo>
                  <a:cubicBezTo>
                    <a:pt x="118" y="161"/>
                    <a:pt x="118" y="161"/>
                    <a:pt x="118" y="161"/>
                  </a:cubicBezTo>
                  <a:cubicBezTo>
                    <a:pt x="117" y="159"/>
                    <a:pt x="117" y="159"/>
                    <a:pt x="117" y="159"/>
                  </a:cubicBezTo>
                  <a:cubicBezTo>
                    <a:pt x="116" y="158"/>
                    <a:pt x="116" y="158"/>
                    <a:pt x="116" y="158"/>
                  </a:cubicBezTo>
                  <a:cubicBezTo>
                    <a:pt x="115" y="155"/>
                    <a:pt x="115" y="155"/>
                    <a:pt x="115" y="155"/>
                  </a:cubicBezTo>
                  <a:cubicBezTo>
                    <a:pt x="113" y="153"/>
                    <a:pt x="113" y="153"/>
                    <a:pt x="113" y="153"/>
                  </a:cubicBezTo>
                  <a:cubicBezTo>
                    <a:pt x="112" y="152"/>
                    <a:pt x="112" y="152"/>
                    <a:pt x="112" y="152"/>
                  </a:cubicBezTo>
                  <a:cubicBezTo>
                    <a:pt x="111" y="154"/>
                    <a:pt x="111" y="154"/>
                    <a:pt x="111" y="154"/>
                  </a:cubicBezTo>
                  <a:cubicBezTo>
                    <a:pt x="110" y="155"/>
                    <a:pt x="110" y="155"/>
                    <a:pt x="110" y="155"/>
                  </a:cubicBezTo>
                  <a:cubicBezTo>
                    <a:pt x="109" y="156"/>
                    <a:pt x="109" y="156"/>
                    <a:pt x="109" y="156"/>
                  </a:cubicBezTo>
                  <a:cubicBezTo>
                    <a:pt x="109" y="156"/>
                    <a:pt x="106" y="155"/>
                    <a:pt x="105" y="154"/>
                  </a:cubicBezTo>
                  <a:cubicBezTo>
                    <a:pt x="103" y="153"/>
                    <a:pt x="103" y="153"/>
                    <a:pt x="103" y="153"/>
                  </a:cubicBezTo>
                  <a:cubicBezTo>
                    <a:pt x="103" y="153"/>
                    <a:pt x="102" y="153"/>
                    <a:pt x="101" y="152"/>
                  </a:cubicBezTo>
                  <a:cubicBezTo>
                    <a:pt x="101" y="152"/>
                    <a:pt x="100" y="151"/>
                    <a:pt x="100" y="151"/>
                  </a:cubicBezTo>
                  <a:cubicBezTo>
                    <a:pt x="100" y="151"/>
                    <a:pt x="100" y="150"/>
                    <a:pt x="99" y="150"/>
                  </a:cubicBezTo>
                  <a:cubicBezTo>
                    <a:pt x="99" y="149"/>
                    <a:pt x="98" y="150"/>
                    <a:pt x="97" y="150"/>
                  </a:cubicBezTo>
                  <a:cubicBezTo>
                    <a:pt x="95" y="150"/>
                    <a:pt x="95" y="150"/>
                    <a:pt x="94" y="150"/>
                  </a:cubicBezTo>
                  <a:cubicBezTo>
                    <a:pt x="94" y="151"/>
                    <a:pt x="93" y="151"/>
                    <a:pt x="93" y="151"/>
                  </a:cubicBezTo>
                  <a:cubicBezTo>
                    <a:pt x="92" y="152"/>
                    <a:pt x="93" y="154"/>
                    <a:pt x="93" y="154"/>
                  </a:cubicBezTo>
                  <a:cubicBezTo>
                    <a:pt x="93" y="155"/>
                    <a:pt x="93" y="155"/>
                    <a:pt x="93" y="155"/>
                  </a:cubicBezTo>
                  <a:cubicBezTo>
                    <a:pt x="94" y="157"/>
                    <a:pt x="94" y="157"/>
                    <a:pt x="94" y="157"/>
                  </a:cubicBezTo>
                  <a:cubicBezTo>
                    <a:pt x="92" y="157"/>
                    <a:pt x="92" y="157"/>
                    <a:pt x="92" y="157"/>
                  </a:cubicBezTo>
                  <a:cubicBezTo>
                    <a:pt x="91" y="157"/>
                    <a:pt x="91" y="157"/>
                    <a:pt x="91" y="157"/>
                  </a:cubicBezTo>
                  <a:cubicBezTo>
                    <a:pt x="92" y="159"/>
                    <a:pt x="92" y="159"/>
                    <a:pt x="92" y="159"/>
                  </a:cubicBezTo>
                  <a:cubicBezTo>
                    <a:pt x="92" y="159"/>
                    <a:pt x="92" y="160"/>
                    <a:pt x="93" y="161"/>
                  </a:cubicBezTo>
                  <a:cubicBezTo>
                    <a:pt x="93" y="161"/>
                    <a:pt x="94" y="162"/>
                    <a:pt x="94" y="162"/>
                  </a:cubicBezTo>
                  <a:cubicBezTo>
                    <a:pt x="94" y="162"/>
                    <a:pt x="99" y="163"/>
                    <a:pt x="99" y="163"/>
                  </a:cubicBezTo>
                  <a:cubicBezTo>
                    <a:pt x="100" y="163"/>
                    <a:pt x="100" y="163"/>
                    <a:pt x="100" y="163"/>
                  </a:cubicBezTo>
                  <a:cubicBezTo>
                    <a:pt x="100" y="163"/>
                    <a:pt x="102" y="164"/>
                    <a:pt x="104" y="165"/>
                  </a:cubicBezTo>
                  <a:cubicBezTo>
                    <a:pt x="105" y="166"/>
                    <a:pt x="106" y="167"/>
                    <a:pt x="106" y="167"/>
                  </a:cubicBezTo>
                  <a:cubicBezTo>
                    <a:pt x="106" y="167"/>
                    <a:pt x="108" y="167"/>
                    <a:pt x="108" y="167"/>
                  </a:cubicBezTo>
                  <a:cubicBezTo>
                    <a:pt x="109" y="166"/>
                    <a:pt x="109" y="166"/>
                    <a:pt x="109" y="166"/>
                  </a:cubicBezTo>
                  <a:cubicBezTo>
                    <a:pt x="112" y="165"/>
                    <a:pt x="112" y="165"/>
                    <a:pt x="112" y="165"/>
                  </a:cubicBezTo>
                  <a:cubicBezTo>
                    <a:pt x="114" y="165"/>
                    <a:pt x="114" y="165"/>
                    <a:pt x="114" y="165"/>
                  </a:cubicBezTo>
                  <a:cubicBezTo>
                    <a:pt x="117" y="166"/>
                    <a:pt x="117" y="166"/>
                    <a:pt x="117" y="166"/>
                  </a:cubicBezTo>
                  <a:cubicBezTo>
                    <a:pt x="118" y="166"/>
                    <a:pt x="118" y="166"/>
                    <a:pt x="118" y="166"/>
                  </a:cubicBezTo>
                  <a:cubicBezTo>
                    <a:pt x="118" y="164"/>
                    <a:pt x="118" y="164"/>
                    <a:pt x="118" y="164"/>
                  </a:cubicBezTo>
                  <a:cubicBezTo>
                    <a:pt x="118" y="163"/>
                    <a:pt x="118" y="163"/>
                    <a:pt x="118" y="163"/>
                  </a:cubicBezTo>
                  <a:cubicBezTo>
                    <a:pt x="116" y="162"/>
                    <a:pt x="116" y="162"/>
                    <a:pt x="116" y="162"/>
                  </a:cubicBezTo>
                  <a:close/>
                  <a:moveTo>
                    <a:pt x="77" y="121"/>
                  </a:moveTo>
                  <a:cubicBezTo>
                    <a:pt x="77" y="121"/>
                    <a:pt x="77" y="121"/>
                    <a:pt x="77" y="121"/>
                  </a:cubicBezTo>
                  <a:cubicBezTo>
                    <a:pt x="75" y="120"/>
                    <a:pt x="75" y="120"/>
                    <a:pt x="75" y="120"/>
                  </a:cubicBezTo>
                  <a:cubicBezTo>
                    <a:pt x="73" y="117"/>
                    <a:pt x="73" y="117"/>
                    <a:pt x="73" y="117"/>
                  </a:cubicBezTo>
                  <a:cubicBezTo>
                    <a:pt x="70" y="116"/>
                    <a:pt x="70" y="116"/>
                    <a:pt x="70" y="116"/>
                  </a:cubicBezTo>
                  <a:cubicBezTo>
                    <a:pt x="70" y="116"/>
                    <a:pt x="69" y="113"/>
                    <a:pt x="69" y="113"/>
                  </a:cubicBezTo>
                  <a:cubicBezTo>
                    <a:pt x="68" y="112"/>
                    <a:pt x="68" y="113"/>
                    <a:pt x="68" y="113"/>
                  </a:cubicBezTo>
                  <a:cubicBezTo>
                    <a:pt x="68" y="113"/>
                    <a:pt x="68" y="115"/>
                    <a:pt x="67" y="116"/>
                  </a:cubicBezTo>
                  <a:cubicBezTo>
                    <a:pt x="66" y="116"/>
                    <a:pt x="65" y="116"/>
                    <a:pt x="65" y="116"/>
                  </a:cubicBezTo>
                  <a:cubicBezTo>
                    <a:pt x="63" y="118"/>
                    <a:pt x="63" y="118"/>
                    <a:pt x="63" y="118"/>
                  </a:cubicBezTo>
                  <a:cubicBezTo>
                    <a:pt x="63" y="118"/>
                    <a:pt x="60" y="119"/>
                    <a:pt x="59" y="119"/>
                  </a:cubicBezTo>
                  <a:cubicBezTo>
                    <a:pt x="59" y="119"/>
                    <a:pt x="58" y="120"/>
                    <a:pt x="58" y="120"/>
                  </a:cubicBezTo>
                  <a:cubicBezTo>
                    <a:pt x="52" y="119"/>
                    <a:pt x="52" y="119"/>
                    <a:pt x="52" y="119"/>
                  </a:cubicBezTo>
                  <a:cubicBezTo>
                    <a:pt x="50" y="121"/>
                    <a:pt x="50" y="121"/>
                    <a:pt x="50" y="121"/>
                  </a:cubicBezTo>
                  <a:cubicBezTo>
                    <a:pt x="50" y="122"/>
                    <a:pt x="50" y="122"/>
                    <a:pt x="50" y="122"/>
                  </a:cubicBezTo>
                  <a:cubicBezTo>
                    <a:pt x="51" y="124"/>
                    <a:pt x="51" y="124"/>
                    <a:pt x="51" y="124"/>
                  </a:cubicBezTo>
                  <a:cubicBezTo>
                    <a:pt x="52" y="125"/>
                    <a:pt x="52" y="125"/>
                    <a:pt x="52" y="125"/>
                  </a:cubicBezTo>
                  <a:cubicBezTo>
                    <a:pt x="53" y="125"/>
                    <a:pt x="53" y="125"/>
                    <a:pt x="53" y="125"/>
                  </a:cubicBezTo>
                  <a:cubicBezTo>
                    <a:pt x="53" y="127"/>
                    <a:pt x="53" y="127"/>
                    <a:pt x="53" y="127"/>
                  </a:cubicBezTo>
                  <a:cubicBezTo>
                    <a:pt x="54" y="129"/>
                    <a:pt x="54" y="129"/>
                    <a:pt x="54" y="129"/>
                  </a:cubicBezTo>
                  <a:cubicBezTo>
                    <a:pt x="54" y="129"/>
                    <a:pt x="55" y="130"/>
                    <a:pt x="56" y="132"/>
                  </a:cubicBezTo>
                  <a:cubicBezTo>
                    <a:pt x="57" y="134"/>
                    <a:pt x="56" y="135"/>
                    <a:pt x="56" y="135"/>
                  </a:cubicBezTo>
                  <a:cubicBezTo>
                    <a:pt x="59" y="138"/>
                    <a:pt x="59" y="138"/>
                    <a:pt x="59" y="138"/>
                  </a:cubicBezTo>
                  <a:cubicBezTo>
                    <a:pt x="61" y="139"/>
                    <a:pt x="61" y="139"/>
                    <a:pt x="61" y="139"/>
                  </a:cubicBezTo>
                  <a:cubicBezTo>
                    <a:pt x="61" y="139"/>
                    <a:pt x="62" y="140"/>
                    <a:pt x="63" y="140"/>
                  </a:cubicBezTo>
                  <a:cubicBezTo>
                    <a:pt x="63" y="140"/>
                    <a:pt x="63" y="141"/>
                    <a:pt x="63" y="141"/>
                  </a:cubicBezTo>
                  <a:cubicBezTo>
                    <a:pt x="63" y="143"/>
                    <a:pt x="63" y="143"/>
                    <a:pt x="63" y="143"/>
                  </a:cubicBezTo>
                  <a:cubicBezTo>
                    <a:pt x="64" y="145"/>
                    <a:pt x="64" y="145"/>
                    <a:pt x="64" y="145"/>
                  </a:cubicBezTo>
                  <a:cubicBezTo>
                    <a:pt x="65" y="144"/>
                    <a:pt x="65" y="144"/>
                    <a:pt x="65" y="144"/>
                  </a:cubicBezTo>
                  <a:cubicBezTo>
                    <a:pt x="66" y="143"/>
                    <a:pt x="66" y="143"/>
                    <a:pt x="66" y="143"/>
                  </a:cubicBezTo>
                  <a:cubicBezTo>
                    <a:pt x="71" y="145"/>
                    <a:pt x="71" y="145"/>
                    <a:pt x="71" y="145"/>
                  </a:cubicBezTo>
                  <a:cubicBezTo>
                    <a:pt x="71" y="145"/>
                    <a:pt x="75" y="147"/>
                    <a:pt x="76" y="147"/>
                  </a:cubicBezTo>
                  <a:cubicBezTo>
                    <a:pt x="76" y="147"/>
                    <a:pt x="78" y="145"/>
                    <a:pt x="78" y="145"/>
                  </a:cubicBezTo>
                  <a:cubicBezTo>
                    <a:pt x="79" y="144"/>
                    <a:pt x="82" y="144"/>
                    <a:pt x="82" y="144"/>
                  </a:cubicBezTo>
                  <a:cubicBezTo>
                    <a:pt x="83" y="144"/>
                    <a:pt x="83" y="143"/>
                    <a:pt x="83" y="143"/>
                  </a:cubicBezTo>
                  <a:cubicBezTo>
                    <a:pt x="83" y="142"/>
                    <a:pt x="84" y="141"/>
                    <a:pt x="84" y="140"/>
                  </a:cubicBezTo>
                  <a:cubicBezTo>
                    <a:pt x="84" y="139"/>
                    <a:pt x="85" y="138"/>
                    <a:pt x="85" y="138"/>
                  </a:cubicBezTo>
                  <a:cubicBezTo>
                    <a:pt x="85" y="136"/>
                    <a:pt x="85" y="136"/>
                    <a:pt x="85" y="136"/>
                  </a:cubicBezTo>
                  <a:cubicBezTo>
                    <a:pt x="84" y="133"/>
                    <a:pt x="84" y="133"/>
                    <a:pt x="84" y="133"/>
                  </a:cubicBezTo>
                  <a:cubicBezTo>
                    <a:pt x="85" y="129"/>
                    <a:pt x="85" y="129"/>
                    <a:pt x="85" y="129"/>
                  </a:cubicBezTo>
                  <a:cubicBezTo>
                    <a:pt x="83" y="127"/>
                    <a:pt x="83" y="127"/>
                    <a:pt x="83" y="127"/>
                  </a:cubicBezTo>
                  <a:cubicBezTo>
                    <a:pt x="82" y="126"/>
                    <a:pt x="82" y="126"/>
                    <a:pt x="82" y="126"/>
                  </a:cubicBezTo>
                  <a:cubicBezTo>
                    <a:pt x="82" y="125"/>
                    <a:pt x="82" y="125"/>
                    <a:pt x="82" y="125"/>
                  </a:cubicBezTo>
                  <a:cubicBezTo>
                    <a:pt x="82" y="124"/>
                    <a:pt x="82" y="124"/>
                    <a:pt x="82" y="124"/>
                  </a:cubicBezTo>
                  <a:cubicBezTo>
                    <a:pt x="84" y="123"/>
                    <a:pt x="84" y="123"/>
                    <a:pt x="84" y="123"/>
                  </a:cubicBezTo>
                  <a:cubicBezTo>
                    <a:pt x="84" y="120"/>
                    <a:pt x="84" y="120"/>
                    <a:pt x="84" y="120"/>
                  </a:cubicBezTo>
                  <a:cubicBezTo>
                    <a:pt x="87" y="118"/>
                    <a:pt x="87" y="118"/>
                    <a:pt x="87" y="118"/>
                  </a:cubicBezTo>
                  <a:cubicBezTo>
                    <a:pt x="88" y="115"/>
                    <a:pt x="88" y="115"/>
                    <a:pt x="88" y="115"/>
                  </a:cubicBezTo>
                  <a:cubicBezTo>
                    <a:pt x="88" y="115"/>
                    <a:pt x="84" y="114"/>
                    <a:pt x="83" y="114"/>
                  </a:cubicBezTo>
                  <a:cubicBezTo>
                    <a:pt x="81" y="114"/>
                    <a:pt x="82" y="114"/>
                    <a:pt x="82" y="113"/>
                  </a:cubicBezTo>
                  <a:cubicBezTo>
                    <a:pt x="82" y="113"/>
                    <a:pt x="81" y="112"/>
                    <a:pt x="81" y="112"/>
                  </a:cubicBezTo>
                  <a:cubicBezTo>
                    <a:pt x="81" y="112"/>
                    <a:pt x="79" y="113"/>
                    <a:pt x="79" y="113"/>
                  </a:cubicBezTo>
                  <a:cubicBezTo>
                    <a:pt x="78" y="113"/>
                    <a:pt x="78" y="111"/>
                    <a:pt x="78" y="111"/>
                  </a:cubicBezTo>
                  <a:cubicBezTo>
                    <a:pt x="78" y="111"/>
                    <a:pt x="76" y="112"/>
                    <a:pt x="76" y="112"/>
                  </a:cubicBezTo>
                  <a:cubicBezTo>
                    <a:pt x="75" y="112"/>
                    <a:pt x="73" y="112"/>
                    <a:pt x="73" y="112"/>
                  </a:cubicBezTo>
                  <a:cubicBezTo>
                    <a:pt x="73" y="112"/>
                    <a:pt x="73" y="113"/>
                    <a:pt x="73" y="113"/>
                  </a:cubicBezTo>
                  <a:cubicBezTo>
                    <a:pt x="72" y="114"/>
                    <a:pt x="73" y="115"/>
                    <a:pt x="74" y="115"/>
                  </a:cubicBezTo>
                  <a:cubicBezTo>
                    <a:pt x="74" y="116"/>
                    <a:pt x="75" y="118"/>
                    <a:pt x="75" y="118"/>
                  </a:cubicBezTo>
                  <a:cubicBezTo>
                    <a:pt x="76" y="120"/>
                    <a:pt x="76" y="120"/>
                    <a:pt x="76" y="120"/>
                  </a:cubicBezTo>
                  <a:cubicBezTo>
                    <a:pt x="77" y="121"/>
                    <a:pt x="77" y="121"/>
                    <a:pt x="77" y="121"/>
                  </a:cubicBezTo>
                  <a:close/>
                  <a:moveTo>
                    <a:pt x="75" y="107"/>
                  </a:moveTo>
                  <a:cubicBezTo>
                    <a:pt x="75" y="107"/>
                    <a:pt x="75" y="107"/>
                    <a:pt x="75" y="107"/>
                  </a:cubicBezTo>
                  <a:cubicBezTo>
                    <a:pt x="77" y="107"/>
                    <a:pt x="77" y="107"/>
                    <a:pt x="77" y="107"/>
                  </a:cubicBezTo>
                  <a:cubicBezTo>
                    <a:pt x="78" y="105"/>
                    <a:pt x="78" y="105"/>
                    <a:pt x="78" y="105"/>
                  </a:cubicBezTo>
                  <a:cubicBezTo>
                    <a:pt x="78" y="105"/>
                    <a:pt x="79" y="104"/>
                    <a:pt x="79" y="103"/>
                  </a:cubicBezTo>
                  <a:cubicBezTo>
                    <a:pt x="79" y="103"/>
                    <a:pt x="79" y="102"/>
                    <a:pt x="79" y="102"/>
                  </a:cubicBezTo>
                  <a:cubicBezTo>
                    <a:pt x="79" y="100"/>
                    <a:pt x="79" y="100"/>
                    <a:pt x="79" y="100"/>
                  </a:cubicBezTo>
                  <a:cubicBezTo>
                    <a:pt x="78" y="99"/>
                    <a:pt x="78" y="99"/>
                    <a:pt x="78" y="99"/>
                  </a:cubicBezTo>
                  <a:cubicBezTo>
                    <a:pt x="77" y="97"/>
                    <a:pt x="77" y="97"/>
                    <a:pt x="77" y="97"/>
                  </a:cubicBezTo>
                  <a:cubicBezTo>
                    <a:pt x="76" y="94"/>
                    <a:pt x="76" y="94"/>
                    <a:pt x="76" y="94"/>
                  </a:cubicBezTo>
                  <a:cubicBezTo>
                    <a:pt x="74" y="94"/>
                    <a:pt x="74" y="94"/>
                    <a:pt x="74" y="94"/>
                  </a:cubicBezTo>
                  <a:cubicBezTo>
                    <a:pt x="74" y="94"/>
                    <a:pt x="74" y="96"/>
                    <a:pt x="74" y="96"/>
                  </a:cubicBezTo>
                  <a:cubicBezTo>
                    <a:pt x="74" y="97"/>
                    <a:pt x="75" y="98"/>
                    <a:pt x="75" y="98"/>
                  </a:cubicBezTo>
                  <a:cubicBezTo>
                    <a:pt x="76" y="99"/>
                    <a:pt x="76" y="99"/>
                    <a:pt x="76" y="99"/>
                  </a:cubicBezTo>
                  <a:cubicBezTo>
                    <a:pt x="76" y="100"/>
                    <a:pt x="76" y="100"/>
                    <a:pt x="76" y="100"/>
                  </a:cubicBezTo>
                  <a:cubicBezTo>
                    <a:pt x="75" y="101"/>
                    <a:pt x="75" y="101"/>
                    <a:pt x="75" y="101"/>
                  </a:cubicBezTo>
                  <a:cubicBezTo>
                    <a:pt x="74" y="103"/>
                    <a:pt x="74" y="103"/>
                    <a:pt x="74" y="103"/>
                  </a:cubicBezTo>
                  <a:cubicBezTo>
                    <a:pt x="75" y="105"/>
                    <a:pt x="75" y="105"/>
                    <a:pt x="75" y="105"/>
                  </a:cubicBezTo>
                  <a:cubicBezTo>
                    <a:pt x="75" y="107"/>
                    <a:pt x="75" y="107"/>
                    <a:pt x="75" y="107"/>
                  </a:cubicBezTo>
                  <a:close/>
                  <a:moveTo>
                    <a:pt x="80" y="157"/>
                  </a:moveTo>
                  <a:cubicBezTo>
                    <a:pt x="80" y="157"/>
                    <a:pt x="80" y="157"/>
                    <a:pt x="80" y="157"/>
                  </a:cubicBezTo>
                  <a:cubicBezTo>
                    <a:pt x="81" y="160"/>
                    <a:pt x="81" y="160"/>
                    <a:pt x="81" y="160"/>
                  </a:cubicBezTo>
                  <a:cubicBezTo>
                    <a:pt x="82" y="162"/>
                    <a:pt x="82" y="162"/>
                    <a:pt x="82" y="162"/>
                  </a:cubicBezTo>
                  <a:cubicBezTo>
                    <a:pt x="82" y="162"/>
                    <a:pt x="84" y="163"/>
                    <a:pt x="84" y="162"/>
                  </a:cubicBezTo>
                  <a:cubicBezTo>
                    <a:pt x="84" y="161"/>
                    <a:pt x="83" y="160"/>
                    <a:pt x="84" y="159"/>
                  </a:cubicBezTo>
                  <a:cubicBezTo>
                    <a:pt x="84" y="158"/>
                    <a:pt x="85" y="156"/>
                    <a:pt x="85" y="155"/>
                  </a:cubicBezTo>
                  <a:cubicBezTo>
                    <a:pt x="85" y="154"/>
                    <a:pt x="86" y="153"/>
                    <a:pt x="86" y="152"/>
                  </a:cubicBezTo>
                  <a:cubicBezTo>
                    <a:pt x="87" y="151"/>
                    <a:pt x="88" y="149"/>
                    <a:pt x="88" y="148"/>
                  </a:cubicBezTo>
                  <a:cubicBezTo>
                    <a:pt x="88" y="148"/>
                    <a:pt x="89" y="146"/>
                    <a:pt x="89" y="145"/>
                  </a:cubicBezTo>
                  <a:cubicBezTo>
                    <a:pt x="89" y="145"/>
                    <a:pt x="89" y="142"/>
                    <a:pt x="89" y="142"/>
                  </a:cubicBezTo>
                  <a:cubicBezTo>
                    <a:pt x="89" y="142"/>
                    <a:pt x="88" y="139"/>
                    <a:pt x="88" y="139"/>
                  </a:cubicBezTo>
                  <a:cubicBezTo>
                    <a:pt x="87" y="141"/>
                    <a:pt x="87" y="141"/>
                    <a:pt x="87" y="141"/>
                  </a:cubicBezTo>
                  <a:cubicBezTo>
                    <a:pt x="87" y="143"/>
                    <a:pt x="87" y="143"/>
                    <a:pt x="87" y="143"/>
                  </a:cubicBezTo>
                  <a:cubicBezTo>
                    <a:pt x="85" y="147"/>
                    <a:pt x="85" y="147"/>
                    <a:pt x="85" y="147"/>
                  </a:cubicBezTo>
                  <a:cubicBezTo>
                    <a:pt x="84" y="149"/>
                    <a:pt x="84" y="149"/>
                    <a:pt x="84" y="149"/>
                  </a:cubicBezTo>
                  <a:cubicBezTo>
                    <a:pt x="82" y="151"/>
                    <a:pt x="82" y="151"/>
                    <a:pt x="82" y="151"/>
                  </a:cubicBezTo>
                  <a:cubicBezTo>
                    <a:pt x="82" y="152"/>
                    <a:pt x="82" y="152"/>
                    <a:pt x="82" y="152"/>
                  </a:cubicBezTo>
                  <a:cubicBezTo>
                    <a:pt x="82" y="154"/>
                    <a:pt x="82" y="154"/>
                    <a:pt x="82" y="154"/>
                  </a:cubicBezTo>
                  <a:cubicBezTo>
                    <a:pt x="81" y="155"/>
                    <a:pt x="81" y="155"/>
                    <a:pt x="81" y="155"/>
                  </a:cubicBezTo>
                  <a:cubicBezTo>
                    <a:pt x="81" y="156"/>
                    <a:pt x="81" y="156"/>
                    <a:pt x="81" y="156"/>
                  </a:cubicBezTo>
                  <a:cubicBezTo>
                    <a:pt x="80" y="157"/>
                    <a:pt x="80" y="157"/>
                    <a:pt x="80" y="157"/>
                  </a:cubicBezTo>
                  <a:close/>
                  <a:moveTo>
                    <a:pt x="75" y="148"/>
                  </a:moveTo>
                  <a:cubicBezTo>
                    <a:pt x="75" y="148"/>
                    <a:pt x="75" y="148"/>
                    <a:pt x="75" y="148"/>
                  </a:cubicBezTo>
                  <a:cubicBezTo>
                    <a:pt x="76" y="149"/>
                    <a:pt x="76" y="149"/>
                    <a:pt x="76" y="149"/>
                  </a:cubicBezTo>
                  <a:cubicBezTo>
                    <a:pt x="76" y="149"/>
                    <a:pt x="77" y="152"/>
                    <a:pt x="78" y="152"/>
                  </a:cubicBezTo>
                  <a:cubicBezTo>
                    <a:pt x="78" y="152"/>
                    <a:pt x="81" y="149"/>
                    <a:pt x="81" y="149"/>
                  </a:cubicBezTo>
                  <a:cubicBezTo>
                    <a:pt x="81" y="147"/>
                    <a:pt x="81" y="147"/>
                    <a:pt x="81" y="147"/>
                  </a:cubicBezTo>
                  <a:cubicBezTo>
                    <a:pt x="82" y="145"/>
                    <a:pt x="82" y="145"/>
                    <a:pt x="82" y="145"/>
                  </a:cubicBezTo>
                  <a:cubicBezTo>
                    <a:pt x="79" y="146"/>
                    <a:pt x="79" y="146"/>
                    <a:pt x="79" y="146"/>
                  </a:cubicBezTo>
                  <a:cubicBezTo>
                    <a:pt x="77" y="148"/>
                    <a:pt x="77" y="148"/>
                    <a:pt x="77" y="148"/>
                  </a:cubicBezTo>
                  <a:cubicBezTo>
                    <a:pt x="75" y="148"/>
                    <a:pt x="75" y="148"/>
                    <a:pt x="75" y="148"/>
                  </a:cubicBezTo>
                  <a:close/>
                  <a:moveTo>
                    <a:pt x="66" y="150"/>
                  </a:moveTo>
                  <a:cubicBezTo>
                    <a:pt x="66" y="150"/>
                    <a:pt x="66" y="150"/>
                    <a:pt x="66" y="150"/>
                  </a:cubicBezTo>
                  <a:cubicBezTo>
                    <a:pt x="66" y="150"/>
                    <a:pt x="67" y="153"/>
                    <a:pt x="67" y="153"/>
                  </a:cubicBezTo>
                  <a:cubicBezTo>
                    <a:pt x="68" y="153"/>
                    <a:pt x="69" y="154"/>
                    <a:pt x="69" y="154"/>
                  </a:cubicBezTo>
                  <a:cubicBezTo>
                    <a:pt x="71" y="156"/>
                    <a:pt x="71" y="156"/>
                    <a:pt x="71" y="156"/>
                  </a:cubicBezTo>
                  <a:cubicBezTo>
                    <a:pt x="71" y="156"/>
                    <a:pt x="71" y="157"/>
                    <a:pt x="72" y="157"/>
                  </a:cubicBezTo>
                  <a:cubicBezTo>
                    <a:pt x="72" y="157"/>
                    <a:pt x="74" y="156"/>
                    <a:pt x="74" y="156"/>
                  </a:cubicBezTo>
                  <a:cubicBezTo>
                    <a:pt x="75" y="154"/>
                    <a:pt x="75" y="154"/>
                    <a:pt x="75" y="154"/>
                  </a:cubicBezTo>
                  <a:cubicBezTo>
                    <a:pt x="75" y="154"/>
                    <a:pt x="73" y="154"/>
                    <a:pt x="73" y="154"/>
                  </a:cubicBezTo>
                  <a:cubicBezTo>
                    <a:pt x="72" y="154"/>
                    <a:pt x="71" y="152"/>
                    <a:pt x="71" y="152"/>
                  </a:cubicBezTo>
                  <a:cubicBezTo>
                    <a:pt x="71" y="152"/>
                    <a:pt x="70" y="152"/>
                    <a:pt x="70" y="152"/>
                  </a:cubicBezTo>
                  <a:cubicBezTo>
                    <a:pt x="69" y="152"/>
                    <a:pt x="67" y="150"/>
                    <a:pt x="67" y="150"/>
                  </a:cubicBezTo>
                  <a:cubicBezTo>
                    <a:pt x="66" y="150"/>
                    <a:pt x="66" y="150"/>
                    <a:pt x="66" y="150"/>
                  </a:cubicBezTo>
                  <a:close/>
                  <a:moveTo>
                    <a:pt x="50" y="147"/>
                  </a:moveTo>
                  <a:cubicBezTo>
                    <a:pt x="50" y="147"/>
                    <a:pt x="50" y="147"/>
                    <a:pt x="50" y="147"/>
                  </a:cubicBezTo>
                  <a:cubicBezTo>
                    <a:pt x="52" y="148"/>
                    <a:pt x="52" y="148"/>
                    <a:pt x="52" y="148"/>
                  </a:cubicBezTo>
                  <a:cubicBezTo>
                    <a:pt x="53" y="149"/>
                    <a:pt x="53" y="149"/>
                    <a:pt x="53" y="149"/>
                  </a:cubicBezTo>
                  <a:cubicBezTo>
                    <a:pt x="55" y="150"/>
                    <a:pt x="55" y="150"/>
                    <a:pt x="55" y="150"/>
                  </a:cubicBezTo>
                  <a:cubicBezTo>
                    <a:pt x="53" y="152"/>
                    <a:pt x="53" y="152"/>
                    <a:pt x="53" y="152"/>
                  </a:cubicBezTo>
                  <a:cubicBezTo>
                    <a:pt x="53" y="152"/>
                    <a:pt x="54" y="154"/>
                    <a:pt x="55" y="153"/>
                  </a:cubicBezTo>
                  <a:cubicBezTo>
                    <a:pt x="56" y="153"/>
                    <a:pt x="56" y="153"/>
                    <a:pt x="56" y="153"/>
                  </a:cubicBezTo>
                  <a:cubicBezTo>
                    <a:pt x="56" y="153"/>
                    <a:pt x="58" y="154"/>
                    <a:pt x="58" y="154"/>
                  </a:cubicBezTo>
                  <a:cubicBezTo>
                    <a:pt x="59" y="155"/>
                    <a:pt x="60" y="155"/>
                    <a:pt x="61" y="155"/>
                  </a:cubicBezTo>
                  <a:cubicBezTo>
                    <a:pt x="62" y="155"/>
                    <a:pt x="62" y="154"/>
                    <a:pt x="62" y="154"/>
                  </a:cubicBezTo>
                  <a:cubicBezTo>
                    <a:pt x="62" y="153"/>
                    <a:pt x="62" y="152"/>
                    <a:pt x="62" y="152"/>
                  </a:cubicBezTo>
                  <a:cubicBezTo>
                    <a:pt x="61" y="150"/>
                    <a:pt x="61" y="150"/>
                    <a:pt x="61" y="150"/>
                  </a:cubicBezTo>
                  <a:cubicBezTo>
                    <a:pt x="60" y="148"/>
                    <a:pt x="60" y="148"/>
                    <a:pt x="60" y="148"/>
                  </a:cubicBezTo>
                  <a:cubicBezTo>
                    <a:pt x="56" y="147"/>
                    <a:pt x="56" y="147"/>
                    <a:pt x="56" y="147"/>
                  </a:cubicBezTo>
                  <a:cubicBezTo>
                    <a:pt x="54" y="145"/>
                    <a:pt x="54" y="145"/>
                    <a:pt x="54" y="145"/>
                  </a:cubicBezTo>
                  <a:cubicBezTo>
                    <a:pt x="51" y="144"/>
                    <a:pt x="51" y="144"/>
                    <a:pt x="51" y="144"/>
                  </a:cubicBezTo>
                  <a:cubicBezTo>
                    <a:pt x="50" y="144"/>
                    <a:pt x="50" y="144"/>
                    <a:pt x="50" y="144"/>
                  </a:cubicBezTo>
                  <a:cubicBezTo>
                    <a:pt x="50" y="147"/>
                    <a:pt x="50" y="147"/>
                    <a:pt x="50" y="147"/>
                  </a:cubicBezTo>
                  <a:close/>
                  <a:moveTo>
                    <a:pt x="83" y="25"/>
                  </a:moveTo>
                  <a:cubicBezTo>
                    <a:pt x="83" y="25"/>
                    <a:pt x="83" y="25"/>
                    <a:pt x="83" y="25"/>
                  </a:cubicBezTo>
                  <a:cubicBezTo>
                    <a:pt x="83" y="26"/>
                    <a:pt x="83" y="26"/>
                    <a:pt x="83" y="26"/>
                  </a:cubicBezTo>
                  <a:cubicBezTo>
                    <a:pt x="83" y="26"/>
                    <a:pt x="84" y="26"/>
                    <a:pt x="84" y="26"/>
                  </a:cubicBezTo>
                  <a:cubicBezTo>
                    <a:pt x="84" y="26"/>
                    <a:pt x="85" y="26"/>
                    <a:pt x="85" y="26"/>
                  </a:cubicBezTo>
                  <a:cubicBezTo>
                    <a:pt x="85" y="26"/>
                    <a:pt x="87" y="27"/>
                    <a:pt x="87" y="27"/>
                  </a:cubicBezTo>
                  <a:cubicBezTo>
                    <a:pt x="87" y="28"/>
                    <a:pt x="88" y="27"/>
                    <a:pt x="88" y="27"/>
                  </a:cubicBezTo>
                  <a:cubicBezTo>
                    <a:pt x="89" y="27"/>
                    <a:pt x="89" y="26"/>
                    <a:pt x="89" y="25"/>
                  </a:cubicBezTo>
                  <a:cubicBezTo>
                    <a:pt x="89" y="25"/>
                    <a:pt x="90" y="24"/>
                    <a:pt x="90" y="24"/>
                  </a:cubicBezTo>
                  <a:cubicBezTo>
                    <a:pt x="90" y="24"/>
                    <a:pt x="93" y="22"/>
                    <a:pt x="93" y="22"/>
                  </a:cubicBezTo>
                  <a:cubicBezTo>
                    <a:pt x="93" y="21"/>
                    <a:pt x="91" y="21"/>
                    <a:pt x="91" y="21"/>
                  </a:cubicBezTo>
                  <a:cubicBezTo>
                    <a:pt x="91" y="21"/>
                    <a:pt x="88" y="22"/>
                    <a:pt x="88" y="22"/>
                  </a:cubicBezTo>
                  <a:cubicBezTo>
                    <a:pt x="88" y="22"/>
                    <a:pt x="85" y="23"/>
                    <a:pt x="85" y="23"/>
                  </a:cubicBezTo>
                  <a:lnTo>
                    <a:pt x="83" y="25"/>
                  </a:lnTo>
                  <a:close/>
                </a:path>
              </a:pathLst>
            </a:custGeom>
            <a:solidFill>
              <a:srgbClr val="E6EFF1"/>
            </a:solidFill>
            <a:ln w="12700" cap="rnd" cmpd="sng">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Lato Light"/>
              </a:endParaRPr>
            </a:p>
          </p:txBody>
        </p:sp>
        <p:sp>
          <p:nvSpPr>
            <p:cNvPr id="21" name="Freeform 144">
              <a:extLst>
                <a:ext uri="{FF2B5EF4-FFF2-40B4-BE49-F238E27FC236}">
                  <a16:creationId xmlns:a16="http://schemas.microsoft.com/office/drawing/2014/main" id="{2F648257-3029-04B1-3A14-7A209E843DCC}"/>
                </a:ext>
              </a:extLst>
            </p:cNvPr>
            <p:cNvSpPr>
              <a:spLocks noEditPoints="1"/>
            </p:cNvSpPr>
            <p:nvPr/>
          </p:nvSpPr>
          <p:spPr bwMode="auto">
            <a:xfrm>
              <a:off x="3288921" y="3525184"/>
              <a:ext cx="391756" cy="444372"/>
            </a:xfrm>
            <a:custGeom>
              <a:avLst/>
              <a:gdLst>
                <a:gd name="T0" fmla="*/ 75 w 136"/>
                <a:gd name="T1" fmla="*/ 25 h 159"/>
                <a:gd name="T2" fmla="*/ 117 w 136"/>
                <a:gd name="T3" fmla="*/ 17 h 159"/>
                <a:gd name="T4" fmla="*/ 125 w 136"/>
                <a:gd name="T5" fmla="*/ 49 h 159"/>
                <a:gd name="T6" fmla="*/ 112 w 136"/>
                <a:gd name="T7" fmla="*/ 67 h 159"/>
                <a:gd name="T8" fmla="*/ 121 w 136"/>
                <a:gd name="T9" fmla="*/ 84 h 159"/>
                <a:gd name="T10" fmla="*/ 114 w 136"/>
                <a:gd name="T11" fmla="*/ 97 h 159"/>
                <a:gd name="T12" fmla="*/ 96 w 136"/>
                <a:gd name="T13" fmla="*/ 100 h 159"/>
                <a:gd name="T14" fmla="*/ 90 w 136"/>
                <a:gd name="T15" fmla="*/ 108 h 159"/>
                <a:gd name="T16" fmla="*/ 92 w 136"/>
                <a:gd name="T17" fmla="*/ 130 h 159"/>
                <a:gd name="T18" fmla="*/ 85 w 136"/>
                <a:gd name="T19" fmla="*/ 141 h 159"/>
                <a:gd name="T20" fmla="*/ 88 w 136"/>
                <a:gd name="T21" fmla="*/ 149 h 159"/>
                <a:gd name="T22" fmla="*/ 85 w 136"/>
                <a:gd name="T23" fmla="*/ 159 h 159"/>
                <a:gd name="T24" fmla="*/ 76 w 136"/>
                <a:gd name="T25" fmla="*/ 148 h 159"/>
                <a:gd name="T26" fmla="*/ 69 w 136"/>
                <a:gd name="T27" fmla="*/ 128 h 159"/>
                <a:gd name="T28" fmla="*/ 56 w 136"/>
                <a:gd name="T29" fmla="*/ 121 h 159"/>
                <a:gd name="T30" fmla="*/ 42 w 136"/>
                <a:gd name="T31" fmla="*/ 119 h 159"/>
                <a:gd name="T32" fmla="*/ 27 w 136"/>
                <a:gd name="T33" fmla="*/ 121 h 159"/>
                <a:gd name="T34" fmla="*/ 13 w 136"/>
                <a:gd name="T35" fmla="*/ 121 h 159"/>
                <a:gd name="T36" fmla="*/ 6 w 136"/>
                <a:gd name="T37" fmla="*/ 112 h 159"/>
                <a:gd name="T38" fmla="*/ 22 w 136"/>
                <a:gd name="T39" fmla="*/ 114 h 159"/>
                <a:gd name="T40" fmla="*/ 27 w 136"/>
                <a:gd name="T41" fmla="*/ 116 h 159"/>
                <a:gd name="T42" fmla="*/ 9 w 136"/>
                <a:gd name="T43" fmla="*/ 111 h 159"/>
                <a:gd name="T44" fmla="*/ 15 w 136"/>
                <a:gd name="T45" fmla="*/ 103 h 159"/>
                <a:gd name="T46" fmla="*/ 25 w 136"/>
                <a:gd name="T47" fmla="*/ 111 h 159"/>
                <a:gd name="T48" fmla="*/ 22 w 136"/>
                <a:gd name="T49" fmla="*/ 105 h 159"/>
                <a:gd name="T50" fmla="*/ 20 w 136"/>
                <a:gd name="T51" fmla="*/ 102 h 159"/>
                <a:gd name="T52" fmla="*/ 20 w 136"/>
                <a:gd name="T53" fmla="*/ 96 h 159"/>
                <a:gd name="T54" fmla="*/ 32 w 136"/>
                <a:gd name="T55" fmla="*/ 104 h 159"/>
                <a:gd name="T56" fmla="*/ 48 w 136"/>
                <a:gd name="T57" fmla="*/ 100 h 159"/>
                <a:gd name="T58" fmla="*/ 30 w 136"/>
                <a:gd name="T59" fmla="*/ 95 h 159"/>
                <a:gd name="T60" fmla="*/ 37 w 136"/>
                <a:gd name="T61" fmla="*/ 73 h 159"/>
                <a:gd name="T62" fmla="*/ 58 w 136"/>
                <a:gd name="T63" fmla="*/ 37 h 159"/>
                <a:gd name="T64" fmla="*/ 67 w 136"/>
                <a:gd name="T65" fmla="*/ 52 h 159"/>
                <a:gd name="T66" fmla="*/ 61 w 136"/>
                <a:gd name="T67" fmla="*/ 64 h 159"/>
                <a:gd name="T68" fmla="*/ 67 w 136"/>
                <a:gd name="T69" fmla="*/ 74 h 159"/>
                <a:gd name="T70" fmla="*/ 66 w 136"/>
                <a:gd name="T71" fmla="*/ 66 h 159"/>
                <a:gd name="T72" fmla="*/ 85 w 136"/>
                <a:gd name="T73" fmla="*/ 65 h 159"/>
                <a:gd name="T74" fmla="*/ 77 w 136"/>
                <a:gd name="T75" fmla="*/ 51 h 159"/>
                <a:gd name="T76" fmla="*/ 71 w 136"/>
                <a:gd name="T77" fmla="*/ 41 h 159"/>
                <a:gd name="T78" fmla="*/ 134 w 136"/>
                <a:gd name="T79" fmla="*/ 0 h 159"/>
                <a:gd name="T80" fmla="*/ 118 w 136"/>
                <a:gd name="T81" fmla="*/ 6 h 159"/>
                <a:gd name="T82" fmla="*/ 111 w 136"/>
                <a:gd name="T83" fmla="*/ 8 h 159"/>
                <a:gd name="T84" fmla="*/ 112 w 136"/>
                <a:gd name="T85" fmla="*/ 9 h 159"/>
                <a:gd name="T86" fmla="*/ 96 w 136"/>
                <a:gd name="T87" fmla="*/ 12 h 159"/>
                <a:gd name="T88" fmla="*/ 98 w 136"/>
                <a:gd name="T89" fmla="*/ 13 h 159"/>
                <a:gd name="T90" fmla="*/ 93 w 136"/>
                <a:gd name="T91" fmla="*/ 13 h 159"/>
                <a:gd name="T92" fmla="*/ 91 w 136"/>
                <a:gd name="T93" fmla="*/ 13 h 159"/>
                <a:gd name="T94" fmla="*/ 81 w 136"/>
                <a:gd name="T95" fmla="*/ 14 h 159"/>
                <a:gd name="T96" fmla="*/ 78 w 136"/>
                <a:gd name="T97" fmla="*/ 14 h 159"/>
                <a:gd name="T98" fmla="*/ 56 w 136"/>
                <a:gd name="T99" fmla="*/ 22 h 159"/>
                <a:gd name="T100" fmla="*/ 60 w 136"/>
                <a:gd name="T101" fmla="*/ 18 h 159"/>
                <a:gd name="T102" fmla="*/ 54 w 136"/>
                <a:gd name="T103" fmla="*/ 25 h 159"/>
                <a:gd name="T104" fmla="*/ 22 w 136"/>
                <a:gd name="T105" fmla="*/ 94 h 159"/>
                <a:gd name="T106" fmla="*/ 29 w 136"/>
                <a:gd name="T107" fmla="*/ 101 h 159"/>
                <a:gd name="T108" fmla="*/ 30 w 136"/>
                <a:gd name="T109" fmla="*/ 97 h 159"/>
                <a:gd name="T110" fmla="*/ 20 w 136"/>
                <a:gd name="T111" fmla="*/ 94 h 159"/>
                <a:gd name="T112" fmla="*/ 76 w 136"/>
                <a:gd name="T113" fmla="*/ 74 h 159"/>
                <a:gd name="T114" fmla="*/ 74 w 136"/>
                <a:gd name="T115" fmla="*/ 72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6" h="159">
                  <a:moveTo>
                    <a:pt x="72" y="35"/>
                  </a:moveTo>
                  <a:cubicBezTo>
                    <a:pt x="71" y="33"/>
                    <a:pt x="71" y="33"/>
                    <a:pt x="71" y="33"/>
                  </a:cubicBezTo>
                  <a:cubicBezTo>
                    <a:pt x="69" y="33"/>
                    <a:pt x="69" y="33"/>
                    <a:pt x="69" y="33"/>
                  </a:cubicBezTo>
                  <a:cubicBezTo>
                    <a:pt x="66" y="35"/>
                    <a:pt x="66" y="35"/>
                    <a:pt x="66" y="35"/>
                  </a:cubicBezTo>
                  <a:cubicBezTo>
                    <a:pt x="66" y="33"/>
                    <a:pt x="66" y="33"/>
                    <a:pt x="66" y="33"/>
                  </a:cubicBezTo>
                  <a:cubicBezTo>
                    <a:pt x="70" y="31"/>
                    <a:pt x="70" y="31"/>
                    <a:pt x="70" y="31"/>
                  </a:cubicBezTo>
                  <a:cubicBezTo>
                    <a:pt x="72" y="30"/>
                    <a:pt x="72" y="30"/>
                    <a:pt x="72" y="30"/>
                  </a:cubicBezTo>
                  <a:cubicBezTo>
                    <a:pt x="73" y="28"/>
                    <a:pt x="73" y="28"/>
                    <a:pt x="73" y="28"/>
                  </a:cubicBezTo>
                  <a:cubicBezTo>
                    <a:pt x="75" y="25"/>
                    <a:pt x="75" y="25"/>
                    <a:pt x="75" y="25"/>
                  </a:cubicBezTo>
                  <a:cubicBezTo>
                    <a:pt x="75" y="25"/>
                    <a:pt x="77" y="23"/>
                    <a:pt x="78" y="22"/>
                  </a:cubicBezTo>
                  <a:cubicBezTo>
                    <a:pt x="79" y="22"/>
                    <a:pt x="83" y="20"/>
                    <a:pt x="83" y="20"/>
                  </a:cubicBezTo>
                  <a:cubicBezTo>
                    <a:pt x="83" y="20"/>
                    <a:pt x="87" y="18"/>
                    <a:pt x="88" y="18"/>
                  </a:cubicBezTo>
                  <a:cubicBezTo>
                    <a:pt x="89" y="18"/>
                    <a:pt x="96" y="17"/>
                    <a:pt x="96" y="17"/>
                  </a:cubicBezTo>
                  <a:cubicBezTo>
                    <a:pt x="103" y="19"/>
                    <a:pt x="103" y="19"/>
                    <a:pt x="103" y="19"/>
                  </a:cubicBezTo>
                  <a:cubicBezTo>
                    <a:pt x="103" y="19"/>
                    <a:pt x="105" y="17"/>
                    <a:pt x="107" y="17"/>
                  </a:cubicBezTo>
                  <a:cubicBezTo>
                    <a:pt x="107" y="17"/>
                    <a:pt x="109" y="18"/>
                    <a:pt x="110" y="18"/>
                  </a:cubicBezTo>
                  <a:cubicBezTo>
                    <a:pt x="111" y="18"/>
                    <a:pt x="113" y="17"/>
                    <a:pt x="113" y="17"/>
                  </a:cubicBezTo>
                  <a:cubicBezTo>
                    <a:pt x="117" y="17"/>
                    <a:pt x="117" y="17"/>
                    <a:pt x="117" y="17"/>
                  </a:cubicBezTo>
                  <a:cubicBezTo>
                    <a:pt x="120" y="21"/>
                    <a:pt x="120" y="21"/>
                    <a:pt x="120" y="21"/>
                  </a:cubicBezTo>
                  <a:cubicBezTo>
                    <a:pt x="121" y="25"/>
                    <a:pt x="121" y="25"/>
                    <a:pt x="121" y="25"/>
                  </a:cubicBezTo>
                  <a:cubicBezTo>
                    <a:pt x="126" y="26"/>
                    <a:pt x="126" y="26"/>
                    <a:pt x="126" y="26"/>
                  </a:cubicBezTo>
                  <a:cubicBezTo>
                    <a:pt x="126" y="26"/>
                    <a:pt x="125" y="28"/>
                    <a:pt x="125" y="29"/>
                  </a:cubicBezTo>
                  <a:cubicBezTo>
                    <a:pt x="126" y="29"/>
                    <a:pt x="129" y="30"/>
                    <a:pt x="129" y="30"/>
                  </a:cubicBezTo>
                  <a:cubicBezTo>
                    <a:pt x="129" y="31"/>
                    <a:pt x="129" y="31"/>
                    <a:pt x="129" y="31"/>
                  </a:cubicBezTo>
                  <a:cubicBezTo>
                    <a:pt x="129" y="31"/>
                    <a:pt x="129" y="35"/>
                    <a:pt x="129" y="36"/>
                  </a:cubicBezTo>
                  <a:cubicBezTo>
                    <a:pt x="129" y="37"/>
                    <a:pt x="129" y="43"/>
                    <a:pt x="129" y="43"/>
                  </a:cubicBezTo>
                  <a:cubicBezTo>
                    <a:pt x="129" y="43"/>
                    <a:pt x="126" y="49"/>
                    <a:pt x="125" y="49"/>
                  </a:cubicBezTo>
                  <a:cubicBezTo>
                    <a:pt x="124" y="50"/>
                    <a:pt x="125" y="54"/>
                    <a:pt x="125" y="54"/>
                  </a:cubicBezTo>
                  <a:cubicBezTo>
                    <a:pt x="124" y="59"/>
                    <a:pt x="124" y="59"/>
                    <a:pt x="124" y="59"/>
                  </a:cubicBezTo>
                  <a:cubicBezTo>
                    <a:pt x="124" y="59"/>
                    <a:pt x="124" y="63"/>
                    <a:pt x="123" y="62"/>
                  </a:cubicBezTo>
                  <a:cubicBezTo>
                    <a:pt x="122" y="62"/>
                    <a:pt x="117" y="60"/>
                    <a:pt x="117" y="60"/>
                  </a:cubicBezTo>
                  <a:cubicBezTo>
                    <a:pt x="113" y="61"/>
                    <a:pt x="113" y="61"/>
                    <a:pt x="113" y="61"/>
                  </a:cubicBezTo>
                  <a:cubicBezTo>
                    <a:pt x="113" y="64"/>
                    <a:pt x="113" y="64"/>
                    <a:pt x="113" y="64"/>
                  </a:cubicBezTo>
                  <a:cubicBezTo>
                    <a:pt x="115" y="65"/>
                    <a:pt x="115" y="65"/>
                    <a:pt x="115" y="65"/>
                  </a:cubicBezTo>
                  <a:cubicBezTo>
                    <a:pt x="112" y="65"/>
                    <a:pt x="112" y="65"/>
                    <a:pt x="112" y="65"/>
                  </a:cubicBezTo>
                  <a:cubicBezTo>
                    <a:pt x="112" y="67"/>
                    <a:pt x="112" y="67"/>
                    <a:pt x="112" y="67"/>
                  </a:cubicBezTo>
                  <a:cubicBezTo>
                    <a:pt x="112" y="67"/>
                    <a:pt x="113" y="69"/>
                    <a:pt x="114" y="70"/>
                  </a:cubicBezTo>
                  <a:cubicBezTo>
                    <a:pt x="114" y="71"/>
                    <a:pt x="117" y="71"/>
                    <a:pt x="117" y="71"/>
                  </a:cubicBezTo>
                  <a:cubicBezTo>
                    <a:pt x="119" y="73"/>
                    <a:pt x="119" y="73"/>
                    <a:pt x="119" y="73"/>
                  </a:cubicBezTo>
                  <a:cubicBezTo>
                    <a:pt x="122" y="72"/>
                    <a:pt x="122" y="72"/>
                    <a:pt x="122" y="72"/>
                  </a:cubicBezTo>
                  <a:cubicBezTo>
                    <a:pt x="124" y="76"/>
                    <a:pt x="124" y="76"/>
                    <a:pt x="124" y="76"/>
                  </a:cubicBezTo>
                  <a:cubicBezTo>
                    <a:pt x="123" y="78"/>
                    <a:pt x="123" y="78"/>
                    <a:pt x="123" y="78"/>
                  </a:cubicBezTo>
                  <a:cubicBezTo>
                    <a:pt x="123" y="78"/>
                    <a:pt x="123" y="80"/>
                    <a:pt x="123" y="81"/>
                  </a:cubicBezTo>
                  <a:cubicBezTo>
                    <a:pt x="123" y="82"/>
                    <a:pt x="124" y="83"/>
                    <a:pt x="123" y="83"/>
                  </a:cubicBezTo>
                  <a:cubicBezTo>
                    <a:pt x="123" y="83"/>
                    <a:pt x="121" y="84"/>
                    <a:pt x="121" y="84"/>
                  </a:cubicBezTo>
                  <a:cubicBezTo>
                    <a:pt x="120" y="86"/>
                    <a:pt x="120" y="86"/>
                    <a:pt x="120" y="86"/>
                  </a:cubicBezTo>
                  <a:cubicBezTo>
                    <a:pt x="120" y="86"/>
                    <a:pt x="118" y="87"/>
                    <a:pt x="117" y="87"/>
                  </a:cubicBezTo>
                  <a:cubicBezTo>
                    <a:pt x="116" y="88"/>
                    <a:pt x="116" y="88"/>
                    <a:pt x="116" y="89"/>
                  </a:cubicBezTo>
                  <a:cubicBezTo>
                    <a:pt x="116" y="89"/>
                    <a:pt x="112" y="88"/>
                    <a:pt x="112" y="88"/>
                  </a:cubicBezTo>
                  <a:cubicBezTo>
                    <a:pt x="112" y="91"/>
                    <a:pt x="112" y="91"/>
                    <a:pt x="112" y="91"/>
                  </a:cubicBezTo>
                  <a:cubicBezTo>
                    <a:pt x="110" y="91"/>
                    <a:pt x="110" y="91"/>
                    <a:pt x="110" y="91"/>
                  </a:cubicBezTo>
                  <a:cubicBezTo>
                    <a:pt x="112" y="94"/>
                    <a:pt x="112" y="94"/>
                    <a:pt x="112" y="94"/>
                  </a:cubicBezTo>
                  <a:cubicBezTo>
                    <a:pt x="115" y="96"/>
                    <a:pt x="115" y="96"/>
                    <a:pt x="115" y="96"/>
                  </a:cubicBezTo>
                  <a:cubicBezTo>
                    <a:pt x="114" y="97"/>
                    <a:pt x="114" y="97"/>
                    <a:pt x="114" y="97"/>
                  </a:cubicBezTo>
                  <a:cubicBezTo>
                    <a:pt x="112" y="98"/>
                    <a:pt x="112" y="98"/>
                    <a:pt x="112" y="98"/>
                  </a:cubicBezTo>
                  <a:cubicBezTo>
                    <a:pt x="111" y="100"/>
                    <a:pt x="111" y="100"/>
                    <a:pt x="111" y="100"/>
                  </a:cubicBezTo>
                  <a:cubicBezTo>
                    <a:pt x="108" y="100"/>
                    <a:pt x="108" y="100"/>
                    <a:pt x="108" y="100"/>
                  </a:cubicBezTo>
                  <a:cubicBezTo>
                    <a:pt x="105" y="101"/>
                    <a:pt x="105" y="101"/>
                    <a:pt x="105" y="101"/>
                  </a:cubicBezTo>
                  <a:cubicBezTo>
                    <a:pt x="104" y="101"/>
                    <a:pt x="104" y="101"/>
                    <a:pt x="104" y="101"/>
                  </a:cubicBezTo>
                  <a:cubicBezTo>
                    <a:pt x="101" y="101"/>
                    <a:pt x="101" y="101"/>
                    <a:pt x="101" y="101"/>
                  </a:cubicBezTo>
                  <a:cubicBezTo>
                    <a:pt x="100" y="103"/>
                    <a:pt x="100" y="103"/>
                    <a:pt x="100" y="103"/>
                  </a:cubicBezTo>
                  <a:cubicBezTo>
                    <a:pt x="99" y="101"/>
                    <a:pt x="99" y="101"/>
                    <a:pt x="99" y="101"/>
                  </a:cubicBezTo>
                  <a:cubicBezTo>
                    <a:pt x="96" y="100"/>
                    <a:pt x="96" y="100"/>
                    <a:pt x="96" y="100"/>
                  </a:cubicBezTo>
                  <a:cubicBezTo>
                    <a:pt x="94" y="98"/>
                    <a:pt x="94" y="98"/>
                    <a:pt x="94" y="98"/>
                  </a:cubicBezTo>
                  <a:cubicBezTo>
                    <a:pt x="91" y="99"/>
                    <a:pt x="91" y="99"/>
                    <a:pt x="91" y="99"/>
                  </a:cubicBezTo>
                  <a:cubicBezTo>
                    <a:pt x="94" y="101"/>
                    <a:pt x="94" y="101"/>
                    <a:pt x="94" y="101"/>
                  </a:cubicBezTo>
                  <a:cubicBezTo>
                    <a:pt x="92" y="101"/>
                    <a:pt x="92" y="101"/>
                    <a:pt x="92" y="101"/>
                  </a:cubicBezTo>
                  <a:cubicBezTo>
                    <a:pt x="87" y="100"/>
                    <a:pt x="87" y="100"/>
                    <a:pt x="87" y="100"/>
                  </a:cubicBezTo>
                  <a:cubicBezTo>
                    <a:pt x="87" y="103"/>
                    <a:pt x="87" y="103"/>
                    <a:pt x="87" y="103"/>
                  </a:cubicBezTo>
                  <a:cubicBezTo>
                    <a:pt x="87" y="105"/>
                    <a:pt x="87" y="105"/>
                    <a:pt x="87" y="105"/>
                  </a:cubicBezTo>
                  <a:cubicBezTo>
                    <a:pt x="87" y="105"/>
                    <a:pt x="86" y="106"/>
                    <a:pt x="87" y="106"/>
                  </a:cubicBezTo>
                  <a:cubicBezTo>
                    <a:pt x="88" y="106"/>
                    <a:pt x="90" y="108"/>
                    <a:pt x="90" y="108"/>
                  </a:cubicBezTo>
                  <a:cubicBezTo>
                    <a:pt x="90" y="110"/>
                    <a:pt x="90" y="110"/>
                    <a:pt x="90" y="110"/>
                  </a:cubicBezTo>
                  <a:cubicBezTo>
                    <a:pt x="91" y="112"/>
                    <a:pt x="91" y="112"/>
                    <a:pt x="91" y="112"/>
                  </a:cubicBezTo>
                  <a:cubicBezTo>
                    <a:pt x="91" y="113"/>
                    <a:pt x="91" y="113"/>
                    <a:pt x="91" y="113"/>
                  </a:cubicBezTo>
                  <a:cubicBezTo>
                    <a:pt x="93" y="116"/>
                    <a:pt x="93" y="116"/>
                    <a:pt x="93" y="116"/>
                  </a:cubicBezTo>
                  <a:cubicBezTo>
                    <a:pt x="93" y="119"/>
                    <a:pt x="93" y="119"/>
                    <a:pt x="93" y="119"/>
                  </a:cubicBezTo>
                  <a:cubicBezTo>
                    <a:pt x="95" y="122"/>
                    <a:pt x="95" y="122"/>
                    <a:pt x="95" y="122"/>
                  </a:cubicBezTo>
                  <a:cubicBezTo>
                    <a:pt x="94" y="125"/>
                    <a:pt x="94" y="125"/>
                    <a:pt x="94" y="125"/>
                  </a:cubicBezTo>
                  <a:cubicBezTo>
                    <a:pt x="94" y="125"/>
                    <a:pt x="95" y="127"/>
                    <a:pt x="94" y="128"/>
                  </a:cubicBezTo>
                  <a:cubicBezTo>
                    <a:pt x="94" y="128"/>
                    <a:pt x="92" y="130"/>
                    <a:pt x="92" y="130"/>
                  </a:cubicBezTo>
                  <a:cubicBezTo>
                    <a:pt x="91" y="132"/>
                    <a:pt x="91" y="132"/>
                    <a:pt x="91" y="132"/>
                  </a:cubicBezTo>
                  <a:cubicBezTo>
                    <a:pt x="89" y="133"/>
                    <a:pt x="89" y="133"/>
                    <a:pt x="89" y="133"/>
                  </a:cubicBezTo>
                  <a:cubicBezTo>
                    <a:pt x="89" y="135"/>
                    <a:pt x="89" y="135"/>
                    <a:pt x="89" y="135"/>
                  </a:cubicBezTo>
                  <a:cubicBezTo>
                    <a:pt x="89" y="135"/>
                    <a:pt x="89" y="138"/>
                    <a:pt x="90" y="138"/>
                  </a:cubicBezTo>
                  <a:cubicBezTo>
                    <a:pt x="90" y="138"/>
                    <a:pt x="92" y="136"/>
                    <a:pt x="92" y="136"/>
                  </a:cubicBezTo>
                  <a:cubicBezTo>
                    <a:pt x="92" y="136"/>
                    <a:pt x="94" y="138"/>
                    <a:pt x="93" y="139"/>
                  </a:cubicBezTo>
                  <a:cubicBezTo>
                    <a:pt x="93" y="139"/>
                    <a:pt x="89" y="139"/>
                    <a:pt x="89" y="139"/>
                  </a:cubicBezTo>
                  <a:cubicBezTo>
                    <a:pt x="87" y="139"/>
                    <a:pt x="87" y="139"/>
                    <a:pt x="87" y="139"/>
                  </a:cubicBezTo>
                  <a:cubicBezTo>
                    <a:pt x="87" y="139"/>
                    <a:pt x="86" y="141"/>
                    <a:pt x="85" y="141"/>
                  </a:cubicBezTo>
                  <a:cubicBezTo>
                    <a:pt x="85" y="142"/>
                    <a:pt x="85" y="143"/>
                    <a:pt x="85" y="143"/>
                  </a:cubicBezTo>
                  <a:cubicBezTo>
                    <a:pt x="83" y="141"/>
                    <a:pt x="83" y="141"/>
                    <a:pt x="83" y="141"/>
                  </a:cubicBezTo>
                  <a:cubicBezTo>
                    <a:pt x="82" y="142"/>
                    <a:pt x="82" y="142"/>
                    <a:pt x="82" y="142"/>
                  </a:cubicBezTo>
                  <a:cubicBezTo>
                    <a:pt x="83" y="144"/>
                    <a:pt x="83" y="144"/>
                    <a:pt x="83" y="144"/>
                  </a:cubicBezTo>
                  <a:cubicBezTo>
                    <a:pt x="83" y="146"/>
                    <a:pt x="83" y="146"/>
                    <a:pt x="83" y="146"/>
                  </a:cubicBezTo>
                  <a:cubicBezTo>
                    <a:pt x="83" y="146"/>
                    <a:pt x="85" y="146"/>
                    <a:pt x="85" y="146"/>
                  </a:cubicBezTo>
                  <a:cubicBezTo>
                    <a:pt x="85" y="146"/>
                    <a:pt x="87" y="147"/>
                    <a:pt x="87" y="147"/>
                  </a:cubicBezTo>
                  <a:cubicBezTo>
                    <a:pt x="87" y="147"/>
                    <a:pt x="86" y="148"/>
                    <a:pt x="87" y="148"/>
                  </a:cubicBezTo>
                  <a:cubicBezTo>
                    <a:pt x="87" y="149"/>
                    <a:pt x="87" y="149"/>
                    <a:pt x="88" y="149"/>
                  </a:cubicBezTo>
                  <a:cubicBezTo>
                    <a:pt x="89" y="150"/>
                    <a:pt x="89" y="150"/>
                    <a:pt x="89" y="150"/>
                  </a:cubicBezTo>
                  <a:cubicBezTo>
                    <a:pt x="89" y="150"/>
                    <a:pt x="89" y="152"/>
                    <a:pt x="89" y="153"/>
                  </a:cubicBezTo>
                  <a:cubicBezTo>
                    <a:pt x="88" y="153"/>
                    <a:pt x="88" y="154"/>
                    <a:pt x="88" y="154"/>
                  </a:cubicBezTo>
                  <a:cubicBezTo>
                    <a:pt x="87" y="154"/>
                    <a:pt x="87" y="154"/>
                    <a:pt x="87" y="154"/>
                  </a:cubicBezTo>
                  <a:cubicBezTo>
                    <a:pt x="86" y="155"/>
                    <a:pt x="86" y="156"/>
                    <a:pt x="86" y="156"/>
                  </a:cubicBezTo>
                  <a:cubicBezTo>
                    <a:pt x="86" y="156"/>
                    <a:pt x="85" y="156"/>
                    <a:pt x="85" y="156"/>
                  </a:cubicBezTo>
                  <a:cubicBezTo>
                    <a:pt x="85" y="157"/>
                    <a:pt x="86" y="158"/>
                    <a:pt x="86" y="159"/>
                  </a:cubicBezTo>
                  <a:cubicBezTo>
                    <a:pt x="86" y="159"/>
                    <a:pt x="86" y="159"/>
                    <a:pt x="85" y="159"/>
                  </a:cubicBezTo>
                  <a:cubicBezTo>
                    <a:pt x="85" y="159"/>
                    <a:pt x="85" y="159"/>
                    <a:pt x="85" y="159"/>
                  </a:cubicBezTo>
                  <a:cubicBezTo>
                    <a:pt x="85" y="159"/>
                    <a:pt x="83" y="157"/>
                    <a:pt x="83" y="157"/>
                  </a:cubicBezTo>
                  <a:cubicBezTo>
                    <a:pt x="82" y="157"/>
                    <a:pt x="81" y="158"/>
                    <a:pt x="79" y="158"/>
                  </a:cubicBezTo>
                  <a:cubicBezTo>
                    <a:pt x="78" y="157"/>
                    <a:pt x="78" y="157"/>
                    <a:pt x="78" y="157"/>
                  </a:cubicBezTo>
                  <a:cubicBezTo>
                    <a:pt x="74" y="158"/>
                    <a:pt x="74" y="158"/>
                    <a:pt x="74" y="158"/>
                  </a:cubicBezTo>
                  <a:cubicBezTo>
                    <a:pt x="74" y="156"/>
                    <a:pt x="74" y="156"/>
                    <a:pt x="74" y="156"/>
                  </a:cubicBezTo>
                  <a:cubicBezTo>
                    <a:pt x="73" y="154"/>
                    <a:pt x="73" y="154"/>
                    <a:pt x="73" y="154"/>
                  </a:cubicBezTo>
                  <a:cubicBezTo>
                    <a:pt x="73" y="154"/>
                    <a:pt x="73" y="152"/>
                    <a:pt x="73" y="151"/>
                  </a:cubicBezTo>
                  <a:cubicBezTo>
                    <a:pt x="73" y="151"/>
                    <a:pt x="74" y="150"/>
                    <a:pt x="74" y="150"/>
                  </a:cubicBezTo>
                  <a:cubicBezTo>
                    <a:pt x="75" y="150"/>
                    <a:pt x="76" y="148"/>
                    <a:pt x="76" y="148"/>
                  </a:cubicBezTo>
                  <a:cubicBezTo>
                    <a:pt x="76" y="148"/>
                    <a:pt x="77" y="146"/>
                    <a:pt x="78" y="145"/>
                  </a:cubicBezTo>
                  <a:cubicBezTo>
                    <a:pt x="78" y="145"/>
                    <a:pt x="79" y="142"/>
                    <a:pt x="79" y="142"/>
                  </a:cubicBezTo>
                  <a:cubicBezTo>
                    <a:pt x="79" y="141"/>
                    <a:pt x="80" y="140"/>
                    <a:pt x="80" y="140"/>
                  </a:cubicBezTo>
                  <a:cubicBezTo>
                    <a:pt x="80" y="140"/>
                    <a:pt x="82" y="138"/>
                    <a:pt x="82" y="137"/>
                  </a:cubicBezTo>
                  <a:cubicBezTo>
                    <a:pt x="82" y="136"/>
                    <a:pt x="81" y="136"/>
                    <a:pt x="80" y="136"/>
                  </a:cubicBezTo>
                  <a:cubicBezTo>
                    <a:pt x="80" y="136"/>
                    <a:pt x="77" y="135"/>
                    <a:pt x="76" y="134"/>
                  </a:cubicBezTo>
                  <a:cubicBezTo>
                    <a:pt x="75" y="134"/>
                    <a:pt x="73" y="133"/>
                    <a:pt x="71" y="133"/>
                  </a:cubicBezTo>
                  <a:cubicBezTo>
                    <a:pt x="69" y="132"/>
                    <a:pt x="70" y="132"/>
                    <a:pt x="71" y="130"/>
                  </a:cubicBezTo>
                  <a:cubicBezTo>
                    <a:pt x="71" y="129"/>
                    <a:pt x="69" y="129"/>
                    <a:pt x="69" y="128"/>
                  </a:cubicBezTo>
                  <a:cubicBezTo>
                    <a:pt x="69" y="128"/>
                    <a:pt x="68" y="129"/>
                    <a:pt x="67" y="130"/>
                  </a:cubicBezTo>
                  <a:cubicBezTo>
                    <a:pt x="66" y="130"/>
                    <a:pt x="65" y="129"/>
                    <a:pt x="64" y="129"/>
                  </a:cubicBezTo>
                  <a:cubicBezTo>
                    <a:pt x="64" y="129"/>
                    <a:pt x="61" y="129"/>
                    <a:pt x="61" y="129"/>
                  </a:cubicBezTo>
                  <a:cubicBezTo>
                    <a:pt x="61" y="129"/>
                    <a:pt x="61" y="128"/>
                    <a:pt x="61" y="127"/>
                  </a:cubicBezTo>
                  <a:cubicBezTo>
                    <a:pt x="61" y="126"/>
                    <a:pt x="60" y="126"/>
                    <a:pt x="60" y="126"/>
                  </a:cubicBezTo>
                  <a:cubicBezTo>
                    <a:pt x="60" y="126"/>
                    <a:pt x="58" y="126"/>
                    <a:pt x="58" y="125"/>
                  </a:cubicBezTo>
                  <a:cubicBezTo>
                    <a:pt x="57" y="125"/>
                    <a:pt x="58" y="125"/>
                    <a:pt x="58" y="124"/>
                  </a:cubicBezTo>
                  <a:cubicBezTo>
                    <a:pt x="58" y="123"/>
                    <a:pt x="58" y="124"/>
                    <a:pt x="57" y="124"/>
                  </a:cubicBezTo>
                  <a:cubicBezTo>
                    <a:pt x="56" y="124"/>
                    <a:pt x="56" y="121"/>
                    <a:pt x="56" y="121"/>
                  </a:cubicBezTo>
                  <a:cubicBezTo>
                    <a:pt x="56" y="121"/>
                    <a:pt x="55" y="119"/>
                    <a:pt x="55" y="118"/>
                  </a:cubicBezTo>
                  <a:cubicBezTo>
                    <a:pt x="54" y="116"/>
                    <a:pt x="54" y="118"/>
                    <a:pt x="54" y="118"/>
                  </a:cubicBezTo>
                  <a:cubicBezTo>
                    <a:pt x="52" y="121"/>
                    <a:pt x="52" y="121"/>
                    <a:pt x="52" y="121"/>
                  </a:cubicBezTo>
                  <a:cubicBezTo>
                    <a:pt x="52" y="121"/>
                    <a:pt x="51" y="121"/>
                    <a:pt x="48" y="120"/>
                  </a:cubicBezTo>
                  <a:cubicBezTo>
                    <a:pt x="46" y="119"/>
                    <a:pt x="47" y="119"/>
                    <a:pt x="47" y="119"/>
                  </a:cubicBezTo>
                  <a:cubicBezTo>
                    <a:pt x="49" y="117"/>
                    <a:pt x="49" y="117"/>
                    <a:pt x="49" y="117"/>
                  </a:cubicBezTo>
                  <a:cubicBezTo>
                    <a:pt x="49" y="117"/>
                    <a:pt x="47" y="116"/>
                    <a:pt x="46" y="116"/>
                  </a:cubicBezTo>
                  <a:cubicBezTo>
                    <a:pt x="45" y="115"/>
                    <a:pt x="45" y="115"/>
                    <a:pt x="44" y="117"/>
                  </a:cubicBezTo>
                  <a:cubicBezTo>
                    <a:pt x="43" y="118"/>
                    <a:pt x="43" y="118"/>
                    <a:pt x="42" y="119"/>
                  </a:cubicBezTo>
                  <a:cubicBezTo>
                    <a:pt x="41" y="120"/>
                    <a:pt x="41" y="120"/>
                    <a:pt x="39" y="120"/>
                  </a:cubicBezTo>
                  <a:cubicBezTo>
                    <a:pt x="38" y="120"/>
                    <a:pt x="38" y="119"/>
                    <a:pt x="37" y="119"/>
                  </a:cubicBezTo>
                  <a:cubicBezTo>
                    <a:pt x="37" y="118"/>
                    <a:pt x="37" y="118"/>
                    <a:pt x="36" y="117"/>
                  </a:cubicBezTo>
                  <a:cubicBezTo>
                    <a:pt x="36" y="116"/>
                    <a:pt x="35" y="116"/>
                    <a:pt x="35" y="116"/>
                  </a:cubicBezTo>
                  <a:cubicBezTo>
                    <a:pt x="35" y="116"/>
                    <a:pt x="33" y="117"/>
                    <a:pt x="33" y="118"/>
                  </a:cubicBezTo>
                  <a:cubicBezTo>
                    <a:pt x="32" y="118"/>
                    <a:pt x="33" y="119"/>
                    <a:pt x="33" y="120"/>
                  </a:cubicBezTo>
                  <a:cubicBezTo>
                    <a:pt x="34" y="121"/>
                    <a:pt x="33" y="122"/>
                    <a:pt x="33" y="122"/>
                  </a:cubicBezTo>
                  <a:cubicBezTo>
                    <a:pt x="33" y="122"/>
                    <a:pt x="31" y="122"/>
                    <a:pt x="30" y="122"/>
                  </a:cubicBezTo>
                  <a:cubicBezTo>
                    <a:pt x="29" y="122"/>
                    <a:pt x="28" y="122"/>
                    <a:pt x="27" y="121"/>
                  </a:cubicBezTo>
                  <a:cubicBezTo>
                    <a:pt x="25" y="120"/>
                    <a:pt x="26" y="122"/>
                    <a:pt x="26" y="123"/>
                  </a:cubicBezTo>
                  <a:cubicBezTo>
                    <a:pt x="26" y="123"/>
                    <a:pt x="24" y="125"/>
                    <a:pt x="24" y="125"/>
                  </a:cubicBezTo>
                  <a:cubicBezTo>
                    <a:pt x="24" y="125"/>
                    <a:pt x="24" y="125"/>
                    <a:pt x="24" y="125"/>
                  </a:cubicBezTo>
                  <a:cubicBezTo>
                    <a:pt x="22" y="125"/>
                    <a:pt x="20" y="124"/>
                    <a:pt x="20" y="124"/>
                  </a:cubicBezTo>
                  <a:cubicBezTo>
                    <a:pt x="19" y="125"/>
                    <a:pt x="19" y="125"/>
                    <a:pt x="19" y="125"/>
                  </a:cubicBezTo>
                  <a:cubicBezTo>
                    <a:pt x="16" y="124"/>
                    <a:pt x="16" y="124"/>
                    <a:pt x="16" y="124"/>
                  </a:cubicBezTo>
                  <a:cubicBezTo>
                    <a:pt x="15" y="124"/>
                    <a:pt x="15" y="124"/>
                    <a:pt x="15" y="124"/>
                  </a:cubicBezTo>
                  <a:cubicBezTo>
                    <a:pt x="14" y="121"/>
                    <a:pt x="14" y="121"/>
                    <a:pt x="14" y="121"/>
                  </a:cubicBezTo>
                  <a:cubicBezTo>
                    <a:pt x="13" y="121"/>
                    <a:pt x="13" y="121"/>
                    <a:pt x="13" y="121"/>
                  </a:cubicBezTo>
                  <a:cubicBezTo>
                    <a:pt x="9" y="119"/>
                    <a:pt x="9" y="119"/>
                    <a:pt x="9" y="119"/>
                  </a:cubicBezTo>
                  <a:cubicBezTo>
                    <a:pt x="8" y="118"/>
                    <a:pt x="8" y="118"/>
                    <a:pt x="8" y="118"/>
                  </a:cubicBezTo>
                  <a:cubicBezTo>
                    <a:pt x="6" y="119"/>
                    <a:pt x="6" y="119"/>
                    <a:pt x="6" y="119"/>
                  </a:cubicBezTo>
                  <a:cubicBezTo>
                    <a:pt x="5" y="120"/>
                    <a:pt x="5" y="120"/>
                    <a:pt x="5" y="120"/>
                  </a:cubicBezTo>
                  <a:cubicBezTo>
                    <a:pt x="5" y="120"/>
                    <a:pt x="3" y="121"/>
                    <a:pt x="2" y="121"/>
                  </a:cubicBezTo>
                  <a:cubicBezTo>
                    <a:pt x="2" y="120"/>
                    <a:pt x="0" y="116"/>
                    <a:pt x="0" y="116"/>
                  </a:cubicBezTo>
                  <a:cubicBezTo>
                    <a:pt x="1" y="113"/>
                    <a:pt x="1" y="113"/>
                    <a:pt x="1" y="113"/>
                  </a:cubicBezTo>
                  <a:cubicBezTo>
                    <a:pt x="1" y="113"/>
                    <a:pt x="4" y="112"/>
                    <a:pt x="4" y="112"/>
                  </a:cubicBezTo>
                  <a:cubicBezTo>
                    <a:pt x="4" y="112"/>
                    <a:pt x="6" y="112"/>
                    <a:pt x="6" y="112"/>
                  </a:cubicBezTo>
                  <a:cubicBezTo>
                    <a:pt x="6" y="112"/>
                    <a:pt x="7" y="112"/>
                    <a:pt x="7" y="113"/>
                  </a:cubicBezTo>
                  <a:cubicBezTo>
                    <a:pt x="8" y="113"/>
                    <a:pt x="10" y="115"/>
                    <a:pt x="11" y="115"/>
                  </a:cubicBezTo>
                  <a:cubicBezTo>
                    <a:pt x="11" y="115"/>
                    <a:pt x="13" y="116"/>
                    <a:pt x="13" y="116"/>
                  </a:cubicBezTo>
                  <a:cubicBezTo>
                    <a:pt x="14" y="116"/>
                    <a:pt x="16" y="117"/>
                    <a:pt x="16" y="117"/>
                  </a:cubicBezTo>
                  <a:cubicBezTo>
                    <a:pt x="16" y="117"/>
                    <a:pt x="18" y="117"/>
                    <a:pt x="18" y="117"/>
                  </a:cubicBezTo>
                  <a:cubicBezTo>
                    <a:pt x="18" y="117"/>
                    <a:pt x="20" y="116"/>
                    <a:pt x="20" y="116"/>
                  </a:cubicBezTo>
                  <a:cubicBezTo>
                    <a:pt x="20" y="116"/>
                    <a:pt x="20" y="116"/>
                    <a:pt x="20" y="116"/>
                  </a:cubicBezTo>
                  <a:cubicBezTo>
                    <a:pt x="21" y="115"/>
                    <a:pt x="21" y="114"/>
                    <a:pt x="21" y="114"/>
                  </a:cubicBezTo>
                  <a:cubicBezTo>
                    <a:pt x="21" y="114"/>
                    <a:pt x="22" y="114"/>
                    <a:pt x="22" y="114"/>
                  </a:cubicBezTo>
                  <a:cubicBezTo>
                    <a:pt x="22" y="115"/>
                    <a:pt x="23" y="116"/>
                    <a:pt x="23" y="116"/>
                  </a:cubicBezTo>
                  <a:cubicBezTo>
                    <a:pt x="23" y="116"/>
                    <a:pt x="24" y="117"/>
                    <a:pt x="24" y="117"/>
                  </a:cubicBezTo>
                  <a:cubicBezTo>
                    <a:pt x="25" y="118"/>
                    <a:pt x="26" y="118"/>
                    <a:pt x="26" y="118"/>
                  </a:cubicBezTo>
                  <a:cubicBezTo>
                    <a:pt x="26" y="118"/>
                    <a:pt x="27" y="117"/>
                    <a:pt x="27" y="117"/>
                  </a:cubicBezTo>
                  <a:cubicBezTo>
                    <a:pt x="27" y="117"/>
                    <a:pt x="28" y="118"/>
                    <a:pt x="28" y="117"/>
                  </a:cubicBezTo>
                  <a:cubicBezTo>
                    <a:pt x="28" y="117"/>
                    <a:pt x="29" y="117"/>
                    <a:pt x="29" y="117"/>
                  </a:cubicBezTo>
                  <a:cubicBezTo>
                    <a:pt x="29" y="117"/>
                    <a:pt x="30" y="116"/>
                    <a:pt x="29" y="116"/>
                  </a:cubicBezTo>
                  <a:cubicBezTo>
                    <a:pt x="29" y="116"/>
                    <a:pt x="29" y="115"/>
                    <a:pt x="29" y="116"/>
                  </a:cubicBezTo>
                  <a:cubicBezTo>
                    <a:pt x="28" y="116"/>
                    <a:pt x="28" y="116"/>
                    <a:pt x="27" y="116"/>
                  </a:cubicBezTo>
                  <a:cubicBezTo>
                    <a:pt x="26" y="116"/>
                    <a:pt x="24" y="115"/>
                    <a:pt x="24" y="115"/>
                  </a:cubicBezTo>
                  <a:cubicBezTo>
                    <a:pt x="24" y="114"/>
                    <a:pt x="23" y="114"/>
                    <a:pt x="23" y="113"/>
                  </a:cubicBezTo>
                  <a:cubicBezTo>
                    <a:pt x="22" y="113"/>
                    <a:pt x="22" y="112"/>
                    <a:pt x="21" y="112"/>
                  </a:cubicBezTo>
                  <a:cubicBezTo>
                    <a:pt x="20" y="112"/>
                    <a:pt x="20" y="112"/>
                    <a:pt x="20" y="112"/>
                  </a:cubicBezTo>
                  <a:cubicBezTo>
                    <a:pt x="20" y="112"/>
                    <a:pt x="19" y="113"/>
                    <a:pt x="19" y="114"/>
                  </a:cubicBezTo>
                  <a:cubicBezTo>
                    <a:pt x="19" y="114"/>
                    <a:pt x="20" y="115"/>
                    <a:pt x="18" y="114"/>
                  </a:cubicBezTo>
                  <a:cubicBezTo>
                    <a:pt x="16" y="114"/>
                    <a:pt x="14" y="114"/>
                    <a:pt x="14" y="114"/>
                  </a:cubicBezTo>
                  <a:cubicBezTo>
                    <a:pt x="11" y="111"/>
                    <a:pt x="11" y="111"/>
                    <a:pt x="11" y="111"/>
                  </a:cubicBezTo>
                  <a:cubicBezTo>
                    <a:pt x="11" y="111"/>
                    <a:pt x="10" y="111"/>
                    <a:pt x="9" y="111"/>
                  </a:cubicBezTo>
                  <a:cubicBezTo>
                    <a:pt x="9" y="111"/>
                    <a:pt x="7" y="110"/>
                    <a:pt x="7" y="109"/>
                  </a:cubicBezTo>
                  <a:cubicBezTo>
                    <a:pt x="7" y="109"/>
                    <a:pt x="6" y="108"/>
                    <a:pt x="6" y="107"/>
                  </a:cubicBezTo>
                  <a:cubicBezTo>
                    <a:pt x="6" y="107"/>
                    <a:pt x="5" y="107"/>
                    <a:pt x="5" y="106"/>
                  </a:cubicBezTo>
                  <a:cubicBezTo>
                    <a:pt x="5" y="106"/>
                    <a:pt x="4" y="105"/>
                    <a:pt x="4" y="105"/>
                  </a:cubicBezTo>
                  <a:cubicBezTo>
                    <a:pt x="4" y="105"/>
                    <a:pt x="4" y="104"/>
                    <a:pt x="5" y="103"/>
                  </a:cubicBezTo>
                  <a:cubicBezTo>
                    <a:pt x="7" y="103"/>
                    <a:pt x="7" y="103"/>
                    <a:pt x="8" y="103"/>
                  </a:cubicBezTo>
                  <a:cubicBezTo>
                    <a:pt x="9" y="103"/>
                    <a:pt x="8" y="103"/>
                    <a:pt x="10" y="103"/>
                  </a:cubicBezTo>
                  <a:cubicBezTo>
                    <a:pt x="12" y="103"/>
                    <a:pt x="11" y="103"/>
                    <a:pt x="12" y="103"/>
                  </a:cubicBezTo>
                  <a:cubicBezTo>
                    <a:pt x="13" y="103"/>
                    <a:pt x="15" y="103"/>
                    <a:pt x="15" y="103"/>
                  </a:cubicBezTo>
                  <a:cubicBezTo>
                    <a:pt x="15" y="103"/>
                    <a:pt x="13" y="102"/>
                    <a:pt x="16" y="103"/>
                  </a:cubicBezTo>
                  <a:cubicBezTo>
                    <a:pt x="16" y="103"/>
                    <a:pt x="20" y="104"/>
                    <a:pt x="19" y="106"/>
                  </a:cubicBezTo>
                  <a:cubicBezTo>
                    <a:pt x="19" y="106"/>
                    <a:pt x="18" y="107"/>
                    <a:pt x="18" y="107"/>
                  </a:cubicBezTo>
                  <a:cubicBezTo>
                    <a:pt x="18" y="107"/>
                    <a:pt x="20" y="108"/>
                    <a:pt x="20" y="108"/>
                  </a:cubicBezTo>
                  <a:cubicBezTo>
                    <a:pt x="20" y="108"/>
                    <a:pt x="21" y="107"/>
                    <a:pt x="21" y="107"/>
                  </a:cubicBezTo>
                  <a:cubicBezTo>
                    <a:pt x="22" y="108"/>
                    <a:pt x="22" y="108"/>
                    <a:pt x="22" y="108"/>
                  </a:cubicBezTo>
                  <a:cubicBezTo>
                    <a:pt x="24" y="110"/>
                    <a:pt x="24" y="110"/>
                    <a:pt x="24" y="110"/>
                  </a:cubicBezTo>
                  <a:cubicBezTo>
                    <a:pt x="24" y="110"/>
                    <a:pt x="26" y="110"/>
                    <a:pt x="26" y="110"/>
                  </a:cubicBezTo>
                  <a:cubicBezTo>
                    <a:pt x="25" y="111"/>
                    <a:pt x="24" y="109"/>
                    <a:pt x="25" y="111"/>
                  </a:cubicBezTo>
                  <a:cubicBezTo>
                    <a:pt x="26" y="113"/>
                    <a:pt x="27" y="114"/>
                    <a:pt x="27" y="114"/>
                  </a:cubicBezTo>
                  <a:cubicBezTo>
                    <a:pt x="28" y="114"/>
                    <a:pt x="28" y="114"/>
                    <a:pt x="28" y="114"/>
                  </a:cubicBezTo>
                  <a:cubicBezTo>
                    <a:pt x="28" y="114"/>
                    <a:pt x="28" y="113"/>
                    <a:pt x="29" y="113"/>
                  </a:cubicBezTo>
                  <a:cubicBezTo>
                    <a:pt x="29" y="114"/>
                    <a:pt x="31" y="114"/>
                    <a:pt x="32" y="114"/>
                  </a:cubicBezTo>
                  <a:cubicBezTo>
                    <a:pt x="32" y="114"/>
                    <a:pt x="32" y="113"/>
                    <a:pt x="31" y="111"/>
                  </a:cubicBezTo>
                  <a:cubicBezTo>
                    <a:pt x="30" y="110"/>
                    <a:pt x="29" y="109"/>
                    <a:pt x="29" y="109"/>
                  </a:cubicBezTo>
                  <a:cubicBezTo>
                    <a:pt x="28" y="109"/>
                    <a:pt x="29" y="110"/>
                    <a:pt x="27" y="109"/>
                  </a:cubicBezTo>
                  <a:cubicBezTo>
                    <a:pt x="25" y="108"/>
                    <a:pt x="25" y="109"/>
                    <a:pt x="24" y="108"/>
                  </a:cubicBezTo>
                  <a:cubicBezTo>
                    <a:pt x="23" y="106"/>
                    <a:pt x="22" y="106"/>
                    <a:pt x="22" y="105"/>
                  </a:cubicBezTo>
                  <a:cubicBezTo>
                    <a:pt x="22" y="105"/>
                    <a:pt x="23" y="105"/>
                    <a:pt x="24" y="104"/>
                  </a:cubicBezTo>
                  <a:cubicBezTo>
                    <a:pt x="25" y="104"/>
                    <a:pt x="23" y="103"/>
                    <a:pt x="25" y="104"/>
                  </a:cubicBezTo>
                  <a:cubicBezTo>
                    <a:pt x="28" y="105"/>
                    <a:pt x="28" y="105"/>
                    <a:pt x="29" y="105"/>
                  </a:cubicBezTo>
                  <a:cubicBezTo>
                    <a:pt x="29" y="105"/>
                    <a:pt x="31" y="105"/>
                    <a:pt x="29" y="104"/>
                  </a:cubicBezTo>
                  <a:cubicBezTo>
                    <a:pt x="27" y="104"/>
                    <a:pt x="26" y="103"/>
                    <a:pt x="26" y="103"/>
                  </a:cubicBezTo>
                  <a:cubicBezTo>
                    <a:pt x="24" y="103"/>
                    <a:pt x="24" y="103"/>
                    <a:pt x="24" y="103"/>
                  </a:cubicBezTo>
                  <a:cubicBezTo>
                    <a:pt x="24" y="103"/>
                    <a:pt x="24" y="103"/>
                    <a:pt x="23" y="103"/>
                  </a:cubicBezTo>
                  <a:cubicBezTo>
                    <a:pt x="22" y="103"/>
                    <a:pt x="22" y="104"/>
                    <a:pt x="22" y="103"/>
                  </a:cubicBezTo>
                  <a:cubicBezTo>
                    <a:pt x="21" y="103"/>
                    <a:pt x="20" y="103"/>
                    <a:pt x="20" y="102"/>
                  </a:cubicBezTo>
                  <a:cubicBezTo>
                    <a:pt x="19" y="102"/>
                    <a:pt x="18" y="101"/>
                    <a:pt x="18" y="101"/>
                  </a:cubicBezTo>
                  <a:cubicBezTo>
                    <a:pt x="18" y="100"/>
                    <a:pt x="17" y="99"/>
                    <a:pt x="17" y="99"/>
                  </a:cubicBezTo>
                  <a:cubicBezTo>
                    <a:pt x="17" y="99"/>
                    <a:pt x="17" y="99"/>
                    <a:pt x="17" y="99"/>
                  </a:cubicBezTo>
                  <a:cubicBezTo>
                    <a:pt x="16" y="99"/>
                    <a:pt x="15" y="99"/>
                    <a:pt x="14" y="99"/>
                  </a:cubicBezTo>
                  <a:cubicBezTo>
                    <a:pt x="14" y="99"/>
                    <a:pt x="13" y="99"/>
                    <a:pt x="13" y="99"/>
                  </a:cubicBezTo>
                  <a:cubicBezTo>
                    <a:pt x="13" y="98"/>
                    <a:pt x="13" y="98"/>
                    <a:pt x="13" y="97"/>
                  </a:cubicBezTo>
                  <a:cubicBezTo>
                    <a:pt x="13" y="97"/>
                    <a:pt x="13" y="96"/>
                    <a:pt x="14" y="96"/>
                  </a:cubicBezTo>
                  <a:cubicBezTo>
                    <a:pt x="15" y="96"/>
                    <a:pt x="16" y="96"/>
                    <a:pt x="17" y="96"/>
                  </a:cubicBezTo>
                  <a:cubicBezTo>
                    <a:pt x="18" y="96"/>
                    <a:pt x="19" y="96"/>
                    <a:pt x="20" y="96"/>
                  </a:cubicBezTo>
                  <a:cubicBezTo>
                    <a:pt x="20" y="96"/>
                    <a:pt x="21" y="97"/>
                    <a:pt x="21" y="97"/>
                  </a:cubicBezTo>
                  <a:cubicBezTo>
                    <a:pt x="22" y="98"/>
                    <a:pt x="23" y="98"/>
                    <a:pt x="23" y="98"/>
                  </a:cubicBezTo>
                  <a:cubicBezTo>
                    <a:pt x="23" y="99"/>
                    <a:pt x="23" y="99"/>
                    <a:pt x="24" y="99"/>
                  </a:cubicBezTo>
                  <a:cubicBezTo>
                    <a:pt x="24" y="100"/>
                    <a:pt x="25" y="100"/>
                    <a:pt x="25" y="100"/>
                  </a:cubicBezTo>
                  <a:cubicBezTo>
                    <a:pt x="26" y="102"/>
                    <a:pt x="26" y="102"/>
                    <a:pt x="26" y="102"/>
                  </a:cubicBezTo>
                  <a:cubicBezTo>
                    <a:pt x="26" y="102"/>
                    <a:pt x="26" y="102"/>
                    <a:pt x="26" y="102"/>
                  </a:cubicBezTo>
                  <a:cubicBezTo>
                    <a:pt x="28" y="103"/>
                    <a:pt x="28" y="103"/>
                    <a:pt x="28" y="103"/>
                  </a:cubicBezTo>
                  <a:cubicBezTo>
                    <a:pt x="28" y="103"/>
                    <a:pt x="31" y="104"/>
                    <a:pt x="31" y="104"/>
                  </a:cubicBezTo>
                  <a:cubicBezTo>
                    <a:pt x="31" y="104"/>
                    <a:pt x="31" y="104"/>
                    <a:pt x="32" y="104"/>
                  </a:cubicBezTo>
                  <a:cubicBezTo>
                    <a:pt x="33" y="104"/>
                    <a:pt x="33" y="103"/>
                    <a:pt x="33" y="103"/>
                  </a:cubicBezTo>
                  <a:cubicBezTo>
                    <a:pt x="33" y="103"/>
                    <a:pt x="34" y="103"/>
                    <a:pt x="34" y="103"/>
                  </a:cubicBezTo>
                  <a:cubicBezTo>
                    <a:pt x="34" y="103"/>
                    <a:pt x="37" y="101"/>
                    <a:pt x="37" y="101"/>
                  </a:cubicBezTo>
                  <a:cubicBezTo>
                    <a:pt x="37" y="102"/>
                    <a:pt x="38" y="102"/>
                    <a:pt x="39" y="102"/>
                  </a:cubicBezTo>
                  <a:cubicBezTo>
                    <a:pt x="39" y="102"/>
                    <a:pt x="42" y="104"/>
                    <a:pt x="42" y="104"/>
                  </a:cubicBezTo>
                  <a:cubicBezTo>
                    <a:pt x="42" y="103"/>
                    <a:pt x="42" y="102"/>
                    <a:pt x="42" y="102"/>
                  </a:cubicBezTo>
                  <a:cubicBezTo>
                    <a:pt x="42" y="102"/>
                    <a:pt x="43" y="101"/>
                    <a:pt x="43" y="101"/>
                  </a:cubicBezTo>
                  <a:cubicBezTo>
                    <a:pt x="47" y="101"/>
                    <a:pt x="47" y="101"/>
                    <a:pt x="47" y="101"/>
                  </a:cubicBezTo>
                  <a:cubicBezTo>
                    <a:pt x="47" y="101"/>
                    <a:pt x="48" y="100"/>
                    <a:pt x="48" y="100"/>
                  </a:cubicBezTo>
                  <a:cubicBezTo>
                    <a:pt x="47" y="100"/>
                    <a:pt x="46" y="100"/>
                    <a:pt x="46" y="100"/>
                  </a:cubicBezTo>
                  <a:cubicBezTo>
                    <a:pt x="44" y="101"/>
                    <a:pt x="44" y="101"/>
                    <a:pt x="44" y="101"/>
                  </a:cubicBezTo>
                  <a:cubicBezTo>
                    <a:pt x="42" y="101"/>
                    <a:pt x="42" y="101"/>
                    <a:pt x="42" y="101"/>
                  </a:cubicBezTo>
                  <a:cubicBezTo>
                    <a:pt x="42" y="101"/>
                    <a:pt x="41" y="102"/>
                    <a:pt x="41" y="102"/>
                  </a:cubicBezTo>
                  <a:cubicBezTo>
                    <a:pt x="40" y="102"/>
                    <a:pt x="39" y="101"/>
                    <a:pt x="39" y="101"/>
                  </a:cubicBezTo>
                  <a:cubicBezTo>
                    <a:pt x="38" y="100"/>
                    <a:pt x="36" y="99"/>
                    <a:pt x="36" y="99"/>
                  </a:cubicBezTo>
                  <a:cubicBezTo>
                    <a:pt x="35" y="99"/>
                    <a:pt x="36" y="99"/>
                    <a:pt x="34" y="98"/>
                  </a:cubicBezTo>
                  <a:cubicBezTo>
                    <a:pt x="32" y="97"/>
                    <a:pt x="31" y="96"/>
                    <a:pt x="31" y="96"/>
                  </a:cubicBezTo>
                  <a:cubicBezTo>
                    <a:pt x="30" y="95"/>
                    <a:pt x="30" y="95"/>
                    <a:pt x="30" y="95"/>
                  </a:cubicBezTo>
                  <a:cubicBezTo>
                    <a:pt x="30" y="95"/>
                    <a:pt x="30" y="94"/>
                    <a:pt x="29" y="94"/>
                  </a:cubicBezTo>
                  <a:cubicBezTo>
                    <a:pt x="28" y="93"/>
                    <a:pt x="25" y="92"/>
                    <a:pt x="25" y="92"/>
                  </a:cubicBezTo>
                  <a:cubicBezTo>
                    <a:pt x="25" y="92"/>
                    <a:pt x="25" y="91"/>
                    <a:pt x="25" y="91"/>
                  </a:cubicBezTo>
                  <a:cubicBezTo>
                    <a:pt x="25" y="91"/>
                    <a:pt x="25" y="88"/>
                    <a:pt x="25" y="88"/>
                  </a:cubicBezTo>
                  <a:cubicBezTo>
                    <a:pt x="25" y="87"/>
                    <a:pt x="24" y="85"/>
                    <a:pt x="24" y="85"/>
                  </a:cubicBezTo>
                  <a:cubicBezTo>
                    <a:pt x="24" y="85"/>
                    <a:pt x="26" y="84"/>
                    <a:pt x="26" y="84"/>
                  </a:cubicBezTo>
                  <a:cubicBezTo>
                    <a:pt x="27" y="84"/>
                    <a:pt x="28" y="85"/>
                    <a:pt x="28" y="85"/>
                  </a:cubicBezTo>
                  <a:cubicBezTo>
                    <a:pt x="29" y="84"/>
                    <a:pt x="29" y="84"/>
                    <a:pt x="29" y="84"/>
                  </a:cubicBezTo>
                  <a:cubicBezTo>
                    <a:pt x="37" y="73"/>
                    <a:pt x="37" y="73"/>
                    <a:pt x="37" y="73"/>
                  </a:cubicBezTo>
                  <a:cubicBezTo>
                    <a:pt x="44" y="63"/>
                    <a:pt x="44" y="63"/>
                    <a:pt x="44" y="63"/>
                  </a:cubicBezTo>
                  <a:cubicBezTo>
                    <a:pt x="47" y="48"/>
                    <a:pt x="47" y="48"/>
                    <a:pt x="47" y="48"/>
                  </a:cubicBezTo>
                  <a:cubicBezTo>
                    <a:pt x="49" y="41"/>
                    <a:pt x="49" y="41"/>
                    <a:pt x="49" y="41"/>
                  </a:cubicBezTo>
                  <a:cubicBezTo>
                    <a:pt x="51" y="35"/>
                    <a:pt x="51" y="35"/>
                    <a:pt x="51" y="35"/>
                  </a:cubicBezTo>
                  <a:cubicBezTo>
                    <a:pt x="51" y="35"/>
                    <a:pt x="51" y="34"/>
                    <a:pt x="52" y="35"/>
                  </a:cubicBezTo>
                  <a:cubicBezTo>
                    <a:pt x="52" y="35"/>
                    <a:pt x="53" y="37"/>
                    <a:pt x="53" y="37"/>
                  </a:cubicBezTo>
                  <a:cubicBezTo>
                    <a:pt x="54" y="38"/>
                    <a:pt x="54" y="38"/>
                    <a:pt x="54" y="38"/>
                  </a:cubicBezTo>
                  <a:cubicBezTo>
                    <a:pt x="55" y="38"/>
                    <a:pt x="55" y="38"/>
                    <a:pt x="55" y="38"/>
                  </a:cubicBezTo>
                  <a:cubicBezTo>
                    <a:pt x="55" y="38"/>
                    <a:pt x="57" y="37"/>
                    <a:pt x="58" y="37"/>
                  </a:cubicBezTo>
                  <a:cubicBezTo>
                    <a:pt x="58" y="37"/>
                    <a:pt x="62" y="39"/>
                    <a:pt x="62" y="39"/>
                  </a:cubicBezTo>
                  <a:cubicBezTo>
                    <a:pt x="62" y="39"/>
                    <a:pt x="62" y="41"/>
                    <a:pt x="62" y="42"/>
                  </a:cubicBezTo>
                  <a:cubicBezTo>
                    <a:pt x="62" y="42"/>
                    <a:pt x="64" y="44"/>
                    <a:pt x="63" y="45"/>
                  </a:cubicBezTo>
                  <a:cubicBezTo>
                    <a:pt x="63" y="45"/>
                    <a:pt x="62" y="47"/>
                    <a:pt x="62" y="47"/>
                  </a:cubicBezTo>
                  <a:cubicBezTo>
                    <a:pt x="62" y="47"/>
                    <a:pt x="63" y="48"/>
                    <a:pt x="63" y="48"/>
                  </a:cubicBezTo>
                  <a:cubicBezTo>
                    <a:pt x="64" y="48"/>
                    <a:pt x="64" y="48"/>
                    <a:pt x="65" y="48"/>
                  </a:cubicBezTo>
                  <a:cubicBezTo>
                    <a:pt x="66" y="48"/>
                    <a:pt x="67" y="49"/>
                    <a:pt x="67" y="49"/>
                  </a:cubicBezTo>
                  <a:cubicBezTo>
                    <a:pt x="67" y="49"/>
                    <a:pt x="67" y="50"/>
                    <a:pt x="67" y="50"/>
                  </a:cubicBezTo>
                  <a:cubicBezTo>
                    <a:pt x="67" y="50"/>
                    <a:pt x="67" y="52"/>
                    <a:pt x="67" y="52"/>
                  </a:cubicBezTo>
                  <a:cubicBezTo>
                    <a:pt x="67" y="53"/>
                    <a:pt x="65" y="53"/>
                    <a:pt x="65" y="53"/>
                  </a:cubicBezTo>
                  <a:cubicBezTo>
                    <a:pt x="65" y="53"/>
                    <a:pt x="65" y="54"/>
                    <a:pt x="65" y="54"/>
                  </a:cubicBezTo>
                  <a:cubicBezTo>
                    <a:pt x="64" y="55"/>
                    <a:pt x="63" y="56"/>
                    <a:pt x="62" y="56"/>
                  </a:cubicBezTo>
                  <a:cubicBezTo>
                    <a:pt x="62" y="56"/>
                    <a:pt x="60" y="54"/>
                    <a:pt x="60" y="54"/>
                  </a:cubicBezTo>
                  <a:cubicBezTo>
                    <a:pt x="60" y="54"/>
                    <a:pt x="59" y="55"/>
                    <a:pt x="59" y="55"/>
                  </a:cubicBezTo>
                  <a:cubicBezTo>
                    <a:pt x="60" y="57"/>
                    <a:pt x="60" y="57"/>
                    <a:pt x="60" y="57"/>
                  </a:cubicBezTo>
                  <a:cubicBezTo>
                    <a:pt x="61" y="60"/>
                    <a:pt x="61" y="60"/>
                    <a:pt x="61" y="60"/>
                  </a:cubicBezTo>
                  <a:cubicBezTo>
                    <a:pt x="60" y="61"/>
                    <a:pt x="60" y="61"/>
                    <a:pt x="60" y="61"/>
                  </a:cubicBezTo>
                  <a:cubicBezTo>
                    <a:pt x="61" y="64"/>
                    <a:pt x="61" y="64"/>
                    <a:pt x="61" y="64"/>
                  </a:cubicBezTo>
                  <a:cubicBezTo>
                    <a:pt x="61" y="66"/>
                    <a:pt x="61" y="66"/>
                    <a:pt x="61" y="66"/>
                  </a:cubicBezTo>
                  <a:cubicBezTo>
                    <a:pt x="59" y="67"/>
                    <a:pt x="59" y="67"/>
                    <a:pt x="59" y="67"/>
                  </a:cubicBezTo>
                  <a:cubicBezTo>
                    <a:pt x="59" y="67"/>
                    <a:pt x="58" y="68"/>
                    <a:pt x="57" y="68"/>
                  </a:cubicBezTo>
                  <a:cubicBezTo>
                    <a:pt x="57" y="68"/>
                    <a:pt x="56" y="67"/>
                    <a:pt x="56" y="68"/>
                  </a:cubicBezTo>
                  <a:cubicBezTo>
                    <a:pt x="57" y="69"/>
                    <a:pt x="57" y="70"/>
                    <a:pt x="58" y="70"/>
                  </a:cubicBezTo>
                  <a:cubicBezTo>
                    <a:pt x="59" y="70"/>
                    <a:pt x="61" y="70"/>
                    <a:pt x="61" y="70"/>
                  </a:cubicBezTo>
                  <a:cubicBezTo>
                    <a:pt x="63" y="73"/>
                    <a:pt x="63" y="73"/>
                    <a:pt x="63" y="73"/>
                  </a:cubicBezTo>
                  <a:cubicBezTo>
                    <a:pt x="63" y="73"/>
                    <a:pt x="64" y="73"/>
                    <a:pt x="65" y="73"/>
                  </a:cubicBezTo>
                  <a:cubicBezTo>
                    <a:pt x="65" y="73"/>
                    <a:pt x="67" y="74"/>
                    <a:pt x="67" y="74"/>
                  </a:cubicBezTo>
                  <a:cubicBezTo>
                    <a:pt x="67" y="74"/>
                    <a:pt x="67" y="74"/>
                    <a:pt x="68" y="75"/>
                  </a:cubicBezTo>
                  <a:cubicBezTo>
                    <a:pt x="69" y="75"/>
                    <a:pt x="71" y="76"/>
                    <a:pt x="71" y="76"/>
                  </a:cubicBezTo>
                  <a:cubicBezTo>
                    <a:pt x="71" y="76"/>
                    <a:pt x="71" y="75"/>
                    <a:pt x="70" y="75"/>
                  </a:cubicBezTo>
                  <a:cubicBezTo>
                    <a:pt x="70" y="75"/>
                    <a:pt x="69" y="72"/>
                    <a:pt x="67" y="72"/>
                  </a:cubicBezTo>
                  <a:cubicBezTo>
                    <a:pt x="66" y="71"/>
                    <a:pt x="65" y="71"/>
                    <a:pt x="64" y="71"/>
                  </a:cubicBezTo>
                  <a:cubicBezTo>
                    <a:pt x="63" y="71"/>
                    <a:pt x="61" y="70"/>
                    <a:pt x="61" y="70"/>
                  </a:cubicBezTo>
                  <a:cubicBezTo>
                    <a:pt x="61" y="69"/>
                    <a:pt x="60" y="68"/>
                    <a:pt x="61" y="68"/>
                  </a:cubicBezTo>
                  <a:cubicBezTo>
                    <a:pt x="61" y="67"/>
                    <a:pt x="61" y="66"/>
                    <a:pt x="63" y="66"/>
                  </a:cubicBezTo>
                  <a:cubicBezTo>
                    <a:pt x="64" y="66"/>
                    <a:pt x="65" y="67"/>
                    <a:pt x="66" y="66"/>
                  </a:cubicBezTo>
                  <a:cubicBezTo>
                    <a:pt x="67" y="66"/>
                    <a:pt x="69" y="63"/>
                    <a:pt x="69" y="63"/>
                  </a:cubicBezTo>
                  <a:cubicBezTo>
                    <a:pt x="71" y="61"/>
                    <a:pt x="71" y="61"/>
                    <a:pt x="71" y="61"/>
                  </a:cubicBezTo>
                  <a:cubicBezTo>
                    <a:pt x="74" y="60"/>
                    <a:pt x="74" y="60"/>
                    <a:pt x="74" y="60"/>
                  </a:cubicBezTo>
                  <a:cubicBezTo>
                    <a:pt x="74" y="60"/>
                    <a:pt x="78" y="58"/>
                    <a:pt x="78" y="58"/>
                  </a:cubicBezTo>
                  <a:cubicBezTo>
                    <a:pt x="78" y="58"/>
                    <a:pt x="79" y="58"/>
                    <a:pt x="80" y="59"/>
                  </a:cubicBezTo>
                  <a:cubicBezTo>
                    <a:pt x="81" y="60"/>
                    <a:pt x="81" y="60"/>
                    <a:pt x="81" y="60"/>
                  </a:cubicBezTo>
                  <a:cubicBezTo>
                    <a:pt x="82" y="60"/>
                    <a:pt x="84" y="61"/>
                    <a:pt x="84" y="61"/>
                  </a:cubicBezTo>
                  <a:cubicBezTo>
                    <a:pt x="84" y="61"/>
                    <a:pt x="84" y="61"/>
                    <a:pt x="85" y="62"/>
                  </a:cubicBezTo>
                  <a:cubicBezTo>
                    <a:pt x="85" y="62"/>
                    <a:pt x="86" y="63"/>
                    <a:pt x="85" y="65"/>
                  </a:cubicBezTo>
                  <a:cubicBezTo>
                    <a:pt x="85" y="66"/>
                    <a:pt x="85" y="67"/>
                    <a:pt x="85" y="67"/>
                  </a:cubicBezTo>
                  <a:cubicBezTo>
                    <a:pt x="85" y="67"/>
                    <a:pt x="86" y="66"/>
                    <a:pt x="86" y="65"/>
                  </a:cubicBezTo>
                  <a:cubicBezTo>
                    <a:pt x="86" y="63"/>
                    <a:pt x="86" y="62"/>
                    <a:pt x="86" y="61"/>
                  </a:cubicBezTo>
                  <a:cubicBezTo>
                    <a:pt x="86" y="60"/>
                    <a:pt x="85" y="59"/>
                    <a:pt x="85" y="59"/>
                  </a:cubicBezTo>
                  <a:cubicBezTo>
                    <a:pt x="85" y="59"/>
                    <a:pt x="83" y="60"/>
                    <a:pt x="81" y="59"/>
                  </a:cubicBezTo>
                  <a:cubicBezTo>
                    <a:pt x="80" y="58"/>
                    <a:pt x="80" y="57"/>
                    <a:pt x="79" y="57"/>
                  </a:cubicBezTo>
                  <a:cubicBezTo>
                    <a:pt x="79" y="57"/>
                    <a:pt x="78" y="56"/>
                    <a:pt x="77" y="56"/>
                  </a:cubicBezTo>
                  <a:cubicBezTo>
                    <a:pt x="77" y="56"/>
                    <a:pt x="77" y="55"/>
                    <a:pt x="77" y="54"/>
                  </a:cubicBezTo>
                  <a:cubicBezTo>
                    <a:pt x="77" y="53"/>
                    <a:pt x="77" y="52"/>
                    <a:pt x="77" y="51"/>
                  </a:cubicBezTo>
                  <a:cubicBezTo>
                    <a:pt x="77" y="51"/>
                    <a:pt x="76" y="50"/>
                    <a:pt x="77" y="49"/>
                  </a:cubicBezTo>
                  <a:cubicBezTo>
                    <a:pt x="78" y="48"/>
                    <a:pt x="78" y="48"/>
                    <a:pt x="79" y="48"/>
                  </a:cubicBezTo>
                  <a:cubicBezTo>
                    <a:pt x="79" y="47"/>
                    <a:pt x="81" y="46"/>
                    <a:pt x="80" y="46"/>
                  </a:cubicBezTo>
                  <a:cubicBezTo>
                    <a:pt x="80" y="45"/>
                    <a:pt x="79" y="45"/>
                    <a:pt x="78" y="45"/>
                  </a:cubicBezTo>
                  <a:cubicBezTo>
                    <a:pt x="77" y="45"/>
                    <a:pt x="78" y="46"/>
                    <a:pt x="77" y="46"/>
                  </a:cubicBezTo>
                  <a:cubicBezTo>
                    <a:pt x="75" y="46"/>
                    <a:pt x="75" y="45"/>
                    <a:pt x="74" y="44"/>
                  </a:cubicBezTo>
                  <a:cubicBezTo>
                    <a:pt x="74" y="43"/>
                    <a:pt x="74" y="43"/>
                    <a:pt x="73" y="44"/>
                  </a:cubicBezTo>
                  <a:cubicBezTo>
                    <a:pt x="72" y="44"/>
                    <a:pt x="71" y="43"/>
                    <a:pt x="71" y="43"/>
                  </a:cubicBezTo>
                  <a:cubicBezTo>
                    <a:pt x="71" y="43"/>
                    <a:pt x="70" y="42"/>
                    <a:pt x="71" y="41"/>
                  </a:cubicBezTo>
                  <a:cubicBezTo>
                    <a:pt x="71" y="41"/>
                    <a:pt x="72" y="39"/>
                    <a:pt x="72" y="39"/>
                  </a:cubicBezTo>
                  <a:cubicBezTo>
                    <a:pt x="72" y="39"/>
                    <a:pt x="72" y="36"/>
                    <a:pt x="72" y="36"/>
                  </a:cubicBezTo>
                  <a:cubicBezTo>
                    <a:pt x="72" y="35"/>
                    <a:pt x="72" y="35"/>
                    <a:pt x="72" y="35"/>
                  </a:cubicBezTo>
                  <a:close/>
                  <a:moveTo>
                    <a:pt x="127" y="1"/>
                  </a:moveTo>
                  <a:cubicBezTo>
                    <a:pt x="127" y="1"/>
                    <a:pt x="127" y="1"/>
                    <a:pt x="127" y="1"/>
                  </a:cubicBezTo>
                  <a:cubicBezTo>
                    <a:pt x="127" y="1"/>
                    <a:pt x="127" y="0"/>
                    <a:pt x="128" y="0"/>
                  </a:cubicBezTo>
                  <a:cubicBezTo>
                    <a:pt x="129" y="0"/>
                    <a:pt x="129" y="0"/>
                    <a:pt x="130" y="0"/>
                  </a:cubicBezTo>
                  <a:cubicBezTo>
                    <a:pt x="130" y="0"/>
                    <a:pt x="132" y="0"/>
                    <a:pt x="132" y="0"/>
                  </a:cubicBezTo>
                  <a:cubicBezTo>
                    <a:pt x="132" y="0"/>
                    <a:pt x="133" y="0"/>
                    <a:pt x="134" y="0"/>
                  </a:cubicBezTo>
                  <a:cubicBezTo>
                    <a:pt x="134" y="0"/>
                    <a:pt x="135" y="0"/>
                    <a:pt x="135" y="0"/>
                  </a:cubicBezTo>
                  <a:cubicBezTo>
                    <a:pt x="136" y="0"/>
                    <a:pt x="135" y="1"/>
                    <a:pt x="135" y="1"/>
                  </a:cubicBezTo>
                  <a:cubicBezTo>
                    <a:pt x="133" y="1"/>
                    <a:pt x="133" y="1"/>
                    <a:pt x="133" y="1"/>
                  </a:cubicBezTo>
                  <a:cubicBezTo>
                    <a:pt x="133" y="1"/>
                    <a:pt x="132" y="1"/>
                    <a:pt x="131" y="1"/>
                  </a:cubicBezTo>
                  <a:cubicBezTo>
                    <a:pt x="131" y="2"/>
                    <a:pt x="130" y="2"/>
                    <a:pt x="130" y="2"/>
                  </a:cubicBezTo>
                  <a:cubicBezTo>
                    <a:pt x="130" y="2"/>
                    <a:pt x="129" y="2"/>
                    <a:pt x="129" y="2"/>
                  </a:cubicBezTo>
                  <a:cubicBezTo>
                    <a:pt x="128" y="2"/>
                    <a:pt x="128" y="1"/>
                    <a:pt x="128" y="2"/>
                  </a:cubicBezTo>
                  <a:cubicBezTo>
                    <a:pt x="127" y="2"/>
                    <a:pt x="127" y="1"/>
                    <a:pt x="127" y="1"/>
                  </a:cubicBezTo>
                  <a:close/>
                  <a:moveTo>
                    <a:pt x="118" y="6"/>
                  </a:moveTo>
                  <a:cubicBezTo>
                    <a:pt x="118" y="6"/>
                    <a:pt x="118" y="6"/>
                    <a:pt x="118" y="6"/>
                  </a:cubicBezTo>
                  <a:cubicBezTo>
                    <a:pt x="118" y="6"/>
                    <a:pt x="118" y="5"/>
                    <a:pt x="119" y="5"/>
                  </a:cubicBezTo>
                  <a:cubicBezTo>
                    <a:pt x="119" y="5"/>
                    <a:pt x="119" y="4"/>
                    <a:pt x="120" y="5"/>
                  </a:cubicBezTo>
                  <a:cubicBezTo>
                    <a:pt x="120" y="5"/>
                    <a:pt x="120" y="7"/>
                    <a:pt x="120" y="7"/>
                  </a:cubicBezTo>
                  <a:cubicBezTo>
                    <a:pt x="119" y="7"/>
                    <a:pt x="119" y="7"/>
                    <a:pt x="118" y="7"/>
                  </a:cubicBezTo>
                  <a:cubicBezTo>
                    <a:pt x="118" y="7"/>
                    <a:pt x="118" y="6"/>
                    <a:pt x="118" y="6"/>
                  </a:cubicBezTo>
                  <a:close/>
                  <a:moveTo>
                    <a:pt x="112" y="9"/>
                  </a:moveTo>
                  <a:cubicBezTo>
                    <a:pt x="112" y="9"/>
                    <a:pt x="112" y="9"/>
                    <a:pt x="112" y="9"/>
                  </a:cubicBezTo>
                  <a:cubicBezTo>
                    <a:pt x="112" y="9"/>
                    <a:pt x="111" y="8"/>
                    <a:pt x="111" y="8"/>
                  </a:cubicBezTo>
                  <a:cubicBezTo>
                    <a:pt x="111" y="8"/>
                    <a:pt x="111" y="7"/>
                    <a:pt x="112" y="7"/>
                  </a:cubicBezTo>
                  <a:cubicBezTo>
                    <a:pt x="112" y="7"/>
                    <a:pt x="113" y="7"/>
                    <a:pt x="113" y="7"/>
                  </a:cubicBezTo>
                  <a:cubicBezTo>
                    <a:pt x="114" y="7"/>
                    <a:pt x="114" y="7"/>
                    <a:pt x="114" y="7"/>
                  </a:cubicBezTo>
                  <a:cubicBezTo>
                    <a:pt x="114" y="7"/>
                    <a:pt x="115" y="6"/>
                    <a:pt x="115" y="6"/>
                  </a:cubicBezTo>
                  <a:cubicBezTo>
                    <a:pt x="115" y="6"/>
                    <a:pt x="116" y="8"/>
                    <a:pt x="116" y="8"/>
                  </a:cubicBezTo>
                  <a:cubicBezTo>
                    <a:pt x="116" y="8"/>
                    <a:pt x="116" y="8"/>
                    <a:pt x="115" y="8"/>
                  </a:cubicBezTo>
                  <a:cubicBezTo>
                    <a:pt x="115" y="8"/>
                    <a:pt x="114" y="9"/>
                    <a:pt x="114" y="9"/>
                  </a:cubicBezTo>
                  <a:cubicBezTo>
                    <a:pt x="113" y="10"/>
                    <a:pt x="113" y="10"/>
                    <a:pt x="113" y="10"/>
                  </a:cubicBezTo>
                  <a:cubicBezTo>
                    <a:pt x="112" y="9"/>
                    <a:pt x="112" y="9"/>
                    <a:pt x="112" y="9"/>
                  </a:cubicBezTo>
                  <a:close/>
                  <a:moveTo>
                    <a:pt x="108" y="12"/>
                  </a:moveTo>
                  <a:cubicBezTo>
                    <a:pt x="108" y="12"/>
                    <a:pt x="108" y="12"/>
                    <a:pt x="108" y="12"/>
                  </a:cubicBezTo>
                  <a:cubicBezTo>
                    <a:pt x="108" y="11"/>
                    <a:pt x="107" y="11"/>
                    <a:pt x="107" y="11"/>
                  </a:cubicBezTo>
                  <a:cubicBezTo>
                    <a:pt x="107" y="11"/>
                    <a:pt x="106" y="10"/>
                    <a:pt x="106" y="10"/>
                  </a:cubicBezTo>
                  <a:cubicBezTo>
                    <a:pt x="106" y="10"/>
                    <a:pt x="106" y="9"/>
                    <a:pt x="107" y="9"/>
                  </a:cubicBezTo>
                  <a:cubicBezTo>
                    <a:pt x="107" y="9"/>
                    <a:pt x="107" y="9"/>
                    <a:pt x="107" y="10"/>
                  </a:cubicBezTo>
                  <a:cubicBezTo>
                    <a:pt x="108" y="10"/>
                    <a:pt x="108" y="11"/>
                    <a:pt x="108" y="11"/>
                  </a:cubicBezTo>
                  <a:cubicBezTo>
                    <a:pt x="108" y="12"/>
                    <a:pt x="108" y="12"/>
                    <a:pt x="108" y="12"/>
                  </a:cubicBezTo>
                  <a:close/>
                  <a:moveTo>
                    <a:pt x="96" y="12"/>
                  </a:moveTo>
                  <a:cubicBezTo>
                    <a:pt x="96" y="12"/>
                    <a:pt x="96" y="12"/>
                    <a:pt x="96" y="12"/>
                  </a:cubicBezTo>
                  <a:cubicBezTo>
                    <a:pt x="96" y="12"/>
                    <a:pt x="96" y="12"/>
                    <a:pt x="97" y="12"/>
                  </a:cubicBezTo>
                  <a:cubicBezTo>
                    <a:pt x="98" y="11"/>
                    <a:pt x="98" y="10"/>
                    <a:pt x="99" y="11"/>
                  </a:cubicBezTo>
                  <a:cubicBezTo>
                    <a:pt x="100" y="11"/>
                    <a:pt x="102" y="12"/>
                    <a:pt x="102" y="12"/>
                  </a:cubicBezTo>
                  <a:cubicBezTo>
                    <a:pt x="102" y="12"/>
                    <a:pt x="102" y="11"/>
                    <a:pt x="102" y="11"/>
                  </a:cubicBezTo>
                  <a:cubicBezTo>
                    <a:pt x="103" y="11"/>
                    <a:pt x="103" y="12"/>
                    <a:pt x="103" y="12"/>
                  </a:cubicBezTo>
                  <a:cubicBezTo>
                    <a:pt x="103" y="12"/>
                    <a:pt x="102" y="12"/>
                    <a:pt x="102" y="12"/>
                  </a:cubicBezTo>
                  <a:cubicBezTo>
                    <a:pt x="101" y="13"/>
                    <a:pt x="101" y="13"/>
                    <a:pt x="100" y="13"/>
                  </a:cubicBezTo>
                  <a:cubicBezTo>
                    <a:pt x="99" y="13"/>
                    <a:pt x="99" y="12"/>
                    <a:pt x="98" y="13"/>
                  </a:cubicBezTo>
                  <a:cubicBezTo>
                    <a:pt x="98" y="13"/>
                    <a:pt x="98" y="14"/>
                    <a:pt x="97" y="14"/>
                  </a:cubicBezTo>
                  <a:cubicBezTo>
                    <a:pt x="97" y="14"/>
                    <a:pt x="96" y="14"/>
                    <a:pt x="96" y="14"/>
                  </a:cubicBezTo>
                  <a:cubicBezTo>
                    <a:pt x="96" y="13"/>
                    <a:pt x="96" y="12"/>
                    <a:pt x="96" y="12"/>
                  </a:cubicBezTo>
                  <a:close/>
                  <a:moveTo>
                    <a:pt x="93" y="13"/>
                  </a:moveTo>
                  <a:cubicBezTo>
                    <a:pt x="93" y="13"/>
                    <a:pt x="93" y="13"/>
                    <a:pt x="93" y="13"/>
                  </a:cubicBezTo>
                  <a:cubicBezTo>
                    <a:pt x="93" y="13"/>
                    <a:pt x="93" y="12"/>
                    <a:pt x="94" y="13"/>
                  </a:cubicBezTo>
                  <a:cubicBezTo>
                    <a:pt x="94" y="13"/>
                    <a:pt x="94" y="12"/>
                    <a:pt x="94" y="13"/>
                  </a:cubicBezTo>
                  <a:cubicBezTo>
                    <a:pt x="95" y="14"/>
                    <a:pt x="95" y="15"/>
                    <a:pt x="94" y="15"/>
                  </a:cubicBezTo>
                  <a:cubicBezTo>
                    <a:pt x="93" y="14"/>
                    <a:pt x="93" y="13"/>
                    <a:pt x="93" y="13"/>
                  </a:cubicBezTo>
                  <a:close/>
                  <a:moveTo>
                    <a:pt x="81" y="13"/>
                  </a:moveTo>
                  <a:cubicBezTo>
                    <a:pt x="81" y="13"/>
                    <a:pt x="81" y="13"/>
                    <a:pt x="81" y="13"/>
                  </a:cubicBezTo>
                  <a:cubicBezTo>
                    <a:pt x="81" y="13"/>
                    <a:pt x="81" y="12"/>
                    <a:pt x="82" y="12"/>
                  </a:cubicBezTo>
                  <a:cubicBezTo>
                    <a:pt x="82" y="12"/>
                    <a:pt x="82" y="12"/>
                    <a:pt x="83" y="12"/>
                  </a:cubicBezTo>
                  <a:cubicBezTo>
                    <a:pt x="83" y="13"/>
                    <a:pt x="84" y="13"/>
                    <a:pt x="84" y="13"/>
                  </a:cubicBezTo>
                  <a:cubicBezTo>
                    <a:pt x="85" y="13"/>
                    <a:pt x="85" y="13"/>
                    <a:pt x="85" y="13"/>
                  </a:cubicBezTo>
                  <a:cubicBezTo>
                    <a:pt x="86" y="13"/>
                    <a:pt x="86" y="12"/>
                    <a:pt x="87" y="13"/>
                  </a:cubicBezTo>
                  <a:cubicBezTo>
                    <a:pt x="88" y="13"/>
                    <a:pt x="88" y="13"/>
                    <a:pt x="89" y="13"/>
                  </a:cubicBezTo>
                  <a:cubicBezTo>
                    <a:pt x="89" y="13"/>
                    <a:pt x="91" y="13"/>
                    <a:pt x="91" y="13"/>
                  </a:cubicBezTo>
                  <a:cubicBezTo>
                    <a:pt x="91" y="13"/>
                    <a:pt x="91" y="14"/>
                    <a:pt x="91" y="14"/>
                  </a:cubicBezTo>
                  <a:cubicBezTo>
                    <a:pt x="90" y="14"/>
                    <a:pt x="90" y="14"/>
                    <a:pt x="89" y="14"/>
                  </a:cubicBezTo>
                  <a:cubicBezTo>
                    <a:pt x="89" y="14"/>
                    <a:pt x="90" y="14"/>
                    <a:pt x="88" y="14"/>
                  </a:cubicBezTo>
                  <a:cubicBezTo>
                    <a:pt x="87" y="14"/>
                    <a:pt x="87" y="14"/>
                    <a:pt x="86" y="14"/>
                  </a:cubicBezTo>
                  <a:cubicBezTo>
                    <a:pt x="86" y="14"/>
                    <a:pt x="86" y="14"/>
                    <a:pt x="85" y="14"/>
                  </a:cubicBezTo>
                  <a:cubicBezTo>
                    <a:pt x="85" y="14"/>
                    <a:pt x="85" y="14"/>
                    <a:pt x="85" y="14"/>
                  </a:cubicBezTo>
                  <a:cubicBezTo>
                    <a:pt x="84" y="14"/>
                    <a:pt x="87" y="13"/>
                    <a:pt x="84" y="14"/>
                  </a:cubicBezTo>
                  <a:cubicBezTo>
                    <a:pt x="81" y="15"/>
                    <a:pt x="81" y="15"/>
                    <a:pt x="81" y="15"/>
                  </a:cubicBezTo>
                  <a:cubicBezTo>
                    <a:pt x="81" y="15"/>
                    <a:pt x="81" y="14"/>
                    <a:pt x="81" y="14"/>
                  </a:cubicBezTo>
                  <a:cubicBezTo>
                    <a:pt x="81" y="14"/>
                    <a:pt x="81" y="13"/>
                    <a:pt x="81" y="13"/>
                  </a:cubicBezTo>
                  <a:close/>
                  <a:moveTo>
                    <a:pt x="68" y="16"/>
                  </a:moveTo>
                  <a:cubicBezTo>
                    <a:pt x="68" y="16"/>
                    <a:pt x="68" y="16"/>
                    <a:pt x="68" y="16"/>
                  </a:cubicBezTo>
                  <a:cubicBezTo>
                    <a:pt x="69" y="16"/>
                    <a:pt x="69" y="16"/>
                    <a:pt x="69" y="16"/>
                  </a:cubicBezTo>
                  <a:cubicBezTo>
                    <a:pt x="69" y="16"/>
                    <a:pt x="71" y="16"/>
                    <a:pt x="71" y="15"/>
                  </a:cubicBezTo>
                  <a:cubicBezTo>
                    <a:pt x="72" y="15"/>
                    <a:pt x="72" y="15"/>
                    <a:pt x="72" y="15"/>
                  </a:cubicBezTo>
                  <a:cubicBezTo>
                    <a:pt x="72" y="15"/>
                    <a:pt x="74" y="14"/>
                    <a:pt x="74" y="14"/>
                  </a:cubicBezTo>
                  <a:cubicBezTo>
                    <a:pt x="75" y="14"/>
                    <a:pt x="76" y="13"/>
                    <a:pt x="76" y="13"/>
                  </a:cubicBezTo>
                  <a:cubicBezTo>
                    <a:pt x="76" y="13"/>
                    <a:pt x="78" y="14"/>
                    <a:pt x="78" y="14"/>
                  </a:cubicBezTo>
                  <a:cubicBezTo>
                    <a:pt x="79" y="14"/>
                    <a:pt x="79" y="13"/>
                    <a:pt x="79" y="13"/>
                  </a:cubicBezTo>
                  <a:cubicBezTo>
                    <a:pt x="77" y="12"/>
                    <a:pt x="77" y="12"/>
                    <a:pt x="77" y="12"/>
                  </a:cubicBezTo>
                  <a:cubicBezTo>
                    <a:pt x="73" y="13"/>
                    <a:pt x="73" y="13"/>
                    <a:pt x="73" y="13"/>
                  </a:cubicBezTo>
                  <a:cubicBezTo>
                    <a:pt x="73" y="13"/>
                    <a:pt x="70" y="14"/>
                    <a:pt x="69" y="14"/>
                  </a:cubicBezTo>
                  <a:cubicBezTo>
                    <a:pt x="68" y="13"/>
                    <a:pt x="67" y="14"/>
                    <a:pt x="67" y="14"/>
                  </a:cubicBezTo>
                  <a:cubicBezTo>
                    <a:pt x="66" y="15"/>
                    <a:pt x="66" y="15"/>
                    <a:pt x="66" y="15"/>
                  </a:cubicBezTo>
                  <a:cubicBezTo>
                    <a:pt x="66" y="15"/>
                    <a:pt x="67" y="16"/>
                    <a:pt x="67" y="16"/>
                  </a:cubicBezTo>
                  <a:cubicBezTo>
                    <a:pt x="67" y="17"/>
                    <a:pt x="68" y="16"/>
                    <a:pt x="68" y="16"/>
                  </a:cubicBezTo>
                  <a:close/>
                  <a:moveTo>
                    <a:pt x="56" y="22"/>
                  </a:moveTo>
                  <a:cubicBezTo>
                    <a:pt x="56" y="22"/>
                    <a:pt x="56" y="22"/>
                    <a:pt x="56" y="22"/>
                  </a:cubicBezTo>
                  <a:cubicBezTo>
                    <a:pt x="56" y="22"/>
                    <a:pt x="56" y="22"/>
                    <a:pt x="56" y="22"/>
                  </a:cubicBezTo>
                  <a:cubicBezTo>
                    <a:pt x="57" y="23"/>
                    <a:pt x="57" y="23"/>
                    <a:pt x="57" y="23"/>
                  </a:cubicBezTo>
                  <a:cubicBezTo>
                    <a:pt x="57" y="23"/>
                    <a:pt x="58" y="22"/>
                    <a:pt x="58" y="22"/>
                  </a:cubicBezTo>
                  <a:cubicBezTo>
                    <a:pt x="58" y="21"/>
                    <a:pt x="59" y="21"/>
                    <a:pt x="59" y="21"/>
                  </a:cubicBezTo>
                  <a:cubicBezTo>
                    <a:pt x="59" y="21"/>
                    <a:pt x="60" y="20"/>
                    <a:pt x="61" y="20"/>
                  </a:cubicBezTo>
                  <a:cubicBezTo>
                    <a:pt x="61" y="20"/>
                    <a:pt x="63" y="19"/>
                    <a:pt x="63" y="19"/>
                  </a:cubicBezTo>
                  <a:cubicBezTo>
                    <a:pt x="63" y="18"/>
                    <a:pt x="63" y="18"/>
                    <a:pt x="63" y="18"/>
                  </a:cubicBezTo>
                  <a:cubicBezTo>
                    <a:pt x="63" y="18"/>
                    <a:pt x="60" y="18"/>
                    <a:pt x="60" y="18"/>
                  </a:cubicBezTo>
                  <a:cubicBezTo>
                    <a:pt x="60" y="18"/>
                    <a:pt x="58" y="20"/>
                    <a:pt x="58" y="20"/>
                  </a:cubicBezTo>
                  <a:cubicBezTo>
                    <a:pt x="58" y="20"/>
                    <a:pt x="56" y="22"/>
                    <a:pt x="56" y="22"/>
                  </a:cubicBezTo>
                  <a:close/>
                  <a:moveTo>
                    <a:pt x="55" y="32"/>
                  </a:moveTo>
                  <a:cubicBezTo>
                    <a:pt x="55" y="32"/>
                    <a:pt x="55" y="32"/>
                    <a:pt x="55" y="32"/>
                  </a:cubicBezTo>
                  <a:cubicBezTo>
                    <a:pt x="55" y="32"/>
                    <a:pt x="57" y="30"/>
                    <a:pt x="57" y="29"/>
                  </a:cubicBezTo>
                  <a:cubicBezTo>
                    <a:pt x="57" y="29"/>
                    <a:pt x="57" y="27"/>
                    <a:pt x="57" y="27"/>
                  </a:cubicBezTo>
                  <a:cubicBezTo>
                    <a:pt x="57" y="25"/>
                    <a:pt x="57" y="25"/>
                    <a:pt x="57" y="25"/>
                  </a:cubicBezTo>
                  <a:cubicBezTo>
                    <a:pt x="55" y="23"/>
                    <a:pt x="55" y="23"/>
                    <a:pt x="55" y="23"/>
                  </a:cubicBezTo>
                  <a:cubicBezTo>
                    <a:pt x="55" y="23"/>
                    <a:pt x="54" y="25"/>
                    <a:pt x="54" y="25"/>
                  </a:cubicBezTo>
                  <a:cubicBezTo>
                    <a:pt x="54" y="26"/>
                    <a:pt x="53" y="26"/>
                    <a:pt x="52" y="27"/>
                  </a:cubicBezTo>
                  <a:cubicBezTo>
                    <a:pt x="51" y="28"/>
                    <a:pt x="51" y="29"/>
                    <a:pt x="51" y="30"/>
                  </a:cubicBezTo>
                  <a:cubicBezTo>
                    <a:pt x="51" y="30"/>
                    <a:pt x="50" y="31"/>
                    <a:pt x="50" y="32"/>
                  </a:cubicBezTo>
                  <a:cubicBezTo>
                    <a:pt x="50" y="33"/>
                    <a:pt x="51" y="33"/>
                    <a:pt x="52" y="33"/>
                  </a:cubicBezTo>
                  <a:cubicBezTo>
                    <a:pt x="53" y="33"/>
                    <a:pt x="52" y="33"/>
                    <a:pt x="52" y="33"/>
                  </a:cubicBezTo>
                  <a:cubicBezTo>
                    <a:pt x="55" y="32"/>
                    <a:pt x="55" y="32"/>
                    <a:pt x="55" y="32"/>
                  </a:cubicBezTo>
                  <a:close/>
                  <a:moveTo>
                    <a:pt x="21" y="94"/>
                  </a:moveTo>
                  <a:cubicBezTo>
                    <a:pt x="21" y="94"/>
                    <a:pt x="21" y="94"/>
                    <a:pt x="21" y="94"/>
                  </a:cubicBezTo>
                  <a:cubicBezTo>
                    <a:pt x="21" y="94"/>
                    <a:pt x="21" y="94"/>
                    <a:pt x="22" y="94"/>
                  </a:cubicBezTo>
                  <a:cubicBezTo>
                    <a:pt x="22" y="94"/>
                    <a:pt x="22" y="93"/>
                    <a:pt x="22" y="93"/>
                  </a:cubicBezTo>
                  <a:cubicBezTo>
                    <a:pt x="23" y="93"/>
                    <a:pt x="23" y="94"/>
                    <a:pt x="23" y="94"/>
                  </a:cubicBezTo>
                  <a:cubicBezTo>
                    <a:pt x="24" y="94"/>
                    <a:pt x="24" y="95"/>
                    <a:pt x="24" y="95"/>
                  </a:cubicBezTo>
                  <a:cubicBezTo>
                    <a:pt x="25" y="97"/>
                    <a:pt x="25" y="97"/>
                    <a:pt x="25" y="97"/>
                  </a:cubicBezTo>
                  <a:cubicBezTo>
                    <a:pt x="25" y="97"/>
                    <a:pt x="25" y="98"/>
                    <a:pt x="25" y="98"/>
                  </a:cubicBezTo>
                  <a:cubicBezTo>
                    <a:pt x="25" y="99"/>
                    <a:pt x="25" y="99"/>
                    <a:pt x="25" y="99"/>
                  </a:cubicBezTo>
                  <a:cubicBezTo>
                    <a:pt x="25" y="99"/>
                    <a:pt x="26" y="99"/>
                    <a:pt x="27" y="99"/>
                  </a:cubicBezTo>
                  <a:cubicBezTo>
                    <a:pt x="27" y="99"/>
                    <a:pt x="27" y="100"/>
                    <a:pt x="28" y="100"/>
                  </a:cubicBezTo>
                  <a:cubicBezTo>
                    <a:pt x="29" y="101"/>
                    <a:pt x="29" y="101"/>
                    <a:pt x="29" y="101"/>
                  </a:cubicBezTo>
                  <a:cubicBezTo>
                    <a:pt x="30" y="102"/>
                    <a:pt x="30" y="102"/>
                    <a:pt x="31" y="103"/>
                  </a:cubicBezTo>
                  <a:cubicBezTo>
                    <a:pt x="32" y="103"/>
                    <a:pt x="32" y="103"/>
                    <a:pt x="33" y="103"/>
                  </a:cubicBezTo>
                  <a:cubicBezTo>
                    <a:pt x="33" y="102"/>
                    <a:pt x="33" y="102"/>
                    <a:pt x="34" y="102"/>
                  </a:cubicBezTo>
                  <a:cubicBezTo>
                    <a:pt x="34" y="102"/>
                    <a:pt x="34" y="102"/>
                    <a:pt x="35" y="102"/>
                  </a:cubicBezTo>
                  <a:cubicBezTo>
                    <a:pt x="35" y="101"/>
                    <a:pt x="34" y="101"/>
                    <a:pt x="34" y="101"/>
                  </a:cubicBezTo>
                  <a:cubicBezTo>
                    <a:pt x="34" y="101"/>
                    <a:pt x="33" y="100"/>
                    <a:pt x="32" y="99"/>
                  </a:cubicBezTo>
                  <a:cubicBezTo>
                    <a:pt x="32" y="99"/>
                    <a:pt x="32" y="99"/>
                    <a:pt x="32" y="98"/>
                  </a:cubicBezTo>
                  <a:cubicBezTo>
                    <a:pt x="32" y="98"/>
                    <a:pt x="32" y="98"/>
                    <a:pt x="31" y="97"/>
                  </a:cubicBezTo>
                  <a:cubicBezTo>
                    <a:pt x="30" y="97"/>
                    <a:pt x="30" y="97"/>
                    <a:pt x="30" y="97"/>
                  </a:cubicBezTo>
                  <a:cubicBezTo>
                    <a:pt x="29" y="96"/>
                    <a:pt x="29" y="95"/>
                    <a:pt x="29" y="95"/>
                  </a:cubicBezTo>
                  <a:cubicBezTo>
                    <a:pt x="29" y="95"/>
                    <a:pt x="27" y="95"/>
                    <a:pt x="27" y="94"/>
                  </a:cubicBezTo>
                  <a:cubicBezTo>
                    <a:pt x="27" y="94"/>
                    <a:pt x="26" y="94"/>
                    <a:pt x="26" y="94"/>
                  </a:cubicBezTo>
                  <a:cubicBezTo>
                    <a:pt x="26" y="94"/>
                    <a:pt x="24" y="93"/>
                    <a:pt x="24" y="92"/>
                  </a:cubicBezTo>
                  <a:cubicBezTo>
                    <a:pt x="24" y="92"/>
                    <a:pt x="24" y="91"/>
                    <a:pt x="24" y="91"/>
                  </a:cubicBezTo>
                  <a:cubicBezTo>
                    <a:pt x="24" y="91"/>
                    <a:pt x="23" y="91"/>
                    <a:pt x="22" y="91"/>
                  </a:cubicBezTo>
                  <a:cubicBezTo>
                    <a:pt x="21" y="92"/>
                    <a:pt x="20" y="92"/>
                    <a:pt x="20" y="92"/>
                  </a:cubicBezTo>
                  <a:cubicBezTo>
                    <a:pt x="19" y="92"/>
                    <a:pt x="19" y="93"/>
                    <a:pt x="19" y="93"/>
                  </a:cubicBezTo>
                  <a:cubicBezTo>
                    <a:pt x="19" y="93"/>
                    <a:pt x="19" y="94"/>
                    <a:pt x="20" y="94"/>
                  </a:cubicBezTo>
                  <a:cubicBezTo>
                    <a:pt x="20" y="95"/>
                    <a:pt x="21" y="94"/>
                    <a:pt x="21" y="94"/>
                  </a:cubicBezTo>
                  <a:close/>
                  <a:moveTo>
                    <a:pt x="71" y="75"/>
                  </a:moveTo>
                  <a:cubicBezTo>
                    <a:pt x="71" y="75"/>
                    <a:pt x="71" y="75"/>
                    <a:pt x="71" y="75"/>
                  </a:cubicBezTo>
                  <a:cubicBezTo>
                    <a:pt x="71" y="76"/>
                    <a:pt x="71" y="76"/>
                    <a:pt x="71" y="76"/>
                  </a:cubicBezTo>
                  <a:cubicBezTo>
                    <a:pt x="71" y="76"/>
                    <a:pt x="71" y="76"/>
                    <a:pt x="72" y="76"/>
                  </a:cubicBezTo>
                  <a:cubicBezTo>
                    <a:pt x="72" y="75"/>
                    <a:pt x="72" y="76"/>
                    <a:pt x="73" y="76"/>
                  </a:cubicBezTo>
                  <a:cubicBezTo>
                    <a:pt x="73" y="76"/>
                    <a:pt x="73" y="76"/>
                    <a:pt x="73" y="76"/>
                  </a:cubicBezTo>
                  <a:cubicBezTo>
                    <a:pt x="74" y="76"/>
                    <a:pt x="75" y="74"/>
                    <a:pt x="75" y="74"/>
                  </a:cubicBezTo>
                  <a:cubicBezTo>
                    <a:pt x="75" y="74"/>
                    <a:pt x="75" y="74"/>
                    <a:pt x="76" y="74"/>
                  </a:cubicBezTo>
                  <a:cubicBezTo>
                    <a:pt x="76" y="74"/>
                    <a:pt x="77" y="74"/>
                    <a:pt x="77" y="73"/>
                  </a:cubicBezTo>
                  <a:cubicBezTo>
                    <a:pt x="77" y="73"/>
                    <a:pt x="77" y="73"/>
                    <a:pt x="78" y="73"/>
                  </a:cubicBezTo>
                  <a:cubicBezTo>
                    <a:pt x="78" y="72"/>
                    <a:pt x="78" y="72"/>
                    <a:pt x="78" y="72"/>
                  </a:cubicBezTo>
                  <a:cubicBezTo>
                    <a:pt x="79" y="71"/>
                    <a:pt x="80" y="71"/>
                    <a:pt x="80" y="71"/>
                  </a:cubicBezTo>
                  <a:cubicBezTo>
                    <a:pt x="81" y="70"/>
                    <a:pt x="81" y="70"/>
                    <a:pt x="81" y="69"/>
                  </a:cubicBezTo>
                  <a:cubicBezTo>
                    <a:pt x="81" y="69"/>
                    <a:pt x="80" y="69"/>
                    <a:pt x="80" y="70"/>
                  </a:cubicBezTo>
                  <a:cubicBezTo>
                    <a:pt x="79" y="70"/>
                    <a:pt x="78" y="70"/>
                    <a:pt x="78" y="70"/>
                  </a:cubicBezTo>
                  <a:cubicBezTo>
                    <a:pt x="78" y="71"/>
                    <a:pt x="77" y="71"/>
                    <a:pt x="77" y="71"/>
                  </a:cubicBezTo>
                  <a:cubicBezTo>
                    <a:pt x="76" y="71"/>
                    <a:pt x="75" y="72"/>
                    <a:pt x="74" y="72"/>
                  </a:cubicBezTo>
                  <a:cubicBezTo>
                    <a:pt x="74" y="72"/>
                    <a:pt x="74" y="73"/>
                    <a:pt x="73" y="74"/>
                  </a:cubicBezTo>
                  <a:cubicBezTo>
                    <a:pt x="73" y="74"/>
                    <a:pt x="73" y="74"/>
                    <a:pt x="73" y="75"/>
                  </a:cubicBezTo>
                  <a:cubicBezTo>
                    <a:pt x="72" y="75"/>
                    <a:pt x="71" y="75"/>
                    <a:pt x="71" y="75"/>
                  </a:cubicBezTo>
                  <a:close/>
                </a:path>
              </a:pathLst>
            </a:custGeom>
            <a:solidFill>
              <a:srgbClr val="E6EFF1"/>
            </a:solidFill>
            <a:ln w="12700" cap="rnd" cmpd="sng">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Lato Light"/>
              </a:endParaRPr>
            </a:p>
          </p:txBody>
        </p:sp>
        <p:sp>
          <p:nvSpPr>
            <p:cNvPr id="23" name="Freeform 219">
              <a:extLst>
                <a:ext uri="{FF2B5EF4-FFF2-40B4-BE49-F238E27FC236}">
                  <a16:creationId xmlns:a16="http://schemas.microsoft.com/office/drawing/2014/main" id="{F485580E-EFF2-8C07-7E74-1CB22134B374}"/>
                </a:ext>
              </a:extLst>
            </p:cNvPr>
            <p:cNvSpPr>
              <a:spLocks/>
            </p:cNvSpPr>
            <p:nvPr/>
          </p:nvSpPr>
          <p:spPr bwMode="auto">
            <a:xfrm>
              <a:off x="4593386" y="4201167"/>
              <a:ext cx="691825" cy="475343"/>
            </a:xfrm>
            <a:custGeom>
              <a:avLst/>
              <a:gdLst>
                <a:gd name="T0" fmla="*/ 28 w 240"/>
                <a:gd name="T1" fmla="*/ 61 h 170"/>
                <a:gd name="T2" fmla="*/ 31 w 240"/>
                <a:gd name="T3" fmla="*/ 54 h 170"/>
                <a:gd name="T4" fmla="*/ 44 w 240"/>
                <a:gd name="T5" fmla="*/ 55 h 170"/>
                <a:gd name="T6" fmla="*/ 64 w 240"/>
                <a:gd name="T7" fmla="*/ 59 h 170"/>
                <a:gd name="T8" fmla="*/ 96 w 240"/>
                <a:gd name="T9" fmla="*/ 52 h 170"/>
                <a:gd name="T10" fmla="*/ 95 w 240"/>
                <a:gd name="T11" fmla="*/ 41 h 170"/>
                <a:gd name="T12" fmla="*/ 115 w 240"/>
                <a:gd name="T13" fmla="*/ 36 h 170"/>
                <a:gd name="T14" fmla="*/ 127 w 240"/>
                <a:gd name="T15" fmla="*/ 30 h 170"/>
                <a:gd name="T16" fmla="*/ 139 w 240"/>
                <a:gd name="T17" fmla="*/ 24 h 170"/>
                <a:gd name="T18" fmla="*/ 148 w 240"/>
                <a:gd name="T19" fmla="*/ 9 h 170"/>
                <a:gd name="T20" fmla="*/ 168 w 240"/>
                <a:gd name="T21" fmla="*/ 5 h 170"/>
                <a:gd name="T22" fmla="*/ 186 w 240"/>
                <a:gd name="T23" fmla="*/ 1 h 170"/>
                <a:gd name="T24" fmla="*/ 207 w 240"/>
                <a:gd name="T25" fmla="*/ 6 h 170"/>
                <a:gd name="T26" fmla="*/ 218 w 240"/>
                <a:gd name="T27" fmla="*/ 11 h 170"/>
                <a:gd name="T28" fmla="*/ 229 w 240"/>
                <a:gd name="T29" fmla="*/ 17 h 170"/>
                <a:gd name="T30" fmla="*/ 238 w 240"/>
                <a:gd name="T31" fmla="*/ 23 h 170"/>
                <a:gd name="T32" fmla="*/ 234 w 240"/>
                <a:gd name="T33" fmla="*/ 33 h 170"/>
                <a:gd name="T34" fmla="*/ 224 w 240"/>
                <a:gd name="T35" fmla="*/ 39 h 170"/>
                <a:gd name="T36" fmla="*/ 217 w 240"/>
                <a:gd name="T37" fmla="*/ 48 h 170"/>
                <a:gd name="T38" fmla="*/ 213 w 240"/>
                <a:gd name="T39" fmla="*/ 62 h 170"/>
                <a:gd name="T40" fmla="*/ 206 w 240"/>
                <a:gd name="T41" fmla="*/ 75 h 170"/>
                <a:gd name="T42" fmla="*/ 201 w 240"/>
                <a:gd name="T43" fmla="*/ 90 h 170"/>
                <a:gd name="T44" fmla="*/ 199 w 240"/>
                <a:gd name="T45" fmla="*/ 106 h 170"/>
                <a:gd name="T46" fmla="*/ 196 w 240"/>
                <a:gd name="T47" fmla="*/ 117 h 170"/>
                <a:gd name="T48" fmla="*/ 192 w 240"/>
                <a:gd name="T49" fmla="*/ 126 h 170"/>
                <a:gd name="T50" fmla="*/ 177 w 240"/>
                <a:gd name="T51" fmla="*/ 135 h 170"/>
                <a:gd name="T52" fmla="*/ 168 w 240"/>
                <a:gd name="T53" fmla="*/ 139 h 170"/>
                <a:gd name="T54" fmla="*/ 153 w 240"/>
                <a:gd name="T55" fmla="*/ 139 h 170"/>
                <a:gd name="T56" fmla="*/ 139 w 240"/>
                <a:gd name="T57" fmla="*/ 141 h 170"/>
                <a:gd name="T58" fmla="*/ 130 w 240"/>
                <a:gd name="T59" fmla="*/ 144 h 170"/>
                <a:gd name="T60" fmla="*/ 123 w 240"/>
                <a:gd name="T61" fmla="*/ 152 h 170"/>
                <a:gd name="T62" fmla="*/ 115 w 240"/>
                <a:gd name="T63" fmla="*/ 152 h 170"/>
                <a:gd name="T64" fmla="*/ 105 w 240"/>
                <a:gd name="T65" fmla="*/ 159 h 170"/>
                <a:gd name="T66" fmla="*/ 94 w 240"/>
                <a:gd name="T67" fmla="*/ 167 h 170"/>
                <a:gd name="T68" fmla="*/ 80 w 240"/>
                <a:gd name="T69" fmla="*/ 170 h 170"/>
                <a:gd name="T70" fmla="*/ 64 w 240"/>
                <a:gd name="T71" fmla="*/ 168 h 170"/>
                <a:gd name="T72" fmla="*/ 55 w 240"/>
                <a:gd name="T73" fmla="*/ 162 h 170"/>
                <a:gd name="T74" fmla="*/ 42 w 240"/>
                <a:gd name="T75" fmla="*/ 152 h 170"/>
                <a:gd name="T76" fmla="*/ 26 w 240"/>
                <a:gd name="T77" fmla="*/ 143 h 170"/>
                <a:gd name="T78" fmla="*/ 16 w 240"/>
                <a:gd name="T79" fmla="*/ 135 h 170"/>
                <a:gd name="T80" fmla="*/ 7 w 240"/>
                <a:gd name="T81" fmla="*/ 121 h 170"/>
                <a:gd name="T82" fmla="*/ 0 w 240"/>
                <a:gd name="T83" fmla="*/ 117 h 170"/>
                <a:gd name="T84" fmla="*/ 3 w 240"/>
                <a:gd name="T85" fmla="*/ 109 h 170"/>
                <a:gd name="T86" fmla="*/ 8 w 240"/>
                <a:gd name="T87" fmla="*/ 97 h 170"/>
                <a:gd name="T88" fmla="*/ 7 w 240"/>
                <a:gd name="T89" fmla="*/ 88 h 170"/>
                <a:gd name="T90" fmla="*/ 12 w 240"/>
                <a:gd name="T91" fmla="*/ 74 h 170"/>
                <a:gd name="T92" fmla="*/ 8 w 240"/>
                <a:gd name="T93" fmla="*/ 69 h 170"/>
                <a:gd name="T94" fmla="*/ 20 w 240"/>
                <a:gd name="T95" fmla="*/ 70 h 170"/>
                <a:gd name="T96" fmla="*/ 27 w 240"/>
                <a:gd name="T97" fmla="*/ 64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0" h="170">
                  <a:moveTo>
                    <a:pt x="28" y="61"/>
                  </a:moveTo>
                  <a:cubicBezTo>
                    <a:pt x="28" y="61"/>
                    <a:pt x="28" y="61"/>
                    <a:pt x="28" y="61"/>
                  </a:cubicBezTo>
                  <a:cubicBezTo>
                    <a:pt x="28" y="61"/>
                    <a:pt x="28" y="61"/>
                    <a:pt x="28" y="61"/>
                  </a:cubicBezTo>
                  <a:cubicBezTo>
                    <a:pt x="28" y="60"/>
                    <a:pt x="28" y="60"/>
                    <a:pt x="28" y="60"/>
                  </a:cubicBezTo>
                  <a:cubicBezTo>
                    <a:pt x="28" y="58"/>
                    <a:pt x="28" y="58"/>
                    <a:pt x="28" y="58"/>
                  </a:cubicBezTo>
                  <a:cubicBezTo>
                    <a:pt x="31" y="54"/>
                    <a:pt x="31" y="54"/>
                    <a:pt x="31" y="54"/>
                  </a:cubicBezTo>
                  <a:cubicBezTo>
                    <a:pt x="31" y="49"/>
                    <a:pt x="31" y="49"/>
                    <a:pt x="31" y="49"/>
                  </a:cubicBezTo>
                  <a:cubicBezTo>
                    <a:pt x="39" y="50"/>
                    <a:pt x="39" y="50"/>
                    <a:pt x="39" y="50"/>
                  </a:cubicBezTo>
                  <a:cubicBezTo>
                    <a:pt x="44" y="55"/>
                    <a:pt x="44" y="55"/>
                    <a:pt x="44" y="55"/>
                  </a:cubicBezTo>
                  <a:cubicBezTo>
                    <a:pt x="51" y="59"/>
                    <a:pt x="51" y="59"/>
                    <a:pt x="51" y="59"/>
                  </a:cubicBezTo>
                  <a:cubicBezTo>
                    <a:pt x="55" y="61"/>
                    <a:pt x="55" y="61"/>
                    <a:pt x="55" y="61"/>
                  </a:cubicBezTo>
                  <a:cubicBezTo>
                    <a:pt x="64" y="59"/>
                    <a:pt x="64" y="59"/>
                    <a:pt x="64" y="59"/>
                  </a:cubicBezTo>
                  <a:cubicBezTo>
                    <a:pt x="81" y="58"/>
                    <a:pt x="81" y="58"/>
                    <a:pt x="81" y="58"/>
                  </a:cubicBezTo>
                  <a:cubicBezTo>
                    <a:pt x="81" y="58"/>
                    <a:pt x="90" y="57"/>
                    <a:pt x="91" y="56"/>
                  </a:cubicBezTo>
                  <a:cubicBezTo>
                    <a:pt x="92" y="55"/>
                    <a:pt x="98" y="54"/>
                    <a:pt x="96" y="52"/>
                  </a:cubicBezTo>
                  <a:cubicBezTo>
                    <a:pt x="94" y="51"/>
                    <a:pt x="90" y="48"/>
                    <a:pt x="90" y="48"/>
                  </a:cubicBezTo>
                  <a:cubicBezTo>
                    <a:pt x="90" y="46"/>
                    <a:pt x="90" y="46"/>
                    <a:pt x="90" y="46"/>
                  </a:cubicBezTo>
                  <a:cubicBezTo>
                    <a:pt x="95" y="41"/>
                    <a:pt x="95" y="41"/>
                    <a:pt x="95" y="41"/>
                  </a:cubicBezTo>
                  <a:cubicBezTo>
                    <a:pt x="104" y="38"/>
                    <a:pt x="104" y="38"/>
                    <a:pt x="104" y="38"/>
                  </a:cubicBezTo>
                  <a:cubicBezTo>
                    <a:pt x="111" y="37"/>
                    <a:pt x="111" y="37"/>
                    <a:pt x="111" y="37"/>
                  </a:cubicBezTo>
                  <a:cubicBezTo>
                    <a:pt x="115" y="36"/>
                    <a:pt x="115" y="36"/>
                    <a:pt x="115" y="36"/>
                  </a:cubicBezTo>
                  <a:cubicBezTo>
                    <a:pt x="117" y="30"/>
                    <a:pt x="117" y="30"/>
                    <a:pt x="117" y="30"/>
                  </a:cubicBezTo>
                  <a:cubicBezTo>
                    <a:pt x="123" y="29"/>
                    <a:pt x="123" y="29"/>
                    <a:pt x="123" y="29"/>
                  </a:cubicBezTo>
                  <a:cubicBezTo>
                    <a:pt x="127" y="30"/>
                    <a:pt x="127" y="30"/>
                    <a:pt x="127" y="30"/>
                  </a:cubicBezTo>
                  <a:cubicBezTo>
                    <a:pt x="133" y="30"/>
                    <a:pt x="133" y="30"/>
                    <a:pt x="133" y="30"/>
                  </a:cubicBezTo>
                  <a:cubicBezTo>
                    <a:pt x="136" y="26"/>
                    <a:pt x="136" y="26"/>
                    <a:pt x="136" y="26"/>
                  </a:cubicBezTo>
                  <a:cubicBezTo>
                    <a:pt x="139" y="24"/>
                    <a:pt x="139" y="24"/>
                    <a:pt x="139" y="24"/>
                  </a:cubicBezTo>
                  <a:cubicBezTo>
                    <a:pt x="143" y="22"/>
                    <a:pt x="143" y="22"/>
                    <a:pt x="143" y="22"/>
                  </a:cubicBezTo>
                  <a:cubicBezTo>
                    <a:pt x="146" y="16"/>
                    <a:pt x="146" y="16"/>
                    <a:pt x="146" y="16"/>
                  </a:cubicBezTo>
                  <a:cubicBezTo>
                    <a:pt x="148" y="9"/>
                    <a:pt x="148" y="9"/>
                    <a:pt x="148" y="9"/>
                  </a:cubicBezTo>
                  <a:cubicBezTo>
                    <a:pt x="149" y="6"/>
                    <a:pt x="149" y="6"/>
                    <a:pt x="149" y="6"/>
                  </a:cubicBezTo>
                  <a:cubicBezTo>
                    <a:pt x="163" y="2"/>
                    <a:pt x="163" y="2"/>
                    <a:pt x="163" y="2"/>
                  </a:cubicBezTo>
                  <a:cubicBezTo>
                    <a:pt x="168" y="5"/>
                    <a:pt x="168" y="5"/>
                    <a:pt x="168" y="5"/>
                  </a:cubicBezTo>
                  <a:cubicBezTo>
                    <a:pt x="175" y="4"/>
                    <a:pt x="175" y="4"/>
                    <a:pt x="175" y="4"/>
                  </a:cubicBezTo>
                  <a:cubicBezTo>
                    <a:pt x="180" y="0"/>
                    <a:pt x="180" y="0"/>
                    <a:pt x="180" y="0"/>
                  </a:cubicBezTo>
                  <a:cubicBezTo>
                    <a:pt x="186" y="1"/>
                    <a:pt x="186" y="1"/>
                    <a:pt x="186" y="1"/>
                  </a:cubicBezTo>
                  <a:cubicBezTo>
                    <a:pt x="194" y="9"/>
                    <a:pt x="194" y="9"/>
                    <a:pt x="194" y="9"/>
                  </a:cubicBezTo>
                  <a:cubicBezTo>
                    <a:pt x="202" y="9"/>
                    <a:pt x="202" y="9"/>
                    <a:pt x="202" y="9"/>
                  </a:cubicBezTo>
                  <a:cubicBezTo>
                    <a:pt x="207" y="6"/>
                    <a:pt x="207" y="6"/>
                    <a:pt x="207" y="6"/>
                  </a:cubicBezTo>
                  <a:cubicBezTo>
                    <a:pt x="212" y="4"/>
                    <a:pt x="212" y="4"/>
                    <a:pt x="212" y="4"/>
                  </a:cubicBezTo>
                  <a:cubicBezTo>
                    <a:pt x="215" y="7"/>
                    <a:pt x="215" y="7"/>
                    <a:pt x="215" y="7"/>
                  </a:cubicBezTo>
                  <a:cubicBezTo>
                    <a:pt x="218" y="11"/>
                    <a:pt x="218" y="11"/>
                    <a:pt x="218" y="11"/>
                  </a:cubicBezTo>
                  <a:cubicBezTo>
                    <a:pt x="223" y="10"/>
                    <a:pt x="223" y="10"/>
                    <a:pt x="223" y="10"/>
                  </a:cubicBezTo>
                  <a:cubicBezTo>
                    <a:pt x="226" y="14"/>
                    <a:pt x="226" y="14"/>
                    <a:pt x="226" y="14"/>
                  </a:cubicBezTo>
                  <a:cubicBezTo>
                    <a:pt x="229" y="17"/>
                    <a:pt x="229" y="17"/>
                    <a:pt x="229" y="17"/>
                  </a:cubicBezTo>
                  <a:cubicBezTo>
                    <a:pt x="234" y="16"/>
                    <a:pt x="234" y="16"/>
                    <a:pt x="234" y="16"/>
                  </a:cubicBezTo>
                  <a:cubicBezTo>
                    <a:pt x="239" y="19"/>
                    <a:pt x="239" y="19"/>
                    <a:pt x="239" y="19"/>
                  </a:cubicBezTo>
                  <a:cubicBezTo>
                    <a:pt x="238" y="23"/>
                    <a:pt x="238" y="23"/>
                    <a:pt x="238" y="23"/>
                  </a:cubicBezTo>
                  <a:cubicBezTo>
                    <a:pt x="240" y="28"/>
                    <a:pt x="240" y="28"/>
                    <a:pt x="240" y="28"/>
                  </a:cubicBezTo>
                  <a:cubicBezTo>
                    <a:pt x="237" y="31"/>
                    <a:pt x="237" y="31"/>
                    <a:pt x="237" y="31"/>
                  </a:cubicBezTo>
                  <a:cubicBezTo>
                    <a:pt x="237" y="31"/>
                    <a:pt x="236" y="33"/>
                    <a:pt x="234" y="33"/>
                  </a:cubicBezTo>
                  <a:cubicBezTo>
                    <a:pt x="233" y="34"/>
                    <a:pt x="231" y="35"/>
                    <a:pt x="231" y="35"/>
                  </a:cubicBezTo>
                  <a:cubicBezTo>
                    <a:pt x="228" y="38"/>
                    <a:pt x="228" y="38"/>
                    <a:pt x="228" y="38"/>
                  </a:cubicBezTo>
                  <a:cubicBezTo>
                    <a:pt x="224" y="39"/>
                    <a:pt x="224" y="39"/>
                    <a:pt x="224" y="39"/>
                  </a:cubicBezTo>
                  <a:cubicBezTo>
                    <a:pt x="221" y="40"/>
                    <a:pt x="221" y="40"/>
                    <a:pt x="221" y="40"/>
                  </a:cubicBezTo>
                  <a:cubicBezTo>
                    <a:pt x="219" y="42"/>
                    <a:pt x="219" y="42"/>
                    <a:pt x="219" y="42"/>
                  </a:cubicBezTo>
                  <a:cubicBezTo>
                    <a:pt x="217" y="48"/>
                    <a:pt x="217" y="48"/>
                    <a:pt x="217" y="48"/>
                  </a:cubicBezTo>
                  <a:cubicBezTo>
                    <a:pt x="214" y="51"/>
                    <a:pt x="214" y="51"/>
                    <a:pt x="214" y="51"/>
                  </a:cubicBezTo>
                  <a:cubicBezTo>
                    <a:pt x="213" y="56"/>
                    <a:pt x="213" y="56"/>
                    <a:pt x="213" y="56"/>
                  </a:cubicBezTo>
                  <a:cubicBezTo>
                    <a:pt x="213" y="56"/>
                    <a:pt x="215" y="61"/>
                    <a:pt x="213" y="62"/>
                  </a:cubicBezTo>
                  <a:cubicBezTo>
                    <a:pt x="212" y="62"/>
                    <a:pt x="211" y="63"/>
                    <a:pt x="211" y="63"/>
                  </a:cubicBezTo>
                  <a:cubicBezTo>
                    <a:pt x="210" y="71"/>
                    <a:pt x="210" y="71"/>
                    <a:pt x="210" y="71"/>
                  </a:cubicBezTo>
                  <a:cubicBezTo>
                    <a:pt x="206" y="75"/>
                    <a:pt x="206" y="75"/>
                    <a:pt x="206" y="75"/>
                  </a:cubicBezTo>
                  <a:cubicBezTo>
                    <a:pt x="205" y="83"/>
                    <a:pt x="205" y="83"/>
                    <a:pt x="205" y="83"/>
                  </a:cubicBezTo>
                  <a:cubicBezTo>
                    <a:pt x="205" y="83"/>
                    <a:pt x="207" y="87"/>
                    <a:pt x="204" y="87"/>
                  </a:cubicBezTo>
                  <a:cubicBezTo>
                    <a:pt x="202" y="88"/>
                    <a:pt x="201" y="90"/>
                    <a:pt x="201" y="90"/>
                  </a:cubicBezTo>
                  <a:cubicBezTo>
                    <a:pt x="201" y="97"/>
                    <a:pt x="201" y="97"/>
                    <a:pt x="201" y="97"/>
                  </a:cubicBezTo>
                  <a:cubicBezTo>
                    <a:pt x="198" y="102"/>
                    <a:pt x="198" y="102"/>
                    <a:pt x="198" y="102"/>
                  </a:cubicBezTo>
                  <a:cubicBezTo>
                    <a:pt x="199" y="106"/>
                    <a:pt x="199" y="106"/>
                    <a:pt x="199" y="106"/>
                  </a:cubicBezTo>
                  <a:cubicBezTo>
                    <a:pt x="197" y="109"/>
                    <a:pt x="197" y="109"/>
                    <a:pt x="197" y="109"/>
                  </a:cubicBezTo>
                  <a:cubicBezTo>
                    <a:pt x="198" y="114"/>
                    <a:pt x="198" y="114"/>
                    <a:pt x="198" y="114"/>
                  </a:cubicBezTo>
                  <a:cubicBezTo>
                    <a:pt x="196" y="117"/>
                    <a:pt x="196" y="117"/>
                    <a:pt x="196" y="117"/>
                  </a:cubicBezTo>
                  <a:cubicBezTo>
                    <a:pt x="195" y="118"/>
                    <a:pt x="195" y="118"/>
                    <a:pt x="195" y="118"/>
                  </a:cubicBezTo>
                  <a:cubicBezTo>
                    <a:pt x="194" y="121"/>
                    <a:pt x="194" y="121"/>
                    <a:pt x="194" y="121"/>
                  </a:cubicBezTo>
                  <a:cubicBezTo>
                    <a:pt x="192" y="126"/>
                    <a:pt x="192" y="126"/>
                    <a:pt x="192" y="126"/>
                  </a:cubicBezTo>
                  <a:cubicBezTo>
                    <a:pt x="184" y="133"/>
                    <a:pt x="184" y="133"/>
                    <a:pt x="184" y="133"/>
                  </a:cubicBezTo>
                  <a:cubicBezTo>
                    <a:pt x="180" y="132"/>
                    <a:pt x="180" y="132"/>
                    <a:pt x="180" y="132"/>
                  </a:cubicBezTo>
                  <a:cubicBezTo>
                    <a:pt x="177" y="135"/>
                    <a:pt x="177" y="135"/>
                    <a:pt x="177" y="135"/>
                  </a:cubicBezTo>
                  <a:cubicBezTo>
                    <a:pt x="177" y="135"/>
                    <a:pt x="178" y="135"/>
                    <a:pt x="176" y="137"/>
                  </a:cubicBezTo>
                  <a:cubicBezTo>
                    <a:pt x="174" y="138"/>
                    <a:pt x="170" y="139"/>
                    <a:pt x="170" y="139"/>
                  </a:cubicBezTo>
                  <a:cubicBezTo>
                    <a:pt x="168" y="139"/>
                    <a:pt x="168" y="139"/>
                    <a:pt x="168" y="139"/>
                  </a:cubicBezTo>
                  <a:cubicBezTo>
                    <a:pt x="161" y="139"/>
                    <a:pt x="161" y="139"/>
                    <a:pt x="161" y="139"/>
                  </a:cubicBezTo>
                  <a:cubicBezTo>
                    <a:pt x="161" y="139"/>
                    <a:pt x="160" y="138"/>
                    <a:pt x="159" y="139"/>
                  </a:cubicBezTo>
                  <a:cubicBezTo>
                    <a:pt x="158" y="139"/>
                    <a:pt x="153" y="139"/>
                    <a:pt x="153" y="139"/>
                  </a:cubicBezTo>
                  <a:cubicBezTo>
                    <a:pt x="153" y="139"/>
                    <a:pt x="151" y="138"/>
                    <a:pt x="150" y="138"/>
                  </a:cubicBezTo>
                  <a:cubicBezTo>
                    <a:pt x="149" y="138"/>
                    <a:pt x="143" y="139"/>
                    <a:pt x="143" y="139"/>
                  </a:cubicBezTo>
                  <a:cubicBezTo>
                    <a:pt x="139" y="141"/>
                    <a:pt x="139" y="141"/>
                    <a:pt x="139" y="141"/>
                  </a:cubicBezTo>
                  <a:cubicBezTo>
                    <a:pt x="139" y="141"/>
                    <a:pt x="138" y="139"/>
                    <a:pt x="137" y="140"/>
                  </a:cubicBezTo>
                  <a:cubicBezTo>
                    <a:pt x="135" y="140"/>
                    <a:pt x="130" y="142"/>
                    <a:pt x="130" y="142"/>
                  </a:cubicBezTo>
                  <a:cubicBezTo>
                    <a:pt x="130" y="142"/>
                    <a:pt x="132" y="144"/>
                    <a:pt x="130" y="144"/>
                  </a:cubicBezTo>
                  <a:cubicBezTo>
                    <a:pt x="129" y="144"/>
                    <a:pt x="126" y="148"/>
                    <a:pt x="126" y="148"/>
                  </a:cubicBezTo>
                  <a:cubicBezTo>
                    <a:pt x="124" y="149"/>
                    <a:pt x="124" y="149"/>
                    <a:pt x="124" y="149"/>
                  </a:cubicBezTo>
                  <a:cubicBezTo>
                    <a:pt x="123" y="152"/>
                    <a:pt x="123" y="152"/>
                    <a:pt x="123" y="152"/>
                  </a:cubicBezTo>
                  <a:cubicBezTo>
                    <a:pt x="123" y="152"/>
                    <a:pt x="122" y="152"/>
                    <a:pt x="120" y="152"/>
                  </a:cubicBezTo>
                  <a:cubicBezTo>
                    <a:pt x="119" y="152"/>
                    <a:pt x="116" y="153"/>
                    <a:pt x="116" y="153"/>
                  </a:cubicBezTo>
                  <a:cubicBezTo>
                    <a:pt x="115" y="152"/>
                    <a:pt x="115" y="152"/>
                    <a:pt x="115" y="152"/>
                  </a:cubicBezTo>
                  <a:cubicBezTo>
                    <a:pt x="111" y="158"/>
                    <a:pt x="111" y="158"/>
                    <a:pt x="111" y="158"/>
                  </a:cubicBezTo>
                  <a:cubicBezTo>
                    <a:pt x="107" y="160"/>
                    <a:pt x="107" y="160"/>
                    <a:pt x="107" y="160"/>
                  </a:cubicBezTo>
                  <a:cubicBezTo>
                    <a:pt x="105" y="159"/>
                    <a:pt x="105" y="159"/>
                    <a:pt x="105" y="159"/>
                  </a:cubicBezTo>
                  <a:cubicBezTo>
                    <a:pt x="103" y="164"/>
                    <a:pt x="103" y="164"/>
                    <a:pt x="103" y="164"/>
                  </a:cubicBezTo>
                  <a:cubicBezTo>
                    <a:pt x="103" y="164"/>
                    <a:pt x="100" y="165"/>
                    <a:pt x="100" y="166"/>
                  </a:cubicBezTo>
                  <a:cubicBezTo>
                    <a:pt x="99" y="167"/>
                    <a:pt x="94" y="167"/>
                    <a:pt x="94" y="167"/>
                  </a:cubicBezTo>
                  <a:cubicBezTo>
                    <a:pt x="90" y="167"/>
                    <a:pt x="90" y="167"/>
                    <a:pt x="90" y="167"/>
                  </a:cubicBezTo>
                  <a:cubicBezTo>
                    <a:pt x="83" y="169"/>
                    <a:pt x="83" y="169"/>
                    <a:pt x="83" y="169"/>
                  </a:cubicBezTo>
                  <a:cubicBezTo>
                    <a:pt x="83" y="169"/>
                    <a:pt x="81" y="170"/>
                    <a:pt x="80" y="170"/>
                  </a:cubicBezTo>
                  <a:cubicBezTo>
                    <a:pt x="79" y="170"/>
                    <a:pt x="74" y="169"/>
                    <a:pt x="74" y="169"/>
                  </a:cubicBezTo>
                  <a:cubicBezTo>
                    <a:pt x="71" y="170"/>
                    <a:pt x="71" y="170"/>
                    <a:pt x="71" y="170"/>
                  </a:cubicBezTo>
                  <a:cubicBezTo>
                    <a:pt x="64" y="168"/>
                    <a:pt x="64" y="168"/>
                    <a:pt x="64" y="168"/>
                  </a:cubicBezTo>
                  <a:cubicBezTo>
                    <a:pt x="62" y="165"/>
                    <a:pt x="62" y="165"/>
                    <a:pt x="62" y="165"/>
                  </a:cubicBezTo>
                  <a:cubicBezTo>
                    <a:pt x="56" y="164"/>
                    <a:pt x="56" y="164"/>
                    <a:pt x="56" y="164"/>
                  </a:cubicBezTo>
                  <a:cubicBezTo>
                    <a:pt x="55" y="162"/>
                    <a:pt x="55" y="162"/>
                    <a:pt x="55" y="162"/>
                  </a:cubicBezTo>
                  <a:cubicBezTo>
                    <a:pt x="51" y="162"/>
                    <a:pt x="51" y="162"/>
                    <a:pt x="51" y="162"/>
                  </a:cubicBezTo>
                  <a:cubicBezTo>
                    <a:pt x="47" y="158"/>
                    <a:pt x="47" y="158"/>
                    <a:pt x="47" y="158"/>
                  </a:cubicBezTo>
                  <a:cubicBezTo>
                    <a:pt x="42" y="152"/>
                    <a:pt x="42" y="152"/>
                    <a:pt x="42" y="152"/>
                  </a:cubicBezTo>
                  <a:cubicBezTo>
                    <a:pt x="32" y="149"/>
                    <a:pt x="32" y="149"/>
                    <a:pt x="32" y="149"/>
                  </a:cubicBezTo>
                  <a:cubicBezTo>
                    <a:pt x="29" y="145"/>
                    <a:pt x="29" y="145"/>
                    <a:pt x="29" y="145"/>
                  </a:cubicBezTo>
                  <a:cubicBezTo>
                    <a:pt x="26" y="143"/>
                    <a:pt x="26" y="143"/>
                    <a:pt x="26" y="143"/>
                  </a:cubicBezTo>
                  <a:cubicBezTo>
                    <a:pt x="22" y="140"/>
                    <a:pt x="22" y="140"/>
                    <a:pt x="22" y="140"/>
                  </a:cubicBezTo>
                  <a:cubicBezTo>
                    <a:pt x="18" y="137"/>
                    <a:pt x="18" y="137"/>
                    <a:pt x="18" y="137"/>
                  </a:cubicBezTo>
                  <a:cubicBezTo>
                    <a:pt x="16" y="135"/>
                    <a:pt x="16" y="135"/>
                    <a:pt x="16" y="135"/>
                  </a:cubicBezTo>
                  <a:cubicBezTo>
                    <a:pt x="10" y="127"/>
                    <a:pt x="10" y="127"/>
                    <a:pt x="10" y="127"/>
                  </a:cubicBezTo>
                  <a:cubicBezTo>
                    <a:pt x="10" y="125"/>
                    <a:pt x="10" y="125"/>
                    <a:pt x="10" y="125"/>
                  </a:cubicBezTo>
                  <a:cubicBezTo>
                    <a:pt x="7" y="121"/>
                    <a:pt x="7" y="121"/>
                    <a:pt x="7" y="121"/>
                  </a:cubicBezTo>
                  <a:cubicBezTo>
                    <a:pt x="6" y="117"/>
                    <a:pt x="6" y="117"/>
                    <a:pt x="6" y="117"/>
                  </a:cubicBezTo>
                  <a:cubicBezTo>
                    <a:pt x="4" y="115"/>
                    <a:pt x="4" y="115"/>
                    <a:pt x="4" y="115"/>
                  </a:cubicBezTo>
                  <a:cubicBezTo>
                    <a:pt x="0" y="117"/>
                    <a:pt x="0" y="117"/>
                    <a:pt x="0" y="117"/>
                  </a:cubicBezTo>
                  <a:cubicBezTo>
                    <a:pt x="0" y="117"/>
                    <a:pt x="0" y="117"/>
                    <a:pt x="0" y="117"/>
                  </a:cubicBezTo>
                  <a:cubicBezTo>
                    <a:pt x="0" y="116"/>
                    <a:pt x="0" y="116"/>
                    <a:pt x="0" y="116"/>
                  </a:cubicBezTo>
                  <a:cubicBezTo>
                    <a:pt x="3" y="109"/>
                    <a:pt x="3" y="109"/>
                    <a:pt x="3" y="109"/>
                  </a:cubicBezTo>
                  <a:cubicBezTo>
                    <a:pt x="6" y="108"/>
                    <a:pt x="6" y="108"/>
                    <a:pt x="6" y="108"/>
                  </a:cubicBezTo>
                  <a:cubicBezTo>
                    <a:pt x="9" y="103"/>
                    <a:pt x="9" y="103"/>
                    <a:pt x="9" y="103"/>
                  </a:cubicBezTo>
                  <a:cubicBezTo>
                    <a:pt x="8" y="97"/>
                    <a:pt x="8" y="97"/>
                    <a:pt x="8" y="97"/>
                  </a:cubicBezTo>
                  <a:cubicBezTo>
                    <a:pt x="8" y="95"/>
                    <a:pt x="8" y="95"/>
                    <a:pt x="8" y="95"/>
                  </a:cubicBezTo>
                  <a:cubicBezTo>
                    <a:pt x="5" y="89"/>
                    <a:pt x="5" y="89"/>
                    <a:pt x="5" y="89"/>
                  </a:cubicBezTo>
                  <a:cubicBezTo>
                    <a:pt x="5" y="89"/>
                    <a:pt x="6" y="88"/>
                    <a:pt x="7" y="88"/>
                  </a:cubicBezTo>
                  <a:cubicBezTo>
                    <a:pt x="8" y="88"/>
                    <a:pt x="11" y="86"/>
                    <a:pt x="11" y="86"/>
                  </a:cubicBezTo>
                  <a:cubicBezTo>
                    <a:pt x="17" y="82"/>
                    <a:pt x="17" y="82"/>
                    <a:pt x="17" y="82"/>
                  </a:cubicBezTo>
                  <a:cubicBezTo>
                    <a:pt x="12" y="74"/>
                    <a:pt x="12" y="74"/>
                    <a:pt x="12" y="74"/>
                  </a:cubicBezTo>
                  <a:cubicBezTo>
                    <a:pt x="10" y="74"/>
                    <a:pt x="10" y="74"/>
                    <a:pt x="10" y="74"/>
                  </a:cubicBezTo>
                  <a:cubicBezTo>
                    <a:pt x="4" y="72"/>
                    <a:pt x="4" y="72"/>
                    <a:pt x="4" y="72"/>
                  </a:cubicBezTo>
                  <a:cubicBezTo>
                    <a:pt x="8" y="69"/>
                    <a:pt x="8" y="69"/>
                    <a:pt x="8" y="69"/>
                  </a:cubicBezTo>
                  <a:cubicBezTo>
                    <a:pt x="10" y="67"/>
                    <a:pt x="10" y="67"/>
                    <a:pt x="10" y="67"/>
                  </a:cubicBezTo>
                  <a:cubicBezTo>
                    <a:pt x="18" y="70"/>
                    <a:pt x="18" y="70"/>
                    <a:pt x="18" y="70"/>
                  </a:cubicBezTo>
                  <a:cubicBezTo>
                    <a:pt x="18" y="70"/>
                    <a:pt x="21" y="71"/>
                    <a:pt x="20" y="70"/>
                  </a:cubicBezTo>
                  <a:cubicBezTo>
                    <a:pt x="20" y="67"/>
                    <a:pt x="21" y="69"/>
                    <a:pt x="21" y="69"/>
                  </a:cubicBezTo>
                  <a:cubicBezTo>
                    <a:pt x="22" y="71"/>
                    <a:pt x="25" y="69"/>
                    <a:pt x="27" y="69"/>
                  </a:cubicBezTo>
                  <a:cubicBezTo>
                    <a:pt x="30" y="68"/>
                    <a:pt x="28" y="66"/>
                    <a:pt x="27" y="64"/>
                  </a:cubicBezTo>
                  <a:cubicBezTo>
                    <a:pt x="27" y="63"/>
                    <a:pt x="27" y="62"/>
                    <a:pt x="28" y="61"/>
                  </a:cubicBezTo>
                  <a:close/>
                </a:path>
              </a:pathLst>
            </a:custGeom>
            <a:solidFill>
              <a:srgbClr val="E6EFF1"/>
            </a:solidFill>
            <a:ln w="12700" cap="rnd" cmpd="sng">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Lato Light"/>
              </a:endParaRPr>
            </a:p>
          </p:txBody>
        </p:sp>
        <p:sp>
          <p:nvSpPr>
            <p:cNvPr id="24" name="Freeform 7">
              <a:extLst>
                <a:ext uri="{FF2B5EF4-FFF2-40B4-BE49-F238E27FC236}">
                  <a16:creationId xmlns:a16="http://schemas.microsoft.com/office/drawing/2014/main" id="{2FE0D4F9-F9D3-FD9B-B5D5-5CCA1D33EDE7}"/>
                </a:ext>
              </a:extLst>
            </p:cNvPr>
            <p:cNvSpPr>
              <a:spLocks/>
            </p:cNvSpPr>
            <p:nvPr/>
          </p:nvSpPr>
          <p:spPr bwMode="auto">
            <a:xfrm>
              <a:off x="5150458" y="2958273"/>
              <a:ext cx="829356" cy="754085"/>
            </a:xfrm>
            <a:custGeom>
              <a:avLst/>
              <a:gdLst>
                <a:gd name="T0" fmla="*/ 83 w 288"/>
                <a:gd name="T1" fmla="*/ 55 h 270"/>
                <a:gd name="T2" fmla="*/ 75 w 288"/>
                <a:gd name="T3" fmla="*/ 45 h 270"/>
                <a:gd name="T4" fmla="*/ 82 w 288"/>
                <a:gd name="T5" fmla="*/ 27 h 270"/>
                <a:gd name="T6" fmla="*/ 101 w 288"/>
                <a:gd name="T7" fmla="*/ 24 h 270"/>
                <a:gd name="T8" fmla="*/ 107 w 288"/>
                <a:gd name="T9" fmla="*/ 4 h 270"/>
                <a:gd name="T10" fmla="*/ 121 w 288"/>
                <a:gd name="T11" fmla="*/ 2 h 270"/>
                <a:gd name="T12" fmla="*/ 136 w 288"/>
                <a:gd name="T13" fmla="*/ 5 h 270"/>
                <a:gd name="T14" fmla="*/ 153 w 288"/>
                <a:gd name="T15" fmla="*/ 7 h 270"/>
                <a:gd name="T16" fmla="*/ 166 w 288"/>
                <a:gd name="T17" fmla="*/ 4 h 270"/>
                <a:gd name="T18" fmla="*/ 189 w 288"/>
                <a:gd name="T19" fmla="*/ 5 h 270"/>
                <a:gd name="T20" fmla="*/ 200 w 288"/>
                <a:gd name="T21" fmla="*/ 6 h 270"/>
                <a:gd name="T22" fmla="*/ 202 w 288"/>
                <a:gd name="T23" fmla="*/ 24 h 270"/>
                <a:gd name="T24" fmla="*/ 210 w 288"/>
                <a:gd name="T25" fmla="*/ 39 h 270"/>
                <a:gd name="T26" fmla="*/ 222 w 288"/>
                <a:gd name="T27" fmla="*/ 53 h 270"/>
                <a:gd name="T28" fmla="*/ 228 w 288"/>
                <a:gd name="T29" fmla="*/ 65 h 270"/>
                <a:gd name="T30" fmla="*/ 251 w 288"/>
                <a:gd name="T31" fmla="*/ 80 h 270"/>
                <a:gd name="T32" fmla="*/ 263 w 288"/>
                <a:gd name="T33" fmla="*/ 85 h 270"/>
                <a:gd name="T34" fmla="*/ 275 w 288"/>
                <a:gd name="T35" fmla="*/ 92 h 270"/>
                <a:gd name="T36" fmla="*/ 288 w 288"/>
                <a:gd name="T37" fmla="*/ 104 h 270"/>
                <a:gd name="T38" fmla="*/ 274 w 288"/>
                <a:gd name="T39" fmla="*/ 121 h 270"/>
                <a:gd name="T40" fmla="*/ 252 w 288"/>
                <a:gd name="T41" fmla="*/ 124 h 270"/>
                <a:gd name="T42" fmla="*/ 259 w 288"/>
                <a:gd name="T43" fmla="*/ 138 h 270"/>
                <a:gd name="T44" fmla="*/ 264 w 288"/>
                <a:gd name="T45" fmla="*/ 151 h 270"/>
                <a:gd name="T46" fmla="*/ 271 w 288"/>
                <a:gd name="T47" fmla="*/ 164 h 270"/>
                <a:gd name="T48" fmla="*/ 276 w 288"/>
                <a:gd name="T49" fmla="*/ 170 h 270"/>
                <a:gd name="T50" fmla="*/ 269 w 288"/>
                <a:gd name="T51" fmla="*/ 182 h 270"/>
                <a:gd name="T52" fmla="*/ 249 w 288"/>
                <a:gd name="T53" fmla="*/ 211 h 270"/>
                <a:gd name="T54" fmla="*/ 260 w 288"/>
                <a:gd name="T55" fmla="*/ 230 h 270"/>
                <a:gd name="T56" fmla="*/ 240 w 288"/>
                <a:gd name="T57" fmla="*/ 225 h 270"/>
                <a:gd name="T58" fmla="*/ 222 w 288"/>
                <a:gd name="T59" fmla="*/ 234 h 270"/>
                <a:gd name="T60" fmla="*/ 207 w 288"/>
                <a:gd name="T61" fmla="*/ 228 h 270"/>
                <a:gd name="T62" fmla="*/ 188 w 288"/>
                <a:gd name="T63" fmla="*/ 235 h 270"/>
                <a:gd name="T64" fmla="*/ 171 w 288"/>
                <a:gd name="T65" fmla="*/ 242 h 270"/>
                <a:gd name="T66" fmla="*/ 154 w 288"/>
                <a:gd name="T67" fmla="*/ 242 h 270"/>
                <a:gd name="T68" fmla="*/ 129 w 288"/>
                <a:gd name="T69" fmla="*/ 240 h 270"/>
                <a:gd name="T70" fmla="*/ 87 w 288"/>
                <a:gd name="T71" fmla="*/ 242 h 270"/>
                <a:gd name="T72" fmla="*/ 56 w 288"/>
                <a:gd name="T73" fmla="*/ 249 h 270"/>
                <a:gd name="T74" fmla="*/ 51 w 288"/>
                <a:gd name="T75" fmla="*/ 253 h 270"/>
                <a:gd name="T76" fmla="*/ 44 w 288"/>
                <a:gd name="T77" fmla="*/ 266 h 270"/>
                <a:gd name="T78" fmla="*/ 27 w 288"/>
                <a:gd name="T79" fmla="*/ 270 h 270"/>
                <a:gd name="T80" fmla="*/ 25 w 288"/>
                <a:gd name="T81" fmla="*/ 249 h 270"/>
                <a:gd name="T82" fmla="*/ 8 w 288"/>
                <a:gd name="T83" fmla="*/ 237 h 270"/>
                <a:gd name="T84" fmla="*/ 21 w 288"/>
                <a:gd name="T85" fmla="*/ 216 h 270"/>
                <a:gd name="T86" fmla="*/ 22 w 288"/>
                <a:gd name="T87" fmla="*/ 194 h 270"/>
                <a:gd name="T88" fmla="*/ 13 w 288"/>
                <a:gd name="T89" fmla="*/ 175 h 270"/>
                <a:gd name="T90" fmla="*/ 9 w 288"/>
                <a:gd name="T91" fmla="*/ 145 h 270"/>
                <a:gd name="T92" fmla="*/ 36 w 288"/>
                <a:gd name="T93" fmla="*/ 136 h 270"/>
                <a:gd name="T94" fmla="*/ 47 w 288"/>
                <a:gd name="T95" fmla="*/ 127 h 270"/>
                <a:gd name="T96" fmla="*/ 59 w 288"/>
                <a:gd name="T97" fmla="*/ 116 h 270"/>
                <a:gd name="T98" fmla="*/ 67 w 288"/>
                <a:gd name="T99" fmla="*/ 115 h 270"/>
                <a:gd name="T100" fmla="*/ 61 w 288"/>
                <a:gd name="T101" fmla="*/ 103 h 270"/>
                <a:gd name="T102" fmla="*/ 60 w 288"/>
                <a:gd name="T103" fmla="*/ 82 h 270"/>
                <a:gd name="T104" fmla="*/ 73 w 288"/>
                <a:gd name="T105" fmla="*/ 65 h 2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88" h="270">
                  <a:moveTo>
                    <a:pt x="81" y="66"/>
                  </a:moveTo>
                  <a:cubicBezTo>
                    <a:pt x="80" y="61"/>
                    <a:pt x="80" y="61"/>
                    <a:pt x="80" y="61"/>
                  </a:cubicBezTo>
                  <a:cubicBezTo>
                    <a:pt x="84" y="59"/>
                    <a:pt x="84" y="59"/>
                    <a:pt x="84" y="59"/>
                  </a:cubicBezTo>
                  <a:cubicBezTo>
                    <a:pt x="83" y="55"/>
                    <a:pt x="83" y="55"/>
                    <a:pt x="83" y="55"/>
                  </a:cubicBezTo>
                  <a:cubicBezTo>
                    <a:pt x="76" y="56"/>
                    <a:pt x="76" y="56"/>
                    <a:pt x="76" y="56"/>
                  </a:cubicBezTo>
                  <a:cubicBezTo>
                    <a:pt x="73" y="55"/>
                    <a:pt x="73" y="55"/>
                    <a:pt x="73" y="55"/>
                  </a:cubicBezTo>
                  <a:cubicBezTo>
                    <a:pt x="73" y="50"/>
                    <a:pt x="73" y="50"/>
                    <a:pt x="73" y="50"/>
                  </a:cubicBezTo>
                  <a:cubicBezTo>
                    <a:pt x="75" y="45"/>
                    <a:pt x="75" y="45"/>
                    <a:pt x="75" y="45"/>
                  </a:cubicBezTo>
                  <a:cubicBezTo>
                    <a:pt x="74" y="36"/>
                    <a:pt x="74" y="36"/>
                    <a:pt x="74" y="36"/>
                  </a:cubicBezTo>
                  <a:cubicBezTo>
                    <a:pt x="74" y="36"/>
                    <a:pt x="72" y="36"/>
                    <a:pt x="75" y="34"/>
                  </a:cubicBezTo>
                  <a:cubicBezTo>
                    <a:pt x="79" y="33"/>
                    <a:pt x="81" y="33"/>
                    <a:pt x="81" y="33"/>
                  </a:cubicBezTo>
                  <a:cubicBezTo>
                    <a:pt x="82" y="27"/>
                    <a:pt x="82" y="27"/>
                    <a:pt x="82" y="27"/>
                  </a:cubicBezTo>
                  <a:cubicBezTo>
                    <a:pt x="85" y="24"/>
                    <a:pt x="85" y="24"/>
                    <a:pt x="85" y="24"/>
                  </a:cubicBezTo>
                  <a:cubicBezTo>
                    <a:pt x="85" y="24"/>
                    <a:pt x="84" y="24"/>
                    <a:pt x="88" y="24"/>
                  </a:cubicBezTo>
                  <a:cubicBezTo>
                    <a:pt x="92" y="24"/>
                    <a:pt x="93" y="24"/>
                    <a:pt x="93" y="24"/>
                  </a:cubicBezTo>
                  <a:cubicBezTo>
                    <a:pt x="101" y="24"/>
                    <a:pt x="101" y="24"/>
                    <a:pt x="101" y="24"/>
                  </a:cubicBezTo>
                  <a:cubicBezTo>
                    <a:pt x="103" y="21"/>
                    <a:pt x="103" y="21"/>
                    <a:pt x="103" y="21"/>
                  </a:cubicBezTo>
                  <a:cubicBezTo>
                    <a:pt x="101" y="16"/>
                    <a:pt x="101" y="16"/>
                    <a:pt x="101" y="16"/>
                  </a:cubicBezTo>
                  <a:cubicBezTo>
                    <a:pt x="106" y="11"/>
                    <a:pt x="106" y="11"/>
                    <a:pt x="106" y="11"/>
                  </a:cubicBezTo>
                  <a:cubicBezTo>
                    <a:pt x="107" y="4"/>
                    <a:pt x="107" y="4"/>
                    <a:pt x="107" y="4"/>
                  </a:cubicBezTo>
                  <a:cubicBezTo>
                    <a:pt x="112" y="1"/>
                    <a:pt x="112" y="1"/>
                    <a:pt x="112" y="1"/>
                  </a:cubicBezTo>
                  <a:cubicBezTo>
                    <a:pt x="112" y="1"/>
                    <a:pt x="115" y="4"/>
                    <a:pt x="116" y="4"/>
                  </a:cubicBezTo>
                  <a:cubicBezTo>
                    <a:pt x="117" y="4"/>
                    <a:pt x="118" y="5"/>
                    <a:pt x="119" y="4"/>
                  </a:cubicBezTo>
                  <a:cubicBezTo>
                    <a:pt x="120" y="4"/>
                    <a:pt x="121" y="2"/>
                    <a:pt x="121" y="2"/>
                  </a:cubicBezTo>
                  <a:cubicBezTo>
                    <a:pt x="126" y="0"/>
                    <a:pt x="126" y="0"/>
                    <a:pt x="126" y="0"/>
                  </a:cubicBezTo>
                  <a:cubicBezTo>
                    <a:pt x="129" y="1"/>
                    <a:pt x="129" y="1"/>
                    <a:pt x="129" y="1"/>
                  </a:cubicBezTo>
                  <a:cubicBezTo>
                    <a:pt x="131" y="5"/>
                    <a:pt x="131" y="5"/>
                    <a:pt x="131" y="5"/>
                  </a:cubicBezTo>
                  <a:cubicBezTo>
                    <a:pt x="136" y="5"/>
                    <a:pt x="136" y="5"/>
                    <a:pt x="136" y="5"/>
                  </a:cubicBezTo>
                  <a:cubicBezTo>
                    <a:pt x="137" y="3"/>
                    <a:pt x="137" y="3"/>
                    <a:pt x="137" y="3"/>
                  </a:cubicBezTo>
                  <a:cubicBezTo>
                    <a:pt x="144" y="1"/>
                    <a:pt x="144" y="1"/>
                    <a:pt x="144" y="1"/>
                  </a:cubicBezTo>
                  <a:cubicBezTo>
                    <a:pt x="152" y="1"/>
                    <a:pt x="152" y="1"/>
                    <a:pt x="152" y="1"/>
                  </a:cubicBezTo>
                  <a:cubicBezTo>
                    <a:pt x="153" y="7"/>
                    <a:pt x="153" y="7"/>
                    <a:pt x="153" y="7"/>
                  </a:cubicBezTo>
                  <a:cubicBezTo>
                    <a:pt x="153" y="10"/>
                    <a:pt x="153" y="10"/>
                    <a:pt x="153" y="10"/>
                  </a:cubicBezTo>
                  <a:cubicBezTo>
                    <a:pt x="153" y="10"/>
                    <a:pt x="155" y="13"/>
                    <a:pt x="157" y="12"/>
                  </a:cubicBezTo>
                  <a:cubicBezTo>
                    <a:pt x="158" y="12"/>
                    <a:pt x="162" y="11"/>
                    <a:pt x="163" y="9"/>
                  </a:cubicBezTo>
                  <a:cubicBezTo>
                    <a:pt x="163" y="7"/>
                    <a:pt x="164" y="5"/>
                    <a:pt x="166" y="4"/>
                  </a:cubicBezTo>
                  <a:cubicBezTo>
                    <a:pt x="168" y="4"/>
                    <a:pt x="167" y="3"/>
                    <a:pt x="170" y="2"/>
                  </a:cubicBezTo>
                  <a:cubicBezTo>
                    <a:pt x="174" y="1"/>
                    <a:pt x="177" y="0"/>
                    <a:pt x="177" y="0"/>
                  </a:cubicBezTo>
                  <a:cubicBezTo>
                    <a:pt x="186" y="2"/>
                    <a:pt x="186" y="2"/>
                    <a:pt x="186" y="2"/>
                  </a:cubicBezTo>
                  <a:cubicBezTo>
                    <a:pt x="189" y="5"/>
                    <a:pt x="189" y="5"/>
                    <a:pt x="189" y="5"/>
                  </a:cubicBezTo>
                  <a:cubicBezTo>
                    <a:pt x="192" y="7"/>
                    <a:pt x="192" y="7"/>
                    <a:pt x="192" y="7"/>
                  </a:cubicBezTo>
                  <a:cubicBezTo>
                    <a:pt x="195" y="6"/>
                    <a:pt x="195" y="6"/>
                    <a:pt x="195" y="6"/>
                  </a:cubicBezTo>
                  <a:cubicBezTo>
                    <a:pt x="196" y="8"/>
                    <a:pt x="196" y="8"/>
                    <a:pt x="196" y="8"/>
                  </a:cubicBezTo>
                  <a:cubicBezTo>
                    <a:pt x="200" y="6"/>
                    <a:pt x="200" y="6"/>
                    <a:pt x="200" y="6"/>
                  </a:cubicBezTo>
                  <a:cubicBezTo>
                    <a:pt x="202" y="10"/>
                    <a:pt x="202" y="10"/>
                    <a:pt x="202" y="10"/>
                  </a:cubicBezTo>
                  <a:cubicBezTo>
                    <a:pt x="202" y="18"/>
                    <a:pt x="202" y="18"/>
                    <a:pt x="202" y="18"/>
                  </a:cubicBezTo>
                  <a:cubicBezTo>
                    <a:pt x="202" y="21"/>
                    <a:pt x="202" y="21"/>
                    <a:pt x="202" y="21"/>
                  </a:cubicBezTo>
                  <a:cubicBezTo>
                    <a:pt x="202" y="24"/>
                    <a:pt x="202" y="24"/>
                    <a:pt x="202" y="24"/>
                  </a:cubicBezTo>
                  <a:cubicBezTo>
                    <a:pt x="208" y="28"/>
                    <a:pt x="208" y="28"/>
                    <a:pt x="208" y="28"/>
                  </a:cubicBezTo>
                  <a:cubicBezTo>
                    <a:pt x="211" y="31"/>
                    <a:pt x="211" y="31"/>
                    <a:pt x="211" y="31"/>
                  </a:cubicBezTo>
                  <a:cubicBezTo>
                    <a:pt x="210" y="36"/>
                    <a:pt x="210" y="36"/>
                    <a:pt x="210" y="36"/>
                  </a:cubicBezTo>
                  <a:cubicBezTo>
                    <a:pt x="210" y="39"/>
                    <a:pt x="210" y="39"/>
                    <a:pt x="210" y="39"/>
                  </a:cubicBezTo>
                  <a:cubicBezTo>
                    <a:pt x="207" y="47"/>
                    <a:pt x="207" y="47"/>
                    <a:pt x="207" y="47"/>
                  </a:cubicBezTo>
                  <a:cubicBezTo>
                    <a:pt x="214" y="49"/>
                    <a:pt x="214" y="49"/>
                    <a:pt x="214" y="49"/>
                  </a:cubicBezTo>
                  <a:cubicBezTo>
                    <a:pt x="218" y="53"/>
                    <a:pt x="218" y="53"/>
                    <a:pt x="218" y="53"/>
                  </a:cubicBezTo>
                  <a:cubicBezTo>
                    <a:pt x="222" y="53"/>
                    <a:pt x="222" y="53"/>
                    <a:pt x="222" y="53"/>
                  </a:cubicBezTo>
                  <a:cubicBezTo>
                    <a:pt x="222" y="58"/>
                    <a:pt x="222" y="58"/>
                    <a:pt x="222" y="58"/>
                  </a:cubicBezTo>
                  <a:cubicBezTo>
                    <a:pt x="222" y="58"/>
                    <a:pt x="220" y="61"/>
                    <a:pt x="223" y="61"/>
                  </a:cubicBezTo>
                  <a:cubicBezTo>
                    <a:pt x="226" y="62"/>
                    <a:pt x="227" y="62"/>
                    <a:pt x="227" y="62"/>
                  </a:cubicBezTo>
                  <a:cubicBezTo>
                    <a:pt x="228" y="65"/>
                    <a:pt x="228" y="65"/>
                    <a:pt x="228" y="65"/>
                  </a:cubicBezTo>
                  <a:cubicBezTo>
                    <a:pt x="233" y="72"/>
                    <a:pt x="233" y="72"/>
                    <a:pt x="233" y="72"/>
                  </a:cubicBezTo>
                  <a:cubicBezTo>
                    <a:pt x="244" y="74"/>
                    <a:pt x="244" y="74"/>
                    <a:pt x="244" y="74"/>
                  </a:cubicBezTo>
                  <a:cubicBezTo>
                    <a:pt x="249" y="76"/>
                    <a:pt x="249" y="76"/>
                    <a:pt x="249" y="76"/>
                  </a:cubicBezTo>
                  <a:cubicBezTo>
                    <a:pt x="251" y="80"/>
                    <a:pt x="251" y="80"/>
                    <a:pt x="251" y="80"/>
                  </a:cubicBezTo>
                  <a:cubicBezTo>
                    <a:pt x="252" y="89"/>
                    <a:pt x="252" y="89"/>
                    <a:pt x="252" y="89"/>
                  </a:cubicBezTo>
                  <a:cubicBezTo>
                    <a:pt x="257" y="89"/>
                    <a:pt x="257" y="89"/>
                    <a:pt x="257" y="89"/>
                  </a:cubicBezTo>
                  <a:cubicBezTo>
                    <a:pt x="260" y="86"/>
                    <a:pt x="260" y="86"/>
                    <a:pt x="260" y="86"/>
                  </a:cubicBezTo>
                  <a:cubicBezTo>
                    <a:pt x="263" y="85"/>
                    <a:pt x="263" y="85"/>
                    <a:pt x="263" y="85"/>
                  </a:cubicBezTo>
                  <a:cubicBezTo>
                    <a:pt x="267" y="86"/>
                    <a:pt x="267" y="86"/>
                    <a:pt x="267" y="86"/>
                  </a:cubicBezTo>
                  <a:cubicBezTo>
                    <a:pt x="272" y="87"/>
                    <a:pt x="272" y="87"/>
                    <a:pt x="272" y="87"/>
                  </a:cubicBezTo>
                  <a:cubicBezTo>
                    <a:pt x="277" y="87"/>
                    <a:pt x="277" y="87"/>
                    <a:pt x="277" y="87"/>
                  </a:cubicBezTo>
                  <a:cubicBezTo>
                    <a:pt x="275" y="92"/>
                    <a:pt x="275" y="92"/>
                    <a:pt x="275" y="92"/>
                  </a:cubicBezTo>
                  <a:cubicBezTo>
                    <a:pt x="279" y="95"/>
                    <a:pt x="279" y="95"/>
                    <a:pt x="279" y="95"/>
                  </a:cubicBezTo>
                  <a:cubicBezTo>
                    <a:pt x="283" y="96"/>
                    <a:pt x="283" y="96"/>
                    <a:pt x="283" y="96"/>
                  </a:cubicBezTo>
                  <a:cubicBezTo>
                    <a:pt x="288" y="98"/>
                    <a:pt x="288" y="98"/>
                    <a:pt x="288" y="98"/>
                  </a:cubicBezTo>
                  <a:cubicBezTo>
                    <a:pt x="288" y="104"/>
                    <a:pt x="288" y="104"/>
                    <a:pt x="288" y="104"/>
                  </a:cubicBezTo>
                  <a:cubicBezTo>
                    <a:pt x="286" y="107"/>
                    <a:pt x="286" y="107"/>
                    <a:pt x="286" y="107"/>
                  </a:cubicBezTo>
                  <a:cubicBezTo>
                    <a:pt x="282" y="108"/>
                    <a:pt x="282" y="108"/>
                    <a:pt x="282" y="108"/>
                  </a:cubicBezTo>
                  <a:cubicBezTo>
                    <a:pt x="282" y="108"/>
                    <a:pt x="284" y="113"/>
                    <a:pt x="282" y="114"/>
                  </a:cubicBezTo>
                  <a:cubicBezTo>
                    <a:pt x="281" y="115"/>
                    <a:pt x="274" y="121"/>
                    <a:pt x="274" y="121"/>
                  </a:cubicBezTo>
                  <a:cubicBezTo>
                    <a:pt x="267" y="123"/>
                    <a:pt x="267" y="123"/>
                    <a:pt x="267" y="123"/>
                  </a:cubicBezTo>
                  <a:cubicBezTo>
                    <a:pt x="261" y="121"/>
                    <a:pt x="261" y="121"/>
                    <a:pt x="261" y="121"/>
                  </a:cubicBezTo>
                  <a:cubicBezTo>
                    <a:pt x="261" y="121"/>
                    <a:pt x="260" y="120"/>
                    <a:pt x="256" y="121"/>
                  </a:cubicBezTo>
                  <a:cubicBezTo>
                    <a:pt x="252" y="123"/>
                    <a:pt x="252" y="124"/>
                    <a:pt x="252" y="124"/>
                  </a:cubicBezTo>
                  <a:cubicBezTo>
                    <a:pt x="250" y="131"/>
                    <a:pt x="250" y="131"/>
                    <a:pt x="250" y="131"/>
                  </a:cubicBezTo>
                  <a:cubicBezTo>
                    <a:pt x="250" y="134"/>
                    <a:pt x="250" y="134"/>
                    <a:pt x="250" y="134"/>
                  </a:cubicBezTo>
                  <a:cubicBezTo>
                    <a:pt x="254" y="137"/>
                    <a:pt x="254" y="137"/>
                    <a:pt x="254" y="137"/>
                  </a:cubicBezTo>
                  <a:cubicBezTo>
                    <a:pt x="259" y="138"/>
                    <a:pt x="259" y="138"/>
                    <a:pt x="259" y="138"/>
                  </a:cubicBezTo>
                  <a:cubicBezTo>
                    <a:pt x="262" y="142"/>
                    <a:pt x="262" y="142"/>
                    <a:pt x="262" y="142"/>
                  </a:cubicBezTo>
                  <a:cubicBezTo>
                    <a:pt x="264" y="145"/>
                    <a:pt x="264" y="145"/>
                    <a:pt x="264" y="145"/>
                  </a:cubicBezTo>
                  <a:cubicBezTo>
                    <a:pt x="262" y="149"/>
                    <a:pt x="262" y="149"/>
                    <a:pt x="262" y="149"/>
                  </a:cubicBezTo>
                  <a:cubicBezTo>
                    <a:pt x="264" y="151"/>
                    <a:pt x="264" y="151"/>
                    <a:pt x="264" y="151"/>
                  </a:cubicBezTo>
                  <a:cubicBezTo>
                    <a:pt x="268" y="153"/>
                    <a:pt x="268" y="153"/>
                    <a:pt x="268" y="153"/>
                  </a:cubicBezTo>
                  <a:cubicBezTo>
                    <a:pt x="266" y="155"/>
                    <a:pt x="266" y="155"/>
                    <a:pt x="266" y="155"/>
                  </a:cubicBezTo>
                  <a:cubicBezTo>
                    <a:pt x="269" y="161"/>
                    <a:pt x="269" y="161"/>
                    <a:pt x="269" y="161"/>
                  </a:cubicBezTo>
                  <a:cubicBezTo>
                    <a:pt x="271" y="164"/>
                    <a:pt x="271" y="164"/>
                    <a:pt x="271" y="164"/>
                  </a:cubicBezTo>
                  <a:cubicBezTo>
                    <a:pt x="269" y="166"/>
                    <a:pt x="269" y="166"/>
                    <a:pt x="269" y="166"/>
                  </a:cubicBezTo>
                  <a:cubicBezTo>
                    <a:pt x="272" y="167"/>
                    <a:pt x="272" y="167"/>
                    <a:pt x="272" y="167"/>
                  </a:cubicBezTo>
                  <a:cubicBezTo>
                    <a:pt x="276" y="167"/>
                    <a:pt x="276" y="167"/>
                    <a:pt x="276" y="167"/>
                  </a:cubicBezTo>
                  <a:cubicBezTo>
                    <a:pt x="276" y="170"/>
                    <a:pt x="276" y="170"/>
                    <a:pt x="276" y="170"/>
                  </a:cubicBezTo>
                  <a:cubicBezTo>
                    <a:pt x="283" y="174"/>
                    <a:pt x="283" y="174"/>
                    <a:pt x="283" y="174"/>
                  </a:cubicBezTo>
                  <a:cubicBezTo>
                    <a:pt x="281" y="174"/>
                    <a:pt x="281" y="174"/>
                    <a:pt x="281" y="174"/>
                  </a:cubicBezTo>
                  <a:cubicBezTo>
                    <a:pt x="273" y="176"/>
                    <a:pt x="273" y="176"/>
                    <a:pt x="273" y="176"/>
                  </a:cubicBezTo>
                  <a:cubicBezTo>
                    <a:pt x="269" y="182"/>
                    <a:pt x="269" y="182"/>
                    <a:pt x="269" y="182"/>
                  </a:cubicBezTo>
                  <a:cubicBezTo>
                    <a:pt x="257" y="182"/>
                    <a:pt x="257" y="182"/>
                    <a:pt x="257" y="182"/>
                  </a:cubicBezTo>
                  <a:cubicBezTo>
                    <a:pt x="255" y="194"/>
                    <a:pt x="255" y="194"/>
                    <a:pt x="255" y="194"/>
                  </a:cubicBezTo>
                  <a:cubicBezTo>
                    <a:pt x="252" y="202"/>
                    <a:pt x="252" y="202"/>
                    <a:pt x="252" y="202"/>
                  </a:cubicBezTo>
                  <a:cubicBezTo>
                    <a:pt x="249" y="211"/>
                    <a:pt x="249" y="211"/>
                    <a:pt x="249" y="211"/>
                  </a:cubicBezTo>
                  <a:cubicBezTo>
                    <a:pt x="251" y="216"/>
                    <a:pt x="251" y="216"/>
                    <a:pt x="251" y="216"/>
                  </a:cubicBezTo>
                  <a:cubicBezTo>
                    <a:pt x="254" y="223"/>
                    <a:pt x="254" y="223"/>
                    <a:pt x="254" y="223"/>
                  </a:cubicBezTo>
                  <a:cubicBezTo>
                    <a:pt x="260" y="230"/>
                    <a:pt x="260" y="230"/>
                    <a:pt x="260" y="230"/>
                  </a:cubicBezTo>
                  <a:cubicBezTo>
                    <a:pt x="260" y="230"/>
                    <a:pt x="260" y="230"/>
                    <a:pt x="260" y="230"/>
                  </a:cubicBezTo>
                  <a:cubicBezTo>
                    <a:pt x="254" y="232"/>
                    <a:pt x="254" y="232"/>
                    <a:pt x="254" y="232"/>
                  </a:cubicBezTo>
                  <a:cubicBezTo>
                    <a:pt x="250" y="233"/>
                    <a:pt x="250" y="233"/>
                    <a:pt x="250" y="233"/>
                  </a:cubicBezTo>
                  <a:cubicBezTo>
                    <a:pt x="246" y="227"/>
                    <a:pt x="246" y="227"/>
                    <a:pt x="246" y="227"/>
                  </a:cubicBezTo>
                  <a:cubicBezTo>
                    <a:pt x="240" y="225"/>
                    <a:pt x="240" y="225"/>
                    <a:pt x="240" y="225"/>
                  </a:cubicBezTo>
                  <a:cubicBezTo>
                    <a:pt x="233" y="228"/>
                    <a:pt x="233" y="228"/>
                    <a:pt x="233" y="228"/>
                  </a:cubicBezTo>
                  <a:cubicBezTo>
                    <a:pt x="226" y="230"/>
                    <a:pt x="226" y="230"/>
                    <a:pt x="226" y="230"/>
                  </a:cubicBezTo>
                  <a:cubicBezTo>
                    <a:pt x="224" y="230"/>
                    <a:pt x="224" y="230"/>
                    <a:pt x="224" y="230"/>
                  </a:cubicBezTo>
                  <a:cubicBezTo>
                    <a:pt x="222" y="234"/>
                    <a:pt x="222" y="234"/>
                    <a:pt x="222" y="234"/>
                  </a:cubicBezTo>
                  <a:cubicBezTo>
                    <a:pt x="216" y="237"/>
                    <a:pt x="216" y="237"/>
                    <a:pt x="216" y="237"/>
                  </a:cubicBezTo>
                  <a:cubicBezTo>
                    <a:pt x="216" y="237"/>
                    <a:pt x="214" y="235"/>
                    <a:pt x="213" y="234"/>
                  </a:cubicBezTo>
                  <a:cubicBezTo>
                    <a:pt x="212" y="233"/>
                    <a:pt x="209" y="231"/>
                    <a:pt x="209" y="231"/>
                  </a:cubicBezTo>
                  <a:cubicBezTo>
                    <a:pt x="209" y="231"/>
                    <a:pt x="208" y="229"/>
                    <a:pt x="207" y="228"/>
                  </a:cubicBezTo>
                  <a:cubicBezTo>
                    <a:pt x="206" y="228"/>
                    <a:pt x="200" y="232"/>
                    <a:pt x="200" y="232"/>
                  </a:cubicBezTo>
                  <a:cubicBezTo>
                    <a:pt x="200" y="232"/>
                    <a:pt x="195" y="235"/>
                    <a:pt x="195" y="236"/>
                  </a:cubicBezTo>
                  <a:cubicBezTo>
                    <a:pt x="196" y="236"/>
                    <a:pt x="195" y="241"/>
                    <a:pt x="195" y="241"/>
                  </a:cubicBezTo>
                  <a:cubicBezTo>
                    <a:pt x="188" y="235"/>
                    <a:pt x="188" y="235"/>
                    <a:pt x="188" y="235"/>
                  </a:cubicBezTo>
                  <a:cubicBezTo>
                    <a:pt x="183" y="239"/>
                    <a:pt x="183" y="239"/>
                    <a:pt x="183" y="239"/>
                  </a:cubicBezTo>
                  <a:cubicBezTo>
                    <a:pt x="179" y="236"/>
                    <a:pt x="179" y="236"/>
                    <a:pt x="179" y="236"/>
                  </a:cubicBezTo>
                  <a:cubicBezTo>
                    <a:pt x="177" y="235"/>
                    <a:pt x="177" y="235"/>
                    <a:pt x="177" y="235"/>
                  </a:cubicBezTo>
                  <a:cubicBezTo>
                    <a:pt x="171" y="242"/>
                    <a:pt x="171" y="242"/>
                    <a:pt x="171" y="242"/>
                  </a:cubicBezTo>
                  <a:cubicBezTo>
                    <a:pt x="167" y="240"/>
                    <a:pt x="167" y="240"/>
                    <a:pt x="167" y="240"/>
                  </a:cubicBezTo>
                  <a:cubicBezTo>
                    <a:pt x="165" y="247"/>
                    <a:pt x="165" y="247"/>
                    <a:pt x="165" y="247"/>
                  </a:cubicBezTo>
                  <a:cubicBezTo>
                    <a:pt x="160" y="243"/>
                    <a:pt x="160" y="243"/>
                    <a:pt x="160" y="243"/>
                  </a:cubicBezTo>
                  <a:cubicBezTo>
                    <a:pt x="160" y="243"/>
                    <a:pt x="155" y="242"/>
                    <a:pt x="154" y="242"/>
                  </a:cubicBezTo>
                  <a:cubicBezTo>
                    <a:pt x="153" y="242"/>
                    <a:pt x="150" y="246"/>
                    <a:pt x="150" y="246"/>
                  </a:cubicBezTo>
                  <a:cubicBezTo>
                    <a:pt x="145" y="242"/>
                    <a:pt x="145" y="242"/>
                    <a:pt x="145" y="242"/>
                  </a:cubicBezTo>
                  <a:cubicBezTo>
                    <a:pt x="141" y="239"/>
                    <a:pt x="141" y="239"/>
                    <a:pt x="141" y="239"/>
                  </a:cubicBezTo>
                  <a:cubicBezTo>
                    <a:pt x="141" y="239"/>
                    <a:pt x="130" y="240"/>
                    <a:pt x="129" y="240"/>
                  </a:cubicBezTo>
                  <a:cubicBezTo>
                    <a:pt x="128" y="240"/>
                    <a:pt x="121" y="239"/>
                    <a:pt x="121" y="239"/>
                  </a:cubicBezTo>
                  <a:cubicBezTo>
                    <a:pt x="112" y="241"/>
                    <a:pt x="112" y="241"/>
                    <a:pt x="112" y="241"/>
                  </a:cubicBezTo>
                  <a:cubicBezTo>
                    <a:pt x="99" y="241"/>
                    <a:pt x="99" y="241"/>
                    <a:pt x="99" y="241"/>
                  </a:cubicBezTo>
                  <a:cubicBezTo>
                    <a:pt x="87" y="242"/>
                    <a:pt x="87" y="242"/>
                    <a:pt x="87" y="242"/>
                  </a:cubicBezTo>
                  <a:cubicBezTo>
                    <a:pt x="78" y="242"/>
                    <a:pt x="78" y="242"/>
                    <a:pt x="78" y="242"/>
                  </a:cubicBezTo>
                  <a:cubicBezTo>
                    <a:pt x="71" y="247"/>
                    <a:pt x="71" y="247"/>
                    <a:pt x="71" y="247"/>
                  </a:cubicBezTo>
                  <a:cubicBezTo>
                    <a:pt x="64" y="248"/>
                    <a:pt x="64" y="248"/>
                    <a:pt x="64" y="248"/>
                  </a:cubicBezTo>
                  <a:cubicBezTo>
                    <a:pt x="56" y="249"/>
                    <a:pt x="56" y="249"/>
                    <a:pt x="56" y="249"/>
                  </a:cubicBezTo>
                  <a:cubicBezTo>
                    <a:pt x="55" y="249"/>
                    <a:pt x="55" y="249"/>
                    <a:pt x="55" y="249"/>
                  </a:cubicBezTo>
                  <a:cubicBezTo>
                    <a:pt x="54" y="250"/>
                    <a:pt x="54" y="250"/>
                    <a:pt x="54" y="250"/>
                  </a:cubicBezTo>
                  <a:cubicBezTo>
                    <a:pt x="51" y="252"/>
                    <a:pt x="51" y="252"/>
                    <a:pt x="51" y="252"/>
                  </a:cubicBezTo>
                  <a:cubicBezTo>
                    <a:pt x="51" y="253"/>
                    <a:pt x="51" y="253"/>
                    <a:pt x="51" y="253"/>
                  </a:cubicBezTo>
                  <a:cubicBezTo>
                    <a:pt x="49" y="255"/>
                    <a:pt x="49" y="255"/>
                    <a:pt x="49" y="255"/>
                  </a:cubicBezTo>
                  <a:cubicBezTo>
                    <a:pt x="48" y="260"/>
                    <a:pt x="48" y="260"/>
                    <a:pt x="48" y="260"/>
                  </a:cubicBezTo>
                  <a:cubicBezTo>
                    <a:pt x="47" y="262"/>
                    <a:pt x="45" y="264"/>
                    <a:pt x="44" y="266"/>
                  </a:cubicBezTo>
                  <a:cubicBezTo>
                    <a:pt x="44" y="266"/>
                    <a:pt x="44" y="266"/>
                    <a:pt x="44" y="266"/>
                  </a:cubicBezTo>
                  <a:cubicBezTo>
                    <a:pt x="44" y="266"/>
                    <a:pt x="41" y="265"/>
                    <a:pt x="41" y="267"/>
                  </a:cubicBezTo>
                  <a:cubicBezTo>
                    <a:pt x="41" y="268"/>
                    <a:pt x="41" y="268"/>
                    <a:pt x="41" y="268"/>
                  </a:cubicBezTo>
                  <a:cubicBezTo>
                    <a:pt x="38" y="269"/>
                    <a:pt x="33" y="267"/>
                    <a:pt x="33" y="267"/>
                  </a:cubicBezTo>
                  <a:cubicBezTo>
                    <a:pt x="27" y="270"/>
                    <a:pt x="27" y="270"/>
                    <a:pt x="27" y="270"/>
                  </a:cubicBezTo>
                  <a:cubicBezTo>
                    <a:pt x="27" y="270"/>
                    <a:pt x="27" y="270"/>
                    <a:pt x="27" y="270"/>
                  </a:cubicBezTo>
                  <a:cubicBezTo>
                    <a:pt x="27" y="269"/>
                    <a:pt x="25" y="265"/>
                    <a:pt x="25" y="265"/>
                  </a:cubicBezTo>
                  <a:cubicBezTo>
                    <a:pt x="25" y="265"/>
                    <a:pt x="26" y="258"/>
                    <a:pt x="26" y="258"/>
                  </a:cubicBezTo>
                  <a:cubicBezTo>
                    <a:pt x="26" y="257"/>
                    <a:pt x="25" y="249"/>
                    <a:pt x="25" y="249"/>
                  </a:cubicBezTo>
                  <a:cubicBezTo>
                    <a:pt x="25" y="245"/>
                    <a:pt x="25" y="245"/>
                    <a:pt x="25" y="245"/>
                  </a:cubicBezTo>
                  <a:cubicBezTo>
                    <a:pt x="19" y="241"/>
                    <a:pt x="19" y="241"/>
                    <a:pt x="19" y="241"/>
                  </a:cubicBezTo>
                  <a:cubicBezTo>
                    <a:pt x="19" y="241"/>
                    <a:pt x="12" y="240"/>
                    <a:pt x="10" y="240"/>
                  </a:cubicBezTo>
                  <a:cubicBezTo>
                    <a:pt x="9" y="240"/>
                    <a:pt x="8" y="237"/>
                    <a:pt x="8" y="237"/>
                  </a:cubicBezTo>
                  <a:cubicBezTo>
                    <a:pt x="9" y="234"/>
                    <a:pt x="9" y="234"/>
                    <a:pt x="9" y="234"/>
                  </a:cubicBezTo>
                  <a:cubicBezTo>
                    <a:pt x="12" y="225"/>
                    <a:pt x="12" y="225"/>
                    <a:pt x="12" y="225"/>
                  </a:cubicBezTo>
                  <a:cubicBezTo>
                    <a:pt x="17" y="218"/>
                    <a:pt x="17" y="218"/>
                    <a:pt x="17" y="218"/>
                  </a:cubicBezTo>
                  <a:cubicBezTo>
                    <a:pt x="21" y="216"/>
                    <a:pt x="21" y="216"/>
                    <a:pt x="21" y="216"/>
                  </a:cubicBezTo>
                  <a:cubicBezTo>
                    <a:pt x="21" y="216"/>
                    <a:pt x="25" y="210"/>
                    <a:pt x="26" y="209"/>
                  </a:cubicBezTo>
                  <a:cubicBezTo>
                    <a:pt x="27" y="209"/>
                    <a:pt x="26" y="204"/>
                    <a:pt x="25" y="204"/>
                  </a:cubicBezTo>
                  <a:cubicBezTo>
                    <a:pt x="25" y="203"/>
                    <a:pt x="25" y="200"/>
                    <a:pt x="25" y="199"/>
                  </a:cubicBezTo>
                  <a:cubicBezTo>
                    <a:pt x="25" y="197"/>
                    <a:pt x="22" y="194"/>
                    <a:pt x="22" y="194"/>
                  </a:cubicBezTo>
                  <a:cubicBezTo>
                    <a:pt x="21" y="186"/>
                    <a:pt x="21" y="186"/>
                    <a:pt x="21" y="186"/>
                  </a:cubicBezTo>
                  <a:cubicBezTo>
                    <a:pt x="19" y="184"/>
                    <a:pt x="19" y="184"/>
                    <a:pt x="19" y="184"/>
                  </a:cubicBezTo>
                  <a:cubicBezTo>
                    <a:pt x="19" y="183"/>
                    <a:pt x="19" y="183"/>
                    <a:pt x="19" y="183"/>
                  </a:cubicBezTo>
                  <a:cubicBezTo>
                    <a:pt x="13" y="175"/>
                    <a:pt x="13" y="175"/>
                    <a:pt x="13" y="175"/>
                  </a:cubicBezTo>
                  <a:cubicBezTo>
                    <a:pt x="8" y="164"/>
                    <a:pt x="8" y="164"/>
                    <a:pt x="8" y="164"/>
                  </a:cubicBezTo>
                  <a:cubicBezTo>
                    <a:pt x="8" y="164"/>
                    <a:pt x="2" y="154"/>
                    <a:pt x="1" y="150"/>
                  </a:cubicBezTo>
                  <a:cubicBezTo>
                    <a:pt x="0" y="147"/>
                    <a:pt x="0" y="147"/>
                    <a:pt x="0" y="147"/>
                  </a:cubicBezTo>
                  <a:cubicBezTo>
                    <a:pt x="9" y="145"/>
                    <a:pt x="9" y="145"/>
                    <a:pt x="9" y="145"/>
                  </a:cubicBezTo>
                  <a:cubicBezTo>
                    <a:pt x="19" y="141"/>
                    <a:pt x="19" y="141"/>
                    <a:pt x="19" y="141"/>
                  </a:cubicBezTo>
                  <a:cubicBezTo>
                    <a:pt x="25" y="142"/>
                    <a:pt x="25" y="142"/>
                    <a:pt x="25" y="142"/>
                  </a:cubicBezTo>
                  <a:cubicBezTo>
                    <a:pt x="32" y="141"/>
                    <a:pt x="32" y="141"/>
                    <a:pt x="32" y="141"/>
                  </a:cubicBezTo>
                  <a:cubicBezTo>
                    <a:pt x="36" y="136"/>
                    <a:pt x="36" y="136"/>
                    <a:pt x="36" y="136"/>
                  </a:cubicBezTo>
                  <a:cubicBezTo>
                    <a:pt x="41" y="136"/>
                    <a:pt x="41" y="136"/>
                    <a:pt x="41" y="136"/>
                  </a:cubicBezTo>
                  <a:cubicBezTo>
                    <a:pt x="39" y="129"/>
                    <a:pt x="39" y="129"/>
                    <a:pt x="39" y="129"/>
                  </a:cubicBezTo>
                  <a:cubicBezTo>
                    <a:pt x="39" y="129"/>
                    <a:pt x="40" y="126"/>
                    <a:pt x="41" y="127"/>
                  </a:cubicBezTo>
                  <a:cubicBezTo>
                    <a:pt x="43" y="127"/>
                    <a:pt x="47" y="127"/>
                    <a:pt x="47" y="127"/>
                  </a:cubicBezTo>
                  <a:cubicBezTo>
                    <a:pt x="49" y="123"/>
                    <a:pt x="49" y="123"/>
                    <a:pt x="49" y="123"/>
                  </a:cubicBezTo>
                  <a:cubicBezTo>
                    <a:pt x="49" y="121"/>
                    <a:pt x="49" y="121"/>
                    <a:pt x="49" y="121"/>
                  </a:cubicBezTo>
                  <a:cubicBezTo>
                    <a:pt x="56" y="119"/>
                    <a:pt x="56" y="119"/>
                    <a:pt x="56" y="119"/>
                  </a:cubicBezTo>
                  <a:cubicBezTo>
                    <a:pt x="59" y="116"/>
                    <a:pt x="59" y="116"/>
                    <a:pt x="59" y="116"/>
                  </a:cubicBezTo>
                  <a:cubicBezTo>
                    <a:pt x="61" y="118"/>
                    <a:pt x="61" y="118"/>
                    <a:pt x="61" y="118"/>
                  </a:cubicBezTo>
                  <a:cubicBezTo>
                    <a:pt x="60" y="122"/>
                    <a:pt x="60" y="122"/>
                    <a:pt x="60" y="122"/>
                  </a:cubicBezTo>
                  <a:cubicBezTo>
                    <a:pt x="65" y="121"/>
                    <a:pt x="65" y="121"/>
                    <a:pt x="65" y="121"/>
                  </a:cubicBezTo>
                  <a:cubicBezTo>
                    <a:pt x="67" y="115"/>
                    <a:pt x="67" y="115"/>
                    <a:pt x="67" y="115"/>
                  </a:cubicBezTo>
                  <a:cubicBezTo>
                    <a:pt x="65" y="114"/>
                    <a:pt x="65" y="114"/>
                    <a:pt x="65" y="114"/>
                  </a:cubicBezTo>
                  <a:cubicBezTo>
                    <a:pt x="60" y="112"/>
                    <a:pt x="60" y="112"/>
                    <a:pt x="60" y="112"/>
                  </a:cubicBezTo>
                  <a:cubicBezTo>
                    <a:pt x="60" y="112"/>
                    <a:pt x="58" y="113"/>
                    <a:pt x="58" y="111"/>
                  </a:cubicBezTo>
                  <a:cubicBezTo>
                    <a:pt x="59" y="108"/>
                    <a:pt x="61" y="103"/>
                    <a:pt x="61" y="103"/>
                  </a:cubicBezTo>
                  <a:cubicBezTo>
                    <a:pt x="60" y="97"/>
                    <a:pt x="60" y="97"/>
                    <a:pt x="60" y="97"/>
                  </a:cubicBezTo>
                  <a:cubicBezTo>
                    <a:pt x="59" y="90"/>
                    <a:pt x="59" y="90"/>
                    <a:pt x="59" y="90"/>
                  </a:cubicBezTo>
                  <a:cubicBezTo>
                    <a:pt x="60" y="86"/>
                    <a:pt x="60" y="86"/>
                    <a:pt x="60" y="86"/>
                  </a:cubicBezTo>
                  <a:cubicBezTo>
                    <a:pt x="60" y="82"/>
                    <a:pt x="60" y="82"/>
                    <a:pt x="60" y="82"/>
                  </a:cubicBezTo>
                  <a:cubicBezTo>
                    <a:pt x="62" y="78"/>
                    <a:pt x="62" y="78"/>
                    <a:pt x="62" y="78"/>
                  </a:cubicBezTo>
                  <a:cubicBezTo>
                    <a:pt x="70" y="75"/>
                    <a:pt x="70" y="75"/>
                    <a:pt x="70" y="75"/>
                  </a:cubicBezTo>
                  <a:cubicBezTo>
                    <a:pt x="70" y="68"/>
                    <a:pt x="70" y="68"/>
                    <a:pt x="70" y="68"/>
                  </a:cubicBezTo>
                  <a:cubicBezTo>
                    <a:pt x="73" y="65"/>
                    <a:pt x="73" y="65"/>
                    <a:pt x="73" y="65"/>
                  </a:cubicBezTo>
                  <a:lnTo>
                    <a:pt x="81" y="66"/>
                  </a:lnTo>
                  <a:close/>
                </a:path>
              </a:pathLst>
            </a:custGeom>
            <a:solidFill>
              <a:srgbClr val="E6EFF1"/>
            </a:solidFill>
            <a:ln w="12700" cap="rnd" cmpd="sng">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Lato Light"/>
              </a:endParaRPr>
            </a:p>
          </p:txBody>
        </p:sp>
        <p:sp>
          <p:nvSpPr>
            <p:cNvPr id="25" name="Freeform 17">
              <a:extLst>
                <a:ext uri="{FF2B5EF4-FFF2-40B4-BE49-F238E27FC236}">
                  <a16:creationId xmlns:a16="http://schemas.microsoft.com/office/drawing/2014/main" id="{2396D10E-A744-EB1A-8E4A-E75F18091E48}"/>
                </a:ext>
              </a:extLst>
            </p:cNvPr>
            <p:cNvSpPr>
              <a:spLocks/>
            </p:cNvSpPr>
            <p:nvPr/>
          </p:nvSpPr>
          <p:spPr bwMode="auto">
            <a:xfrm>
              <a:off x="5636680" y="4081322"/>
              <a:ext cx="447325" cy="425519"/>
            </a:xfrm>
            <a:custGeom>
              <a:avLst/>
              <a:gdLst>
                <a:gd name="T0" fmla="*/ 110 w 155"/>
                <a:gd name="T1" fmla="*/ 145 h 152"/>
                <a:gd name="T2" fmla="*/ 107 w 155"/>
                <a:gd name="T3" fmla="*/ 137 h 152"/>
                <a:gd name="T4" fmla="*/ 112 w 155"/>
                <a:gd name="T5" fmla="*/ 127 h 152"/>
                <a:gd name="T6" fmla="*/ 117 w 155"/>
                <a:gd name="T7" fmla="*/ 116 h 152"/>
                <a:gd name="T8" fmla="*/ 115 w 155"/>
                <a:gd name="T9" fmla="*/ 104 h 152"/>
                <a:gd name="T10" fmla="*/ 114 w 155"/>
                <a:gd name="T11" fmla="*/ 88 h 152"/>
                <a:gd name="T12" fmla="*/ 123 w 155"/>
                <a:gd name="T13" fmla="*/ 92 h 152"/>
                <a:gd name="T14" fmla="*/ 128 w 155"/>
                <a:gd name="T15" fmla="*/ 90 h 152"/>
                <a:gd name="T16" fmla="*/ 136 w 155"/>
                <a:gd name="T17" fmla="*/ 90 h 152"/>
                <a:gd name="T18" fmla="*/ 143 w 155"/>
                <a:gd name="T19" fmla="*/ 86 h 152"/>
                <a:gd name="T20" fmla="*/ 155 w 155"/>
                <a:gd name="T21" fmla="*/ 83 h 152"/>
                <a:gd name="T22" fmla="*/ 143 w 155"/>
                <a:gd name="T23" fmla="*/ 77 h 152"/>
                <a:gd name="T24" fmla="*/ 141 w 155"/>
                <a:gd name="T25" fmla="*/ 63 h 152"/>
                <a:gd name="T26" fmla="*/ 131 w 155"/>
                <a:gd name="T27" fmla="*/ 62 h 152"/>
                <a:gd name="T28" fmla="*/ 125 w 155"/>
                <a:gd name="T29" fmla="*/ 54 h 152"/>
                <a:gd name="T30" fmla="*/ 122 w 155"/>
                <a:gd name="T31" fmla="*/ 48 h 152"/>
                <a:gd name="T32" fmla="*/ 116 w 155"/>
                <a:gd name="T33" fmla="*/ 44 h 152"/>
                <a:gd name="T34" fmla="*/ 108 w 155"/>
                <a:gd name="T35" fmla="*/ 38 h 152"/>
                <a:gd name="T36" fmla="*/ 103 w 155"/>
                <a:gd name="T37" fmla="*/ 32 h 152"/>
                <a:gd name="T38" fmla="*/ 100 w 155"/>
                <a:gd name="T39" fmla="*/ 21 h 152"/>
                <a:gd name="T40" fmla="*/ 94 w 155"/>
                <a:gd name="T41" fmla="*/ 12 h 152"/>
                <a:gd name="T42" fmla="*/ 83 w 155"/>
                <a:gd name="T43" fmla="*/ 12 h 152"/>
                <a:gd name="T44" fmla="*/ 70 w 155"/>
                <a:gd name="T45" fmla="*/ 11 h 152"/>
                <a:gd name="T46" fmla="*/ 66 w 155"/>
                <a:gd name="T47" fmla="*/ 9 h 152"/>
                <a:gd name="T48" fmla="*/ 65 w 155"/>
                <a:gd name="T49" fmla="*/ 9 h 152"/>
                <a:gd name="T50" fmla="*/ 59 w 155"/>
                <a:gd name="T51" fmla="*/ 10 h 152"/>
                <a:gd name="T52" fmla="*/ 54 w 155"/>
                <a:gd name="T53" fmla="*/ 7 h 152"/>
                <a:gd name="T54" fmla="*/ 44 w 155"/>
                <a:gd name="T55" fmla="*/ 3 h 152"/>
                <a:gd name="T56" fmla="*/ 34 w 155"/>
                <a:gd name="T57" fmla="*/ 2 h 152"/>
                <a:gd name="T58" fmla="*/ 28 w 155"/>
                <a:gd name="T59" fmla="*/ 7 h 152"/>
                <a:gd name="T60" fmla="*/ 24 w 155"/>
                <a:gd name="T61" fmla="*/ 10 h 152"/>
                <a:gd name="T62" fmla="*/ 16 w 155"/>
                <a:gd name="T63" fmla="*/ 12 h 152"/>
                <a:gd name="T64" fmla="*/ 9 w 155"/>
                <a:gd name="T65" fmla="*/ 14 h 152"/>
                <a:gd name="T66" fmla="*/ 8 w 155"/>
                <a:gd name="T67" fmla="*/ 19 h 152"/>
                <a:gd name="T68" fmla="*/ 0 w 155"/>
                <a:gd name="T69" fmla="*/ 22 h 152"/>
                <a:gd name="T70" fmla="*/ 10 w 155"/>
                <a:gd name="T71" fmla="*/ 22 h 152"/>
                <a:gd name="T72" fmla="*/ 16 w 155"/>
                <a:gd name="T73" fmla="*/ 24 h 152"/>
                <a:gd name="T74" fmla="*/ 20 w 155"/>
                <a:gd name="T75" fmla="*/ 27 h 152"/>
                <a:gd name="T76" fmla="*/ 26 w 155"/>
                <a:gd name="T77" fmla="*/ 33 h 152"/>
                <a:gd name="T78" fmla="*/ 29 w 155"/>
                <a:gd name="T79" fmla="*/ 37 h 152"/>
                <a:gd name="T80" fmla="*/ 32 w 155"/>
                <a:gd name="T81" fmla="*/ 42 h 152"/>
                <a:gd name="T82" fmla="*/ 38 w 155"/>
                <a:gd name="T83" fmla="*/ 49 h 152"/>
                <a:gd name="T84" fmla="*/ 44 w 155"/>
                <a:gd name="T85" fmla="*/ 54 h 152"/>
                <a:gd name="T86" fmla="*/ 50 w 155"/>
                <a:gd name="T87" fmla="*/ 61 h 152"/>
                <a:gd name="T88" fmla="*/ 63 w 155"/>
                <a:gd name="T89" fmla="*/ 71 h 152"/>
                <a:gd name="T90" fmla="*/ 76 w 155"/>
                <a:gd name="T91" fmla="*/ 82 h 152"/>
                <a:gd name="T92" fmla="*/ 83 w 155"/>
                <a:gd name="T93" fmla="*/ 94 h 152"/>
                <a:gd name="T94" fmla="*/ 86 w 155"/>
                <a:gd name="T95" fmla="*/ 104 h 152"/>
                <a:gd name="T96" fmla="*/ 85 w 155"/>
                <a:gd name="T97" fmla="*/ 112 h 152"/>
                <a:gd name="T98" fmla="*/ 86 w 155"/>
                <a:gd name="T99" fmla="*/ 122 h 152"/>
                <a:gd name="T100" fmla="*/ 91 w 155"/>
                <a:gd name="T101" fmla="*/ 135 h 152"/>
                <a:gd name="T102" fmla="*/ 94 w 155"/>
                <a:gd name="T103" fmla="*/ 144 h 152"/>
                <a:gd name="T104" fmla="*/ 97 w 155"/>
                <a:gd name="T105" fmla="*/ 150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55" h="152">
                  <a:moveTo>
                    <a:pt x="99" y="152"/>
                  </a:moveTo>
                  <a:cubicBezTo>
                    <a:pt x="100" y="148"/>
                    <a:pt x="100" y="148"/>
                    <a:pt x="100" y="148"/>
                  </a:cubicBezTo>
                  <a:cubicBezTo>
                    <a:pt x="100" y="148"/>
                    <a:pt x="103" y="147"/>
                    <a:pt x="104" y="147"/>
                  </a:cubicBezTo>
                  <a:cubicBezTo>
                    <a:pt x="105" y="146"/>
                    <a:pt x="106" y="147"/>
                    <a:pt x="107" y="146"/>
                  </a:cubicBezTo>
                  <a:cubicBezTo>
                    <a:pt x="108" y="146"/>
                    <a:pt x="110" y="145"/>
                    <a:pt x="110" y="145"/>
                  </a:cubicBezTo>
                  <a:cubicBezTo>
                    <a:pt x="109" y="145"/>
                    <a:pt x="109" y="145"/>
                    <a:pt x="109" y="145"/>
                  </a:cubicBezTo>
                  <a:cubicBezTo>
                    <a:pt x="109" y="143"/>
                    <a:pt x="109" y="143"/>
                    <a:pt x="109" y="143"/>
                  </a:cubicBezTo>
                  <a:cubicBezTo>
                    <a:pt x="110" y="141"/>
                    <a:pt x="110" y="141"/>
                    <a:pt x="110" y="141"/>
                  </a:cubicBezTo>
                  <a:cubicBezTo>
                    <a:pt x="106" y="139"/>
                    <a:pt x="106" y="139"/>
                    <a:pt x="106" y="139"/>
                  </a:cubicBezTo>
                  <a:cubicBezTo>
                    <a:pt x="107" y="137"/>
                    <a:pt x="107" y="137"/>
                    <a:pt x="107" y="137"/>
                  </a:cubicBezTo>
                  <a:cubicBezTo>
                    <a:pt x="107" y="137"/>
                    <a:pt x="106" y="135"/>
                    <a:pt x="107" y="135"/>
                  </a:cubicBezTo>
                  <a:cubicBezTo>
                    <a:pt x="108" y="135"/>
                    <a:pt x="108" y="132"/>
                    <a:pt x="108" y="132"/>
                  </a:cubicBezTo>
                  <a:cubicBezTo>
                    <a:pt x="109" y="130"/>
                    <a:pt x="109" y="130"/>
                    <a:pt x="109" y="130"/>
                  </a:cubicBezTo>
                  <a:cubicBezTo>
                    <a:pt x="111" y="130"/>
                    <a:pt x="111" y="130"/>
                    <a:pt x="111" y="130"/>
                  </a:cubicBezTo>
                  <a:cubicBezTo>
                    <a:pt x="111" y="130"/>
                    <a:pt x="111" y="128"/>
                    <a:pt x="112" y="127"/>
                  </a:cubicBezTo>
                  <a:cubicBezTo>
                    <a:pt x="112" y="127"/>
                    <a:pt x="113" y="126"/>
                    <a:pt x="113" y="126"/>
                  </a:cubicBezTo>
                  <a:cubicBezTo>
                    <a:pt x="112" y="123"/>
                    <a:pt x="112" y="123"/>
                    <a:pt x="112" y="123"/>
                  </a:cubicBezTo>
                  <a:cubicBezTo>
                    <a:pt x="112" y="123"/>
                    <a:pt x="110" y="120"/>
                    <a:pt x="111" y="120"/>
                  </a:cubicBezTo>
                  <a:cubicBezTo>
                    <a:pt x="112" y="120"/>
                    <a:pt x="113" y="119"/>
                    <a:pt x="113" y="119"/>
                  </a:cubicBezTo>
                  <a:cubicBezTo>
                    <a:pt x="113" y="119"/>
                    <a:pt x="116" y="116"/>
                    <a:pt x="117" y="116"/>
                  </a:cubicBezTo>
                  <a:cubicBezTo>
                    <a:pt x="117" y="116"/>
                    <a:pt x="119" y="114"/>
                    <a:pt x="119" y="113"/>
                  </a:cubicBezTo>
                  <a:cubicBezTo>
                    <a:pt x="118" y="112"/>
                    <a:pt x="117" y="111"/>
                    <a:pt x="117" y="111"/>
                  </a:cubicBezTo>
                  <a:cubicBezTo>
                    <a:pt x="118" y="107"/>
                    <a:pt x="118" y="107"/>
                    <a:pt x="118" y="107"/>
                  </a:cubicBezTo>
                  <a:cubicBezTo>
                    <a:pt x="118" y="107"/>
                    <a:pt x="119" y="105"/>
                    <a:pt x="118" y="105"/>
                  </a:cubicBezTo>
                  <a:cubicBezTo>
                    <a:pt x="117" y="104"/>
                    <a:pt x="115" y="104"/>
                    <a:pt x="115" y="104"/>
                  </a:cubicBezTo>
                  <a:cubicBezTo>
                    <a:pt x="113" y="102"/>
                    <a:pt x="113" y="102"/>
                    <a:pt x="113" y="102"/>
                  </a:cubicBezTo>
                  <a:cubicBezTo>
                    <a:pt x="113" y="99"/>
                    <a:pt x="113" y="99"/>
                    <a:pt x="113" y="99"/>
                  </a:cubicBezTo>
                  <a:cubicBezTo>
                    <a:pt x="111" y="96"/>
                    <a:pt x="111" y="96"/>
                    <a:pt x="111" y="96"/>
                  </a:cubicBezTo>
                  <a:cubicBezTo>
                    <a:pt x="111" y="96"/>
                    <a:pt x="111" y="94"/>
                    <a:pt x="111" y="93"/>
                  </a:cubicBezTo>
                  <a:cubicBezTo>
                    <a:pt x="112" y="93"/>
                    <a:pt x="114" y="89"/>
                    <a:pt x="114" y="88"/>
                  </a:cubicBezTo>
                  <a:cubicBezTo>
                    <a:pt x="115" y="88"/>
                    <a:pt x="119" y="84"/>
                    <a:pt x="119" y="84"/>
                  </a:cubicBezTo>
                  <a:cubicBezTo>
                    <a:pt x="121" y="89"/>
                    <a:pt x="121" y="89"/>
                    <a:pt x="121" y="89"/>
                  </a:cubicBezTo>
                  <a:cubicBezTo>
                    <a:pt x="121" y="93"/>
                    <a:pt x="121" y="93"/>
                    <a:pt x="121" y="93"/>
                  </a:cubicBezTo>
                  <a:cubicBezTo>
                    <a:pt x="121" y="93"/>
                    <a:pt x="120" y="95"/>
                    <a:pt x="121" y="95"/>
                  </a:cubicBezTo>
                  <a:cubicBezTo>
                    <a:pt x="123" y="94"/>
                    <a:pt x="123" y="92"/>
                    <a:pt x="123" y="92"/>
                  </a:cubicBezTo>
                  <a:cubicBezTo>
                    <a:pt x="124" y="91"/>
                    <a:pt x="124" y="91"/>
                    <a:pt x="124" y="91"/>
                  </a:cubicBezTo>
                  <a:cubicBezTo>
                    <a:pt x="124" y="91"/>
                    <a:pt x="122" y="88"/>
                    <a:pt x="123" y="88"/>
                  </a:cubicBezTo>
                  <a:cubicBezTo>
                    <a:pt x="124" y="88"/>
                    <a:pt x="124" y="86"/>
                    <a:pt x="124" y="88"/>
                  </a:cubicBezTo>
                  <a:cubicBezTo>
                    <a:pt x="125" y="89"/>
                    <a:pt x="125" y="91"/>
                    <a:pt x="126" y="90"/>
                  </a:cubicBezTo>
                  <a:cubicBezTo>
                    <a:pt x="128" y="90"/>
                    <a:pt x="128" y="91"/>
                    <a:pt x="128" y="90"/>
                  </a:cubicBezTo>
                  <a:cubicBezTo>
                    <a:pt x="129" y="89"/>
                    <a:pt x="129" y="88"/>
                    <a:pt x="129" y="88"/>
                  </a:cubicBezTo>
                  <a:cubicBezTo>
                    <a:pt x="130" y="87"/>
                    <a:pt x="130" y="87"/>
                    <a:pt x="130" y="87"/>
                  </a:cubicBezTo>
                  <a:cubicBezTo>
                    <a:pt x="130" y="87"/>
                    <a:pt x="130" y="89"/>
                    <a:pt x="131" y="89"/>
                  </a:cubicBezTo>
                  <a:cubicBezTo>
                    <a:pt x="132" y="89"/>
                    <a:pt x="134" y="89"/>
                    <a:pt x="134" y="89"/>
                  </a:cubicBezTo>
                  <a:cubicBezTo>
                    <a:pt x="136" y="90"/>
                    <a:pt x="136" y="90"/>
                    <a:pt x="136" y="90"/>
                  </a:cubicBezTo>
                  <a:cubicBezTo>
                    <a:pt x="136" y="90"/>
                    <a:pt x="137" y="90"/>
                    <a:pt x="137" y="89"/>
                  </a:cubicBezTo>
                  <a:cubicBezTo>
                    <a:pt x="137" y="88"/>
                    <a:pt x="137" y="87"/>
                    <a:pt x="137" y="87"/>
                  </a:cubicBezTo>
                  <a:cubicBezTo>
                    <a:pt x="139" y="86"/>
                    <a:pt x="139" y="86"/>
                    <a:pt x="139" y="86"/>
                  </a:cubicBezTo>
                  <a:cubicBezTo>
                    <a:pt x="139" y="83"/>
                    <a:pt x="139" y="83"/>
                    <a:pt x="139" y="83"/>
                  </a:cubicBezTo>
                  <a:cubicBezTo>
                    <a:pt x="143" y="86"/>
                    <a:pt x="143" y="86"/>
                    <a:pt x="143" y="86"/>
                  </a:cubicBezTo>
                  <a:cubicBezTo>
                    <a:pt x="144" y="89"/>
                    <a:pt x="144" y="89"/>
                    <a:pt x="144" y="89"/>
                  </a:cubicBezTo>
                  <a:cubicBezTo>
                    <a:pt x="146" y="88"/>
                    <a:pt x="146" y="88"/>
                    <a:pt x="146" y="88"/>
                  </a:cubicBezTo>
                  <a:cubicBezTo>
                    <a:pt x="147" y="85"/>
                    <a:pt x="147" y="85"/>
                    <a:pt x="147" y="85"/>
                  </a:cubicBezTo>
                  <a:cubicBezTo>
                    <a:pt x="147" y="85"/>
                    <a:pt x="150" y="85"/>
                    <a:pt x="151" y="84"/>
                  </a:cubicBezTo>
                  <a:cubicBezTo>
                    <a:pt x="152" y="84"/>
                    <a:pt x="155" y="83"/>
                    <a:pt x="155" y="83"/>
                  </a:cubicBezTo>
                  <a:cubicBezTo>
                    <a:pt x="155" y="82"/>
                    <a:pt x="153" y="81"/>
                    <a:pt x="152" y="82"/>
                  </a:cubicBezTo>
                  <a:cubicBezTo>
                    <a:pt x="151" y="82"/>
                    <a:pt x="149" y="83"/>
                    <a:pt x="148" y="82"/>
                  </a:cubicBezTo>
                  <a:cubicBezTo>
                    <a:pt x="148" y="81"/>
                    <a:pt x="146" y="79"/>
                    <a:pt x="146" y="79"/>
                  </a:cubicBezTo>
                  <a:cubicBezTo>
                    <a:pt x="144" y="79"/>
                    <a:pt x="144" y="79"/>
                    <a:pt x="144" y="79"/>
                  </a:cubicBezTo>
                  <a:cubicBezTo>
                    <a:pt x="144" y="79"/>
                    <a:pt x="142" y="78"/>
                    <a:pt x="143" y="77"/>
                  </a:cubicBezTo>
                  <a:cubicBezTo>
                    <a:pt x="144" y="76"/>
                    <a:pt x="145" y="76"/>
                    <a:pt x="145" y="76"/>
                  </a:cubicBezTo>
                  <a:cubicBezTo>
                    <a:pt x="145" y="76"/>
                    <a:pt x="144" y="74"/>
                    <a:pt x="144" y="73"/>
                  </a:cubicBezTo>
                  <a:cubicBezTo>
                    <a:pt x="144" y="72"/>
                    <a:pt x="144" y="70"/>
                    <a:pt x="143" y="69"/>
                  </a:cubicBezTo>
                  <a:cubicBezTo>
                    <a:pt x="143" y="69"/>
                    <a:pt x="141" y="65"/>
                    <a:pt x="141" y="65"/>
                  </a:cubicBezTo>
                  <a:cubicBezTo>
                    <a:pt x="141" y="63"/>
                    <a:pt x="141" y="63"/>
                    <a:pt x="141" y="63"/>
                  </a:cubicBezTo>
                  <a:cubicBezTo>
                    <a:pt x="139" y="64"/>
                    <a:pt x="139" y="64"/>
                    <a:pt x="139" y="64"/>
                  </a:cubicBezTo>
                  <a:cubicBezTo>
                    <a:pt x="137" y="62"/>
                    <a:pt x="137" y="62"/>
                    <a:pt x="137" y="62"/>
                  </a:cubicBezTo>
                  <a:cubicBezTo>
                    <a:pt x="137" y="62"/>
                    <a:pt x="135" y="62"/>
                    <a:pt x="135" y="63"/>
                  </a:cubicBezTo>
                  <a:cubicBezTo>
                    <a:pt x="134" y="63"/>
                    <a:pt x="133" y="62"/>
                    <a:pt x="133" y="62"/>
                  </a:cubicBezTo>
                  <a:cubicBezTo>
                    <a:pt x="131" y="62"/>
                    <a:pt x="131" y="62"/>
                    <a:pt x="131" y="62"/>
                  </a:cubicBezTo>
                  <a:cubicBezTo>
                    <a:pt x="131" y="62"/>
                    <a:pt x="131" y="62"/>
                    <a:pt x="129" y="62"/>
                  </a:cubicBezTo>
                  <a:cubicBezTo>
                    <a:pt x="128" y="62"/>
                    <a:pt x="126" y="61"/>
                    <a:pt x="125" y="61"/>
                  </a:cubicBezTo>
                  <a:cubicBezTo>
                    <a:pt x="125" y="60"/>
                    <a:pt x="125" y="59"/>
                    <a:pt x="125" y="59"/>
                  </a:cubicBezTo>
                  <a:cubicBezTo>
                    <a:pt x="126" y="58"/>
                    <a:pt x="126" y="57"/>
                    <a:pt x="126" y="57"/>
                  </a:cubicBezTo>
                  <a:cubicBezTo>
                    <a:pt x="126" y="57"/>
                    <a:pt x="126" y="54"/>
                    <a:pt x="125" y="54"/>
                  </a:cubicBezTo>
                  <a:cubicBezTo>
                    <a:pt x="124" y="54"/>
                    <a:pt x="122" y="54"/>
                    <a:pt x="122" y="54"/>
                  </a:cubicBezTo>
                  <a:cubicBezTo>
                    <a:pt x="120" y="53"/>
                    <a:pt x="120" y="53"/>
                    <a:pt x="120" y="53"/>
                  </a:cubicBezTo>
                  <a:cubicBezTo>
                    <a:pt x="123" y="52"/>
                    <a:pt x="123" y="52"/>
                    <a:pt x="123" y="52"/>
                  </a:cubicBezTo>
                  <a:cubicBezTo>
                    <a:pt x="122" y="50"/>
                    <a:pt x="122" y="50"/>
                    <a:pt x="122" y="50"/>
                  </a:cubicBezTo>
                  <a:cubicBezTo>
                    <a:pt x="122" y="50"/>
                    <a:pt x="122" y="48"/>
                    <a:pt x="122" y="48"/>
                  </a:cubicBezTo>
                  <a:cubicBezTo>
                    <a:pt x="122" y="47"/>
                    <a:pt x="121" y="46"/>
                    <a:pt x="121" y="46"/>
                  </a:cubicBezTo>
                  <a:cubicBezTo>
                    <a:pt x="121" y="42"/>
                    <a:pt x="121" y="42"/>
                    <a:pt x="121" y="42"/>
                  </a:cubicBezTo>
                  <a:cubicBezTo>
                    <a:pt x="119" y="42"/>
                    <a:pt x="119" y="42"/>
                    <a:pt x="119" y="42"/>
                  </a:cubicBezTo>
                  <a:cubicBezTo>
                    <a:pt x="117" y="41"/>
                    <a:pt x="117" y="41"/>
                    <a:pt x="117" y="41"/>
                  </a:cubicBezTo>
                  <a:cubicBezTo>
                    <a:pt x="116" y="44"/>
                    <a:pt x="116" y="44"/>
                    <a:pt x="116" y="44"/>
                  </a:cubicBezTo>
                  <a:cubicBezTo>
                    <a:pt x="114" y="45"/>
                    <a:pt x="114" y="45"/>
                    <a:pt x="114" y="45"/>
                  </a:cubicBezTo>
                  <a:cubicBezTo>
                    <a:pt x="113" y="42"/>
                    <a:pt x="113" y="42"/>
                    <a:pt x="113" y="42"/>
                  </a:cubicBezTo>
                  <a:cubicBezTo>
                    <a:pt x="111" y="41"/>
                    <a:pt x="111" y="41"/>
                    <a:pt x="111" y="41"/>
                  </a:cubicBezTo>
                  <a:cubicBezTo>
                    <a:pt x="110" y="41"/>
                    <a:pt x="110" y="41"/>
                    <a:pt x="110" y="41"/>
                  </a:cubicBezTo>
                  <a:cubicBezTo>
                    <a:pt x="108" y="38"/>
                    <a:pt x="108" y="38"/>
                    <a:pt x="108" y="38"/>
                  </a:cubicBezTo>
                  <a:cubicBezTo>
                    <a:pt x="106" y="38"/>
                    <a:pt x="106" y="38"/>
                    <a:pt x="106" y="38"/>
                  </a:cubicBezTo>
                  <a:cubicBezTo>
                    <a:pt x="106" y="38"/>
                    <a:pt x="105" y="41"/>
                    <a:pt x="104" y="39"/>
                  </a:cubicBezTo>
                  <a:cubicBezTo>
                    <a:pt x="103" y="38"/>
                    <a:pt x="103" y="35"/>
                    <a:pt x="103" y="35"/>
                  </a:cubicBezTo>
                  <a:cubicBezTo>
                    <a:pt x="102" y="34"/>
                    <a:pt x="102" y="34"/>
                    <a:pt x="102" y="34"/>
                  </a:cubicBezTo>
                  <a:cubicBezTo>
                    <a:pt x="103" y="32"/>
                    <a:pt x="103" y="32"/>
                    <a:pt x="103" y="32"/>
                  </a:cubicBezTo>
                  <a:cubicBezTo>
                    <a:pt x="103" y="29"/>
                    <a:pt x="103" y="29"/>
                    <a:pt x="103" y="29"/>
                  </a:cubicBezTo>
                  <a:cubicBezTo>
                    <a:pt x="103" y="29"/>
                    <a:pt x="102" y="27"/>
                    <a:pt x="102" y="27"/>
                  </a:cubicBezTo>
                  <a:cubicBezTo>
                    <a:pt x="102" y="26"/>
                    <a:pt x="101" y="24"/>
                    <a:pt x="101" y="24"/>
                  </a:cubicBezTo>
                  <a:cubicBezTo>
                    <a:pt x="102" y="22"/>
                    <a:pt x="102" y="22"/>
                    <a:pt x="102" y="22"/>
                  </a:cubicBezTo>
                  <a:cubicBezTo>
                    <a:pt x="100" y="21"/>
                    <a:pt x="100" y="21"/>
                    <a:pt x="100" y="21"/>
                  </a:cubicBezTo>
                  <a:cubicBezTo>
                    <a:pt x="100" y="18"/>
                    <a:pt x="100" y="18"/>
                    <a:pt x="100" y="18"/>
                  </a:cubicBezTo>
                  <a:cubicBezTo>
                    <a:pt x="100" y="17"/>
                    <a:pt x="100" y="17"/>
                    <a:pt x="100" y="17"/>
                  </a:cubicBezTo>
                  <a:cubicBezTo>
                    <a:pt x="97" y="16"/>
                    <a:pt x="97" y="16"/>
                    <a:pt x="97" y="16"/>
                  </a:cubicBezTo>
                  <a:cubicBezTo>
                    <a:pt x="97" y="16"/>
                    <a:pt x="97" y="15"/>
                    <a:pt x="96" y="14"/>
                  </a:cubicBezTo>
                  <a:cubicBezTo>
                    <a:pt x="96" y="14"/>
                    <a:pt x="94" y="12"/>
                    <a:pt x="94" y="12"/>
                  </a:cubicBezTo>
                  <a:cubicBezTo>
                    <a:pt x="94" y="12"/>
                    <a:pt x="93" y="12"/>
                    <a:pt x="93" y="13"/>
                  </a:cubicBezTo>
                  <a:cubicBezTo>
                    <a:pt x="92" y="14"/>
                    <a:pt x="92" y="16"/>
                    <a:pt x="91" y="16"/>
                  </a:cubicBezTo>
                  <a:cubicBezTo>
                    <a:pt x="91" y="16"/>
                    <a:pt x="92" y="16"/>
                    <a:pt x="89" y="16"/>
                  </a:cubicBezTo>
                  <a:cubicBezTo>
                    <a:pt x="87" y="15"/>
                    <a:pt x="87" y="15"/>
                    <a:pt x="86" y="14"/>
                  </a:cubicBezTo>
                  <a:cubicBezTo>
                    <a:pt x="85" y="14"/>
                    <a:pt x="83" y="12"/>
                    <a:pt x="83" y="12"/>
                  </a:cubicBezTo>
                  <a:cubicBezTo>
                    <a:pt x="82" y="8"/>
                    <a:pt x="82" y="8"/>
                    <a:pt x="82" y="8"/>
                  </a:cubicBezTo>
                  <a:cubicBezTo>
                    <a:pt x="80" y="8"/>
                    <a:pt x="80" y="8"/>
                    <a:pt x="80" y="8"/>
                  </a:cubicBezTo>
                  <a:cubicBezTo>
                    <a:pt x="80" y="8"/>
                    <a:pt x="83" y="9"/>
                    <a:pt x="79" y="9"/>
                  </a:cubicBezTo>
                  <a:cubicBezTo>
                    <a:pt x="75" y="9"/>
                    <a:pt x="71" y="9"/>
                    <a:pt x="71" y="9"/>
                  </a:cubicBezTo>
                  <a:cubicBezTo>
                    <a:pt x="70" y="11"/>
                    <a:pt x="70" y="11"/>
                    <a:pt x="70" y="11"/>
                  </a:cubicBezTo>
                  <a:cubicBezTo>
                    <a:pt x="70" y="11"/>
                    <a:pt x="69" y="13"/>
                    <a:pt x="69" y="14"/>
                  </a:cubicBezTo>
                  <a:cubicBezTo>
                    <a:pt x="69" y="14"/>
                    <a:pt x="70" y="15"/>
                    <a:pt x="69" y="14"/>
                  </a:cubicBezTo>
                  <a:cubicBezTo>
                    <a:pt x="69" y="13"/>
                    <a:pt x="68" y="13"/>
                    <a:pt x="68" y="12"/>
                  </a:cubicBezTo>
                  <a:cubicBezTo>
                    <a:pt x="68" y="12"/>
                    <a:pt x="68" y="11"/>
                    <a:pt x="68" y="11"/>
                  </a:cubicBezTo>
                  <a:cubicBezTo>
                    <a:pt x="68" y="10"/>
                    <a:pt x="66" y="9"/>
                    <a:pt x="66" y="9"/>
                  </a:cubicBezTo>
                  <a:cubicBezTo>
                    <a:pt x="65" y="11"/>
                    <a:pt x="65" y="11"/>
                    <a:pt x="65" y="11"/>
                  </a:cubicBezTo>
                  <a:cubicBezTo>
                    <a:pt x="65" y="11"/>
                    <a:pt x="66" y="12"/>
                    <a:pt x="64" y="12"/>
                  </a:cubicBezTo>
                  <a:cubicBezTo>
                    <a:pt x="63" y="13"/>
                    <a:pt x="63" y="13"/>
                    <a:pt x="63" y="13"/>
                  </a:cubicBezTo>
                  <a:cubicBezTo>
                    <a:pt x="63" y="12"/>
                    <a:pt x="64" y="11"/>
                    <a:pt x="64" y="11"/>
                  </a:cubicBezTo>
                  <a:cubicBezTo>
                    <a:pt x="64" y="11"/>
                    <a:pt x="65" y="9"/>
                    <a:pt x="65" y="9"/>
                  </a:cubicBezTo>
                  <a:cubicBezTo>
                    <a:pt x="65" y="9"/>
                    <a:pt x="65" y="7"/>
                    <a:pt x="64" y="7"/>
                  </a:cubicBezTo>
                  <a:cubicBezTo>
                    <a:pt x="64" y="7"/>
                    <a:pt x="62" y="7"/>
                    <a:pt x="61" y="7"/>
                  </a:cubicBezTo>
                  <a:cubicBezTo>
                    <a:pt x="61" y="7"/>
                    <a:pt x="60" y="8"/>
                    <a:pt x="60" y="8"/>
                  </a:cubicBezTo>
                  <a:cubicBezTo>
                    <a:pt x="60" y="8"/>
                    <a:pt x="61" y="9"/>
                    <a:pt x="60" y="9"/>
                  </a:cubicBezTo>
                  <a:cubicBezTo>
                    <a:pt x="60" y="9"/>
                    <a:pt x="59" y="9"/>
                    <a:pt x="59" y="10"/>
                  </a:cubicBezTo>
                  <a:cubicBezTo>
                    <a:pt x="58" y="10"/>
                    <a:pt x="58" y="8"/>
                    <a:pt x="58" y="8"/>
                  </a:cubicBezTo>
                  <a:cubicBezTo>
                    <a:pt x="58" y="8"/>
                    <a:pt x="57" y="7"/>
                    <a:pt x="57" y="7"/>
                  </a:cubicBezTo>
                  <a:cubicBezTo>
                    <a:pt x="57" y="8"/>
                    <a:pt x="56" y="10"/>
                    <a:pt x="56" y="10"/>
                  </a:cubicBezTo>
                  <a:cubicBezTo>
                    <a:pt x="55" y="10"/>
                    <a:pt x="55" y="10"/>
                    <a:pt x="55" y="9"/>
                  </a:cubicBezTo>
                  <a:cubicBezTo>
                    <a:pt x="54" y="9"/>
                    <a:pt x="54" y="7"/>
                    <a:pt x="54" y="7"/>
                  </a:cubicBezTo>
                  <a:cubicBezTo>
                    <a:pt x="53" y="6"/>
                    <a:pt x="53" y="6"/>
                    <a:pt x="53" y="6"/>
                  </a:cubicBezTo>
                  <a:cubicBezTo>
                    <a:pt x="53" y="6"/>
                    <a:pt x="50" y="6"/>
                    <a:pt x="49" y="6"/>
                  </a:cubicBezTo>
                  <a:cubicBezTo>
                    <a:pt x="49" y="6"/>
                    <a:pt x="47" y="6"/>
                    <a:pt x="47" y="5"/>
                  </a:cubicBezTo>
                  <a:cubicBezTo>
                    <a:pt x="46" y="4"/>
                    <a:pt x="45" y="4"/>
                    <a:pt x="45" y="4"/>
                  </a:cubicBezTo>
                  <a:cubicBezTo>
                    <a:pt x="45" y="4"/>
                    <a:pt x="45" y="4"/>
                    <a:pt x="44" y="3"/>
                  </a:cubicBezTo>
                  <a:cubicBezTo>
                    <a:pt x="43" y="3"/>
                    <a:pt x="43" y="3"/>
                    <a:pt x="42" y="3"/>
                  </a:cubicBezTo>
                  <a:cubicBezTo>
                    <a:pt x="41" y="2"/>
                    <a:pt x="42" y="2"/>
                    <a:pt x="40" y="2"/>
                  </a:cubicBezTo>
                  <a:cubicBezTo>
                    <a:pt x="38" y="2"/>
                    <a:pt x="38" y="4"/>
                    <a:pt x="37" y="3"/>
                  </a:cubicBezTo>
                  <a:cubicBezTo>
                    <a:pt x="35" y="3"/>
                    <a:pt x="35" y="3"/>
                    <a:pt x="35" y="3"/>
                  </a:cubicBezTo>
                  <a:cubicBezTo>
                    <a:pt x="34" y="2"/>
                    <a:pt x="34" y="2"/>
                    <a:pt x="34" y="2"/>
                  </a:cubicBezTo>
                  <a:cubicBezTo>
                    <a:pt x="34" y="1"/>
                    <a:pt x="33" y="0"/>
                    <a:pt x="33" y="1"/>
                  </a:cubicBezTo>
                  <a:cubicBezTo>
                    <a:pt x="33" y="3"/>
                    <a:pt x="33" y="2"/>
                    <a:pt x="32" y="3"/>
                  </a:cubicBezTo>
                  <a:cubicBezTo>
                    <a:pt x="32" y="4"/>
                    <a:pt x="30" y="5"/>
                    <a:pt x="30" y="5"/>
                  </a:cubicBezTo>
                  <a:cubicBezTo>
                    <a:pt x="30" y="5"/>
                    <a:pt x="29" y="5"/>
                    <a:pt x="29" y="6"/>
                  </a:cubicBezTo>
                  <a:cubicBezTo>
                    <a:pt x="29" y="6"/>
                    <a:pt x="28" y="7"/>
                    <a:pt x="28" y="7"/>
                  </a:cubicBezTo>
                  <a:cubicBezTo>
                    <a:pt x="28" y="7"/>
                    <a:pt x="28" y="6"/>
                    <a:pt x="27" y="6"/>
                  </a:cubicBezTo>
                  <a:cubicBezTo>
                    <a:pt x="27" y="6"/>
                    <a:pt x="27" y="6"/>
                    <a:pt x="27" y="6"/>
                  </a:cubicBezTo>
                  <a:cubicBezTo>
                    <a:pt x="27" y="6"/>
                    <a:pt x="25" y="6"/>
                    <a:pt x="25" y="7"/>
                  </a:cubicBezTo>
                  <a:cubicBezTo>
                    <a:pt x="25" y="7"/>
                    <a:pt x="25" y="8"/>
                    <a:pt x="25" y="9"/>
                  </a:cubicBezTo>
                  <a:cubicBezTo>
                    <a:pt x="25" y="9"/>
                    <a:pt x="24" y="10"/>
                    <a:pt x="24" y="10"/>
                  </a:cubicBezTo>
                  <a:cubicBezTo>
                    <a:pt x="22" y="11"/>
                    <a:pt x="22" y="11"/>
                    <a:pt x="22" y="11"/>
                  </a:cubicBezTo>
                  <a:cubicBezTo>
                    <a:pt x="22" y="11"/>
                    <a:pt x="22" y="11"/>
                    <a:pt x="21" y="11"/>
                  </a:cubicBezTo>
                  <a:cubicBezTo>
                    <a:pt x="20" y="11"/>
                    <a:pt x="18" y="11"/>
                    <a:pt x="18" y="11"/>
                  </a:cubicBezTo>
                  <a:cubicBezTo>
                    <a:pt x="17" y="11"/>
                    <a:pt x="16" y="11"/>
                    <a:pt x="16" y="11"/>
                  </a:cubicBezTo>
                  <a:cubicBezTo>
                    <a:pt x="16" y="12"/>
                    <a:pt x="16" y="12"/>
                    <a:pt x="16" y="12"/>
                  </a:cubicBezTo>
                  <a:cubicBezTo>
                    <a:pt x="15" y="13"/>
                    <a:pt x="15" y="13"/>
                    <a:pt x="15" y="13"/>
                  </a:cubicBezTo>
                  <a:cubicBezTo>
                    <a:pt x="15" y="13"/>
                    <a:pt x="14" y="15"/>
                    <a:pt x="13" y="14"/>
                  </a:cubicBezTo>
                  <a:cubicBezTo>
                    <a:pt x="13" y="14"/>
                    <a:pt x="12" y="14"/>
                    <a:pt x="12" y="14"/>
                  </a:cubicBezTo>
                  <a:cubicBezTo>
                    <a:pt x="10" y="13"/>
                    <a:pt x="10" y="13"/>
                    <a:pt x="10" y="13"/>
                  </a:cubicBezTo>
                  <a:cubicBezTo>
                    <a:pt x="10" y="13"/>
                    <a:pt x="9" y="14"/>
                    <a:pt x="9" y="14"/>
                  </a:cubicBezTo>
                  <a:cubicBezTo>
                    <a:pt x="9" y="14"/>
                    <a:pt x="8" y="14"/>
                    <a:pt x="8" y="14"/>
                  </a:cubicBezTo>
                  <a:cubicBezTo>
                    <a:pt x="8" y="14"/>
                    <a:pt x="8" y="14"/>
                    <a:pt x="8" y="14"/>
                  </a:cubicBezTo>
                  <a:cubicBezTo>
                    <a:pt x="8" y="14"/>
                    <a:pt x="8" y="15"/>
                    <a:pt x="9" y="16"/>
                  </a:cubicBezTo>
                  <a:cubicBezTo>
                    <a:pt x="9" y="16"/>
                    <a:pt x="9" y="17"/>
                    <a:pt x="9" y="18"/>
                  </a:cubicBezTo>
                  <a:cubicBezTo>
                    <a:pt x="9" y="18"/>
                    <a:pt x="8" y="19"/>
                    <a:pt x="8" y="19"/>
                  </a:cubicBezTo>
                  <a:cubicBezTo>
                    <a:pt x="7" y="19"/>
                    <a:pt x="6" y="18"/>
                    <a:pt x="6" y="18"/>
                  </a:cubicBezTo>
                  <a:cubicBezTo>
                    <a:pt x="6" y="18"/>
                    <a:pt x="6" y="17"/>
                    <a:pt x="5" y="17"/>
                  </a:cubicBezTo>
                  <a:cubicBezTo>
                    <a:pt x="5" y="18"/>
                    <a:pt x="2" y="19"/>
                    <a:pt x="2" y="19"/>
                  </a:cubicBezTo>
                  <a:cubicBezTo>
                    <a:pt x="2" y="21"/>
                    <a:pt x="2" y="21"/>
                    <a:pt x="2" y="21"/>
                  </a:cubicBezTo>
                  <a:cubicBezTo>
                    <a:pt x="0" y="22"/>
                    <a:pt x="0" y="22"/>
                    <a:pt x="0" y="22"/>
                  </a:cubicBezTo>
                  <a:cubicBezTo>
                    <a:pt x="5" y="22"/>
                    <a:pt x="5" y="22"/>
                    <a:pt x="5" y="22"/>
                  </a:cubicBezTo>
                  <a:cubicBezTo>
                    <a:pt x="6" y="22"/>
                    <a:pt x="6" y="22"/>
                    <a:pt x="6" y="22"/>
                  </a:cubicBezTo>
                  <a:cubicBezTo>
                    <a:pt x="8" y="22"/>
                    <a:pt x="8" y="22"/>
                    <a:pt x="8" y="22"/>
                  </a:cubicBezTo>
                  <a:cubicBezTo>
                    <a:pt x="9" y="21"/>
                    <a:pt x="9" y="21"/>
                    <a:pt x="9" y="21"/>
                  </a:cubicBezTo>
                  <a:cubicBezTo>
                    <a:pt x="9" y="21"/>
                    <a:pt x="10" y="21"/>
                    <a:pt x="10" y="22"/>
                  </a:cubicBezTo>
                  <a:cubicBezTo>
                    <a:pt x="10" y="22"/>
                    <a:pt x="12" y="23"/>
                    <a:pt x="12" y="23"/>
                  </a:cubicBezTo>
                  <a:cubicBezTo>
                    <a:pt x="12" y="23"/>
                    <a:pt x="12" y="23"/>
                    <a:pt x="12" y="23"/>
                  </a:cubicBezTo>
                  <a:cubicBezTo>
                    <a:pt x="15" y="22"/>
                    <a:pt x="15" y="22"/>
                    <a:pt x="15" y="22"/>
                  </a:cubicBezTo>
                  <a:cubicBezTo>
                    <a:pt x="15" y="23"/>
                    <a:pt x="15" y="23"/>
                    <a:pt x="15" y="23"/>
                  </a:cubicBezTo>
                  <a:cubicBezTo>
                    <a:pt x="15" y="23"/>
                    <a:pt x="15" y="24"/>
                    <a:pt x="16" y="24"/>
                  </a:cubicBezTo>
                  <a:cubicBezTo>
                    <a:pt x="17" y="24"/>
                    <a:pt x="17" y="24"/>
                    <a:pt x="17" y="24"/>
                  </a:cubicBezTo>
                  <a:cubicBezTo>
                    <a:pt x="17" y="26"/>
                    <a:pt x="17" y="26"/>
                    <a:pt x="17" y="26"/>
                  </a:cubicBezTo>
                  <a:cubicBezTo>
                    <a:pt x="19" y="26"/>
                    <a:pt x="19" y="26"/>
                    <a:pt x="19" y="26"/>
                  </a:cubicBezTo>
                  <a:cubicBezTo>
                    <a:pt x="19" y="26"/>
                    <a:pt x="20" y="26"/>
                    <a:pt x="20" y="26"/>
                  </a:cubicBezTo>
                  <a:cubicBezTo>
                    <a:pt x="20" y="26"/>
                    <a:pt x="20" y="27"/>
                    <a:pt x="20" y="27"/>
                  </a:cubicBezTo>
                  <a:cubicBezTo>
                    <a:pt x="20" y="27"/>
                    <a:pt x="21" y="28"/>
                    <a:pt x="22" y="29"/>
                  </a:cubicBezTo>
                  <a:cubicBezTo>
                    <a:pt x="22" y="29"/>
                    <a:pt x="23" y="30"/>
                    <a:pt x="23" y="30"/>
                  </a:cubicBezTo>
                  <a:cubicBezTo>
                    <a:pt x="24" y="31"/>
                    <a:pt x="24" y="31"/>
                    <a:pt x="24" y="31"/>
                  </a:cubicBezTo>
                  <a:cubicBezTo>
                    <a:pt x="25" y="32"/>
                    <a:pt x="25" y="32"/>
                    <a:pt x="25" y="32"/>
                  </a:cubicBezTo>
                  <a:cubicBezTo>
                    <a:pt x="26" y="33"/>
                    <a:pt x="26" y="33"/>
                    <a:pt x="26" y="33"/>
                  </a:cubicBezTo>
                  <a:cubicBezTo>
                    <a:pt x="26" y="33"/>
                    <a:pt x="26" y="33"/>
                    <a:pt x="26" y="33"/>
                  </a:cubicBezTo>
                  <a:cubicBezTo>
                    <a:pt x="26" y="34"/>
                    <a:pt x="26" y="35"/>
                    <a:pt x="27" y="35"/>
                  </a:cubicBezTo>
                  <a:cubicBezTo>
                    <a:pt x="27" y="35"/>
                    <a:pt x="27" y="35"/>
                    <a:pt x="28" y="35"/>
                  </a:cubicBezTo>
                  <a:cubicBezTo>
                    <a:pt x="28" y="35"/>
                    <a:pt x="28" y="35"/>
                    <a:pt x="28" y="36"/>
                  </a:cubicBezTo>
                  <a:cubicBezTo>
                    <a:pt x="28" y="36"/>
                    <a:pt x="28" y="36"/>
                    <a:pt x="29" y="37"/>
                  </a:cubicBezTo>
                  <a:cubicBezTo>
                    <a:pt x="29" y="37"/>
                    <a:pt x="30" y="38"/>
                    <a:pt x="30" y="38"/>
                  </a:cubicBezTo>
                  <a:cubicBezTo>
                    <a:pt x="30" y="38"/>
                    <a:pt x="30" y="38"/>
                    <a:pt x="30" y="39"/>
                  </a:cubicBezTo>
                  <a:cubicBezTo>
                    <a:pt x="30" y="40"/>
                    <a:pt x="31" y="41"/>
                    <a:pt x="31" y="41"/>
                  </a:cubicBezTo>
                  <a:cubicBezTo>
                    <a:pt x="31" y="42"/>
                    <a:pt x="32" y="42"/>
                    <a:pt x="32" y="42"/>
                  </a:cubicBezTo>
                  <a:cubicBezTo>
                    <a:pt x="32" y="42"/>
                    <a:pt x="32" y="42"/>
                    <a:pt x="32" y="42"/>
                  </a:cubicBezTo>
                  <a:cubicBezTo>
                    <a:pt x="32" y="42"/>
                    <a:pt x="33" y="42"/>
                    <a:pt x="33" y="43"/>
                  </a:cubicBezTo>
                  <a:cubicBezTo>
                    <a:pt x="33" y="44"/>
                    <a:pt x="32" y="45"/>
                    <a:pt x="33" y="45"/>
                  </a:cubicBezTo>
                  <a:cubicBezTo>
                    <a:pt x="33" y="45"/>
                    <a:pt x="34" y="47"/>
                    <a:pt x="35" y="47"/>
                  </a:cubicBezTo>
                  <a:cubicBezTo>
                    <a:pt x="36" y="47"/>
                    <a:pt x="36" y="47"/>
                    <a:pt x="36" y="47"/>
                  </a:cubicBezTo>
                  <a:cubicBezTo>
                    <a:pt x="37" y="47"/>
                    <a:pt x="37" y="49"/>
                    <a:pt x="38" y="49"/>
                  </a:cubicBezTo>
                  <a:cubicBezTo>
                    <a:pt x="38" y="50"/>
                    <a:pt x="38" y="50"/>
                    <a:pt x="39" y="50"/>
                  </a:cubicBezTo>
                  <a:cubicBezTo>
                    <a:pt x="40" y="50"/>
                    <a:pt x="40" y="50"/>
                    <a:pt x="40" y="50"/>
                  </a:cubicBezTo>
                  <a:cubicBezTo>
                    <a:pt x="40" y="50"/>
                    <a:pt x="40" y="50"/>
                    <a:pt x="40" y="51"/>
                  </a:cubicBezTo>
                  <a:cubicBezTo>
                    <a:pt x="41" y="51"/>
                    <a:pt x="43" y="53"/>
                    <a:pt x="43" y="53"/>
                  </a:cubicBezTo>
                  <a:cubicBezTo>
                    <a:pt x="43" y="53"/>
                    <a:pt x="44" y="54"/>
                    <a:pt x="44" y="54"/>
                  </a:cubicBezTo>
                  <a:cubicBezTo>
                    <a:pt x="44" y="54"/>
                    <a:pt x="45" y="54"/>
                    <a:pt x="46" y="54"/>
                  </a:cubicBezTo>
                  <a:cubicBezTo>
                    <a:pt x="46" y="54"/>
                    <a:pt x="47" y="54"/>
                    <a:pt x="47" y="55"/>
                  </a:cubicBezTo>
                  <a:cubicBezTo>
                    <a:pt x="47" y="56"/>
                    <a:pt x="48" y="56"/>
                    <a:pt x="48" y="57"/>
                  </a:cubicBezTo>
                  <a:cubicBezTo>
                    <a:pt x="48" y="58"/>
                    <a:pt x="49" y="58"/>
                    <a:pt x="49" y="59"/>
                  </a:cubicBezTo>
                  <a:cubicBezTo>
                    <a:pt x="49" y="59"/>
                    <a:pt x="50" y="61"/>
                    <a:pt x="50" y="61"/>
                  </a:cubicBezTo>
                  <a:cubicBezTo>
                    <a:pt x="56" y="63"/>
                    <a:pt x="56" y="63"/>
                    <a:pt x="56" y="63"/>
                  </a:cubicBezTo>
                  <a:cubicBezTo>
                    <a:pt x="57" y="65"/>
                    <a:pt x="57" y="65"/>
                    <a:pt x="57" y="65"/>
                  </a:cubicBezTo>
                  <a:cubicBezTo>
                    <a:pt x="57" y="65"/>
                    <a:pt x="58" y="67"/>
                    <a:pt x="58" y="67"/>
                  </a:cubicBezTo>
                  <a:cubicBezTo>
                    <a:pt x="59" y="68"/>
                    <a:pt x="60" y="68"/>
                    <a:pt x="60" y="68"/>
                  </a:cubicBezTo>
                  <a:cubicBezTo>
                    <a:pt x="63" y="71"/>
                    <a:pt x="63" y="71"/>
                    <a:pt x="63" y="71"/>
                  </a:cubicBezTo>
                  <a:cubicBezTo>
                    <a:pt x="66" y="72"/>
                    <a:pt x="66" y="72"/>
                    <a:pt x="66" y="72"/>
                  </a:cubicBezTo>
                  <a:cubicBezTo>
                    <a:pt x="66" y="72"/>
                    <a:pt x="68" y="73"/>
                    <a:pt x="69" y="73"/>
                  </a:cubicBezTo>
                  <a:cubicBezTo>
                    <a:pt x="69" y="73"/>
                    <a:pt x="71" y="74"/>
                    <a:pt x="72" y="74"/>
                  </a:cubicBezTo>
                  <a:cubicBezTo>
                    <a:pt x="72" y="75"/>
                    <a:pt x="73" y="78"/>
                    <a:pt x="73" y="78"/>
                  </a:cubicBezTo>
                  <a:cubicBezTo>
                    <a:pt x="74" y="78"/>
                    <a:pt x="76" y="80"/>
                    <a:pt x="76" y="82"/>
                  </a:cubicBezTo>
                  <a:cubicBezTo>
                    <a:pt x="77" y="83"/>
                    <a:pt x="77" y="83"/>
                    <a:pt x="77" y="85"/>
                  </a:cubicBezTo>
                  <a:cubicBezTo>
                    <a:pt x="78" y="86"/>
                    <a:pt x="80" y="88"/>
                    <a:pt x="80" y="88"/>
                  </a:cubicBezTo>
                  <a:cubicBezTo>
                    <a:pt x="80" y="88"/>
                    <a:pt x="80" y="88"/>
                    <a:pt x="81" y="90"/>
                  </a:cubicBezTo>
                  <a:cubicBezTo>
                    <a:pt x="82" y="91"/>
                    <a:pt x="83" y="92"/>
                    <a:pt x="83" y="93"/>
                  </a:cubicBezTo>
                  <a:cubicBezTo>
                    <a:pt x="83" y="93"/>
                    <a:pt x="83" y="93"/>
                    <a:pt x="83" y="94"/>
                  </a:cubicBezTo>
                  <a:cubicBezTo>
                    <a:pt x="83" y="94"/>
                    <a:pt x="83" y="95"/>
                    <a:pt x="83" y="95"/>
                  </a:cubicBezTo>
                  <a:cubicBezTo>
                    <a:pt x="83" y="95"/>
                    <a:pt x="84" y="97"/>
                    <a:pt x="84" y="98"/>
                  </a:cubicBezTo>
                  <a:cubicBezTo>
                    <a:pt x="84" y="98"/>
                    <a:pt x="85" y="100"/>
                    <a:pt x="85" y="100"/>
                  </a:cubicBezTo>
                  <a:cubicBezTo>
                    <a:pt x="85" y="101"/>
                    <a:pt x="85" y="101"/>
                    <a:pt x="85" y="101"/>
                  </a:cubicBezTo>
                  <a:cubicBezTo>
                    <a:pt x="86" y="104"/>
                    <a:pt x="86" y="104"/>
                    <a:pt x="86" y="104"/>
                  </a:cubicBezTo>
                  <a:cubicBezTo>
                    <a:pt x="85" y="106"/>
                    <a:pt x="85" y="106"/>
                    <a:pt x="85" y="106"/>
                  </a:cubicBezTo>
                  <a:cubicBezTo>
                    <a:pt x="85" y="106"/>
                    <a:pt x="84" y="107"/>
                    <a:pt x="85" y="107"/>
                  </a:cubicBezTo>
                  <a:cubicBezTo>
                    <a:pt x="86" y="107"/>
                    <a:pt x="87" y="108"/>
                    <a:pt x="86" y="109"/>
                  </a:cubicBezTo>
                  <a:cubicBezTo>
                    <a:pt x="86" y="109"/>
                    <a:pt x="85" y="111"/>
                    <a:pt x="85" y="111"/>
                  </a:cubicBezTo>
                  <a:cubicBezTo>
                    <a:pt x="85" y="112"/>
                    <a:pt x="85" y="112"/>
                    <a:pt x="85" y="112"/>
                  </a:cubicBezTo>
                  <a:cubicBezTo>
                    <a:pt x="84" y="114"/>
                    <a:pt x="84" y="114"/>
                    <a:pt x="84" y="114"/>
                  </a:cubicBezTo>
                  <a:cubicBezTo>
                    <a:pt x="84" y="114"/>
                    <a:pt x="86" y="115"/>
                    <a:pt x="86" y="115"/>
                  </a:cubicBezTo>
                  <a:cubicBezTo>
                    <a:pt x="86" y="116"/>
                    <a:pt x="87" y="117"/>
                    <a:pt x="86" y="118"/>
                  </a:cubicBezTo>
                  <a:cubicBezTo>
                    <a:pt x="86" y="118"/>
                    <a:pt x="86" y="120"/>
                    <a:pt x="86" y="120"/>
                  </a:cubicBezTo>
                  <a:cubicBezTo>
                    <a:pt x="86" y="120"/>
                    <a:pt x="86" y="122"/>
                    <a:pt x="86" y="122"/>
                  </a:cubicBezTo>
                  <a:cubicBezTo>
                    <a:pt x="86" y="122"/>
                    <a:pt x="88" y="123"/>
                    <a:pt x="87" y="124"/>
                  </a:cubicBezTo>
                  <a:cubicBezTo>
                    <a:pt x="87" y="124"/>
                    <a:pt x="87" y="125"/>
                    <a:pt x="87" y="126"/>
                  </a:cubicBezTo>
                  <a:cubicBezTo>
                    <a:pt x="88" y="128"/>
                    <a:pt x="90" y="131"/>
                    <a:pt x="90" y="131"/>
                  </a:cubicBezTo>
                  <a:cubicBezTo>
                    <a:pt x="90" y="131"/>
                    <a:pt x="91" y="133"/>
                    <a:pt x="91" y="133"/>
                  </a:cubicBezTo>
                  <a:cubicBezTo>
                    <a:pt x="91" y="134"/>
                    <a:pt x="90" y="134"/>
                    <a:pt x="91" y="135"/>
                  </a:cubicBezTo>
                  <a:cubicBezTo>
                    <a:pt x="91" y="135"/>
                    <a:pt x="90" y="136"/>
                    <a:pt x="91" y="136"/>
                  </a:cubicBezTo>
                  <a:cubicBezTo>
                    <a:pt x="92" y="137"/>
                    <a:pt x="93" y="139"/>
                    <a:pt x="93" y="139"/>
                  </a:cubicBezTo>
                  <a:cubicBezTo>
                    <a:pt x="93" y="139"/>
                    <a:pt x="93" y="139"/>
                    <a:pt x="94" y="140"/>
                  </a:cubicBezTo>
                  <a:cubicBezTo>
                    <a:pt x="94" y="141"/>
                    <a:pt x="94" y="143"/>
                    <a:pt x="94" y="143"/>
                  </a:cubicBezTo>
                  <a:cubicBezTo>
                    <a:pt x="94" y="144"/>
                    <a:pt x="95" y="144"/>
                    <a:pt x="94" y="144"/>
                  </a:cubicBezTo>
                  <a:cubicBezTo>
                    <a:pt x="94" y="144"/>
                    <a:pt x="93" y="145"/>
                    <a:pt x="93" y="145"/>
                  </a:cubicBezTo>
                  <a:cubicBezTo>
                    <a:pt x="92" y="147"/>
                    <a:pt x="92" y="147"/>
                    <a:pt x="92" y="147"/>
                  </a:cubicBezTo>
                  <a:cubicBezTo>
                    <a:pt x="92" y="147"/>
                    <a:pt x="93" y="148"/>
                    <a:pt x="94" y="148"/>
                  </a:cubicBezTo>
                  <a:cubicBezTo>
                    <a:pt x="94" y="148"/>
                    <a:pt x="95" y="148"/>
                    <a:pt x="95" y="148"/>
                  </a:cubicBezTo>
                  <a:cubicBezTo>
                    <a:pt x="97" y="150"/>
                    <a:pt x="97" y="150"/>
                    <a:pt x="97" y="150"/>
                  </a:cubicBezTo>
                  <a:cubicBezTo>
                    <a:pt x="97" y="152"/>
                    <a:pt x="97" y="152"/>
                    <a:pt x="97" y="152"/>
                  </a:cubicBezTo>
                  <a:lnTo>
                    <a:pt x="99" y="152"/>
                  </a:lnTo>
                  <a:close/>
                </a:path>
              </a:pathLst>
            </a:custGeom>
            <a:solidFill>
              <a:srgbClr val="E6EFF1"/>
            </a:solidFill>
            <a:ln w="12700" cap="rnd" cmpd="sng">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Lato Light"/>
              </a:endParaRPr>
            </a:p>
          </p:txBody>
        </p:sp>
        <p:sp>
          <p:nvSpPr>
            <p:cNvPr id="26" name="Freeform 29">
              <a:extLst>
                <a:ext uri="{FF2B5EF4-FFF2-40B4-BE49-F238E27FC236}">
                  <a16:creationId xmlns:a16="http://schemas.microsoft.com/office/drawing/2014/main" id="{406932E8-FA60-EDDD-7124-03B4F0D5475D}"/>
                </a:ext>
              </a:extLst>
            </p:cNvPr>
            <p:cNvSpPr>
              <a:spLocks/>
            </p:cNvSpPr>
            <p:nvPr/>
          </p:nvSpPr>
          <p:spPr bwMode="auto">
            <a:xfrm>
              <a:off x="3198623" y="3847016"/>
              <a:ext cx="372307" cy="304328"/>
            </a:xfrm>
            <a:custGeom>
              <a:avLst/>
              <a:gdLst>
                <a:gd name="T0" fmla="*/ 27 w 129"/>
                <a:gd name="T1" fmla="*/ 5 h 109"/>
                <a:gd name="T2" fmla="*/ 33 w 129"/>
                <a:gd name="T3" fmla="*/ 7 h 109"/>
                <a:gd name="T4" fmla="*/ 40 w 129"/>
                <a:gd name="T5" fmla="*/ 5 h 109"/>
                <a:gd name="T6" fmla="*/ 57 w 129"/>
                <a:gd name="T7" fmla="*/ 8 h 109"/>
                <a:gd name="T8" fmla="*/ 64 w 129"/>
                <a:gd name="T9" fmla="*/ 7 h 109"/>
                <a:gd name="T10" fmla="*/ 66 w 129"/>
                <a:gd name="T11" fmla="*/ 1 h 109"/>
                <a:gd name="T12" fmla="*/ 70 w 129"/>
                <a:gd name="T13" fmla="*/ 5 h 109"/>
                <a:gd name="T14" fmla="*/ 77 w 129"/>
                <a:gd name="T15" fmla="*/ 1 h 109"/>
                <a:gd name="T16" fmla="*/ 79 w 129"/>
                <a:gd name="T17" fmla="*/ 5 h 109"/>
                <a:gd name="T18" fmla="*/ 86 w 129"/>
                <a:gd name="T19" fmla="*/ 3 h 109"/>
                <a:gd name="T20" fmla="*/ 89 w 129"/>
                <a:gd name="T21" fmla="*/ 9 h 109"/>
                <a:gd name="T22" fmla="*/ 92 w 129"/>
                <a:gd name="T23" fmla="*/ 12 h 109"/>
                <a:gd name="T24" fmla="*/ 98 w 129"/>
                <a:gd name="T25" fmla="*/ 15 h 109"/>
                <a:gd name="T26" fmla="*/ 102 w 129"/>
                <a:gd name="T27" fmla="*/ 18 h 109"/>
                <a:gd name="T28" fmla="*/ 113 w 129"/>
                <a:gd name="T29" fmla="*/ 22 h 109"/>
                <a:gd name="T30" fmla="*/ 109 w 129"/>
                <a:gd name="T31" fmla="*/ 30 h 109"/>
                <a:gd name="T32" fmla="*/ 104 w 129"/>
                <a:gd name="T33" fmla="*/ 36 h 109"/>
                <a:gd name="T34" fmla="*/ 105 w 129"/>
                <a:gd name="T35" fmla="*/ 43 h 109"/>
                <a:gd name="T36" fmla="*/ 114 w 129"/>
                <a:gd name="T37" fmla="*/ 42 h 109"/>
                <a:gd name="T38" fmla="*/ 120 w 129"/>
                <a:gd name="T39" fmla="*/ 46 h 109"/>
                <a:gd name="T40" fmla="*/ 124 w 129"/>
                <a:gd name="T41" fmla="*/ 50 h 109"/>
                <a:gd name="T42" fmla="*/ 124 w 129"/>
                <a:gd name="T43" fmla="*/ 57 h 109"/>
                <a:gd name="T44" fmla="*/ 129 w 129"/>
                <a:gd name="T45" fmla="*/ 61 h 109"/>
                <a:gd name="T46" fmla="*/ 127 w 129"/>
                <a:gd name="T47" fmla="*/ 67 h 109"/>
                <a:gd name="T48" fmla="*/ 123 w 129"/>
                <a:gd name="T49" fmla="*/ 70 h 109"/>
                <a:gd name="T50" fmla="*/ 120 w 129"/>
                <a:gd name="T51" fmla="*/ 74 h 109"/>
                <a:gd name="T52" fmla="*/ 117 w 129"/>
                <a:gd name="T53" fmla="*/ 75 h 109"/>
                <a:gd name="T54" fmla="*/ 112 w 129"/>
                <a:gd name="T55" fmla="*/ 77 h 109"/>
                <a:gd name="T56" fmla="*/ 109 w 129"/>
                <a:gd name="T57" fmla="*/ 82 h 109"/>
                <a:gd name="T58" fmla="*/ 105 w 129"/>
                <a:gd name="T59" fmla="*/ 88 h 109"/>
                <a:gd name="T60" fmla="*/ 106 w 129"/>
                <a:gd name="T61" fmla="*/ 92 h 109"/>
                <a:gd name="T62" fmla="*/ 107 w 129"/>
                <a:gd name="T63" fmla="*/ 96 h 109"/>
                <a:gd name="T64" fmla="*/ 110 w 129"/>
                <a:gd name="T65" fmla="*/ 101 h 109"/>
                <a:gd name="T66" fmla="*/ 107 w 129"/>
                <a:gd name="T67" fmla="*/ 107 h 109"/>
                <a:gd name="T68" fmla="*/ 103 w 129"/>
                <a:gd name="T69" fmla="*/ 108 h 109"/>
                <a:gd name="T70" fmla="*/ 96 w 129"/>
                <a:gd name="T71" fmla="*/ 109 h 109"/>
                <a:gd name="T72" fmla="*/ 93 w 129"/>
                <a:gd name="T73" fmla="*/ 104 h 109"/>
                <a:gd name="T74" fmla="*/ 90 w 129"/>
                <a:gd name="T75" fmla="*/ 101 h 109"/>
                <a:gd name="T76" fmla="*/ 85 w 129"/>
                <a:gd name="T77" fmla="*/ 97 h 109"/>
                <a:gd name="T78" fmla="*/ 79 w 129"/>
                <a:gd name="T79" fmla="*/ 94 h 109"/>
                <a:gd name="T80" fmla="*/ 74 w 129"/>
                <a:gd name="T81" fmla="*/ 89 h 109"/>
                <a:gd name="T82" fmla="*/ 74 w 129"/>
                <a:gd name="T83" fmla="*/ 81 h 109"/>
                <a:gd name="T84" fmla="*/ 74 w 129"/>
                <a:gd name="T85" fmla="*/ 73 h 109"/>
                <a:gd name="T86" fmla="*/ 69 w 129"/>
                <a:gd name="T87" fmla="*/ 78 h 109"/>
                <a:gd name="T88" fmla="*/ 63 w 129"/>
                <a:gd name="T89" fmla="*/ 82 h 109"/>
                <a:gd name="T90" fmla="*/ 55 w 129"/>
                <a:gd name="T91" fmla="*/ 82 h 109"/>
                <a:gd name="T92" fmla="*/ 51 w 129"/>
                <a:gd name="T93" fmla="*/ 77 h 109"/>
                <a:gd name="T94" fmla="*/ 52 w 129"/>
                <a:gd name="T95" fmla="*/ 73 h 109"/>
                <a:gd name="T96" fmla="*/ 53 w 129"/>
                <a:gd name="T97" fmla="*/ 66 h 109"/>
                <a:gd name="T98" fmla="*/ 49 w 129"/>
                <a:gd name="T99" fmla="*/ 62 h 109"/>
                <a:gd name="T100" fmla="*/ 42 w 129"/>
                <a:gd name="T101" fmla="*/ 61 h 109"/>
                <a:gd name="T102" fmla="*/ 35 w 129"/>
                <a:gd name="T103" fmla="*/ 60 h 109"/>
                <a:gd name="T104" fmla="*/ 33 w 129"/>
                <a:gd name="T105" fmla="*/ 52 h 109"/>
                <a:gd name="T106" fmla="*/ 27 w 129"/>
                <a:gd name="T107" fmla="*/ 51 h 109"/>
                <a:gd name="T108" fmla="*/ 23 w 129"/>
                <a:gd name="T109" fmla="*/ 46 h 109"/>
                <a:gd name="T110" fmla="*/ 19 w 129"/>
                <a:gd name="T111" fmla="*/ 37 h 109"/>
                <a:gd name="T112" fmla="*/ 11 w 129"/>
                <a:gd name="T113" fmla="*/ 37 h 109"/>
                <a:gd name="T114" fmla="*/ 6 w 129"/>
                <a:gd name="T115" fmla="*/ 35 h 109"/>
                <a:gd name="T116" fmla="*/ 2 w 129"/>
                <a:gd name="T117" fmla="*/ 29 h 109"/>
                <a:gd name="T118" fmla="*/ 0 w 129"/>
                <a:gd name="T119" fmla="*/ 22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29" h="109">
                  <a:moveTo>
                    <a:pt x="1" y="18"/>
                  </a:moveTo>
                  <a:cubicBezTo>
                    <a:pt x="1" y="18"/>
                    <a:pt x="21" y="6"/>
                    <a:pt x="21" y="6"/>
                  </a:cubicBezTo>
                  <a:cubicBezTo>
                    <a:pt x="27" y="5"/>
                    <a:pt x="27" y="5"/>
                    <a:pt x="27" y="5"/>
                  </a:cubicBezTo>
                  <a:cubicBezTo>
                    <a:pt x="30" y="5"/>
                    <a:pt x="30" y="5"/>
                    <a:pt x="30" y="5"/>
                  </a:cubicBezTo>
                  <a:cubicBezTo>
                    <a:pt x="31" y="4"/>
                    <a:pt x="31" y="4"/>
                    <a:pt x="31" y="4"/>
                  </a:cubicBezTo>
                  <a:cubicBezTo>
                    <a:pt x="31" y="4"/>
                    <a:pt x="32" y="7"/>
                    <a:pt x="33" y="7"/>
                  </a:cubicBezTo>
                  <a:cubicBezTo>
                    <a:pt x="33" y="7"/>
                    <a:pt x="35" y="9"/>
                    <a:pt x="35" y="8"/>
                  </a:cubicBezTo>
                  <a:cubicBezTo>
                    <a:pt x="36" y="7"/>
                    <a:pt x="36" y="6"/>
                    <a:pt x="37" y="6"/>
                  </a:cubicBezTo>
                  <a:cubicBezTo>
                    <a:pt x="37" y="5"/>
                    <a:pt x="38" y="4"/>
                    <a:pt x="40" y="5"/>
                  </a:cubicBezTo>
                  <a:cubicBezTo>
                    <a:pt x="41" y="6"/>
                    <a:pt x="41" y="10"/>
                    <a:pt x="41" y="10"/>
                  </a:cubicBezTo>
                  <a:cubicBezTo>
                    <a:pt x="49" y="12"/>
                    <a:pt x="44" y="13"/>
                    <a:pt x="55" y="10"/>
                  </a:cubicBezTo>
                  <a:cubicBezTo>
                    <a:pt x="55" y="10"/>
                    <a:pt x="57" y="8"/>
                    <a:pt x="57" y="8"/>
                  </a:cubicBezTo>
                  <a:cubicBezTo>
                    <a:pt x="57" y="7"/>
                    <a:pt x="56" y="5"/>
                    <a:pt x="58" y="6"/>
                  </a:cubicBezTo>
                  <a:cubicBezTo>
                    <a:pt x="59" y="7"/>
                    <a:pt x="60" y="7"/>
                    <a:pt x="61" y="7"/>
                  </a:cubicBezTo>
                  <a:cubicBezTo>
                    <a:pt x="62" y="7"/>
                    <a:pt x="64" y="7"/>
                    <a:pt x="64" y="7"/>
                  </a:cubicBezTo>
                  <a:cubicBezTo>
                    <a:pt x="64" y="7"/>
                    <a:pt x="65" y="6"/>
                    <a:pt x="64" y="5"/>
                  </a:cubicBezTo>
                  <a:cubicBezTo>
                    <a:pt x="64" y="4"/>
                    <a:pt x="63" y="3"/>
                    <a:pt x="64" y="3"/>
                  </a:cubicBezTo>
                  <a:cubicBezTo>
                    <a:pt x="64" y="2"/>
                    <a:pt x="66" y="1"/>
                    <a:pt x="66" y="1"/>
                  </a:cubicBezTo>
                  <a:cubicBezTo>
                    <a:pt x="66" y="1"/>
                    <a:pt x="67" y="1"/>
                    <a:pt x="67" y="2"/>
                  </a:cubicBezTo>
                  <a:cubicBezTo>
                    <a:pt x="68" y="3"/>
                    <a:pt x="68" y="3"/>
                    <a:pt x="68" y="4"/>
                  </a:cubicBezTo>
                  <a:cubicBezTo>
                    <a:pt x="69" y="4"/>
                    <a:pt x="69" y="5"/>
                    <a:pt x="70" y="5"/>
                  </a:cubicBezTo>
                  <a:cubicBezTo>
                    <a:pt x="72" y="5"/>
                    <a:pt x="72" y="5"/>
                    <a:pt x="73" y="4"/>
                  </a:cubicBezTo>
                  <a:cubicBezTo>
                    <a:pt x="74" y="3"/>
                    <a:pt x="74" y="3"/>
                    <a:pt x="75" y="2"/>
                  </a:cubicBezTo>
                  <a:cubicBezTo>
                    <a:pt x="76" y="0"/>
                    <a:pt x="76" y="0"/>
                    <a:pt x="77" y="1"/>
                  </a:cubicBezTo>
                  <a:cubicBezTo>
                    <a:pt x="78" y="1"/>
                    <a:pt x="80" y="2"/>
                    <a:pt x="80" y="2"/>
                  </a:cubicBezTo>
                  <a:cubicBezTo>
                    <a:pt x="78" y="4"/>
                    <a:pt x="78" y="4"/>
                    <a:pt x="78" y="4"/>
                  </a:cubicBezTo>
                  <a:cubicBezTo>
                    <a:pt x="78" y="4"/>
                    <a:pt x="77" y="4"/>
                    <a:pt x="79" y="5"/>
                  </a:cubicBezTo>
                  <a:cubicBezTo>
                    <a:pt x="82" y="6"/>
                    <a:pt x="83" y="6"/>
                    <a:pt x="83" y="6"/>
                  </a:cubicBezTo>
                  <a:cubicBezTo>
                    <a:pt x="85" y="3"/>
                    <a:pt x="85" y="3"/>
                    <a:pt x="85" y="3"/>
                  </a:cubicBezTo>
                  <a:cubicBezTo>
                    <a:pt x="85" y="3"/>
                    <a:pt x="85" y="1"/>
                    <a:pt x="86" y="3"/>
                  </a:cubicBezTo>
                  <a:cubicBezTo>
                    <a:pt x="86" y="4"/>
                    <a:pt x="87" y="6"/>
                    <a:pt x="87" y="6"/>
                  </a:cubicBezTo>
                  <a:cubicBezTo>
                    <a:pt x="87" y="6"/>
                    <a:pt x="87" y="9"/>
                    <a:pt x="88" y="9"/>
                  </a:cubicBezTo>
                  <a:cubicBezTo>
                    <a:pt x="89" y="9"/>
                    <a:pt x="89" y="8"/>
                    <a:pt x="89" y="9"/>
                  </a:cubicBezTo>
                  <a:cubicBezTo>
                    <a:pt x="89" y="10"/>
                    <a:pt x="88" y="10"/>
                    <a:pt x="89" y="10"/>
                  </a:cubicBezTo>
                  <a:cubicBezTo>
                    <a:pt x="89" y="11"/>
                    <a:pt x="91" y="11"/>
                    <a:pt x="91" y="11"/>
                  </a:cubicBezTo>
                  <a:cubicBezTo>
                    <a:pt x="91" y="11"/>
                    <a:pt x="92" y="11"/>
                    <a:pt x="92" y="12"/>
                  </a:cubicBezTo>
                  <a:cubicBezTo>
                    <a:pt x="92" y="13"/>
                    <a:pt x="92" y="14"/>
                    <a:pt x="92" y="14"/>
                  </a:cubicBezTo>
                  <a:cubicBezTo>
                    <a:pt x="92" y="14"/>
                    <a:pt x="95" y="14"/>
                    <a:pt x="95" y="14"/>
                  </a:cubicBezTo>
                  <a:cubicBezTo>
                    <a:pt x="96" y="14"/>
                    <a:pt x="97" y="15"/>
                    <a:pt x="98" y="15"/>
                  </a:cubicBezTo>
                  <a:cubicBezTo>
                    <a:pt x="99" y="14"/>
                    <a:pt x="100" y="13"/>
                    <a:pt x="100" y="13"/>
                  </a:cubicBezTo>
                  <a:cubicBezTo>
                    <a:pt x="100" y="14"/>
                    <a:pt x="102" y="14"/>
                    <a:pt x="102" y="15"/>
                  </a:cubicBezTo>
                  <a:cubicBezTo>
                    <a:pt x="101" y="17"/>
                    <a:pt x="100" y="17"/>
                    <a:pt x="102" y="18"/>
                  </a:cubicBezTo>
                  <a:cubicBezTo>
                    <a:pt x="104" y="18"/>
                    <a:pt x="106" y="19"/>
                    <a:pt x="107" y="19"/>
                  </a:cubicBezTo>
                  <a:cubicBezTo>
                    <a:pt x="108" y="20"/>
                    <a:pt x="111" y="21"/>
                    <a:pt x="111" y="21"/>
                  </a:cubicBezTo>
                  <a:cubicBezTo>
                    <a:pt x="112" y="21"/>
                    <a:pt x="113" y="21"/>
                    <a:pt x="113" y="22"/>
                  </a:cubicBezTo>
                  <a:cubicBezTo>
                    <a:pt x="113" y="23"/>
                    <a:pt x="111" y="25"/>
                    <a:pt x="111" y="25"/>
                  </a:cubicBezTo>
                  <a:cubicBezTo>
                    <a:pt x="111" y="25"/>
                    <a:pt x="110" y="26"/>
                    <a:pt x="110" y="27"/>
                  </a:cubicBezTo>
                  <a:cubicBezTo>
                    <a:pt x="110" y="27"/>
                    <a:pt x="109" y="30"/>
                    <a:pt x="109" y="30"/>
                  </a:cubicBezTo>
                  <a:cubicBezTo>
                    <a:pt x="108" y="31"/>
                    <a:pt x="107" y="33"/>
                    <a:pt x="107" y="33"/>
                  </a:cubicBezTo>
                  <a:cubicBezTo>
                    <a:pt x="107" y="33"/>
                    <a:pt x="106" y="35"/>
                    <a:pt x="105" y="35"/>
                  </a:cubicBezTo>
                  <a:cubicBezTo>
                    <a:pt x="105" y="35"/>
                    <a:pt x="104" y="36"/>
                    <a:pt x="104" y="36"/>
                  </a:cubicBezTo>
                  <a:cubicBezTo>
                    <a:pt x="104" y="37"/>
                    <a:pt x="104" y="39"/>
                    <a:pt x="104" y="39"/>
                  </a:cubicBezTo>
                  <a:cubicBezTo>
                    <a:pt x="105" y="41"/>
                    <a:pt x="105" y="41"/>
                    <a:pt x="105" y="41"/>
                  </a:cubicBezTo>
                  <a:cubicBezTo>
                    <a:pt x="105" y="43"/>
                    <a:pt x="105" y="43"/>
                    <a:pt x="105" y="43"/>
                  </a:cubicBezTo>
                  <a:cubicBezTo>
                    <a:pt x="109" y="42"/>
                    <a:pt x="109" y="42"/>
                    <a:pt x="109" y="42"/>
                  </a:cubicBezTo>
                  <a:cubicBezTo>
                    <a:pt x="109" y="42"/>
                    <a:pt x="109" y="42"/>
                    <a:pt x="110" y="43"/>
                  </a:cubicBezTo>
                  <a:cubicBezTo>
                    <a:pt x="112" y="43"/>
                    <a:pt x="113" y="42"/>
                    <a:pt x="114" y="42"/>
                  </a:cubicBezTo>
                  <a:cubicBezTo>
                    <a:pt x="114" y="42"/>
                    <a:pt x="116" y="44"/>
                    <a:pt x="116" y="44"/>
                  </a:cubicBezTo>
                  <a:cubicBezTo>
                    <a:pt x="116" y="44"/>
                    <a:pt x="117" y="45"/>
                    <a:pt x="117" y="45"/>
                  </a:cubicBezTo>
                  <a:cubicBezTo>
                    <a:pt x="118" y="45"/>
                    <a:pt x="120" y="46"/>
                    <a:pt x="120" y="46"/>
                  </a:cubicBezTo>
                  <a:cubicBezTo>
                    <a:pt x="120" y="49"/>
                    <a:pt x="120" y="49"/>
                    <a:pt x="120" y="49"/>
                  </a:cubicBezTo>
                  <a:cubicBezTo>
                    <a:pt x="120" y="49"/>
                    <a:pt x="122" y="49"/>
                    <a:pt x="122" y="49"/>
                  </a:cubicBezTo>
                  <a:cubicBezTo>
                    <a:pt x="123" y="49"/>
                    <a:pt x="124" y="50"/>
                    <a:pt x="124" y="50"/>
                  </a:cubicBezTo>
                  <a:cubicBezTo>
                    <a:pt x="124" y="50"/>
                    <a:pt x="124" y="53"/>
                    <a:pt x="123" y="53"/>
                  </a:cubicBezTo>
                  <a:cubicBezTo>
                    <a:pt x="123" y="54"/>
                    <a:pt x="122" y="55"/>
                    <a:pt x="122" y="55"/>
                  </a:cubicBezTo>
                  <a:cubicBezTo>
                    <a:pt x="122" y="55"/>
                    <a:pt x="123" y="57"/>
                    <a:pt x="124" y="57"/>
                  </a:cubicBezTo>
                  <a:cubicBezTo>
                    <a:pt x="124" y="57"/>
                    <a:pt x="126" y="57"/>
                    <a:pt x="126" y="57"/>
                  </a:cubicBezTo>
                  <a:cubicBezTo>
                    <a:pt x="127" y="57"/>
                    <a:pt x="128" y="59"/>
                    <a:pt x="128" y="59"/>
                  </a:cubicBezTo>
                  <a:cubicBezTo>
                    <a:pt x="128" y="59"/>
                    <a:pt x="129" y="60"/>
                    <a:pt x="129" y="61"/>
                  </a:cubicBezTo>
                  <a:cubicBezTo>
                    <a:pt x="129" y="62"/>
                    <a:pt x="128" y="64"/>
                    <a:pt x="128" y="64"/>
                  </a:cubicBezTo>
                  <a:cubicBezTo>
                    <a:pt x="128" y="64"/>
                    <a:pt x="128" y="65"/>
                    <a:pt x="128" y="66"/>
                  </a:cubicBezTo>
                  <a:cubicBezTo>
                    <a:pt x="128" y="66"/>
                    <a:pt x="127" y="67"/>
                    <a:pt x="127" y="67"/>
                  </a:cubicBezTo>
                  <a:cubicBezTo>
                    <a:pt x="125" y="67"/>
                    <a:pt x="125" y="67"/>
                    <a:pt x="125" y="67"/>
                  </a:cubicBezTo>
                  <a:cubicBezTo>
                    <a:pt x="125" y="67"/>
                    <a:pt x="125" y="70"/>
                    <a:pt x="124" y="70"/>
                  </a:cubicBezTo>
                  <a:cubicBezTo>
                    <a:pt x="124" y="70"/>
                    <a:pt x="123" y="70"/>
                    <a:pt x="123" y="70"/>
                  </a:cubicBezTo>
                  <a:cubicBezTo>
                    <a:pt x="122" y="70"/>
                    <a:pt x="121" y="71"/>
                    <a:pt x="121" y="71"/>
                  </a:cubicBezTo>
                  <a:cubicBezTo>
                    <a:pt x="121" y="72"/>
                    <a:pt x="121" y="72"/>
                    <a:pt x="121" y="72"/>
                  </a:cubicBezTo>
                  <a:cubicBezTo>
                    <a:pt x="120" y="74"/>
                    <a:pt x="120" y="74"/>
                    <a:pt x="120" y="74"/>
                  </a:cubicBezTo>
                  <a:cubicBezTo>
                    <a:pt x="120" y="74"/>
                    <a:pt x="120" y="74"/>
                    <a:pt x="119" y="74"/>
                  </a:cubicBezTo>
                  <a:cubicBezTo>
                    <a:pt x="119" y="74"/>
                    <a:pt x="119" y="74"/>
                    <a:pt x="118" y="74"/>
                  </a:cubicBezTo>
                  <a:cubicBezTo>
                    <a:pt x="118" y="75"/>
                    <a:pt x="117" y="75"/>
                    <a:pt x="117" y="75"/>
                  </a:cubicBezTo>
                  <a:cubicBezTo>
                    <a:pt x="117" y="75"/>
                    <a:pt x="116" y="74"/>
                    <a:pt x="115" y="74"/>
                  </a:cubicBezTo>
                  <a:cubicBezTo>
                    <a:pt x="115" y="74"/>
                    <a:pt x="114" y="74"/>
                    <a:pt x="114" y="75"/>
                  </a:cubicBezTo>
                  <a:cubicBezTo>
                    <a:pt x="113" y="76"/>
                    <a:pt x="113" y="77"/>
                    <a:pt x="112" y="77"/>
                  </a:cubicBezTo>
                  <a:cubicBezTo>
                    <a:pt x="112" y="77"/>
                    <a:pt x="111" y="78"/>
                    <a:pt x="111" y="78"/>
                  </a:cubicBezTo>
                  <a:cubicBezTo>
                    <a:pt x="111" y="78"/>
                    <a:pt x="111" y="80"/>
                    <a:pt x="110" y="80"/>
                  </a:cubicBezTo>
                  <a:cubicBezTo>
                    <a:pt x="110" y="81"/>
                    <a:pt x="109" y="82"/>
                    <a:pt x="109" y="82"/>
                  </a:cubicBezTo>
                  <a:cubicBezTo>
                    <a:pt x="109" y="82"/>
                    <a:pt x="109" y="83"/>
                    <a:pt x="109" y="83"/>
                  </a:cubicBezTo>
                  <a:cubicBezTo>
                    <a:pt x="109" y="84"/>
                    <a:pt x="109" y="85"/>
                    <a:pt x="108" y="86"/>
                  </a:cubicBezTo>
                  <a:cubicBezTo>
                    <a:pt x="107" y="86"/>
                    <a:pt x="105" y="88"/>
                    <a:pt x="105" y="88"/>
                  </a:cubicBezTo>
                  <a:cubicBezTo>
                    <a:pt x="105" y="88"/>
                    <a:pt x="105" y="88"/>
                    <a:pt x="105" y="89"/>
                  </a:cubicBezTo>
                  <a:cubicBezTo>
                    <a:pt x="106" y="89"/>
                    <a:pt x="106" y="90"/>
                    <a:pt x="106" y="90"/>
                  </a:cubicBezTo>
                  <a:cubicBezTo>
                    <a:pt x="106" y="92"/>
                    <a:pt x="106" y="92"/>
                    <a:pt x="106" y="92"/>
                  </a:cubicBezTo>
                  <a:cubicBezTo>
                    <a:pt x="106" y="92"/>
                    <a:pt x="105" y="93"/>
                    <a:pt x="105" y="94"/>
                  </a:cubicBezTo>
                  <a:cubicBezTo>
                    <a:pt x="106" y="94"/>
                    <a:pt x="106" y="94"/>
                    <a:pt x="106" y="94"/>
                  </a:cubicBezTo>
                  <a:cubicBezTo>
                    <a:pt x="107" y="96"/>
                    <a:pt x="107" y="96"/>
                    <a:pt x="107" y="96"/>
                  </a:cubicBezTo>
                  <a:cubicBezTo>
                    <a:pt x="108" y="98"/>
                    <a:pt x="108" y="98"/>
                    <a:pt x="108" y="98"/>
                  </a:cubicBezTo>
                  <a:cubicBezTo>
                    <a:pt x="109" y="98"/>
                    <a:pt x="109" y="98"/>
                    <a:pt x="109" y="98"/>
                  </a:cubicBezTo>
                  <a:cubicBezTo>
                    <a:pt x="109" y="98"/>
                    <a:pt x="110" y="100"/>
                    <a:pt x="110" y="101"/>
                  </a:cubicBezTo>
                  <a:cubicBezTo>
                    <a:pt x="110" y="101"/>
                    <a:pt x="110" y="103"/>
                    <a:pt x="110" y="103"/>
                  </a:cubicBezTo>
                  <a:cubicBezTo>
                    <a:pt x="108" y="105"/>
                    <a:pt x="108" y="105"/>
                    <a:pt x="108" y="105"/>
                  </a:cubicBezTo>
                  <a:cubicBezTo>
                    <a:pt x="107" y="107"/>
                    <a:pt x="107" y="107"/>
                    <a:pt x="107" y="107"/>
                  </a:cubicBezTo>
                  <a:cubicBezTo>
                    <a:pt x="107" y="107"/>
                    <a:pt x="106" y="107"/>
                    <a:pt x="106" y="107"/>
                  </a:cubicBezTo>
                  <a:cubicBezTo>
                    <a:pt x="105" y="107"/>
                    <a:pt x="104" y="107"/>
                    <a:pt x="104" y="107"/>
                  </a:cubicBezTo>
                  <a:cubicBezTo>
                    <a:pt x="103" y="108"/>
                    <a:pt x="103" y="108"/>
                    <a:pt x="103" y="108"/>
                  </a:cubicBezTo>
                  <a:cubicBezTo>
                    <a:pt x="101" y="108"/>
                    <a:pt x="101" y="108"/>
                    <a:pt x="101" y="108"/>
                  </a:cubicBezTo>
                  <a:cubicBezTo>
                    <a:pt x="99" y="109"/>
                    <a:pt x="99" y="109"/>
                    <a:pt x="99" y="109"/>
                  </a:cubicBezTo>
                  <a:cubicBezTo>
                    <a:pt x="96" y="109"/>
                    <a:pt x="96" y="109"/>
                    <a:pt x="96" y="109"/>
                  </a:cubicBezTo>
                  <a:cubicBezTo>
                    <a:pt x="95" y="107"/>
                    <a:pt x="95" y="107"/>
                    <a:pt x="95" y="107"/>
                  </a:cubicBezTo>
                  <a:cubicBezTo>
                    <a:pt x="94" y="105"/>
                    <a:pt x="94" y="105"/>
                    <a:pt x="94" y="105"/>
                  </a:cubicBezTo>
                  <a:cubicBezTo>
                    <a:pt x="93" y="104"/>
                    <a:pt x="93" y="104"/>
                    <a:pt x="93" y="104"/>
                  </a:cubicBezTo>
                  <a:cubicBezTo>
                    <a:pt x="92" y="104"/>
                    <a:pt x="92" y="104"/>
                    <a:pt x="92" y="104"/>
                  </a:cubicBezTo>
                  <a:cubicBezTo>
                    <a:pt x="89" y="103"/>
                    <a:pt x="89" y="103"/>
                    <a:pt x="89" y="103"/>
                  </a:cubicBezTo>
                  <a:cubicBezTo>
                    <a:pt x="90" y="101"/>
                    <a:pt x="90" y="101"/>
                    <a:pt x="90" y="101"/>
                  </a:cubicBezTo>
                  <a:cubicBezTo>
                    <a:pt x="90" y="101"/>
                    <a:pt x="89" y="99"/>
                    <a:pt x="89" y="99"/>
                  </a:cubicBezTo>
                  <a:cubicBezTo>
                    <a:pt x="88" y="99"/>
                    <a:pt x="87" y="99"/>
                    <a:pt x="87" y="99"/>
                  </a:cubicBezTo>
                  <a:cubicBezTo>
                    <a:pt x="85" y="97"/>
                    <a:pt x="85" y="97"/>
                    <a:pt x="85" y="97"/>
                  </a:cubicBezTo>
                  <a:cubicBezTo>
                    <a:pt x="85" y="97"/>
                    <a:pt x="85" y="96"/>
                    <a:pt x="84" y="95"/>
                  </a:cubicBezTo>
                  <a:cubicBezTo>
                    <a:pt x="83" y="95"/>
                    <a:pt x="83" y="94"/>
                    <a:pt x="82" y="94"/>
                  </a:cubicBezTo>
                  <a:cubicBezTo>
                    <a:pt x="81" y="94"/>
                    <a:pt x="79" y="94"/>
                    <a:pt x="79" y="94"/>
                  </a:cubicBezTo>
                  <a:cubicBezTo>
                    <a:pt x="79" y="94"/>
                    <a:pt x="78" y="92"/>
                    <a:pt x="77" y="92"/>
                  </a:cubicBezTo>
                  <a:cubicBezTo>
                    <a:pt x="77" y="92"/>
                    <a:pt x="73" y="92"/>
                    <a:pt x="73" y="92"/>
                  </a:cubicBezTo>
                  <a:cubicBezTo>
                    <a:pt x="73" y="92"/>
                    <a:pt x="74" y="89"/>
                    <a:pt x="74" y="89"/>
                  </a:cubicBezTo>
                  <a:cubicBezTo>
                    <a:pt x="74" y="88"/>
                    <a:pt x="74" y="85"/>
                    <a:pt x="74" y="85"/>
                  </a:cubicBezTo>
                  <a:cubicBezTo>
                    <a:pt x="74" y="84"/>
                    <a:pt x="74" y="84"/>
                    <a:pt x="74" y="84"/>
                  </a:cubicBezTo>
                  <a:cubicBezTo>
                    <a:pt x="74" y="84"/>
                    <a:pt x="73" y="83"/>
                    <a:pt x="74" y="81"/>
                  </a:cubicBezTo>
                  <a:cubicBezTo>
                    <a:pt x="75" y="79"/>
                    <a:pt x="74" y="80"/>
                    <a:pt x="75" y="78"/>
                  </a:cubicBezTo>
                  <a:cubicBezTo>
                    <a:pt x="76" y="75"/>
                    <a:pt x="76" y="74"/>
                    <a:pt x="76" y="74"/>
                  </a:cubicBezTo>
                  <a:cubicBezTo>
                    <a:pt x="74" y="73"/>
                    <a:pt x="74" y="73"/>
                    <a:pt x="74" y="73"/>
                  </a:cubicBezTo>
                  <a:cubicBezTo>
                    <a:pt x="74" y="73"/>
                    <a:pt x="73" y="72"/>
                    <a:pt x="72" y="73"/>
                  </a:cubicBezTo>
                  <a:cubicBezTo>
                    <a:pt x="72" y="75"/>
                    <a:pt x="71" y="75"/>
                    <a:pt x="71" y="75"/>
                  </a:cubicBezTo>
                  <a:cubicBezTo>
                    <a:pt x="69" y="78"/>
                    <a:pt x="69" y="78"/>
                    <a:pt x="69" y="78"/>
                  </a:cubicBezTo>
                  <a:cubicBezTo>
                    <a:pt x="69" y="81"/>
                    <a:pt x="69" y="81"/>
                    <a:pt x="69" y="81"/>
                  </a:cubicBezTo>
                  <a:cubicBezTo>
                    <a:pt x="69" y="81"/>
                    <a:pt x="70" y="82"/>
                    <a:pt x="67" y="82"/>
                  </a:cubicBezTo>
                  <a:cubicBezTo>
                    <a:pt x="65" y="82"/>
                    <a:pt x="63" y="82"/>
                    <a:pt x="63" y="82"/>
                  </a:cubicBezTo>
                  <a:cubicBezTo>
                    <a:pt x="63" y="82"/>
                    <a:pt x="65" y="84"/>
                    <a:pt x="63" y="84"/>
                  </a:cubicBezTo>
                  <a:cubicBezTo>
                    <a:pt x="60" y="84"/>
                    <a:pt x="57" y="84"/>
                    <a:pt x="57" y="84"/>
                  </a:cubicBezTo>
                  <a:cubicBezTo>
                    <a:pt x="55" y="82"/>
                    <a:pt x="55" y="82"/>
                    <a:pt x="55" y="82"/>
                  </a:cubicBezTo>
                  <a:cubicBezTo>
                    <a:pt x="51" y="83"/>
                    <a:pt x="51" y="83"/>
                    <a:pt x="51" y="83"/>
                  </a:cubicBezTo>
                  <a:cubicBezTo>
                    <a:pt x="51" y="83"/>
                    <a:pt x="51" y="82"/>
                    <a:pt x="51" y="80"/>
                  </a:cubicBezTo>
                  <a:cubicBezTo>
                    <a:pt x="51" y="79"/>
                    <a:pt x="50" y="77"/>
                    <a:pt x="51" y="77"/>
                  </a:cubicBezTo>
                  <a:cubicBezTo>
                    <a:pt x="52" y="77"/>
                    <a:pt x="53" y="76"/>
                    <a:pt x="53" y="76"/>
                  </a:cubicBezTo>
                  <a:cubicBezTo>
                    <a:pt x="52" y="73"/>
                    <a:pt x="52" y="73"/>
                    <a:pt x="52" y="73"/>
                  </a:cubicBezTo>
                  <a:cubicBezTo>
                    <a:pt x="52" y="73"/>
                    <a:pt x="52" y="73"/>
                    <a:pt x="52" y="73"/>
                  </a:cubicBezTo>
                  <a:cubicBezTo>
                    <a:pt x="52" y="73"/>
                    <a:pt x="51" y="73"/>
                    <a:pt x="51" y="72"/>
                  </a:cubicBezTo>
                  <a:cubicBezTo>
                    <a:pt x="51" y="71"/>
                    <a:pt x="52" y="69"/>
                    <a:pt x="52" y="69"/>
                  </a:cubicBezTo>
                  <a:cubicBezTo>
                    <a:pt x="53" y="68"/>
                    <a:pt x="53" y="66"/>
                    <a:pt x="53" y="66"/>
                  </a:cubicBezTo>
                  <a:cubicBezTo>
                    <a:pt x="52" y="66"/>
                    <a:pt x="52" y="66"/>
                    <a:pt x="52" y="66"/>
                  </a:cubicBezTo>
                  <a:cubicBezTo>
                    <a:pt x="52" y="66"/>
                    <a:pt x="50" y="67"/>
                    <a:pt x="50" y="65"/>
                  </a:cubicBezTo>
                  <a:cubicBezTo>
                    <a:pt x="50" y="64"/>
                    <a:pt x="49" y="62"/>
                    <a:pt x="49" y="62"/>
                  </a:cubicBezTo>
                  <a:cubicBezTo>
                    <a:pt x="49" y="62"/>
                    <a:pt x="47" y="61"/>
                    <a:pt x="47" y="61"/>
                  </a:cubicBezTo>
                  <a:cubicBezTo>
                    <a:pt x="46" y="61"/>
                    <a:pt x="46" y="61"/>
                    <a:pt x="45" y="62"/>
                  </a:cubicBezTo>
                  <a:cubicBezTo>
                    <a:pt x="45" y="62"/>
                    <a:pt x="42" y="61"/>
                    <a:pt x="42" y="61"/>
                  </a:cubicBezTo>
                  <a:cubicBezTo>
                    <a:pt x="42" y="61"/>
                    <a:pt x="39" y="61"/>
                    <a:pt x="39" y="61"/>
                  </a:cubicBezTo>
                  <a:cubicBezTo>
                    <a:pt x="38" y="61"/>
                    <a:pt x="37" y="63"/>
                    <a:pt x="37" y="63"/>
                  </a:cubicBezTo>
                  <a:cubicBezTo>
                    <a:pt x="35" y="60"/>
                    <a:pt x="35" y="60"/>
                    <a:pt x="35" y="60"/>
                  </a:cubicBezTo>
                  <a:cubicBezTo>
                    <a:pt x="36" y="57"/>
                    <a:pt x="36" y="57"/>
                    <a:pt x="36" y="57"/>
                  </a:cubicBezTo>
                  <a:cubicBezTo>
                    <a:pt x="36" y="57"/>
                    <a:pt x="34" y="55"/>
                    <a:pt x="34" y="54"/>
                  </a:cubicBezTo>
                  <a:cubicBezTo>
                    <a:pt x="34" y="54"/>
                    <a:pt x="33" y="52"/>
                    <a:pt x="33" y="52"/>
                  </a:cubicBezTo>
                  <a:cubicBezTo>
                    <a:pt x="31" y="52"/>
                    <a:pt x="31" y="52"/>
                    <a:pt x="31" y="52"/>
                  </a:cubicBezTo>
                  <a:cubicBezTo>
                    <a:pt x="30" y="51"/>
                    <a:pt x="30" y="51"/>
                    <a:pt x="30" y="51"/>
                  </a:cubicBezTo>
                  <a:cubicBezTo>
                    <a:pt x="30" y="51"/>
                    <a:pt x="28" y="51"/>
                    <a:pt x="27" y="51"/>
                  </a:cubicBezTo>
                  <a:cubicBezTo>
                    <a:pt x="26" y="51"/>
                    <a:pt x="26" y="51"/>
                    <a:pt x="25" y="51"/>
                  </a:cubicBezTo>
                  <a:cubicBezTo>
                    <a:pt x="25" y="51"/>
                    <a:pt x="23" y="49"/>
                    <a:pt x="23" y="49"/>
                  </a:cubicBezTo>
                  <a:cubicBezTo>
                    <a:pt x="23" y="48"/>
                    <a:pt x="23" y="47"/>
                    <a:pt x="23" y="46"/>
                  </a:cubicBezTo>
                  <a:cubicBezTo>
                    <a:pt x="22" y="45"/>
                    <a:pt x="21" y="43"/>
                    <a:pt x="21" y="42"/>
                  </a:cubicBezTo>
                  <a:cubicBezTo>
                    <a:pt x="21" y="42"/>
                    <a:pt x="22" y="40"/>
                    <a:pt x="22" y="40"/>
                  </a:cubicBezTo>
                  <a:cubicBezTo>
                    <a:pt x="21" y="39"/>
                    <a:pt x="19" y="37"/>
                    <a:pt x="19" y="37"/>
                  </a:cubicBezTo>
                  <a:cubicBezTo>
                    <a:pt x="18" y="35"/>
                    <a:pt x="18" y="35"/>
                    <a:pt x="18" y="35"/>
                  </a:cubicBezTo>
                  <a:cubicBezTo>
                    <a:pt x="18" y="35"/>
                    <a:pt x="15" y="37"/>
                    <a:pt x="14" y="37"/>
                  </a:cubicBezTo>
                  <a:cubicBezTo>
                    <a:pt x="13" y="37"/>
                    <a:pt x="11" y="36"/>
                    <a:pt x="11" y="37"/>
                  </a:cubicBezTo>
                  <a:cubicBezTo>
                    <a:pt x="11" y="37"/>
                    <a:pt x="12" y="39"/>
                    <a:pt x="11" y="39"/>
                  </a:cubicBezTo>
                  <a:cubicBezTo>
                    <a:pt x="10" y="39"/>
                    <a:pt x="8" y="39"/>
                    <a:pt x="7" y="38"/>
                  </a:cubicBezTo>
                  <a:cubicBezTo>
                    <a:pt x="6" y="37"/>
                    <a:pt x="6" y="36"/>
                    <a:pt x="6" y="35"/>
                  </a:cubicBezTo>
                  <a:cubicBezTo>
                    <a:pt x="5" y="35"/>
                    <a:pt x="5" y="33"/>
                    <a:pt x="4" y="33"/>
                  </a:cubicBezTo>
                  <a:cubicBezTo>
                    <a:pt x="3" y="33"/>
                    <a:pt x="2" y="33"/>
                    <a:pt x="2" y="32"/>
                  </a:cubicBezTo>
                  <a:cubicBezTo>
                    <a:pt x="2" y="32"/>
                    <a:pt x="2" y="29"/>
                    <a:pt x="2" y="29"/>
                  </a:cubicBezTo>
                  <a:cubicBezTo>
                    <a:pt x="2" y="27"/>
                    <a:pt x="2" y="27"/>
                    <a:pt x="2" y="27"/>
                  </a:cubicBezTo>
                  <a:cubicBezTo>
                    <a:pt x="2" y="27"/>
                    <a:pt x="2" y="24"/>
                    <a:pt x="1" y="24"/>
                  </a:cubicBezTo>
                  <a:cubicBezTo>
                    <a:pt x="1" y="23"/>
                    <a:pt x="0" y="22"/>
                    <a:pt x="0" y="22"/>
                  </a:cubicBezTo>
                  <a:cubicBezTo>
                    <a:pt x="0" y="19"/>
                    <a:pt x="0" y="19"/>
                    <a:pt x="0" y="19"/>
                  </a:cubicBezTo>
                  <a:lnTo>
                    <a:pt x="1" y="18"/>
                  </a:lnTo>
                  <a:close/>
                </a:path>
              </a:pathLst>
            </a:custGeom>
            <a:solidFill>
              <a:srgbClr val="E6EFF1"/>
            </a:solidFill>
            <a:ln w="12700" cap="rnd" cmpd="sng">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Lato Light"/>
              </a:endParaRPr>
            </a:p>
          </p:txBody>
        </p:sp>
        <p:sp>
          <p:nvSpPr>
            <p:cNvPr id="27" name="Freeform 31">
              <a:extLst>
                <a:ext uri="{FF2B5EF4-FFF2-40B4-BE49-F238E27FC236}">
                  <a16:creationId xmlns:a16="http://schemas.microsoft.com/office/drawing/2014/main" id="{CED501BF-9EDB-0BCB-7D33-16955D373FF7}"/>
                </a:ext>
              </a:extLst>
            </p:cNvPr>
            <p:cNvSpPr>
              <a:spLocks/>
            </p:cNvSpPr>
            <p:nvPr/>
          </p:nvSpPr>
          <p:spPr bwMode="auto">
            <a:xfrm>
              <a:off x="4134948" y="3914346"/>
              <a:ext cx="691825" cy="371656"/>
            </a:xfrm>
            <a:custGeom>
              <a:avLst/>
              <a:gdLst>
                <a:gd name="T0" fmla="*/ 56 w 240"/>
                <a:gd name="T1" fmla="*/ 20 h 133"/>
                <a:gd name="T2" fmla="*/ 62 w 240"/>
                <a:gd name="T3" fmla="*/ 12 h 133"/>
                <a:gd name="T4" fmla="*/ 73 w 240"/>
                <a:gd name="T5" fmla="*/ 5 h 133"/>
                <a:gd name="T6" fmla="*/ 85 w 240"/>
                <a:gd name="T7" fmla="*/ 3 h 133"/>
                <a:gd name="T8" fmla="*/ 87 w 240"/>
                <a:gd name="T9" fmla="*/ 11 h 133"/>
                <a:gd name="T10" fmla="*/ 93 w 240"/>
                <a:gd name="T11" fmla="*/ 10 h 133"/>
                <a:gd name="T12" fmla="*/ 99 w 240"/>
                <a:gd name="T13" fmla="*/ 6 h 133"/>
                <a:gd name="T14" fmla="*/ 103 w 240"/>
                <a:gd name="T15" fmla="*/ 3 h 133"/>
                <a:gd name="T16" fmla="*/ 110 w 240"/>
                <a:gd name="T17" fmla="*/ 10 h 133"/>
                <a:gd name="T18" fmla="*/ 118 w 240"/>
                <a:gd name="T19" fmla="*/ 12 h 133"/>
                <a:gd name="T20" fmla="*/ 126 w 240"/>
                <a:gd name="T21" fmla="*/ 15 h 133"/>
                <a:gd name="T22" fmla="*/ 133 w 240"/>
                <a:gd name="T23" fmla="*/ 17 h 133"/>
                <a:gd name="T24" fmla="*/ 142 w 240"/>
                <a:gd name="T25" fmla="*/ 18 h 133"/>
                <a:gd name="T26" fmla="*/ 146 w 240"/>
                <a:gd name="T27" fmla="*/ 25 h 133"/>
                <a:gd name="T28" fmla="*/ 146 w 240"/>
                <a:gd name="T29" fmla="*/ 31 h 133"/>
                <a:gd name="T30" fmla="*/ 154 w 240"/>
                <a:gd name="T31" fmla="*/ 38 h 133"/>
                <a:gd name="T32" fmla="*/ 164 w 240"/>
                <a:gd name="T33" fmla="*/ 44 h 133"/>
                <a:gd name="T34" fmla="*/ 169 w 240"/>
                <a:gd name="T35" fmla="*/ 31 h 133"/>
                <a:gd name="T36" fmla="*/ 176 w 240"/>
                <a:gd name="T37" fmla="*/ 28 h 133"/>
                <a:gd name="T38" fmla="*/ 194 w 240"/>
                <a:gd name="T39" fmla="*/ 29 h 133"/>
                <a:gd name="T40" fmla="*/ 193 w 240"/>
                <a:gd name="T41" fmla="*/ 39 h 133"/>
                <a:gd name="T42" fmla="*/ 203 w 240"/>
                <a:gd name="T43" fmla="*/ 46 h 133"/>
                <a:gd name="T44" fmla="*/ 213 w 240"/>
                <a:gd name="T45" fmla="*/ 45 h 133"/>
                <a:gd name="T46" fmla="*/ 228 w 240"/>
                <a:gd name="T47" fmla="*/ 54 h 133"/>
                <a:gd name="T48" fmla="*/ 237 w 240"/>
                <a:gd name="T49" fmla="*/ 60 h 133"/>
                <a:gd name="T50" fmla="*/ 236 w 240"/>
                <a:gd name="T51" fmla="*/ 68 h 133"/>
                <a:gd name="T52" fmla="*/ 229 w 240"/>
                <a:gd name="T53" fmla="*/ 70 h 133"/>
                <a:gd name="T54" fmla="*/ 223 w 240"/>
                <a:gd name="T55" fmla="*/ 78 h 133"/>
                <a:gd name="T56" fmla="*/ 216 w 240"/>
                <a:gd name="T57" fmla="*/ 85 h 133"/>
                <a:gd name="T58" fmla="*/ 215 w 240"/>
                <a:gd name="T59" fmla="*/ 97 h 133"/>
                <a:gd name="T60" fmla="*/ 208 w 240"/>
                <a:gd name="T61" fmla="*/ 104 h 133"/>
                <a:gd name="T62" fmla="*/ 203 w 240"/>
                <a:gd name="T63" fmla="*/ 109 h 133"/>
                <a:gd name="T64" fmla="*/ 198 w 240"/>
                <a:gd name="T65" fmla="*/ 111 h 133"/>
                <a:gd name="T66" fmla="*/ 193 w 240"/>
                <a:gd name="T67" fmla="*/ 111 h 133"/>
                <a:gd name="T68" fmla="*/ 189 w 240"/>
                <a:gd name="T69" fmla="*/ 110 h 133"/>
                <a:gd name="T70" fmla="*/ 184 w 240"/>
                <a:gd name="T71" fmla="*/ 111 h 133"/>
                <a:gd name="T72" fmla="*/ 181 w 240"/>
                <a:gd name="T73" fmla="*/ 115 h 133"/>
                <a:gd name="T74" fmla="*/ 179 w 240"/>
                <a:gd name="T75" fmla="*/ 121 h 133"/>
                <a:gd name="T76" fmla="*/ 177 w 240"/>
                <a:gd name="T77" fmla="*/ 123 h 133"/>
                <a:gd name="T78" fmla="*/ 163 w 240"/>
                <a:gd name="T79" fmla="*/ 115 h 133"/>
                <a:gd name="T80" fmla="*/ 147 w 240"/>
                <a:gd name="T81" fmla="*/ 118 h 133"/>
                <a:gd name="T82" fmla="*/ 134 w 240"/>
                <a:gd name="T83" fmla="*/ 112 h 133"/>
                <a:gd name="T84" fmla="*/ 119 w 240"/>
                <a:gd name="T85" fmla="*/ 110 h 133"/>
                <a:gd name="T86" fmla="*/ 106 w 240"/>
                <a:gd name="T87" fmla="*/ 108 h 133"/>
                <a:gd name="T88" fmla="*/ 104 w 240"/>
                <a:gd name="T89" fmla="*/ 121 h 133"/>
                <a:gd name="T90" fmla="*/ 97 w 240"/>
                <a:gd name="T91" fmla="*/ 131 h 133"/>
                <a:gd name="T92" fmla="*/ 86 w 240"/>
                <a:gd name="T93" fmla="*/ 131 h 133"/>
                <a:gd name="T94" fmla="*/ 74 w 240"/>
                <a:gd name="T95" fmla="*/ 131 h 133"/>
                <a:gd name="T96" fmla="*/ 63 w 240"/>
                <a:gd name="T97" fmla="*/ 122 h 133"/>
                <a:gd name="T98" fmla="*/ 55 w 240"/>
                <a:gd name="T99" fmla="*/ 114 h 133"/>
                <a:gd name="T100" fmla="*/ 45 w 240"/>
                <a:gd name="T101" fmla="*/ 107 h 133"/>
                <a:gd name="T102" fmla="*/ 39 w 240"/>
                <a:gd name="T103" fmla="*/ 100 h 133"/>
                <a:gd name="T104" fmla="*/ 24 w 240"/>
                <a:gd name="T105" fmla="*/ 93 h 133"/>
                <a:gd name="T106" fmla="*/ 17 w 240"/>
                <a:gd name="T107" fmla="*/ 79 h 133"/>
                <a:gd name="T108" fmla="*/ 16 w 240"/>
                <a:gd name="T109" fmla="*/ 66 h 133"/>
                <a:gd name="T110" fmla="*/ 4 w 240"/>
                <a:gd name="T111" fmla="*/ 55 h 133"/>
                <a:gd name="T112" fmla="*/ 5 w 240"/>
                <a:gd name="T113" fmla="*/ 44 h 133"/>
                <a:gd name="T114" fmla="*/ 10 w 240"/>
                <a:gd name="T115" fmla="*/ 45 h 133"/>
                <a:gd name="T116" fmla="*/ 23 w 240"/>
                <a:gd name="T117" fmla="*/ 38 h 133"/>
                <a:gd name="T118" fmla="*/ 35 w 240"/>
                <a:gd name="T119" fmla="*/ 32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40" h="133">
                  <a:moveTo>
                    <a:pt x="43" y="27"/>
                  </a:moveTo>
                  <a:cubicBezTo>
                    <a:pt x="44" y="27"/>
                    <a:pt x="50" y="22"/>
                    <a:pt x="50" y="22"/>
                  </a:cubicBezTo>
                  <a:cubicBezTo>
                    <a:pt x="56" y="20"/>
                    <a:pt x="56" y="20"/>
                    <a:pt x="56" y="20"/>
                  </a:cubicBezTo>
                  <a:cubicBezTo>
                    <a:pt x="58" y="18"/>
                    <a:pt x="58" y="18"/>
                    <a:pt x="58" y="18"/>
                  </a:cubicBezTo>
                  <a:cubicBezTo>
                    <a:pt x="60" y="14"/>
                    <a:pt x="60" y="14"/>
                    <a:pt x="60" y="14"/>
                  </a:cubicBezTo>
                  <a:cubicBezTo>
                    <a:pt x="60" y="14"/>
                    <a:pt x="59" y="12"/>
                    <a:pt x="62" y="12"/>
                  </a:cubicBezTo>
                  <a:cubicBezTo>
                    <a:pt x="65" y="12"/>
                    <a:pt x="74" y="10"/>
                    <a:pt x="74" y="10"/>
                  </a:cubicBezTo>
                  <a:cubicBezTo>
                    <a:pt x="75" y="8"/>
                    <a:pt x="75" y="8"/>
                    <a:pt x="75" y="8"/>
                  </a:cubicBezTo>
                  <a:cubicBezTo>
                    <a:pt x="73" y="5"/>
                    <a:pt x="73" y="5"/>
                    <a:pt x="73" y="5"/>
                  </a:cubicBezTo>
                  <a:cubicBezTo>
                    <a:pt x="73" y="5"/>
                    <a:pt x="73" y="1"/>
                    <a:pt x="73" y="1"/>
                  </a:cubicBezTo>
                  <a:cubicBezTo>
                    <a:pt x="74" y="0"/>
                    <a:pt x="78" y="0"/>
                    <a:pt x="80" y="0"/>
                  </a:cubicBezTo>
                  <a:cubicBezTo>
                    <a:pt x="82" y="1"/>
                    <a:pt x="84" y="2"/>
                    <a:pt x="85" y="3"/>
                  </a:cubicBezTo>
                  <a:cubicBezTo>
                    <a:pt x="85" y="4"/>
                    <a:pt x="85" y="3"/>
                    <a:pt x="85" y="5"/>
                  </a:cubicBezTo>
                  <a:cubicBezTo>
                    <a:pt x="85" y="7"/>
                    <a:pt x="85" y="9"/>
                    <a:pt x="85" y="9"/>
                  </a:cubicBezTo>
                  <a:cubicBezTo>
                    <a:pt x="85" y="9"/>
                    <a:pt x="86" y="10"/>
                    <a:pt x="87" y="11"/>
                  </a:cubicBezTo>
                  <a:cubicBezTo>
                    <a:pt x="89" y="11"/>
                    <a:pt x="91" y="13"/>
                    <a:pt x="91" y="12"/>
                  </a:cubicBezTo>
                  <a:cubicBezTo>
                    <a:pt x="91" y="12"/>
                    <a:pt x="92" y="11"/>
                    <a:pt x="93" y="10"/>
                  </a:cubicBezTo>
                  <a:cubicBezTo>
                    <a:pt x="93" y="10"/>
                    <a:pt x="93" y="10"/>
                    <a:pt x="93" y="10"/>
                  </a:cubicBezTo>
                  <a:cubicBezTo>
                    <a:pt x="93" y="12"/>
                    <a:pt x="94" y="11"/>
                    <a:pt x="95" y="11"/>
                  </a:cubicBezTo>
                  <a:cubicBezTo>
                    <a:pt x="96" y="11"/>
                    <a:pt x="100" y="9"/>
                    <a:pt x="100" y="9"/>
                  </a:cubicBezTo>
                  <a:cubicBezTo>
                    <a:pt x="100" y="9"/>
                    <a:pt x="99" y="6"/>
                    <a:pt x="99" y="6"/>
                  </a:cubicBezTo>
                  <a:cubicBezTo>
                    <a:pt x="99" y="5"/>
                    <a:pt x="99" y="4"/>
                    <a:pt x="99" y="3"/>
                  </a:cubicBezTo>
                  <a:cubicBezTo>
                    <a:pt x="100" y="2"/>
                    <a:pt x="100" y="2"/>
                    <a:pt x="100" y="2"/>
                  </a:cubicBezTo>
                  <a:cubicBezTo>
                    <a:pt x="101" y="2"/>
                    <a:pt x="103" y="3"/>
                    <a:pt x="103" y="3"/>
                  </a:cubicBezTo>
                  <a:cubicBezTo>
                    <a:pt x="103" y="3"/>
                    <a:pt x="105" y="4"/>
                    <a:pt x="106" y="4"/>
                  </a:cubicBezTo>
                  <a:cubicBezTo>
                    <a:pt x="108" y="4"/>
                    <a:pt x="107" y="6"/>
                    <a:pt x="107" y="6"/>
                  </a:cubicBezTo>
                  <a:cubicBezTo>
                    <a:pt x="107" y="6"/>
                    <a:pt x="108" y="9"/>
                    <a:pt x="110" y="10"/>
                  </a:cubicBezTo>
                  <a:cubicBezTo>
                    <a:pt x="112" y="11"/>
                    <a:pt x="112" y="12"/>
                    <a:pt x="112" y="13"/>
                  </a:cubicBezTo>
                  <a:cubicBezTo>
                    <a:pt x="113" y="13"/>
                    <a:pt x="115" y="13"/>
                    <a:pt x="115" y="13"/>
                  </a:cubicBezTo>
                  <a:cubicBezTo>
                    <a:pt x="118" y="12"/>
                    <a:pt x="118" y="12"/>
                    <a:pt x="118" y="12"/>
                  </a:cubicBezTo>
                  <a:cubicBezTo>
                    <a:pt x="118" y="12"/>
                    <a:pt x="120" y="13"/>
                    <a:pt x="121" y="15"/>
                  </a:cubicBezTo>
                  <a:cubicBezTo>
                    <a:pt x="121" y="16"/>
                    <a:pt x="124" y="16"/>
                    <a:pt x="125" y="15"/>
                  </a:cubicBezTo>
                  <a:cubicBezTo>
                    <a:pt x="126" y="15"/>
                    <a:pt x="126" y="15"/>
                    <a:pt x="126" y="15"/>
                  </a:cubicBezTo>
                  <a:cubicBezTo>
                    <a:pt x="127" y="16"/>
                    <a:pt x="127" y="16"/>
                    <a:pt x="127" y="16"/>
                  </a:cubicBezTo>
                  <a:cubicBezTo>
                    <a:pt x="127" y="16"/>
                    <a:pt x="129" y="20"/>
                    <a:pt x="132" y="17"/>
                  </a:cubicBezTo>
                  <a:cubicBezTo>
                    <a:pt x="135" y="14"/>
                    <a:pt x="133" y="17"/>
                    <a:pt x="133" y="17"/>
                  </a:cubicBezTo>
                  <a:cubicBezTo>
                    <a:pt x="133" y="17"/>
                    <a:pt x="135" y="20"/>
                    <a:pt x="136" y="20"/>
                  </a:cubicBezTo>
                  <a:cubicBezTo>
                    <a:pt x="138" y="20"/>
                    <a:pt x="138" y="20"/>
                    <a:pt x="138" y="20"/>
                  </a:cubicBezTo>
                  <a:cubicBezTo>
                    <a:pt x="142" y="18"/>
                    <a:pt x="142" y="18"/>
                    <a:pt x="142" y="18"/>
                  </a:cubicBezTo>
                  <a:cubicBezTo>
                    <a:pt x="145" y="17"/>
                    <a:pt x="145" y="17"/>
                    <a:pt x="145" y="17"/>
                  </a:cubicBezTo>
                  <a:cubicBezTo>
                    <a:pt x="145" y="17"/>
                    <a:pt x="148" y="17"/>
                    <a:pt x="147" y="22"/>
                  </a:cubicBezTo>
                  <a:cubicBezTo>
                    <a:pt x="147" y="26"/>
                    <a:pt x="146" y="25"/>
                    <a:pt x="146" y="25"/>
                  </a:cubicBezTo>
                  <a:cubicBezTo>
                    <a:pt x="144" y="28"/>
                    <a:pt x="144" y="28"/>
                    <a:pt x="144" y="28"/>
                  </a:cubicBezTo>
                  <a:cubicBezTo>
                    <a:pt x="144" y="31"/>
                    <a:pt x="144" y="31"/>
                    <a:pt x="144" y="31"/>
                  </a:cubicBezTo>
                  <a:cubicBezTo>
                    <a:pt x="144" y="31"/>
                    <a:pt x="145" y="31"/>
                    <a:pt x="146" y="31"/>
                  </a:cubicBezTo>
                  <a:cubicBezTo>
                    <a:pt x="147" y="31"/>
                    <a:pt x="148" y="35"/>
                    <a:pt x="148" y="35"/>
                  </a:cubicBezTo>
                  <a:cubicBezTo>
                    <a:pt x="151" y="36"/>
                    <a:pt x="151" y="36"/>
                    <a:pt x="151" y="36"/>
                  </a:cubicBezTo>
                  <a:cubicBezTo>
                    <a:pt x="151" y="36"/>
                    <a:pt x="152" y="37"/>
                    <a:pt x="154" y="38"/>
                  </a:cubicBezTo>
                  <a:cubicBezTo>
                    <a:pt x="155" y="39"/>
                    <a:pt x="156" y="41"/>
                    <a:pt x="156" y="41"/>
                  </a:cubicBezTo>
                  <a:cubicBezTo>
                    <a:pt x="156" y="41"/>
                    <a:pt x="157" y="45"/>
                    <a:pt x="158" y="46"/>
                  </a:cubicBezTo>
                  <a:cubicBezTo>
                    <a:pt x="158" y="48"/>
                    <a:pt x="164" y="44"/>
                    <a:pt x="164" y="44"/>
                  </a:cubicBezTo>
                  <a:cubicBezTo>
                    <a:pt x="165" y="39"/>
                    <a:pt x="165" y="39"/>
                    <a:pt x="165" y="39"/>
                  </a:cubicBezTo>
                  <a:cubicBezTo>
                    <a:pt x="171" y="37"/>
                    <a:pt x="171" y="37"/>
                    <a:pt x="171" y="37"/>
                  </a:cubicBezTo>
                  <a:cubicBezTo>
                    <a:pt x="169" y="31"/>
                    <a:pt x="169" y="31"/>
                    <a:pt x="169" y="31"/>
                  </a:cubicBezTo>
                  <a:cubicBezTo>
                    <a:pt x="167" y="27"/>
                    <a:pt x="167" y="27"/>
                    <a:pt x="167" y="27"/>
                  </a:cubicBezTo>
                  <a:cubicBezTo>
                    <a:pt x="167" y="27"/>
                    <a:pt x="171" y="28"/>
                    <a:pt x="172" y="27"/>
                  </a:cubicBezTo>
                  <a:cubicBezTo>
                    <a:pt x="173" y="27"/>
                    <a:pt x="176" y="28"/>
                    <a:pt x="176" y="28"/>
                  </a:cubicBezTo>
                  <a:cubicBezTo>
                    <a:pt x="187" y="33"/>
                    <a:pt x="187" y="33"/>
                    <a:pt x="187" y="33"/>
                  </a:cubicBezTo>
                  <a:cubicBezTo>
                    <a:pt x="187" y="33"/>
                    <a:pt x="190" y="32"/>
                    <a:pt x="192" y="32"/>
                  </a:cubicBezTo>
                  <a:cubicBezTo>
                    <a:pt x="194" y="31"/>
                    <a:pt x="194" y="29"/>
                    <a:pt x="194" y="29"/>
                  </a:cubicBezTo>
                  <a:cubicBezTo>
                    <a:pt x="194" y="29"/>
                    <a:pt x="195" y="30"/>
                    <a:pt x="197" y="32"/>
                  </a:cubicBezTo>
                  <a:cubicBezTo>
                    <a:pt x="198" y="35"/>
                    <a:pt x="196" y="34"/>
                    <a:pt x="196" y="35"/>
                  </a:cubicBezTo>
                  <a:cubicBezTo>
                    <a:pt x="195" y="36"/>
                    <a:pt x="193" y="39"/>
                    <a:pt x="193" y="39"/>
                  </a:cubicBezTo>
                  <a:cubicBezTo>
                    <a:pt x="193" y="39"/>
                    <a:pt x="194" y="41"/>
                    <a:pt x="196" y="41"/>
                  </a:cubicBezTo>
                  <a:cubicBezTo>
                    <a:pt x="197" y="41"/>
                    <a:pt x="196" y="42"/>
                    <a:pt x="198" y="44"/>
                  </a:cubicBezTo>
                  <a:cubicBezTo>
                    <a:pt x="199" y="45"/>
                    <a:pt x="203" y="46"/>
                    <a:pt x="203" y="46"/>
                  </a:cubicBezTo>
                  <a:cubicBezTo>
                    <a:pt x="206" y="46"/>
                    <a:pt x="206" y="46"/>
                    <a:pt x="206" y="46"/>
                  </a:cubicBezTo>
                  <a:cubicBezTo>
                    <a:pt x="209" y="43"/>
                    <a:pt x="209" y="43"/>
                    <a:pt x="209" y="43"/>
                  </a:cubicBezTo>
                  <a:cubicBezTo>
                    <a:pt x="209" y="43"/>
                    <a:pt x="212" y="44"/>
                    <a:pt x="213" y="45"/>
                  </a:cubicBezTo>
                  <a:cubicBezTo>
                    <a:pt x="214" y="46"/>
                    <a:pt x="219" y="48"/>
                    <a:pt x="219" y="48"/>
                  </a:cubicBezTo>
                  <a:cubicBezTo>
                    <a:pt x="227" y="46"/>
                    <a:pt x="227" y="46"/>
                    <a:pt x="227" y="46"/>
                  </a:cubicBezTo>
                  <a:cubicBezTo>
                    <a:pt x="228" y="54"/>
                    <a:pt x="228" y="54"/>
                    <a:pt x="228" y="54"/>
                  </a:cubicBezTo>
                  <a:cubicBezTo>
                    <a:pt x="228" y="54"/>
                    <a:pt x="230" y="54"/>
                    <a:pt x="232" y="57"/>
                  </a:cubicBezTo>
                  <a:cubicBezTo>
                    <a:pt x="234" y="59"/>
                    <a:pt x="233" y="57"/>
                    <a:pt x="233" y="57"/>
                  </a:cubicBezTo>
                  <a:cubicBezTo>
                    <a:pt x="233" y="57"/>
                    <a:pt x="237" y="59"/>
                    <a:pt x="237" y="60"/>
                  </a:cubicBezTo>
                  <a:cubicBezTo>
                    <a:pt x="237" y="62"/>
                    <a:pt x="238" y="64"/>
                    <a:pt x="238" y="64"/>
                  </a:cubicBezTo>
                  <a:cubicBezTo>
                    <a:pt x="240" y="68"/>
                    <a:pt x="240" y="68"/>
                    <a:pt x="240" y="68"/>
                  </a:cubicBezTo>
                  <a:cubicBezTo>
                    <a:pt x="239" y="68"/>
                    <a:pt x="237" y="68"/>
                    <a:pt x="236" y="68"/>
                  </a:cubicBezTo>
                  <a:cubicBezTo>
                    <a:pt x="236" y="68"/>
                    <a:pt x="235" y="69"/>
                    <a:pt x="234" y="69"/>
                  </a:cubicBezTo>
                  <a:cubicBezTo>
                    <a:pt x="233" y="69"/>
                    <a:pt x="232" y="69"/>
                    <a:pt x="232" y="69"/>
                  </a:cubicBezTo>
                  <a:cubicBezTo>
                    <a:pt x="229" y="70"/>
                    <a:pt x="229" y="70"/>
                    <a:pt x="229" y="70"/>
                  </a:cubicBezTo>
                  <a:cubicBezTo>
                    <a:pt x="227" y="72"/>
                    <a:pt x="227" y="72"/>
                    <a:pt x="227" y="72"/>
                  </a:cubicBezTo>
                  <a:cubicBezTo>
                    <a:pt x="225" y="74"/>
                    <a:pt x="225" y="74"/>
                    <a:pt x="225" y="74"/>
                  </a:cubicBezTo>
                  <a:cubicBezTo>
                    <a:pt x="223" y="78"/>
                    <a:pt x="223" y="78"/>
                    <a:pt x="223" y="78"/>
                  </a:cubicBezTo>
                  <a:cubicBezTo>
                    <a:pt x="223" y="80"/>
                    <a:pt x="223" y="80"/>
                    <a:pt x="223" y="80"/>
                  </a:cubicBezTo>
                  <a:cubicBezTo>
                    <a:pt x="220" y="83"/>
                    <a:pt x="220" y="83"/>
                    <a:pt x="220" y="83"/>
                  </a:cubicBezTo>
                  <a:cubicBezTo>
                    <a:pt x="220" y="83"/>
                    <a:pt x="217" y="85"/>
                    <a:pt x="216" y="85"/>
                  </a:cubicBezTo>
                  <a:cubicBezTo>
                    <a:pt x="215" y="85"/>
                    <a:pt x="215" y="89"/>
                    <a:pt x="215" y="89"/>
                  </a:cubicBezTo>
                  <a:cubicBezTo>
                    <a:pt x="216" y="92"/>
                    <a:pt x="216" y="92"/>
                    <a:pt x="216" y="92"/>
                  </a:cubicBezTo>
                  <a:cubicBezTo>
                    <a:pt x="215" y="97"/>
                    <a:pt x="215" y="97"/>
                    <a:pt x="215" y="97"/>
                  </a:cubicBezTo>
                  <a:cubicBezTo>
                    <a:pt x="210" y="99"/>
                    <a:pt x="210" y="99"/>
                    <a:pt x="210" y="99"/>
                  </a:cubicBezTo>
                  <a:cubicBezTo>
                    <a:pt x="209" y="102"/>
                    <a:pt x="209" y="102"/>
                    <a:pt x="209" y="102"/>
                  </a:cubicBezTo>
                  <a:cubicBezTo>
                    <a:pt x="208" y="104"/>
                    <a:pt x="208" y="104"/>
                    <a:pt x="208" y="104"/>
                  </a:cubicBezTo>
                  <a:cubicBezTo>
                    <a:pt x="208" y="104"/>
                    <a:pt x="206" y="105"/>
                    <a:pt x="206" y="105"/>
                  </a:cubicBezTo>
                  <a:cubicBezTo>
                    <a:pt x="205" y="104"/>
                    <a:pt x="205" y="107"/>
                    <a:pt x="205" y="107"/>
                  </a:cubicBezTo>
                  <a:cubicBezTo>
                    <a:pt x="203" y="109"/>
                    <a:pt x="203" y="109"/>
                    <a:pt x="203" y="109"/>
                  </a:cubicBezTo>
                  <a:cubicBezTo>
                    <a:pt x="202" y="109"/>
                    <a:pt x="202" y="109"/>
                    <a:pt x="202" y="109"/>
                  </a:cubicBezTo>
                  <a:cubicBezTo>
                    <a:pt x="200" y="110"/>
                    <a:pt x="200" y="110"/>
                    <a:pt x="200" y="110"/>
                  </a:cubicBezTo>
                  <a:cubicBezTo>
                    <a:pt x="200" y="110"/>
                    <a:pt x="199" y="111"/>
                    <a:pt x="198" y="111"/>
                  </a:cubicBezTo>
                  <a:cubicBezTo>
                    <a:pt x="198" y="112"/>
                    <a:pt x="197" y="111"/>
                    <a:pt x="197" y="111"/>
                  </a:cubicBezTo>
                  <a:cubicBezTo>
                    <a:pt x="197" y="111"/>
                    <a:pt x="195" y="110"/>
                    <a:pt x="194" y="110"/>
                  </a:cubicBezTo>
                  <a:cubicBezTo>
                    <a:pt x="194" y="110"/>
                    <a:pt x="194" y="111"/>
                    <a:pt x="193" y="111"/>
                  </a:cubicBezTo>
                  <a:cubicBezTo>
                    <a:pt x="193" y="111"/>
                    <a:pt x="193" y="111"/>
                    <a:pt x="192" y="112"/>
                  </a:cubicBezTo>
                  <a:cubicBezTo>
                    <a:pt x="192" y="112"/>
                    <a:pt x="191" y="111"/>
                    <a:pt x="190" y="111"/>
                  </a:cubicBezTo>
                  <a:cubicBezTo>
                    <a:pt x="189" y="111"/>
                    <a:pt x="189" y="110"/>
                    <a:pt x="189" y="110"/>
                  </a:cubicBezTo>
                  <a:cubicBezTo>
                    <a:pt x="188" y="110"/>
                    <a:pt x="187" y="110"/>
                    <a:pt x="187" y="110"/>
                  </a:cubicBezTo>
                  <a:cubicBezTo>
                    <a:pt x="186" y="110"/>
                    <a:pt x="185" y="110"/>
                    <a:pt x="185" y="110"/>
                  </a:cubicBezTo>
                  <a:cubicBezTo>
                    <a:pt x="185" y="110"/>
                    <a:pt x="184" y="111"/>
                    <a:pt x="184" y="111"/>
                  </a:cubicBezTo>
                  <a:cubicBezTo>
                    <a:pt x="182" y="112"/>
                    <a:pt x="182" y="112"/>
                    <a:pt x="182" y="112"/>
                  </a:cubicBezTo>
                  <a:cubicBezTo>
                    <a:pt x="182" y="112"/>
                    <a:pt x="182" y="113"/>
                    <a:pt x="182" y="114"/>
                  </a:cubicBezTo>
                  <a:cubicBezTo>
                    <a:pt x="182" y="114"/>
                    <a:pt x="182" y="115"/>
                    <a:pt x="181" y="115"/>
                  </a:cubicBezTo>
                  <a:cubicBezTo>
                    <a:pt x="181" y="115"/>
                    <a:pt x="180" y="117"/>
                    <a:pt x="180" y="117"/>
                  </a:cubicBezTo>
                  <a:cubicBezTo>
                    <a:pt x="180" y="117"/>
                    <a:pt x="180" y="120"/>
                    <a:pt x="179" y="120"/>
                  </a:cubicBezTo>
                  <a:cubicBezTo>
                    <a:pt x="179" y="120"/>
                    <a:pt x="179" y="121"/>
                    <a:pt x="179" y="121"/>
                  </a:cubicBezTo>
                  <a:cubicBezTo>
                    <a:pt x="179" y="123"/>
                    <a:pt x="179" y="123"/>
                    <a:pt x="179" y="123"/>
                  </a:cubicBezTo>
                  <a:cubicBezTo>
                    <a:pt x="179" y="124"/>
                    <a:pt x="179" y="124"/>
                    <a:pt x="179" y="124"/>
                  </a:cubicBezTo>
                  <a:cubicBezTo>
                    <a:pt x="177" y="123"/>
                    <a:pt x="177" y="123"/>
                    <a:pt x="177" y="123"/>
                  </a:cubicBezTo>
                  <a:cubicBezTo>
                    <a:pt x="175" y="117"/>
                    <a:pt x="175" y="117"/>
                    <a:pt x="175" y="117"/>
                  </a:cubicBezTo>
                  <a:cubicBezTo>
                    <a:pt x="175" y="117"/>
                    <a:pt x="172" y="118"/>
                    <a:pt x="169" y="118"/>
                  </a:cubicBezTo>
                  <a:cubicBezTo>
                    <a:pt x="166" y="117"/>
                    <a:pt x="164" y="115"/>
                    <a:pt x="163" y="115"/>
                  </a:cubicBezTo>
                  <a:cubicBezTo>
                    <a:pt x="163" y="114"/>
                    <a:pt x="159" y="115"/>
                    <a:pt x="159" y="115"/>
                  </a:cubicBezTo>
                  <a:cubicBezTo>
                    <a:pt x="158" y="119"/>
                    <a:pt x="158" y="119"/>
                    <a:pt x="158" y="119"/>
                  </a:cubicBezTo>
                  <a:cubicBezTo>
                    <a:pt x="147" y="118"/>
                    <a:pt x="147" y="118"/>
                    <a:pt x="147" y="118"/>
                  </a:cubicBezTo>
                  <a:cubicBezTo>
                    <a:pt x="143" y="116"/>
                    <a:pt x="143" y="116"/>
                    <a:pt x="143" y="116"/>
                  </a:cubicBezTo>
                  <a:cubicBezTo>
                    <a:pt x="136" y="113"/>
                    <a:pt x="136" y="113"/>
                    <a:pt x="136" y="113"/>
                  </a:cubicBezTo>
                  <a:cubicBezTo>
                    <a:pt x="134" y="112"/>
                    <a:pt x="134" y="112"/>
                    <a:pt x="134" y="112"/>
                  </a:cubicBezTo>
                  <a:cubicBezTo>
                    <a:pt x="134" y="112"/>
                    <a:pt x="130" y="112"/>
                    <a:pt x="129" y="112"/>
                  </a:cubicBezTo>
                  <a:cubicBezTo>
                    <a:pt x="128" y="112"/>
                    <a:pt x="124" y="111"/>
                    <a:pt x="124" y="111"/>
                  </a:cubicBezTo>
                  <a:cubicBezTo>
                    <a:pt x="124" y="111"/>
                    <a:pt x="120" y="110"/>
                    <a:pt x="119" y="110"/>
                  </a:cubicBezTo>
                  <a:cubicBezTo>
                    <a:pt x="118" y="110"/>
                    <a:pt x="116" y="110"/>
                    <a:pt x="116" y="110"/>
                  </a:cubicBezTo>
                  <a:cubicBezTo>
                    <a:pt x="111" y="109"/>
                    <a:pt x="111" y="109"/>
                    <a:pt x="111" y="109"/>
                  </a:cubicBezTo>
                  <a:cubicBezTo>
                    <a:pt x="111" y="109"/>
                    <a:pt x="108" y="107"/>
                    <a:pt x="106" y="108"/>
                  </a:cubicBezTo>
                  <a:cubicBezTo>
                    <a:pt x="105" y="108"/>
                    <a:pt x="106" y="111"/>
                    <a:pt x="106" y="111"/>
                  </a:cubicBezTo>
                  <a:cubicBezTo>
                    <a:pt x="106" y="111"/>
                    <a:pt x="105" y="116"/>
                    <a:pt x="106" y="117"/>
                  </a:cubicBezTo>
                  <a:cubicBezTo>
                    <a:pt x="106" y="119"/>
                    <a:pt x="104" y="121"/>
                    <a:pt x="104" y="121"/>
                  </a:cubicBezTo>
                  <a:cubicBezTo>
                    <a:pt x="101" y="122"/>
                    <a:pt x="101" y="122"/>
                    <a:pt x="101" y="122"/>
                  </a:cubicBezTo>
                  <a:cubicBezTo>
                    <a:pt x="101" y="122"/>
                    <a:pt x="99" y="125"/>
                    <a:pt x="98" y="125"/>
                  </a:cubicBezTo>
                  <a:cubicBezTo>
                    <a:pt x="97" y="125"/>
                    <a:pt x="97" y="131"/>
                    <a:pt x="97" y="131"/>
                  </a:cubicBezTo>
                  <a:cubicBezTo>
                    <a:pt x="93" y="132"/>
                    <a:pt x="93" y="132"/>
                    <a:pt x="93" y="132"/>
                  </a:cubicBezTo>
                  <a:cubicBezTo>
                    <a:pt x="89" y="129"/>
                    <a:pt x="89" y="129"/>
                    <a:pt x="89" y="129"/>
                  </a:cubicBezTo>
                  <a:cubicBezTo>
                    <a:pt x="86" y="131"/>
                    <a:pt x="86" y="131"/>
                    <a:pt x="86" y="131"/>
                  </a:cubicBezTo>
                  <a:cubicBezTo>
                    <a:pt x="85" y="133"/>
                    <a:pt x="85" y="133"/>
                    <a:pt x="85" y="133"/>
                  </a:cubicBezTo>
                  <a:cubicBezTo>
                    <a:pt x="85" y="133"/>
                    <a:pt x="80" y="132"/>
                    <a:pt x="80" y="132"/>
                  </a:cubicBezTo>
                  <a:cubicBezTo>
                    <a:pt x="79" y="132"/>
                    <a:pt x="74" y="131"/>
                    <a:pt x="74" y="131"/>
                  </a:cubicBezTo>
                  <a:cubicBezTo>
                    <a:pt x="74" y="131"/>
                    <a:pt x="71" y="128"/>
                    <a:pt x="70" y="127"/>
                  </a:cubicBezTo>
                  <a:cubicBezTo>
                    <a:pt x="69" y="126"/>
                    <a:pt x="65" y="124"/>
                    <a:pt x="64" y="123"/>
                  </a:cubicBezTo>
                  <a:cubicBezTo>
                    <a:pt x="63" y="123"/>
                    <a:pt x="63" y="122"/>
                    <a:pt x="63" y="122"/>
                  </a:cubicBezTo>
                  <a:cubicBezTo>
                    <a:pt x="61" y="120"/>
                    <a:pt x="62" y="120"/>
                    <a:pt x="60" y="119"/>
                  </a:cubicBezTo>
                  <a:cubicBezTo>
                    <a:pt x="58" y="118"/>
                    <a:pt x="56" y="118"/>
                    <a:pt x="56" y="117"/>
                  </a:cubicBezTo>
                  <a:cubicBezTo>
                    <a:pt x="56" y="116"/>
                    <a:pt x="57" y="114"/>
                    <a:pt x="55" y="114"/>
                  </a:cubicBezTo>
                  <a:cubicBezTo>
                    <a:pt x="52" y="115"/>
                    <a:pt x="51" y="116"/>
                    <a:pt x="50" y="115"/>
                  </a:cubicBezTo>
                  <a:cubicBezTo>
                    <a:pt x="48" y="113"/>
                    <a:pt x="48" y="113"/>
                    <a:pt x="47" y="111"/>
                  </a:cubicBezTo>
                  <a:cubicBezTo>
                    <a:pt x="47" y="109"/>
                    <a:pt x="47" y="107"/>
                    <a:pt x="45" y="107"/>
                  </a:cubicBezTo>
                  <a:cubicBezTo>
                    <a:pt x="43" y="107"/>
                    <a:pt x="42" y="106"/>
                    <a:pt x="42" y="106"/>
                  </a:cubicBezTo>
                  <a:cubicBezTo>
                    <a:pt x="42" y="106"/>
                    <a:pt x="41" y="107"/>
                    <a:pt x="40" y="105"/>
                  </a:cubicBezTo>
                  <a:cubicBezTo>
                    <a:pt x="39" y="102"/>
                    <a:pt x="42" y="104"/>
                    <a:pt x="39" y="100"/>
                  </a:cubicBezTo>
                  <a:cubicBezTo>
                    <a:pt x="35" y="97"/>
                    <a:pt x="36" y="98"/>
                    <a:pt x="34" y="96"/>
                  </a:cubicBezTo>
                  <a:cubicBezTo>
                    <a:pt x="32" y="94"/>
                    <a:pt x="26" y="96"/>
                    <a:pt x="26" y="96"/>
                  </a:cubicBezTo>
                  <a:cubicBezTo>
                    <a:pt x="26" y="96"/>
                    <a:pt x="26" y="95"/>
                    <a:pt x="24" y="93"/>
                  </a:cubicBezTo>
                  <a:cubicBezTo>
                    <a:pt x="22" y="91"/>
                    <a:pt x="23" y="92"/>
                    <a:pt x="21" y="90"/>
                  </a:cubicBezTo>
                  <a:cubicBezTo>
                    <a:pt x="19" y="87"/>
                    <a:pt x="19" y="88"/>
                    <a:pt x="19" y="85"/>
                  </a:cubicBezTo>
                  <a:cubicBezTo>
                    <a:pt x="18" y="82"/>
                    <a:pt x="19" y="81"/>
                    <a:pt x="17" y="79"/>
                  </a:cubicBezTo>
                  <a:cubicBezTo>
                    <a:pt x="15" y="77"/>
                    <a:pt x="14" y="75"/>
                    <a:pt x="14" y="75"/>
                  </a:cubicBezTo>
                  <a:cubicBezTo>
                    <a:pt x="14" y="75"/>
                    <a:pt x="12" y="73"/>
                    <a:pt x="14" y="70"/>
                  </a:cubicBezTo>
                  <a:cubicBezTo>
                    <a:pt x="16" y="68"/>
                    <a:pt x="16" y="68"/>
                    <a:pt x="16" y="66"/>
                  </a:cubicBezTo>
                  <a:cubicBezTo>
                    <a:pt x="16" y="65"/>
                    <a:pt x="17" y="63"/>
                    <a:pt x="14" y="61"/>
                  </a:cubicBezTo>
                  <a:cubicBezTo>
                    <a:pt x="11" y="59"/>
                    <a:pt x="11" y="59"/>
                    <a:pt x="8" y="57"/>
                  </a:cubicBezTo>
                  <a:cubicBezTo>
                    <a:pt x="6" y="56"/>
                    <a:pt x="5" y="56"/>
                    <a:pt x="4" y="55"/>
                  </a:cubicBezTo>
                  <a:cubicBezTo>
                    <a:pt x="3" y="54"/>
                    <a:pt x="1" y="47"/>
                    <a:pt x="1" y="47"/>
                  </a:cubicBezTo>
                  <a:cubicBezTo>
                    <a:pt x="0" y="44"/>
                    <a:pt x="0" y="44"/>
                    <a:pt x="0" y="44"/>
                  </a:cubicBezTo>
                  <a:cubicBezTo>
                    <a:pt x="5" y="44"/>
                    <a:pt x="5" y="44"/>
                    <a:pt x="5" y="44"/>
                  </a:cubicBezTo>
                  <a:cubicBezTo>
                    <a:pt x="6" y="48"/>
                    <a:pt x="6" y="48"/>
                    <a:pt x="6" y="48"/>
                  </a:cubicBezTo>
                  <a:cubicBezTo>
                    <a:pt x="7" y="51"/>
                    <a:pt x="7" y="51"/>
                    <a:pt x="7" y="51"/>
                  </a:cubicBezTo>
                  <a:cubicBezTo>
                    <a:pt x="10" y="45"/>
                    <a:pt x="10" y="45"/>
                    <a:pt x="10" y="45"/>
                  </a:cubicBezTo>
                  <a:cubicBezTo>
                    <a:pt x="14" y="40"/>
                    <a:pt x="14" y="40"/>
                    <a:pt x="14" y="40"/>
                  </a:cubicBezTo>
                  <a:cubicBezTo>
                    <a:pt x="14" y="40"/>
                    <a:pt x="14" y="40"/>
                    <a:pt x="17" y="40"/>
                  </a:cubicBezTo>
                  <a:cubicBezTo>
                    <a:pt x="19" y="40"/>
                    <a:pt x="22" y="38"/>
                    <a:pt x="23" y="38"/>
                  </a:cubicBezTo>
                  <a:cubicBezTo>
                    <a:pt x="25" y="38"/>
                    <a:pt x="28" y="39"/>
                    <a:pt x="29" y="39"/>
                  </a:cubicBezTo>
                  <a:cubicBezTo>
                    <a:pt x="31" y="38"/>
                    <a:pt x="32" y="38"/>
                    <a:pt x="32" y="36"/>
                  </a:cubicBezTo>
                  <a:cubicBezTo>
                    <a:pt x="33" y="35"/>
                    <a:pt x="31" y="33"/>
                    <a:pt x="35" y="32"/>
                  </a:cubicBezTo>
                  <a:cubicBezTo>
                    <a:pt x="38" y="30"/>
                    <a:pt x="39" y="30"/>
                    <a:pt x="39" y="30"/>
                  </a:cubicBezTo>
                  <a:lnTo>
                    <a:pt x="43" y="27"/>
                  </a:lnTo>
                  <a:close/>
                </a:path>
              </a:pathLst>
            </a:custGeom>
            <a:solidFill>
              <a:srgbClr val="E6EFF1"/>
            </a:solidFill>
            <a:ln w="12700" cap="rnd" cmpd="sng">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Lato Light"/>
              </a:endParaRPr>
            </a:p>
          </p:txBody>
        </p:sp>
        <p:sp>
          <p:nvSpPr>
            <p:cNvPr id="29" name="Freeform 41">
              <a:extLst>
                <a:ext uri="{FF2B5EF4-FFF2-40B4-BE49-F238E27FC236}">
                  <a16:creationId xmlns:a16="http://schemas.microsoft.com/office/drawing/2014/main" id="{CC1F7EB2-1482-DC66-E2AE-1E75093E4D85}"/>
                </a:ext>
              </a:extLst>
            </p:cNvPr>
            <p:cNvSpPr>
              <a:spLocks/>
            </p:cNvSpPr>
            <p:nvPr/>
          </p:nvSpPr>
          <p:spPr bwMode="auto">
            <a:xfrm>
              <a:off x="4869839" y="2981165"/>
              <a:ext cx="522342" cy="390508"/>
            </a:xfrm>
            <a:custGeom>
              <a:avLst/>
              <a:gdLst>
                <a:gd name="T0" fmla="*/ 24 w 181"/>
                <a:gd name="T1" fmla="*/ 22 h 140"/>
                <a:gd name="T2" fmla="*/ 34 w 181"/>
                <a:gd name="T3" fmla="*/ 20 h 140"/>
                <a:gd name="T4" fmla="*/ 48 w 181"/>
                <a:gd name="T5" fmla="*/ 17 h 140"/>
                <a:gd name="T6" fmla="*/ 55 w 181"/>
                <a:gd name="T7" fmla="*/ 16 h 140"/>
                <a:gd name="T8" fmla="*/ 62 w 181"/>
                <a:gd name="T9" fmla="*/ 15 h 140"/>
                <a:gd name="T10" fmla="*/ 73 w 181"/>
                <a:gd name="T11" fmla="*/ 13 h 140"/>
                <a:gd name="T12" fmla="*/ 81 w 181"/>
                <a:gd name="T13" fmla="*/ 13 h 140"/>
                <a:gd name="T14" fmla="*/ 92 w 181"/>
                <a:gd name="T15" fmla="*/ 15 h 140"/>
                <a:gd name="T16" fmla="*/ 101 w 181"/>
                <a:gd name="T17" fmla="*/ 12 h 140"/>
                <a:gd name="T18" fmla="*/ 105 w 181"/>
                <a:gd name="T19" fmla="*/ 3 h 140"/>
                <a:gd name="T20" fmla="*/ 112 w 181"/>
                <a:gd name="T21" fmla="*/ 6 h 140"/>
                <a:gd name="T22" fmla="*/ 117 w 181"/>
                <a:gd name="T23" fmla="*/ 10 h 140"/>
                <a:gd name="T24" fmla="*/ 128 w 181"/>
                <a:gd name="T25" fmla="*/ 11 h 140"/>
                <a:gd name="T26" fmla="*/ 135 w 181"/>
                <a:gd name="T27" fmla="*/ 10 h 140"/>
                <a:gd name="T28" fmla="*/ 139 w 181"/>
                <a:gd name="T29" fmla="*/ 14 h 140"/>
                <a:gd name="T30" fmla="*/ 146 w 181"/>
                <a:gd name="T31" fmla="*/ 17 h 140"/>
                <a:gd name="T32" fmla="*/ 153 w 181"/>
                <a:gd name="T33" fmla="*/ 22 h 140"/>
                <a:gd name="T34" fmla="*/ 158 w 181"/>
                <a:gd name="T35" fmla="*/ 27 h 140"/>
                <a:gd name="T36" fmla="*/ 167 w 181"/>
                <a:gd name="T37" fmla="*/ 28 h 140"/>
                <a:gd name="T38" fmla="*/ 170 w 181"/>
                <a:gd name="T39" fmla="*/ 28 h 140"/>
                <a:gd name="T40" fmla="*/ 172 w 181"/>
                <a:gd name="T41" fmla="*/ 37 h 140"/>
                <a:gd name="T42" fmla="*/ 170 w 181"/>
                <a:gd name="T43" fmla="*/ 47 h 140"/>
                <a:gd name="T44" fmla="*/ 180 w 181"/>
                <a:gd name="T45" fmla="*/ 47 h 140"/>
                <a:gd name="T46" fmla="*/ 177 w 181"/>
                <a:gd name="T47" fmla="*/ 53 h 140"/>
                <a:gd name="T48" fmla="*/ 170 w 181"/>
                <a:gd name="T49" fmla="*/ 57 h 140"/>
                <a:gd name="T50" fmla="*/ 167 w 181"/>
                <a:gd name="T51" fmla="*/ 67 h 140"/>
                <a:gd name="T52" fmla="*/ 157 w 181"/>
                <a:gd name="T53" fmla="*/ 74 h 140"/>
                <a:gd name="T54" fmla="*/ 156 w 181"/>
                <a:gd name="T55" fmla="*/ 82 h 140"/>
                <a:gd name="T56" fmla="*/ 158 w 181"/>
                <a:gd name="T57" fmla="*/ 95 h 140"/>
                <a:gd name="T58" fmla="*/ 157 w 181"/>
                <a:gd name="T59" fmla="*/ 104 h 140"/>
                <a:gd name="T60" fmla="*/ 164 w 181"/>
                <a:gd name="T61" fmla="*/ 107 h 140"/>
                <a:gd name="T62" fmla="*/ 157 w 181"/>
                <a:gd name="T63" fmla="*/ 114 h 140"/>
                <a:gd name="T64" fmla="*/ 156 w 181"/>
                <a:gd name="T65" fmla="*/ 108 h 140"/>
                <a:gd name="T66" fmla="*/ 146 w 181"/>
                <a:gd name="T67" fmla="*/ 113 h 140"/>
                <a:gd name="T68" fmla="*/ 144 w 181"/>
                <a:gd name="T69" fmla="*/ 119 h 140"/>
                <a:gd name="T70" fmla="*/ 136 w 181"/>
                <a:gd name="T71" fmla="*/ 121 h 140"/>
                <a:gd name="T72" fmla="*/ 133 w 181"/>
                <a:gd name="T73" fmla="*/ 128 h 140"/>
                <a:gd name="T74" fmla="*/ 122 w 181"/>
                <a:gd name="T75" fmla="*/ 134 h 140"/>
                <a:gd name="T76" fmla="*/ 106 w 181"/>
                <a:gd name="T77" fmla="*/ 137 h 140"/>
                <a:gd name="T78" fmla="*/ 97 w 181"/>
                <a:gd name="T79" fmla="*/ 140 h 140"/>
                <a:gd name="T80" fmla="*/ 93 w 181"/>
                <a:gd name="T81" fmla="*/ 131 h 140"/>
                <a:gd name="T82" fmla="*/ 79 w 181"/>
                <a:gd name="T83" fmla="*/ 124 h 140"/>
                <a:gd name="T84" fmla="*/ 73 w 181"/>
                <a:gd name="T85" fmla="*/ 121 h 140"/>
                <a:gd name="T86" fmla="*/ 69 w 181"/>
                <a:gd name="T87" fmla="*/ 121 h 140"/>
                <a:gd name="T88" fmla="*/ 66 w 181"/>
                <a:gd name="T89" fmla="*/ 107 h 140"/>
                <a:gd name="T90" fmla="*/ 68 w 181"/>
                <a:gd name="T91" fmla="*/ 97 h 140"/>
                <a:gd name="T92" fmla="*/ 61 w 181"/>
                <a:gd name="T93" fmla="*/ 90 h 140"/>
                <a:gd name="T94" fmla="*/ 56 w 181"/>
                <a:gd name="T95" fmla="*/ 86 h 140"/>
                <a:gd name="T96" fmla="*/ 45 w 181"/>
                <a:gd name="T97" fmla="*/ 89 h 140"/>
                <a:gd name="T98" fmla="*/ 31 w 181"/>
                <a:gd name="T99" fmla="*/ 90 h 140"/>
                <a:gd name="T100" fmla="*/ 22 w 181"/>
                <a:gd name="T101" fmla="*/ 86 h 140"/>
                <a:gd name="T102" fmla="*/ 13 w 181"/>
                <a:gd name="T103" fmla="*/ 79 h 140"/>
                <a:gd name="T104" fmla="*/ 11 w 181"/>
                <a:gd name="T105" fmla="*/ 69 h 140"/>
                <a:gd name="T106" fmla="*/ 4 w 181"/>
                <a:gd name="T107" fmla="*/ 60 h 140"/>
                <a:gd name="T108" fmla="*/ 1 w 181"/>
                <a:gd name="T109" fmla="*/ 49 h 140"/>
                <a:gd name="T110" fmla="*/ 1 w 181"/>
                <a:gd name="T111" fmla="*/ 42 h 140"/>
                <a:gd name="T112" fmla="*/ 7 w 181"/>
                <a:gd name="T113" fmla="*/ 35 h 140"/>
                <a:gd name="T114" fmla="*/ 12 w 181"/>
                <a:gd name="T115" fmla="*/ 31 h 140"/>
                <a:gd name="T116" fmla="*/ 18 w 181"/>
                <a:gd name="T117" fmla="*/ 26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81" h="140">
                  <a:moveTo>
                    <a:pt x="18" y="26"/>
                  </a:moveTo>
                  <a:cubicBezTo>
                    <a:pt x="24" y="22"/>
                    <a:pt x="24" y="22"/>
                    <a:pt x="24" y="22"/>
                  </a:cubicBezTo>
                  <a:cubicBezTo>
                    <a:pt x="27" y="19"/>
                    <a:pt x="27" y="19"/>
                    <a:pt x="27" y="19"/>
                  </a:cubicBezTo>
                  <a:cubicBezTo>
                    <a:pt x="34" y="20"/>
                    <a:pt x="34" y="20"/>
                    <a:pt x="34" y="20"/>
                  </a:cubicBezTo>
                  <a:cubicBezTo>
                    <a:pt x="34" y="20"/>
                    <a:pt x="39" y="18"/>
                    <a:pt x="40" y="18"/>
                  </a:cubicBezTo>
                  <a:cubicBezTo>
                    <a:pt x="41" y="18"/>
                    <a:pt x="48" y="17"/>
                    <a:pt x="48" y="17"/>
                  </a:cubicBezTo>
                  <a:cubicBezTo>
                    <a:pt x="52" y="14"/>
                    <a:pt x="52" y="14"/>
                    <a:pt x="52" y="14"/>
                  </a:cubicBezTo>
                  <a:cubicBezTo>
                    <a:pt x="52" y="14"/>
                    <a:pt x="55" y="15"/>
                    <a:pt x="55" y="16"/>
                  </a:cubicBezTo>
                  <a:cubicBezTo>
                    <a:pt x="56" y="17"/>
                    <a:pt x="59" y="20"/>
                    <a:pt x="60" y="20"/>
                  </a:cubicBezTo>
                  <a:cubicBezTo>
                    <a:pt x="61" y="19"/>
                    <a:pt x="62" y="15"/>
                    <a:pt x="62" y="15"/>
                  </a:cubicBezTo>
                  <a:cubicBezTo>
                    <a:pt x="68" y="14"/>
                    <a:pt x="68" y="14"/>
                    <a:pt x="68" y="14"/>
                  </a:cubicBezTo>
                  <a:cubicBezTo>
                    <a:pt x="73" y="13"/>
                    <a:pt x="73" y="13"/>
                    <a:pt x="73" y="13"/>
                  </a:cubicBezTo>
                  <a:cubicBezTo>
                    <a:pt x="73" y="13"/>
                    <a:pt x="73" y="12"/>
                    <a:pt x="74" y="12"/>
                  </a:cubicBezTo>
                  <a:cubicBezTo>
                    <a:pt x="75" y="13"/>
                    <a:pt x="81" y="13"/>
                    <a:pt x="81" y="13"/>
                  </a:cubicBezTo>
                  <a:cubicBezTo>
                    <a:pt x="87" y="13"/>
                    <a:pt x="87" y="13"/>
                    <a:pt x="87" y="13"/>
                  </a:cubicBezTo>
                  <a:cubicBezTo>
                    <a:pt x="87" y="13"/>
                    <a:pt x="91" y="15"/>
                    <a:pt x="92" y="15"/>
                  </a:cubicBezTo>
                  <a:cubicBezTo>
                    <a:pt x="92" y="14"/>
                    <a:pt x="95" y="10"/>
                    <a:pt x="95" y="10"/>
                  </a:cubicBezTo>
                  <a:cubicBezTo>
                    <a:pt x="101" y="12"/>
                    <a:pt x="101" y="12"/>
                    <a:pt x="101" y="12"/>
                  </a:cubicBezTo>
                  <a:cubicBezTo>
                    <a:pt x="102" y="8"/>
                    <a:pt x="102" y="8"/>
                    <a:pt x="102" y="8"/>
                  </a:cubicBezTo>
                  <a:cubicBezTo>
                    <a:pt x="102" y="8"/>
                    <a:pt x="105" y="3"/>
                    <a:pt x="105" y="3"/>
                  </a:cubicBezTo>
                  <a:cubicBezTo>
                    <a:pt x="106" y="3"/>
                    <a:pt x="110" y="0"/>
                    <a:pt x="110" y="0"/>
                  </a:cubicBezTo>
                  <a:cubicBezTo>
                    <a:pt x="112" y="6"/>
                    <a:pt x="112" y="6"/>
                    <a:pt x="112" y="6"/>
                  </a:cubicBezTo>
                  <a:cubicBezTo>
                    <a:pt x="116" y="9"/>
                    <a:pt x="116" y="9"/>
                    <a:pt x="116" y="9"/>
                  </a:cubicBezTo>
                  <a:cubicBezTo>
                    <a:pt x="117" y="10"/>
                    <a:pt x="117" y="10"/>
                    <a:pt x="117" y="10"/>
                  </a:cubicBezTo>
                  <a:cubicBezTo>
                    <a:pt x="121" y="13"/>
                    <a:pt x="121" y="13"/>
                    <a:pt x="121" y="13"/>
                  </a:cubicBezTo>
                  <a:cubicBezTo>
                    <a:pt x="128" y="11"/>
                    <a:pt x="128" y="11"/>
                    <a:pt x="128" y="11"/>
                  </a:cubicBezTo>
                  <a:cubicBezTo>
                    <a:pt x="132" y="10"/>
                    <a:pt x="132" y="10"/>
                    <a:pt x="132" y="10"/>
                  </a:cubicBezTo>
                  <a:cubicBezTo>
                    <a:pt x="135" y="10"/>
                    <a:pt x="135" y="10"/>
                    <a:pt x="135" y="10"/>
                  </a:cubicBezTo>
                  <a:cubicBezTo>
                    <a:pt x="136" y="12"/>
                    <a:pt x="136" y="12"/>
                    <a:pt x="136" y="12"/>
                  </a:cubicBezTo>
                  <a:cubicBezTo>
                    <a:pt x="139" y="14"/>
                    <a:pt x="139" y="14"/>
                    <a:pt x="139" y="14"/>
                  </a:cubicBezTo>
                  <a:cubicBezTo>
                    <a:pt x="144" y="14"/>
                    <a:pt x="144" y="14"/>
                    <a:pt x="144" y="14"/>
                  </a:cubicBezTo>
                  <a:cubicBezTo>
                    <a:pt x="146" y="17"/>
                    <a:pt x="146" y="17"/>
                    <a:pt x="146" y="17"/>
                  </a:cubicBezTo>
                  <a:cubicBezTo>
                    <a:pt x="150" y="18"/>
                    <a:pt x="150" y="18"/>
                    <a:pt x="150" y="18"/>
                  </a:cubicBezTo>
                  <a:cubicBezTo>
                    <a:pt x="153" y="22"/>
                    <a:pt x="153" y="22"/>
                    <a:pt x="153" y="22"/>
                  </a:cubicBezTo>
                  <a:cubicBezTo>
                    <a:pt x="156" y="23"/>
                    <a:pt x="156" y="23"/>
                    <a:pt x="156" y="23"/>
                  </a:cubicBezTo>
                  <a:cubicBezTo>
                    <a:pt x="158" y="27"/>
                    <a:pt x="158" y="27"/>
                    <a:pt x="158" y="27"/>
                  </a:cubicBezTo>
                  <a:cubicBezTo>
                    <a:pt x="162" y="27"/>
                    <a:pt x="162" y="27"/>
                    <a:pt x="162" y="27"/>
                  </a:cubicBezTo>
                  <a:cubicBezTo>
                    <a:pt x="167" y="28"/>
                    <a:pt x="167" y="28"/>
                    <a:pt x="167" y="28"/>
                  </a:cubicBezTo>
                  <a:cubicBezTo>
                    <a:pt x="170" y="28"/>
                    <a:pt x="170" y="28"/>
                    <a:pt x="170" y="28"/>
                  </a:cubicBezTo>
                  <a:cubicBezTo>
                    <a:pt x="170" y="28"/>
                    <a:pt x="170" y="28"/>
                    <a:pt x="170" y="28"/>
                  </a:cubicBezTo>
                  <a:cubicBezTo>
                    <a:pt x="171" y="28"/>
                    <a:pt x="171" y="28"/>
                    <a:pt x="171" y="28"/>
                  </a:cubicBezTo>
                  <a:cubicBezTo>
                    <a:pt x="172" y="37"/>
                    <a:pt x="172" y="37"/>
                    <a:pt x="172" y="37"/>
                  </a:cubicBezTo>
                  <a:cubicBezTo>
                    <a:pt x="170" y="42"/>
                    <a:pt x="170" y="42"/>
                    <a:pt x="170" y="42"/>
                  </a:cubicBezTo>
                  <a:cubicBezTo>
                    <a:pt x="170" y="47"/>
                    <a:pt x="170" y="47"/>
                    <a:pt x="170" y="47"/>
                  </a:cubicBezTo>
                  <a:cubicBezTo>
                    <a:pt x="173" y="48"/>
                    <a:pt x="173" y="48"/>
                    <a:pt x="173" y="48"/>
                  </a:cubicBezTo>
                  <a:cubicBezTo>
                    <a:pt x="180" y="47"/>
                    <a:pt x="180" y="47"/>
                    <a:pt x="180" y="47"/>
                  </a:cubicBezTo>
                  <a:cubicBezTo>
                    <a:pt x="181" y="51"/>
                    <a:pt x="181" y="51"/>
                    <a:pt x="181" y="51"/>
                  </a:cubicBezTo>
                  <a:cubicBezTo>
                    <a:pt x="177" y="53"/>
                    <a:pt x="177" y="53"/>
                    <a:pt x="177" y="53"/>
                  </a:cubicBezTo>
                  <a:cubicBezTo>
                    <a:pt x="178" y="58"/>
                    <a:pt x="178" y="58"/>
                    <a:pt x="178" y="58"/>
                  </a:cubicBezTo>
                  <a:cubicBezTo>
                    <a:pt x="170" y="57"/>
                    <a:pt x="170" y="57"/>
                    <a:pt x="170" y="57"/>
                  </a:cubicBezTo>
                  <a:cubicBezTo>
                    <a:pt x="167" y="60"/>
                    <a:pt x="167" y="60"/>
                    <a:pt x="167" y="60"/>
                  </a:cubicBezTo>
                  <a:cubicBezTo>
                    <a:pt x="167" y="67"/>
                    <a:pt x="167" y="67"/>
                    <a:pt x="167" y="67"/>
                  </a:cubicBezTo>
                  <a:cubicBezTo>
                    <a:pt x="159" y="70"/>
                    <a:pt x="159" y="70"/>
                    <a:pt x="159" y="70"/>
                  </a:cubicBezTo>
                  <a:cubicBezTo>
                    <a:pt x="157" y="74"/>
                    <a:pt x="157" y="74"/>
                    <a:pt x="157" y="74"/>
                  </a:cubicBezTo>
                  <a:cubicBezTo>
                    <a:pt x="157" y="78"/>
                    <a:pt x="157" y="78"/>
                    <a:pt x="157" y="78"/>
                  </a:cubicBezTo>
                  <a:cubicBezTo>
                    <a:pt x="156" y="82"/>
                    <a:pt x="156" y="82"/>
                    <a:pt x="156" y="82"/>
                  </a:cubicBezTo>
                  <a:cubicBezTo>
                    <a:pt x="157" y="89"/>
                    <a:pt x="157" y="89"/>
                    <a:pt x="157" y="89"/>
                  </a:cubicBezTo>
                  <a:cubicBezTo>
                    <a:pt x="158" y="95"/>
                    <a:pt x="158" y="95"/>
                    <a:pt x="158" y="95"/>
                  </a:cubicBezTo>
                  <a:cubicBezTo>
                    <a:pt x="158" y="95"/>
                    <a:pt x="156" y="100"/>
                    <a:pt x="155" y="103"/>
                  </a:cubicBezTo>
                  <a:cubicBezTo>
                    <a:pt x="155" y="105"/>
                    <a:pt x="157" y="104"/>
                    <a:pt x="157" y="104"/>
                  </a:cubicBezTo>
                  <a:cubicBezTo>
                    <a:pt x="162" y="106"/>
                    <a:pt x="162" y="106"/>
                    <a:pt x="162" y="106"/>
                  </a:cubicBezTo>
                  <a:cubicBezTo>
                    <a:pt x="164" y="107"/>
                    <a:pt x="164" y="107"/>
                    <a:pt x="164" y="107"/>
                  </a:cubicBezTo>
                  <a:cubicBezTo>
                    <a:pt x="162" y="113"/>
                    <a:pt x="162" y="113"/>
                    <a:pt x="162" y="113"/>
                  </a:cubicBezTo>
                  <a:cubicBezTo>
                    <a:pt x="157" y="114"/>
                    <a:pt x="157" y="114"/>
                    <a:pt x="157" y="114"/>
                  </a:cubicBezTo>
                  <a:cubicBezTo>
                    <a:pt x="158" y="110"/>
                    <a:pt x="158" y="110"/>
                    <a:pt x="158" y="110"/>
                  </a:cubicBezTo>
                  <a:cubicBezTo>
                    <a:pt x="156" y="108"/>
                    <a:pt x="156" y="108"/>
                    <a:pt x="156" y="108"/>
                  </a:cubicBezTo>
                  <a:cubicBezTo>
                    <a:pt x="153" y="111"/>
                    <a:pt x="153" y="111"/>
                    <a:pt x="153" y="111"/>
                  </a:cubicBezTo>
                  <a:cubicBezTo>
                    <a:pt x="146" y="113"/>
                    <a:pt x="146" y="113"/>
                    <a:pt x="146" y="113"/>
                  </a:cubicBezTo>
                  <a:cubicBezTo>
                    <a:pt x="146" y="115"/>
                    <a:pt x="146" y="115"/>
                    <a:pt x="146" y="115"/>
                  </a:cubicBezTo>
                  <a:cubicBezTo>
                    <a:pt x="144" y="119"/>
                    <a:pt x="144" y="119"/>
                    <a:pt x="144" y="119"/>
                  </a:cubicBezTo>
                  <a:cubicBezTo>
                    <a:pt x="144" y="119"/>
                    <a:pt x="140" y="119"/>
                    <a:pt x="138" y="119"/>
                  </a:cubicBezTo>
                  <a:cubicBezTo>
                    <a:pt x="137" y="118"/>
                    <a:pt x="136" y="121"/>
                    <a:pt x="136" y="121"/>
                  </a:cubicBezTo>
                  <a:cubicBezTo>
                    <a:pt x="138" y="128"/>
                    <a:pt x="138" y="128"/>
                    <a:pt x="138" y="128"/>
                  </a:cubicBezTo>
                  <a:cubicBezTo>
                    <a:pt x="133" y="128"/>
                    <a:pt x="133" y="128"/>
                    <a:pt x="133" y="128"/>
                  </a:cubicBezTo>
                  <a:cubicBezTo>
                    <a:pt x="129" y="133"/>
                    <a:pt x="129" y="133"/>
                    <a:pt x="129" y="133"/>
                  </a:cubicBezTo>
                  <a:cubicBezTo>
                    <a:pt x="122" y="134"/>
                    <a:pt x="122" y="134"/>
                    <a:pt x="122" y="134"/>
                  </a:cubicBezTo>
                  <a:cubicBezTo>
                    <a:pt x="116" y="133"/>
                    <a:pt x="116" y="133"/>
                    <a:pt x="116" y="133"/>
                  </a:cubicBezTo>
                  <a:cubicBezTo>
                    <a:pt x="106" y="137"/>
                    <a:pt x="106" y="137"/>
                    <a:pt x="106" y="137"/>
                  </a:cubicBezTo>
                  <a:cubicBezTo>
                    <a:pt x="97" y="139"/>
                    <a:pt x="97" y="139"/>
                    <a:pt x="97" y="139"/>
                  </a:cubicBezTo>
                  <a:cubicBezTo>
                    <a:pt x="97" y="140"/>
                    <a:pt x="97" y="140"/>
                    <a:pt x="97" y="140"/>
                  </a:cubicBezTo>
                  <a:cubicBezTo>
                    <a:pt x="96" y="134"/>
                    <a:pt x="96" y="134"/>
                    <a:pt x="96" y="134"/>
                  </a:cubicBezTo>
                  <a:cubicBezTo>
                    <a:pt x="93" y="131"/>
                    <a:pt x="93" y="131"/>
                    <a:pt x="93" y="131"/>
                  </a:cubicBezTo>
                  <a:cubicBezTo>
                    <a:pt x="93" y="131"/>
                    <a:pt x="90" y="125"/>
                    <a:pt x="90" y="124"/>
                  </a:cubicBezTo>
                  <a:cubicBezTo>
                    <a:pt x="90" y="124"/>
                    <a:pt x="79" y="124"/>
                    <a:pt x="79" y="124"/>
                  </a:cubicBezTo>
                  <a:cubicBezTo>
                    <a:pt x="79" y="124"/>
                    <a:pt x="77" y="121"/>
                    <a:pt x="76" y="119"/>
                  </a:cubicBezTo>
                  <a:cubicBezTo>
                    <a:pt x="76" y="118"/>
                    <a:pt x="73" y="121"/>
                    <a:pt x="73" y="121"/>
                  </a:cubicBezTo>
                  <a:cubicBezTo>
                    <a:pt x="69" y="122"/>
                    <a:pt x="69" y="122"/>
                    <a:pt x="69" y="122"/>
                  </a:cubicBezTo>
                  <a:cubicBezTo>
                    <a:pt x="69" y="121"/>
                    <a:pt x="69" y="121"/>
                    <a:pt x="69" y="121"/>
                  </a:cubicBezTo>
                  <a:cubicBezTo>
                    <a:pt x="66" y="117"/>
                    <a:pt x="66" y="117"/>
                    <a:pt x="66" y="117"/>
                  </a:cubicBezTo>
                  <a:cubicBezTo>
                    <a:pt x="66" y="107"/>
                    <a:pt x="66" y="107"/>
                    <a:pt x="66" y="107"/>
                  </a:cubicBezTo>
                  <a:cubicBezTo>
                    <a:pt x="66" y="104"/>
                    <a:pt x="66" y="104"/>
                    <a:pt x="66" y="104"/>
                  </a:cubicBezTo>
                  <a:cubicBezTo>
                    <a:pt x="68" y="97"/>
                    <a:pt x="68" y="97"/>
                    <a:pt x="68" y="97"/>
                  </a:cubicBezTo>
                  <a:cubicBezTo>
                    <a:pt x="68" y="97"/>
                    <a:pt x="66" y="96"/>
                    <a:pt x="65" y="94"/>
                  </a:cubicBezTo>
                  <a:cubicBezTo>
                    <a:pt x="63" y="92"/>
                    <a:pt x="61" y="90"/>
                    <a:pt x="61" y="90"/>
                  </a:cubicBezTo>
                  <a:cubicBezTo>
                    <a:pt x="59" y="90"/>
                    <a:pt x="59" y="90"/>
                    <a:pt x="59" y="90"/>
                  </a:cubicBezTo>
                  <a:cubicBezTo>
                    <a:pt x="56" y="86"/>
                    <a:pt x="56" y="86"/>
                    <a:pt x="56" y="86"/>
                  </a:cubicBezTo>
                  <a:cubicBezTo>
                    <a:pt x="49" y="88"/>
                    <a:pt x="49" y="88"/>
                    <a:pt x="49" y="88"/>
                  </a:cubicBezTo>
                  <a:cubicBezTo>
                    <a:pt x="45" y="89"/>
                    <a:pt x="45" y="89"/>
                    <a:pt x="45" y="89"/>
                  </a:cubicBezTo>
                  <a:cubicBezTo>
                    <a:pt x="43" y="91"/>
                    <a:pt x="43" y="91"/>
                    <a:pt x="43" y="91"/>
                  </a:cubicBezTo>
                  <a:cubicBezTo>
                    <a:pt x="31" y="90"/>
                    <a:pt x="31" y="90"/>
                    <a:pt x="31" y="90"/>
                  </a:cubicBezTo>
                  <a:cubicBezTo>
                    <a:pt x="25" y="87"/>
                    <a:pt x="25" y="87"/>
                    <a:pt x="25" y="87"/>
                  </a:cubicBezTo>
                  <a:cubicBezTo>
                    <a:pt x="22" y="86"/>
                    <a:pt x="22" y="86"/>
                    <a:pt x="22" y="86"/>
                  </a:cubicBezTo>
                  <a:cubicBezTo>
                    <a:pt x="18" y="83"/>
                    <a:pt x="18" y="83"/>
                    <a:pt x="18" y="83"/>
                  </a:cubicBezTo>
                  <a:cubicBezTo>
                    <a:pt x="13" y="79"/>
                    <a:pt x="13" y="79"/>
                    <a:pt x="13" y="79"/>
                  </a:cubicBezTo>
                  <a:cubicBezTo>
                    <a:pt x="12" y="73"/>
                    <a:pt x="12" y="73"/>
                    <a:pt x="12" y="73"/>
                  </a:cubicBezTo>
                  <a:cubicBezTo>
                    <a:pt x="11" y="69"/>
                    <a:pt x="11" y="69"/>
                    <a:pt x="11" y="69"/>
                  </a:cubicBezTo>
                  <a:cubicBezTo>
                    <a:pt x="6" y="64"/>
                    <a:pt x="6" y="64"/>
                    <a:pt x="6" y="64"/>
                  </a:cubicBezTo>
                  <a:cubicBezTo>
                    <a:pt x="4" y="60"/>
                    <a:pt x="4" y="60"/>
                    <a:pt x="4" y="60"/>
                  </a:cubicBezTo>
                  <a:cubicBezTo>
                    <a:pt x="4" y="54"/>
                    <a:pt x="4" y="54"/>
                    <a:pt x="4" y="54"/>
                  </a:cubicBezTo>
                  <a:cubicBezTo>
                    <a:pt x="1" y="49"/>
                    <a:pt x="1" y="49"/>
                    <a:pt x="1" y="49"/>
                  </a:cubicBezTo>
                  <a:cubicBezTo>
                    <a:pt x="2" y="44"/>
                    <a:pt x="2" y="44"/>
                    <a:pt x="2" y="44"/>
                  </a:cubicBezTo>
                  <a:cubicBezTo>
                    <a:pt x="2" y="44"/>
                    <a:pt x="0" y="43"/>
                    <a:pt x="1" y="42"/>
                  </a:cubicBezTo>
                  <a:cubicBezTo>
                    <a:pt x="3" y="42"/>
                    <a:pt x="6" y="41"/>
                    <a:pt x="6" y="41"/>
                  </a:cubicBezTo>
                  <a:cubicBezTo>
                    <a:pt x="7" y="35"/>
                    <a:pt x="7" y="35"/>
                    <a:pt x="7" y="35"/>
                  </a:cubicBezTo>
                  <a:cubicBezTo>
                    <a:pt x="8" y="33"/>
                    <a:pt x="8" y="33"/>
                    <a:pt x="8" y="33"/>
                  </a:cubicBezTo>
                  <a:cubicBezTo>
                    <a:pt x="12" y="31"/>
                    <a:pt x="12" y="31"/>
                    <a:pt x="12" y="31"/>
                  </a:cubicBezTo>
                  <a:cubicBezTo>
                    <a:pt x="14" y="26"/>
                    <a:pt x="14" y="26"/>
                    <a:pt x="14" y="26"/>
                  </a:cubicBezTo>
                  <a:lnTo>
                    <a:pt x="18" y="26"/>
                  </a:lnTo>
                  <a:close/>
                </a:path>
              </a:pathLst>
            </a:custGeom>
            <a:solidFill>
              <a:srgbClr val="E6EFF1"/>
            </a:solidFill>
            <a:ln w="12700" cap="rnd" cmpd="sng">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Lato Light"/>
              </a:endParaRPr>
            </a:p>
          </p:txBody>
        </p:sp>
        <p:sp>
          <p:nvSpPr>
            <p:cNvPr id="30" name="Freeform 53">
              <a:extLst>
                <a:ext uri="{FF2B5EF4-FFF2-40B4-BE49-F238E27FC236}">
                  <a16:creationId xmlns:a16="http://schemas.microsoft.com/office/drawing/2014/main" id="{6F84D4BE-392E-A311-037F-46EA382D93FD}"/>
                </a:ext>
              </a:extLst>
            </p:cNvPr>
            <p:cNvSpPr>
              <a:spLocks noEditPoints="1"/>
            </p:cNvSpPr>
            <p:nvPr/>
          </p:nvSpPr>
          <p:spPr bwMode="auto">
            <a:xfrm>
              <a:off x="4867060" y="2480238"/>
              <a:ext cx="507060" cy="335298"/>
            </a:xfrm>
            <a:custGeom>
              <a:avLst/>
              <a:gdLst>
                <a:gd name="T0" fmla="*/ 39 w 176"/>
                <a:gd name="T1" fmla="*/ 45 h 120"/>
                <a:gd name="T2" fmla="*/ 46 w 176"/>
                <a:gd name="T3" fmla="*/ 36 h 120"/>
                <a:gd name="T4" fmla="*/ 51 w 176"/>
                <a:gd name="T5" fmla="*/ 29 h 120"/>
                <a:gd name="T6" fmla="*/ 59 w 176"/>
                <a:gd name="T7" fmla="*/ 23 h 120"/>
                <a:gd name="T8" fmla="*/ 69 w 176"/>
                <a:gd name="T9" fmla="*/ 17 h 120"/>
                <a:gd name="T10" fmla="*/ 81 w 176"/>
                <a:gd name="T11" fmla="*/ 15 h 120"/>
                <a:gd name="T12" fmla="*/ 89 w 176"/>
                <a:gd name="T13" fmla="*/ 6 h 120"/>
                <a:gd name="T14" fmla="*/ 97 w 176"/>
                <a:gd name="T15" fmla="*/ 7 h 120"/>
                <a:gd name="T16" fmla="*/ 109 w 176"/>
                <a:gd name="T17" fmla="*/ 4 h 120"/>
                <a:gd name="T18" fmla="*/ 128 w 176"/>
                <a:gd name="T19" fmla="*/ 7 h 120"/>
                <a:gd name="T20" fmla="*/ 154 w 176"/>
                <a:gd name="T21" fmla="*/ 3 h 120"/>
                <a:gd name="T22" fmla="*/ 157 w 176"/>
                <a:gd name="T23" fmla="*/ 15 h 120"/>
                <a:gd name="T24" fmla="*/ 162 w 176"/>
                <a:gd name="T25" fmla="*/ 70 h 120"/>
                <a:gd name="T26" fmla="*/ 171 w 176"/>
                <a:gd name="T27" fmla="*/ 80 h 120"/>
                <a:gd name="T28" fmla="*/ 168 w 176"/>
                <a:gd name="T29" fmla="*/ 90 h 120"/>
                <a:gd name="T30" fmla="*/ 165 w 176"/>
                <a:gd name="T31" fmla="*/ 105 h 120"/>
                <a:gd name="T32" fmla="*/ 146 w 176"/>
                <a:gd name="T33" fmla="*/ 109 h 120"/>
                <a:gd name="T34" fmla="*/ 124 w 176"/>
                <a:gd name="T35" fmla="*/ 99 h 120"/>
                <a:gd name="T36" fmla="*/ 102 w 176"/>
                <a:gd name="T37" fmla="*/ 94 h 120"/>
                <a:gd name="T38" fmla="*/ 78 w 176"/>
                <a:gd name="T39" fmla="*/ 107 h 120"/>
                <a:gd name="T40" fmla="*/ 77 w 176"/>
                <a:gd name="T41" fmla="*/ 87 h 120"/>
                <a:gd name="T42" fmla="*/ 71 w 176"/>
                <a:gd name="T43" fmla="*/ 83 h 120"/>
                <a:gd name="T44" fmla="*/ 61 w 176"/>
                <a:gd name="T45" fmla="*/ 86 h 120"/>
                <a:gd name="T46" fmla="*/ 48 w 176"/>
                <a:gd name="T47" fmla="*/ 75 h 120"/>
                <a:gd name="T48" fmla="*/ 48 w 176"/>
                <a:gd name="T49" fmla="*/ 67 h 120"/>
                <a:gd name="T50" fmla="*/ 53 w 176"/>
                <a:gd name="T51" fmla="*/ 62 h 120"/>
                <a:gd name="T52" fmla="*/ 42 w 176"/>
                <a:gd name="T53" fmla="*/ 59 h 120"/>
                <a:gd name="T54" fmla="*/ 45 w 176"/>
                <a:gd name="T55" fmla="*/ 51 h 120"/>
                <a:gd name="T56" fmla="*/ 23 w 176"/>
                <a:gd name="T57" fmla="*/ 103 h 120"/>
                <a:gd name="T58" fmla="*/ 22 w 176"/>
                <a:gd name="T59" fmla="*/ 105 h 120"/>
                <a:gd name="T60" fmla="*/ 64 w 176"/>
                <a:gd name="T61" fmla="*/ 98 h 120"/>
                <a:gd name="T62" fmla="*/ 9 w 176"/>
                <a:gd name="T63" fmla="*/ 91 h 120"/>
                <a:gd name="T64" fmla="*/ 4 w 176"/>
                <a:gd name="T65" fmla="*/ 87 h 120"/>
                <a:gd name="T66" fmla="*/ 3 w 176"/>
                <a:gd name="T67" fmla="*/ 91 h 120"/>
                <a:gd name="T68" fmla="*/ 5 w 176"/>
                <a:gd name="T69" fmla="*/ 98 h 120"/>
                <a:gd name="T70" fmla="*/ 10 w 176"/>
                <a:gd name="T71" fmla="*/ 103 h 120"/>
                <a:gd name="T72" fmla="*/ 14 w 176"/>
                <a:gd name="T73" fmla="*/ 110 h 120"/>
                <a:gd name="T74" fmla="*/ 13 w 176"/>
                <a:gd name="T75" fmla="*/ 119 h 120"/>
                <a:gd name="T76" fmla="*/ 17 w 176"/>
                <a:gd name="T77" fmla="*/ 109 h 120"/>
                <a:gd name="T78" fmla="*/ 23 w 176"/>
                <a:gd name="T79" fmla="*/ 99 h 120"/>
                <a:gd name="T80" fmla="*/ 29 w 176"/>
                <a:gd name="T81" fmla="*/ 97 h 120"/>
                <a:gd name="T82" fmla="*/ 33 w 176"/>
                <a:gd name="T83" fmla="*/ 89 h 120"/>
                <a:gd name="T84" fmla="*/ 37 w 176"/>
                <a:gd name="T85" fmla="*/ 84 h 120"/>
                <a:gd name="T86" fmla="*/ 41 w 176"/>
                <a:gd name="T87" fmla="*/ 81 h 120"/>
                <a:gd name="T88" fmla="*/ 28 w 176"/>
                <a:gd name="T89" fmla="*/ 77 h 120"/>
                <a:gd name="T90" fmla="*/ 19 w 176"/>
                <a:gd name="T91" fmla="*/ 81 h 120"/>
                <a:gd name="T92" fmla="*/ 12 w 176"/>
                <a:gd name="T93" fmla="*/ 86 h 120"/>
                <a:gd name="T94" fmla="*/ 35 w 176"/>
                <a:gd name="T95" fmla="*/ 76 h 120"/>
                <a:gd name="T96" fmla="*/ 43 w 176"/>
                <a:gd name="T97" fmla="*/ 76 h 120"/>
                <a:gd name="T98" fmla="*/ 36 w 176"/>
                <a:gd name="T99" fmla="*/ 75 h 120"/>
                <a:gd name="T100" fmla="*/ 27 w 176"/>
                <a:gd name="T101" fmla="*/ 59 h 120"/>
                <a:gd name="T102" fmla="*/ 27 w 176"/>
                <a:gd name="T103" fmla="*/ 65 h 120"/>
                <a:gd name="T104" fmla="*/ 22 w 176"/>
                <a:gd name="T105" fmla="*/ 70 h 120"/>
                <a:gd name="T106" fmla="*/ 14 w 176"/>
                <a:gd name="T107" fmla="*/ 68 h 120"/>
                <a:gd name="T108" fmla="*/ 3 w 176"/>
                <a:gd name="T109" fmla="*/ 64 h 120"/>
                <a:gd name="T110" fmla="*/ 16 w 176"/>
                <a:gd name="T111" fmla="*/ 54 h 120"/>
                <a:gd name="T112" fmla="*/ 36 w 176"/>
                <a:gd name="T113" fmla="*/ 52 h 120"/>
                <a:gd name="T114" fmla="*/ 33 w 176"/>
                <a:gd name="T115" fmla="*/ 57 h 120"/>
                <a:gd name="T116" fmla="*/ 36 w 176"/>
                <a:gd name="T117" fmla="*/ 52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76" h="120">
                  <a:moveTo>
                    <a:pt x="39" y="52"/>
                  </a:moveTo>
                  <a:cubicBezTo>
                    <a:pt x="40" y="50"/>
                    <a:pt x="40" y="50"/>
                    <a:pt x="40" y="50"/>
                  </a:cubicBezTo>
                  <a:cubicBezTo>
                    <a:pt x="41" y="48"/>
                    <a:pt x="41" y="48"/>
                    <a:pt x="41" y="48"/>
                  </a:cubicBezTo>
                  <a:cubicBezTo>
                    <a:pt x="41" y="45"/>
                    <a:pt x="41" y="45"/>
                    <a:pt x="41" y="45"/>
                  </a:cubicBezTo>
                  <a:cubicBezTo>
                    <a:pt x="39" y="45"/>
                    <a:pt x="39" y="45"/>
                    <a:pt x="39" y="45"/>
                  </a:cubicBezTo>
                  <a:cubicBezTo>
                    <a:pt x="38" y="42"/>
                    <a:pt x="38" y="42"/>
                    <a:pt x="38" y="42"/>
                  </a:cubicBezTo>
                  <a:cubicBezTo>
                    <a:pt x="38" y="42"/>
                    <a:pt x="39" y="41"/>
                    <a:pt x="40" y="41"/>
                  </a:cubicBezTo>
                  <a:cubicBezTo>
                    <a:pt x="40" y="40"/>
                    <a:pt x="43" y="40"/>
                    <a:pt x="43" y="40"/>
                  </a:cubicBezTo>
                  <a:cubicBezTo>
                    <a:pt x="45" y="38"/>
                    <a:pt x="45" y="38"/>
                    <a:pt x="45" y="38"/>
                  </a:cubicBezTo>
                  <a:cubicBezTo>
                    <a:pt x="45" y="38"/>
                    <a:pt x="44" y="36"/>
                    <a:pt x="46" y="36"/>
                  </a:cubicBezTo>
                  <a:cubicBezTo>
                    <a:pt x="47" y="36"/>
                    <a:pt x="49" y="36"/>
                    <a:pt x="50" y="36"/>
                  </a:cubicBezTo>
                  <a:cubicBezTo>
                    <a:pt x="51" y="36"/>
                    <a:pt x="52" y="35"/>
                    <a:pt x="52" y="35"/>
                  </a:cubicBezTo>
                  <a:cubicBezTo>
                    <a:pt x="54" y="35"/>
                    <a:pt x="55" y="36"/>
                    <a:pt x="54" y="35"/>
                  </a:cubicBezTo>
                  <a:cubicBezTo>
                    <a:pt x="54" y="35"/>
                    <a:pt x="54" y="34"/>
                    <a:pt x="53" y="33"/>
                  </a:cubicBezTo>
                  <a:cubicBezTo>
                    <a:pt x="52" y="32"/>
                    <a:pt x="49" y="30"/>
                    <a:pt x="51" y="29"/>
                  </a:cubicBezTo>
                  <a:cubicBezTo>
                    <a:pt x="52" y="28"/>
                    <a:pt x="53" y="28"/>
                    <a:pt x="54" y="29"/>
                  </a:cubicBezTo>
                  <a:cubicBezTo>
                    <a:pt x="55" y="29"/>
                    <a:pt x="56" y="31"/>
                    <a:pt x="56" y="31"/>
                  </a:cubicBezTo>
                  <a:cubicBezTo>
                    <a:pt x="56" y="27"/>
                    <a:pt x="56" y="27"/>
                    <a:pt x="56" y="27"/>
                  </a:cubicBezTo>
                  <a:cubicBezTo>
                    <a:pt x="56" y="27"/>
                    <a:pt x="59" y="27"/>
                    <a:pt x="60" y="26"/>
                  </a:cubicBezTo>
                  <a:cubicBezTo>
                    <a:pt x="60" y="25"/>
                    <a:pt x="59" y="23"/>
                    <a:pt x="59" y="23"/>
                  </a:cubicBezTo>
                  <a:cubicBezTo>
                    <a:pt x="59" y="23"/>
                    <a:pt x="59" y="23"/>
                    <a:pt x="62" y="23"/>
                  </a:cubicBezTo>
                  <a:cubicBezTo>
                    <a:pt x="65" y="22"/>
                    <a:pt x="64" y="22"/>
                    <a:pt x="66" y="22"/>
                  </a:cubicBezTo>
                  <a:cubicBezTo>
                    <a:pt x="67" y="22"/>
                    <a:pt x="70" y="22"/>
                    <a:pt x="70" y="22"/>
                  </a:cubicBezTo>
                  <a:cubicBezTo>
                    <a:pt x="70" y="22"/>
                    <a:pt x="72" y="21"/>
                    <a:pt x="71" y="20"/>
                  </a:cubicBezTo>
                  <a:cubicBezTo>
                    <a:pt x="71" y="19"/>
                    <a:pt x="69" y="17"/>
                    <a:pt x="69" y="17"/>
                  </a:cubicBezTo>
                  <a:cubicBezTo>
                    <a:pt x="69" y="17"/>
                    <a:pt x="70" y="14"/>
                    <a:pt x="70" y="15"/>
                  </a:cubicBezTo>
                  <a:cubicBezTo>
                    <a:pt x="70" y="17"/>
                    <a:pt x="73" y="19"/>
                    <a:pt x="73" y="19"/>
                  </a:cubicBezTo>
                  <a:cubicBezTo>
                    <a:pt x="75" y="17"/>
                    <a:pt x="75" y="17"/>
                    <a:pt x="75" y="17"/>
                  </a:cubicBezTo>
                  <a:cubicBezTo>
                    <a:pt x="78" y="16"/>
                    <a:pt x="78" y="16"/>
                    <a:pt x="78" y="16"/>
                  </a:cubicBezTo>
                  <a:cubicBezTo>
                    <a:pt x="81" y="15"/>
                    <a:pt x="81" y="15"/>
                    <a:pt x="81" y="15"/>
                  </a:cubicBezTo>
                  <a:cubicBezTo>
                    <a:pt x="81" y="15"/>
                    <a:pt x="84" y="15"/>
                    <a:pt x="86" y="15"/>
                  </a:cubicBezTo>
                  <a:cubicBezTo>
                    <a:pt x="87" y="15"/>
                    <a:pt x="90" y="14"/>
                    <a:pt x="90" y="14"/>
                  </a:cubicBezTo>
                  <a:cubicBezTo>
                    <a:pt x="91" y="12"/>
                    <a:pt x="91" y="12"/>
                    <a:pt x="91" y="12"/>
                  </a:cubicBezTo>
                  <a:cubicBezTo>
                    <a:pt x="87" y="8"/>
                    <a:pt x="87" y="8"/>
                    <a:pt x="87" y="8"/>
                  </a:cubicBezTo>
                  <a:cubicBezTo>
                    <a:pt x="87" y="8"/>
                    <a:pt x="89" y="5"/>
                    <a:pt x="89" y="6"/>
                  </a:cubicBezTo>
                  <a:cubicBezTo>
                    <a:pt x="90" y="7"/>
                    <a:pt x="90" y="9"/>
                    <a:pt x="91" y="9"/>
                  </a:cubicBezTo>
                  <a:cubicBezTo>
                    <a:pt x="92" y="9"/>
                    <a:pt x="93" y="10"/>
                    <a:pt x="94" y="9"/>
                  </a:cubicBezTo>
                  <a:cubicBezTo>
                    <a:pt x="94" y="8"/>
                    <a:pt x="94" y="5"/>
                    <a:pt x="94" y="5"/>
                  </a:cubicBezTo>
                  <a:cubicBezTo>
                    <a:pt x="94" y="5"/>
                    <a:pt x="93" y="4"/>
                    <a:pt x="94" y="4"/>
                  </a:cubicBezTo>
                  <a:cubicBezTo>
                    <a:pt x="95" y="5"/>
                    <a:pt x="97" y="7"/>
                    <a:pt x="97" y="7"/>
                  </a:cubicBezTo>
                  <a:cubicBezTo>
                    <a:pt x="100" y="7"/>
                    <a:pt x="100" y="7"/>
                    <a:pt x="100" y="7"/>
                  </a:cubicBezTo>
                  <a:cubicBezTo>
                    <a:pt x="103" y="4"/>
                    <a:pt x="103" y="4"/>
                    <a:pt x="103" y="4"/>
                  </a:cubicBezTo>
                  <a:cubicBezTo>
                    <a:pt x="104" y="6"/>
                    <a:pt x="104" y="6"/>
                    <a:pt x="104" y="6"/>
                  </a:cubicBezTo>
                  <a:cubicBezTo>
                    <a:pt x="104" y="6"/>
                    <a:pt x="106" y="5"/>
                    <a:pt x="107" y="5"/>
                  </a:cubicBezTo>
                  <a:cubicBezTo>
                    <a:pt x="108" y="5"/>
                    <a:pt x="108" y="4"/>
                    <a:pt x="109" y="4"/>
                  </a:cubicBezTo>
                  <a:cubicBezTo>
                    <a:pt x="110" y="4"/>
                    <a:pt x="112" y="5"/>
                    <a:pt x="112" y="5"/>
                  </a:cubicBezTo>
                  <a:cubicBezTo>
                    <a:pt x="117" y="6"/>
                    <a:pt x="117" y="6"/>
                    <a:pt x="117" y="6"/>
                  </a:cubicBezTo>
                  <a:cubicBezTo>
                    <a:pt x="119" y="3"/>
                    <a:pt x="119" y="3"/>
                    <a:pt x="119" y="3"/>
                  </a:cubicBezTo>
                  <a:cubicBezTo>
                    <a:pt x="124" y="5"/>
                    <a:pt x="124" y="5"/>
                    <a:pt x="124" y="5"/>
                  </a:cubicBezTo>
                  <a:cubicBezTo>
                    <a:pt x="128" y="7"/>
                    <a:pt x="128" y="7"/>
                    <a:pt x="128" y="7"/>
                  </a:cubicBezTo>
                  <a:cubicBezTo>
                    <a:pt x="133" y="7"/>
                    <a:pt x="133" y="7"/>
                    <a:pt x="133" y="7"/>
                  </a:cubicBezTo>
                  <a:cubicBezTo>
                    <a:pt x="133" y="7"/>
                    <a:pt x="137" y="5"/>
                    <a:pt x="138" y="5"/>
                  </a:cubicBezTo>
                  <a:cubicBezTo>
                    <a:pt x="140" y="4"/>
                    <a:pt x="144" y="4"/>
                    <a:pt x="144" y="4"/>
                  </a:cubicBezTo>
                  <a:cubicBezTo>
                    <a:pt x="144" y="4"/>
                    <a:pt x="145" y="4"/>
                    <a:pt x="147" y="4"/>
                  </a:cubicBezTo>
                  <a:cubicBezTo>
                    <a:pt x="149" y="3"/>
                    <a:pt x="154" y="3"/>
                    <a:pt x="154" y="3"/>
                  </a:cubicBezTo>
                  <a:cubicBezTo>
                    <a:pt x="157" y="0"/>
                    <a:pt x="157" y="0"/>
                    <a:pt x="157" y="0"/>
                  </a:cubicBezTo>
                  <a:cubicBezTo>
                    <a:pt x="162" y="2"/>
                    <a:pt x="162" y="2"/>
                    <a:pt x="162" y="2"/>
                  </a:cubicBezTo>
                  <a:cubicBezTo>
                    <a:pt x="162" y="4"/>
                    <a:pt x="162" y="4"/>
                    <a:pt x="162" y="4"/>
                  </a:cubicBezTo>
                  <a:cubicBezTo>
                    <a:pt x="157" y="8"/>
                    <a:pt x="157" y="8"/>
                    <a:pt x="157" y="8"/>
                  </a:cubicBezTo>
                  <a:cubicBezTo>
                    <a:pt x="157" y="15"/>
                    <a:pt x="157" y="15"/>
                    <a:pt x="157" y="15"/>
                  </a:cubicBezTo>
                  <a:cubicBezTo>
                    <a:pt x="156" y="25"/>
                    <a:pt x="153" y="30"/>
                    <a:pt x="152" y="36"/>
                  </a:cubicBezTo>
                  <a:cubicBezTo>
                    <a:pt x="151" y="39"/>
                    <a:pt x="149" y="40"/>
                    <a:pt x="152" y="45"/>
                  </a:cubicBezTo>
                  <a:cubicBezTo>
                    <a:pt x="154" y="47"/>
                    <a:pt x="154" y="54"/>
                    <a:pt x="158" y="58"/>
                  </a:cubicBezTo>
                  <a:cubicBezTo>
                    <a:pt x="160" y="60"/>
                    <a:pt x="158" y="65"/>
                    <a:pt x="161" y="67"/>
                  </a:cubicBezTo>
                  <a:cubicBezTo>
                    <a:pt x="161" y="67"/>
                    <a:pt x="161" y="68"/>
                    <a:pt x="162" y="70"/>
                  </a:cubicBezTo>
                  <a:cubicBezTo>
                    <a:pt x="164" y="72"/>
                    <a:pt x="164" y="71"/>
                    <a:pt x="165" y="72"/>
                  </a:cubicBezTo>
                  <a:cubicBezTo>
                    <a:pt x="165" y="72"/>
                    <a:pt x="167" y="73"/>
                    <a:pt x="168" y="74"/>
                  </a:cubicBezTo>
                  <a:cubicBezTo>
                    <a:pt x="169" y="75"/>
                    <a:pt x="169" y="77"/>
                    <a:pt x="169" y="78"/>
                  </a:cubicBezTo>
                  <a:cubicBezTo>
                    <a:pt x="169" y="79"/>
                    <a:pt x="170" y="80"/>
                    <a:pt x="170" y="80"/>
                  </a:cubicBezTo>
                  <a:cubicBezTo>
                    <a:pt x="170" y="80"/>
                    <a:pt x="171" y="79"/>
                    <a:pt x="171" y="80"/>
                  </a:cubicBezTo>
                  <a:cubicBezTo>
                    <a:pt x="171" y="81"/>
                    <a:pt x="170" y="79"/>
                    <a:pt x="171" y="81"/>
                  </a:cubicBezTo>
                  <a:cubicBezTo>
                    <a:pt x="173" y="83"/>
                    <a:pt x="176" y="83"/>
                    <a:pt x="176" y="83"/>
                  </a:cubicBezTo>
                  <a:cubicBezTo>
                    <a:pt x="175" y="87"/>
                    <a:pt x="175" y="87"/>
                    <a:pt x="175" y="87"/>
                  </a:cubicBezTo>
                  <a:cubicBezTo>
                    <a:pt x="173" y="88"/>
                    <a:pt x="173" y="88"/>
                    <a:pt x="173" y="88"/>
                  </a:cubicBezTo>
                  <a:cubicBezTo>
                    <a:pt x="173" y="88"/>
                    <a:pt x="168" y="88"/>
                    <a:pt x="168" y="90"/>
                  </a:cubicBezTo>
                  <a:cubicBezTo>
                    <a:pt x="168" y="91"/>
                    <a:pt x="168" y="95"/>
                    <a:pt x="168" y="95"/>
                  </a:cubicBezTo>
                  <a:cubicBezTo>
                    <a:pt x="165" y="98"/>
                    <a:pt x="165" y="98"/>
                    <a:pt x="165" y="98"/>
                  </a:cubicBezTo>
                  <a:cubicBezTo>
                    <a:pt x="165" y="98"/>
                    <a:pt x="167" y="102"/>
                    <a:pt x="167" y="103"/>
                  </a:cubicBezTo>
                  <a:cubicBezTo>
                    <a:pt x="167" y="104"/>
                    <a:pt x="168" y="104"/>
                    <a:pt x="168" y="104"/>
                  </a:cubicBezTo>
                  <a:cubicBezTo>
                    <a:pt x="165" y="105"/>
                    <a:pt x="165" y="105"/>
                    <a:pt x="165" y="105"/>
                  </a:cubicBezTo>
                  <a:cubicBezTo>
                    <a:pt x="161" y="105"/>
                    <a:pt x="161" y="105"/>
                    <a:pt x="161" y="105"/>
                  </a:cubicBezTo>
                  <a:cubicBezTo>
                    <a:pt x="153" y="103"/>
                    <a:pt x="153" y="103"/>
                    <a:pt x="153" y="103"/>
                  </a:cubicBezTo>
                  <a:cubicBezTo>
                    <a:pt x="151" y="106"/>
                    <a:pt x="151" y="106"/>
                    <a:pt x="151" y="106"/>
                  </a:cubicBezTo>
                  <a:cubicBezTo>
                    <a:pt x="149" y="106"/>
                    <a:pt x="149" y="106"/>
                    <a:pt x="149" y="106"/>
                  </a:cubicBezTo>
                  <a:cubicBezTo>
                    <a:pt x="149" y="106"/>
                    <a:pt x="148" y="108"/>
                    <a:pt x="146" y="109"/>
                  </a:cubicBezTo>
                  <a:cubicBezTo>
                    <a:pt x="145" y="110"/>
                    <a:pt x="144" y="111"/>
                    <a:pt x="143" y="111"/>
                  </a:cubicBezTo>
                  <a:cubicBezTo>
                    <a:pt x="141" y="112"/>
                    <a:pt x="139" y="110"/>
                    <a:pt x="139" y="110"/>
                  </a:cubicBezTo>
                  <a:cubicBezTo>
                    <a:pt x="136" y="109"/>
                    <a:pt x="136" y="109"/>
                    <a:pt x="136" y="109"/>
                  </a:cubicBezTo>
                  <a:cubicBezTo>
                    <a:pt x="133" y="105"/>
                    <a:pt x="133" y="105"/>
                    <a:pt x="133" y="105"/>
                  </a:cubicBezTo>
                  <a:cubicBezTo>
                    <a:pt x="124" y="99"/>
                    <a:pt x="124" y="99"/>
                    <a:pt x="124" y="99"/>
                  </a:cubicBezTo>
                  <a:cubicBezTo>
                    <a:pt x="119" y="97"/>
                    <a:pt x="119" y="97"/>
                    <a:pt x="119" y="97"/>
                  </a:cubicBezTo>
                  <a:cubicBezTo>
                    <a:pt x="115" y="96"/>
                    <a:pt x="115" y="96"/>
                    <a:pt x="115" y="96"/>
                  </a:cubicBezTo>
                  <a:cubicBezTo>
                    <a:pt x="110" y="96"/>
                    <a:pt x="110" y="96"/>
                    <a:pt x="110" y="96"/>
                  </a:cubicBezTo>
                  <a:cubicBezTo>
                    <a:pt x="106" y="94"/>
                    <a:pt x="106" y="94"/>
                    <a:pt x="106" y="94"/>
                  </a:cubicBezTo>
                  <a:cubicBezTo>
                    <a:pt x="102" y="94"/>
                    <a:pt x="102" y="94"/>
                    <a:pt x="102" y="94"/>
                  </a:cubicBezTo>
                  <a:cubicBezTo>
                    <a:pt x="97" y="92"/>
                    <a:pt x="97" y="92"/>
                    <a:pt x="97" y="92"/>
                  </a:cubicBezTo>
                  <a:cubicBezTo>
                    <a:pt x="93" y="95"/>
                    <a:pt x="93" y="95"/>
                    <a:pt x="93" y="95"/>
                  </a:cubicBezTo>
                  <a:cubicBezTo>
                    <a:pt x="88" y="98"/>
                    <a:pt x="88" y="98"/>
                    <a:pt x="88" y="98"/>
                  </a:cubicBezTo>
                  <a:cubicBezTo>
                    <a:pt x="83" y="103"/>
                    <a:pt x="83" y="103"/>
                    <a:pt x="83" y="103"/>
                  </a:cubicBezTo>
                  <a:cubicBezTo>
                    <a:pt x="83" y="103"/>
                    <a:pt x="80" y="106"/>
                    <a:pt x="78" y="107"/>
                  </a:cubicBezTo>
                  <a:cubicBezTo>
                    <a:pt x="77" y="106"/>
                    <a:pt x="77" y="106"/>
                    <a:pt x="77" y="106"/>
                  </a:cubicBezTo>
                  <a:cubicBezTo>
                    <a:pt x="77" y="106"/>
                    <a:pt x="77" y="103"/>
                    <a:pt x="78" y="101"/>
                  </a:cubicBezTo>
                  <a:cubicBezTo>
                    <a:pt x="79" y="100"/>
                    <a:pt x="79" y="98"/>
                    <a:pt x="79" y="97"/>
                  </a:cubicBezTo>
                  <a:cubicBezTo>
                    <a:pt x="79" y="96"/>
                    <a:pt x="79" y="94"/>
                    <a:pt x="78" y="92"/>
                  </a:cubicBezTo>
                  <a:cubicBezTo>
                    <a:pt x="78" y="90"/>
                    <a:pt x="77" y="87"/>
                    <a:pt x="77" y="87"/>
                  </a:cubicBezTo>
                  <a:cubicBezTo>
                    <a:pt x="80" y="85"/>
                    <a:pt x="80" y="85"/>
                    <a:pt x="80" y="85"/>
                  </a:cubicBezTo>
                  <a:cubicBezTo>
                    <a:pt x="78" y="80"/>
                    <a:pt x="78" y="80"/>
                    <a:pt x="78" y="80"/>
                  </a:cubicBezTo>
                  <a:cubicBezTo>
                    <a:pt x="76" y="80"/>
                    <a:pt x="76" y="80"/>
                    <a:pt x="76" y="80"/>
                  </a:cubicBezTo>
                  <a:cubicBezTo>
                    <a:pt x="73" y="80"/>
                    <a:pt x="73" y="80"/>
                    <a:pt x="73" y="80"/>
                  </a:cubicBezTo>
                  <a:cubicBezTo>
                    <a:pt x="71" y="83"/>
                    <a:pt x="71" y="83"/>
                    <a:pt x="71" y="83"/>
                  </a:cubicBezTo>
                  <a:cubicBezTo>
                    <a:pt x="71" y="83"/>
                    <a:pt x="72" y="85"/>
                    <a:pt x="72" y="86"/>
                  </a:cubicBezTo>
                  <a:cubicBezTo>
                    <a:pt x="71" y="87"/>
                    <a:pt x="69" y="87"/>
                    <a:pt x="69" y="87"/>
                  </a:cubicBezTo>
                  <a:cubicBezTo>
                    <a:pt x="68" y="88"/>
                    <a:pt x="68" y="91"/>
                    <a:pt x="68" y="91"/>
                  </a:cubicBezTo>
                  <a:cubicBezTo>
                    <a:pt x="64" y="87"/>
                    <a:pt x="64" y="87"/>
                    <a:pt x="64" y="87"/>
                  </a:cubicBezTo>
                  <a:cubicBezTo>
                    <a:pt x="64" y="87"/>
                    <a:pt x="62" y="87"/>
                    <a:pt x="61" y="86"/>
                  </a:cubicBezTo>
                  <a:cubicBezTo>
                    <a:pt x="60" y="86"/>
                    <a:pt x="58" y="86"/>
                    <a:pt x="58" y="86"/>
                  </a:cubicBezTo>
                  <a:cubicBezTo>
                    <a:pt x="58" y="86"/>
                    <a:pt x="58" y="86"/>
                    <a:pt x="57" y="86"/>
                  </a:cubicBezTo>
                  <a:cubicBezTo>
                    <a:pt x="55" y="86"/>
                    <a:pt x="55" y="86"/>
                    <a:pt x="54" y="84"/>
                  </a:cubicBezTo>
                  <a:cubicBezTo>
                    <a:pt x="53" y="82"/>
                    <a:pt x="50" y="77"/>
                    <a:pt x="50" y="77"/>
                  </a:cubicBezTo>
                  <a:cubicBezTo>
                    <a:pt x="50" y="77"/>
                    <a:pt x="49" y="75"/>
                    <a:pt x="48" y="75"/>
                  </a:cubicBezTo>
                  <a:cubicBezTo>
                    <a:pt x="48" y="75"/>
                    <a:pt x="47" y="77"/>
                    <a:pt x="47" y="77"/>
                  </a:cubicBezTo>
                  <a:cubicBezTo>
                    <a:pt x="46" y="77"/>
                    <a:pt x="46" y="75"/>
                    <a:pt x="46" y="74"/>
                  </a:cubicBezTo>
                  <a:cubicBezTo>
                    <a:pt x="46" y="73"/>
                    <a:pt x="46" y="72"/>
                    <a:pt x="46" y="70"/>
                  </a:cubicBezTo>
                  <a:cubicBezTo>
                    <a:pt x="46" y="68"/>
                    <a:pt x="45" y="66"/>
                    <a:pt x="46" y="66"/>
                  </a:cubicBezTo>
                  <a:cubicBezTo>
                    <a:pt x="46" y="66"/>
                    <a:pt x="47" y="67"/>
                    <a:pt x="48" y="67"/>
                  </a:cubicBezTo>
                  <a:cubicBezTo>
                    <a:pt x="49" y="67"/>
                    <a:pt x="49" y="65"/>
                    <a:pt x="49" y="65"/>
                  </a:cubicBezTo>
                  <a:cubicBezTo>
                    <a:pt x="50" y="65"/>
                    <a:pt x="51" y="66"/>
                    <a:pt x="51" y="66"/>
                  </a:cubicBezTo>
                  <a:cubicBezTo>
                    <a:pt x="52" y="66"/>
                    <a:pt x="53" y="66"/>
                    <a:pt x="53" y="66"/>
                  </a:cubicBezTo>
                  <a:cubicBezTo>
                    <a:pt x="54" y="65"/>
                    <a:pt x="54" y="65"/>
                    <a:pt x="54" y="64"/>
                  </a:cubicBezTo>
                  <a:cubicBezTo>
                    <a:pt x="54" y="63"/>
                    <a:pt x="53" y="62"/>
                    <a:pt x="53" y="62"/>
                  </a:cubicBezTo>
                  <a:cubicBezTo>
                    <a:pt x="52" y="62"/>
                    <a:pt x="46" y="65"/>
                    <a:pt x="46" y="65"/>
                  </a:cubicBezTo>
                  <a:cubicBezTo>
                    <a:pt x="42" y="65"/>
                    <a:pt x="42" y="65"/>
                    <a:pt x="42" y="65"/>
                  </a:cubicBezTo>
                  <a:cubicBezTo>
                    <a:pt x="44" y="63"/>
                    <a:pt x="44" y="63"/>
                    <a:pt x="44" y="63"/>
                  </a:cubicBezTo>
                  <a:cubicBezTo>
                    <a:pt x="42" y="61"/>
                    <a:pt x="42" y="61"/>
                    <a:pt x="42" y="61"/>
                  </a:cubicBezTo>
                  <a:cubicBezTo>
                    <a:pt x="42" y="59"/>
                    <a:pt x="42" y="59"/>
                    <a:pt x="42" y="59"/>
                  </a:cubicBezTo>
                  <a:cubicBezTo>
                    <a:pt x="40" y="58"/>
                    <a:pt x="40" y="58"/>
                    <a:pt x="40" y="58"/>
                  </a:cubicBezTo>
                  <a:cubicBezTo>
                    <a:pt x="41" y="56"/>
                    <a:pt x="41" y="56"/>
                    <a:pt x="41" y="56"/>
                  </a:cubicBezTo>
                  <a:cubicBezTo>
                    <a:pt x="43" y="56"/>
                    <a:pt x="43" y="56"/>
                    <a:pt x="43" y="56"/>
                  </a:cubicBezTo>
                  <a:cubicBezTo>
                    <a:pt x="45" y="55"/>
                    <a:pt x="45" y="55"/>
                    <a:pt x="45" y="55"/>
                  </a:cubicBezTo>
                  <a:cubicBezTo>
                    <a:pt x="45" y="51"/>
                    <a:pt x="45" y="51"/>
                    <a:pt x="45" y="51"/>
                  </a:cubicBezTo>
                  <a:cubicBezTo>
                    <a:pt x="43" y="52"/>
                    <a:pt x="43" y="52"/>
                    <a:pt x="43" y="52"/>
                  </a:cubicBezTo>
                  <a:cubicBezTo>
                    <a:pt x="44" y="54"/>
                    <a:pt x="44" y="54"/>
                    <a:pt x="44" y="54"/>
                  </a:cubicBezTo>
                  <a:cubicBezTo>
                    <a:pt x="40" y="54"/>
                    <a:pt x="40" y="54"/>
                    <a:pt x="40" y="54"/>
                  </a:cubicBezTo>
                  <a:cubicBezTo>
                    <a:pt x="39" y="52"/>
                    <a:pt x="39" y="52"/>
                    <a:pt x="39" y="52"/>
                  </a:cubicBezTo>
                  <a:close/>
                  <a:moveTo>
                    <a:pt x="23" y="103"/>
                  </a:moveTo>
                  <a:cubicBezTo>
                    <a:pt x="23" y="103"/>
                    <a:pt x="23" y="103"/>
                    <a:pt x="23" y="103"/>
                  </a:cubicBezTo>
                  <a:cubicBezTo>
                    <a:pt x="23" y="103"/>
                    <a:pt x="25" y="103"/>
                    <a:pt x="25" y="103"/>
                  </a:cubicBezTo>
                  <a:cubicBezTo>
                    <a:pt x="25" y="103"/>
                    <a:pt x="26" y="104"/>
                    <a:pt x="25" y="104"/>
                  </a:cubicBezTo>
                  <a:cubicBezTo>
                    <a:pt x="25" y="105"/>
                    <a:pt x="26" y="105"/>
                    <a:pt x="25" y="105"/>
                  </a:cubicBezTo>
                  <a:cubicBezTo>
                    <a:pt x="24" y="105"/>
                    <a:pt x="22" y="106"/>
                    <a:pt x="22" y="105"/>
                  </a:cubicBezTo>
                  <a:cubicBezTo>
                    <a:pt x="22" y="105"/>
                    <a:pt x="23" y="104"/>
                    <a:pt x="23" y="104"/>
                  </a:cubicBezTo>
                  <a:cubicBezTo>
                    <a:pt x="23" y="103"/>
                    <a:pt x="23" y="103"/>
                    <a:pt x="23" y="103"/>
                  </a:cubicBezTo>
                  <a:close/>
                  <a:moveTo>
                    <a:pt x="64" y="95"/>
                  </a:moveTo>
                  <a:cubicBezTo>
                    <a:pt x="64" y="95"/>
                    <a:pt x="64" y="95"/>
                    <a:pt x="64" y="95"/>
                  </a:cubicBezTo>
                  <a:cubicBezTo>
                    <a:pt x="64" y="95"/>
                    <a:pt x="63" y="98"/>
                    <a:pt x="64" y="98"/>
                  </a:cubicBezTo>
                  <a:cubicBezTo>
                    <a:pt x="64" y="98"/>
                    <a:pt x="65" y="98"/>
                    <a:pt x="66" y="98"/>
                  </a:cubicBezTo>
                  <a:cubicBezTo>
                    <a:pt x="67" y="97"/>
                    <a:pt x="67" y="97"/>
                    <a:pt x="67" y="97"/>
                  </a:cubicBezTo>
                  <a:cubicBezTo>
                    <a:pt x="67" y="96"/>
                    <a:pt x="67" y="95"/>
                    <a:pt x="67" y="95"/>
                  </a:cubicBezTo>
                  <a:cubicBezTo>
                    <a:pt x="64" y="95"/>
                    <a:pt x="64" y="95"/>
                    <a:pt x="64" y="95"/>
                  </a:cubicBezTo>
                  <a:close/>
                  <a:moveTo>
                    <a:pt x="9" y="91"/>
                  </a:moveTo>
                  <a:cubicBezTo>
                    <a:pt x="9" y="91"/>
                    <a:pt x="9" y="91"/>
                    <a:pt x="9" y="91"/>
                  </a:cubicBezTo>
                  <a:cubicBezTo>
                    <a:pt x="8" y="92"/>
                    <a:pt x="8" y="92"/>
                    <a:pt x="8" y="92"/>
                  </a:cubicBezTo>
                  <a:cubicBezTo>
                    <a:pt x="8" y="92"/>
                    <a:pt x="7" y="89"/>
                    <a:pt x="7" y="88"/>
                  </a:cubicBezTo>
                  <a:cubicBezTo>
                    <a:pt x="7" y="88"/>
                    <a:pt x="5" y="87"/>
                    <a:pt x="5" y="87"/>
                  </a:cubicBezTo>
                  <a:cubicBezTo>
                    <a:pt x="5" y="87"/>
                    <a:pt x="4" y="87"/>
                    <a:pt x="4" y="87"/>
                  </a:cubicBezTo>
                  <a:cubicBezTo>
                    <a:pt x="3" y="87"/>
                    <a:pt x="3" y="88"/>
                    <a:pt x="3" y="88"/>
                  </a:cubicBezTo>
                  <a:cubicBezTo>
                    <a:pt x="2" y="88"/>
                    <a:pt x="2" y="88"/>
                    <a:pt x="2" y="88"/>
                  </a:cubicBezTo>
                  <a:cubicBezTo>
                    <a:pt x="2" y="88"/>
                    <a:pt x="1" y="88"/>
                    <a:pt x="1" y="88"/>
                  </a:cubicBezTo>
                  <a:cubicBezTo>
                    <a:pt x="0" y="89"/>
                    <a:pt x="1" y="90"/>
                    <a:pt x="1" y="90"/>
                  </a:cubicBezTo>
                  <a:cubicBezTo>
                    <a:pt x="1" y="90"/>
                    <a:pt x="2" y="90"/>
                    <a:pt x="3" y="91"/>
                  </a:cubicBezTo>
                  <a:cubicBezTo>
                    <a:pt x="4" y="91"/>
                    <a:pt x="4" y="91"/>
                    <a:pt x="4" y="91"/>
                  </a:cubicBezTo>
                  <a:cubicBezTo>
                    <a:pt x="4" y="91"/>
                    <a:pt x="6" y="93"/>
                    <a:pt x="7" y="94"/>
                  </a:cubicBezTo>
                  <a:cubicBezTo>
                    <a:pt x="7" y="94"/>
                    <a:pt x="7" y="95"/>
                    <a:pt x="7" y="95"/>
                  </a:cubicBezTo>
                  <a:cubicBezTo>
                    <a:pt x="4" y="97"/>
                    <a:pt x="4" y="97"/>
                    <a:pt x="4" y="97"/>
                  </a:cubicBezTo>
                  <a:cubicBezTo>
                    <a:pt x="4" y="97"/>
                    <a:pt x="5" y="98"/>
                    <a:pt x="5" y="98"/>
                  </a:cubicBezTo>
                  <a:cubicBezTo>
                    <a:pt x="6" y="98"/>
                    <a:pt x="4" y="99"/>
                    <a:pt x="4" y="99"/>
                  </a:cubicBezTo>
                  <a:cubicBezTo>
                    <a:pt x="4" y="99"/>
                    <a:pt x="4" y="101"/>
                    <a:pt x="4" y="101"/>
                  </a:cubicBezTo>
                  <a:cubicBezTo>
                    <a:pt x="4" y="101"/>
                    <a:pt x="5" y="102"/>
                    <a:pt x="7" y="102"/>
                  </a:cubicBezTo>
                  <a:cubicBezTo>
                    <a:pt x="9" y="103"/>
                    <a:pt x="9" y="102"/>
                    <a:pt x="9" y="102"/>
                  </a:cubicBezTo>
                  <a:cubicBezTo>
                    <a:pt x="10" y="103"/>
                    <a:pt x="10" y="103"/>
                    <a:pt x="10" y="103"/>
                  </a:cubicBezTo>
                  <a:cubicBezTo>
                    <a:pt x="10" y="104"/>
                    <a:pt x="10" y="104"/>
                    <a:pt x="10" y="104"/>
                  </a:cubicBezTo>
                  <a:cubicBezTo>
                    <a:pt x="11" y="105"/>
                    <a:pt x="11" y="105"/>
                    <a:pt x="11" y="105"/>
                  </a:cubicBezTo>
                  <a:cubicBezTo>
                    <a:pt x="14" y="106"/>
                    <a:pt x="14" y="106"/>
                    <a:pt x="14" y="106"/>
                  </a:cubicBezTo>
                  <a:cubicBezTo>
                    <a:pt x="14" y="107"/>
                    <a:pt x="14" y="107"/>
                    <a:pt x="14" y="107"/>
                  </a:cubicBezTo>
                  <a:cubicBezTo>
                    <a:pt x="14" y="110"/>
                    <a:pt x="14" y="110"/>
                    <a:pt x="14" y="110"/>
                  </a:cubicBezTo>
                  <a:cubicBezTo>
                    <a:pt x="14" y="110"/>
                    <a:pt x="13" y="110"/>
                    <a:pt x="12" y="110"/>
                  </a:cubicBezTo>
                  <a:cubicBezTo>
                    <a:pt x="12" y="111"/>
                    <a:pt x="12" y="112"/>
                    <a:pt x="11" y="112"/>
                  </a:cubicBezTo>
                  <a:cubicBezTo>
                    <a:pt x="11" y="112"/>
                    <a:pt x="11" y="114"/>
                    <a:pt x="10" y="115"/>
                  </a:cubicBezTo>
                  <a:cubicBezTo>
                    <a:pt x="10" y="116"/>
                    <a:pt x="11" y="117"/>
                    <a:pt x="11" y="118"/>
                  </a:cubicBezTo>
                  <a:cubicBezTo>
                    <a:pt x="11" y="120"/>
                    <a:pt x="12" y="119"/>
                    <a:pt x="13" y="119"/>
                  </a:cubicBezTo>
                  <a:cubicBezTo>
                    <a:pt x="13" y="119"/>
                    <a:pt x="14" y="118"/>
                    <a:pt x="14" y="118"/>
                  </a:cubicBezTo>
                  <a:cubicBezTo>
                    <a:pt x="15" y="118"/>
                    <a:pt x="16" y="116"/>
                    <a:pt x="17" y="115"/>
                  </a:cubicBezTo>
                  <a:cubicBezTo>
                    <a:pt x="17" y="114"/>
                    <a:pt x="17" y="113"/>
                    <a:pt x="17" y="113"/>
                  </a:cubicBezTo>
                  <a:cubicBezTo>
                    <a:pt x="16" y="112"/>
                    <a:pt x="17" y="110"/>
                    <a:pt x="17" y="110"/>
                  </a:cubicBezTo>
                  <a:cubicBezTo>
                    <a:pt x="17" y="109"/>
                    <a:pt x="17" y="109"/>
                    <a:pt x="17" y="109"/>
                  </a:cubicBezTo>
                  <a:cubicBezTo>
                    <a:pt x="16" y="105"/>
                    <a:pt x="16" y="105"/>
                    <a:pt x="16" y="105"/>
                  </a:cubicBezTo>
                  <a:cubicBezTo>
                    <a:pt x="18" y="101"/>
                    <a:pt x="18" y="101"/>
                    <a:pt x="18" y="101"/>
                  </a:cubicBezTo>
                  <a:cubicBezTo>
                    <a:pt x="20" y="101"/>
                    <a:pt x="20" y="101"/>
                    <a:pt x="20" y="101"/>
                  </a:cubicBezTo>
                  <a:cubicBezTo>
                    <a:pt x="23" y="99"/>
                    <a:pt x="23" y="99"/>
                    <a:pt x="23" y="99"/>
                  </a:cubicBezTo>
                  <a:cubicBezTo>
                    <a:pt x="23" y="99"/>
                    <a:pt x="23" y="99"/>
                    <a:pt x="23" y="99"/>
                  </a:cubicBezTo>
                  <a:cubicBezTo>
                    <a:pt x="23" y="99"/>
                    <a:pt x="24" y="99"/>
                    <a:pt x="25" y="98"/>
                  </a:cubicBezTo>
                  <a:cubicBezTo>
                    <a:pt x="27" y="98"/>
                    <a:pt x="26" y="99"/>
                    <a:pt x="27" y="99"/>
                  </a:cubicBezTo>
                  <a:cubicBezTo>
                    <a:pt x="27" y="100"/>
                    <a:pt x="28" y="100"/>
                    <a:pt x="29" y="100"/>
                  </a:cubicBezTo>
                  <a:cubicBezTo>
                    <a:pt x="29" y="100"/>
                    <a:pt x="30" y="98"/>
                    <a:pt x="30" y="98"/>
                  </a:cubicBezTo>
                  <a:cubicBezTo>
                    <a:pt x="30" y="97"/>
                    <a:pt x="29" y="97"/>
                    <a:pt x="29" y="97"/>
                  </a:cubicBezTo>
                  <a:cubicBezTo>
                    <a:pt x="28" y="95"/>
                    <a:pt x="28" y="95"/>
                    <a:pt x="28" y="95"/>
                  </a:cubicBezTo>
                  <a:cubicBezTo>
                    <a:pt x="31" y="94"/>
                    <a:pt x="31" y="94"/>
                    <a:pt x="31" y="94"/>
                  </a:cubicBezTo>
                  <a:cubicBezTo>
                    <a:pt x="32" y="93"/>
                    <a:pt x="32" y="93"/>
                    <a:pt x="32" y="93"/>
                  </a:cubicBezTo>
                  <a:cubicBezTo>
                    <a:pt x="34" y="91"/>
                    <a:pt x="34" y="91"/>
                    <a:pt x="34" y="91"/>
                  </a:cubicBezTo>
                  <a:cubicBezTo>
                    <a:pt x="33" y="89"/>
                    <a:pt x="33" y="89"/>
                    <a:pt x="33" y="89"/>
                  </a:cubicBezTo>
                  <a:cubicBezTo>
                    <a:pt x="33" y="89"/>
                    <a:pt x="35" y="89"/>
                    <a:pt x="36" y="89"/>
                  </a:cubicBezTo>
                  <a:cubicBezTo>
                    <a:pt x="36" y="89"/>
                    <a:pt x="36" y="88"/>
                    <a:pt x="36" y="88"/>
                  </a:cubicBezTo>
                  <a:cubicBezTo>
                    <a:pt x="35" y="86"/>
                    <a:pt x="35" y="86"/>
                    <a:pt x="35" y="86"/>
                  </a:cubicBezTo>
                  <a:cubicBezTo>
                    <a:pt x="35" y="86"/>
                    <a:pt x="37" y="86"/>
                    <a:pt x="38" y="85"/>
                  </a:cubicBezTo>
                  <a:cubicBezTo>
                    <a:pt x="38" y="85"/>
                    <a:pt x="37" y="84"/>
                    <a:pt x="37" y="84"/>
                  </a:cubicBezTo>
                  <a:cubicBezTo>
                    <a:pt x="37" y="83"/>
                    <a:pt x="38" y="82"/>
                    <a:pt x="38" y="82"/>
                  </a:cubicBezTo>
                  <a:cubicBezTo>
                    <a:pt x="38" y="82"/>
                    <a:pt x="40" y="84"/>
                    <a:pt x="41" y="84"/>
                  </a:cubicBezTo>
                  <a:cubicBezTo>
                    <a:pt x="42" y="85"/>
                    <a:pt x="42" y="84"/>
                    <a:pt x="43" y="84"/>
                  </a:cubicBezTo>
                  <a:cubicBezTo>
                    <a:pt x="43" y="83"/>
                    <a:pt x="42" y="82"/>
                    <a:pt x="42" y="82"/>
                  </a:cubicBezTo>
                  <a:cubicBezTo>
                    <a:pt x="41" y="81"/>
                    <a:pt x="41" y="81"/>
                    <a:pt x="41" y="81"/>
                  </a:cubicBezTo>
                  <a:cubicBezTo>
                    <a:pt x="38" y="80"/>
                    <a:pt x="38" y="80"/>
                    <a:pt x="38" y="80"/>
                  </a:cubicBezTo>
                  <a:cubicBezTo>
                    <a:pt x="34" y="78"/>
                    <a:pt x="34" y="78"/>
                    <a:pt x="34" y="78"/>
                  </a:cubicBezTo>
                  <a:cubicBezTo>
                    <a:pt x="34" y="78"/>
                    <a:pt x="31" y="78"/>
                    <a:pt x="31" y="77"/>
                  </a:cubicBezTo>
                  <a:cubicBezTo>
                    <a:pt x="30" y="77"/>
                    <a:pt x="30" y="77"/>
                    <a:pt x="30" y="77"/>
                  </a:cubicBezTo>
                  <a:cubicBezTo>
                    <a:pt x="30" y="77"/>
                    <a:pt x="28" y="77"/>
                    <a:pt x="28" y="77"/>
                  </a:cubicBezTo>
                  <a:cubicBezTo>
                    <a:pt x="27" y="77"/>
                    <a:pt x="26" y="78"/>
                    <a:pt x="25" y="79"/>
                  </a:cubicBezTo>
                  <a:cubicBezTo>
                    <a:pt x="25" y="79"/>
                    <a:pt x="24" y="80"/>
                    <a:pt x="23" y="80"/>
                  </a:cubicBezTo>
                  <a:cubicBezTo>
                    <a:pt x="23" y="80"/>
                    <a:pt x="22" y="78"/>
                    <a:pt x="22" y="78"/>
                  </a:cubicBezTo>
                  <a:cubicBezTo>
                    <a:pt x="20" y="78"/>
                    <a:pt x="20" y="78"/>
                    <a:pt x="20" y="78"/>
                  </a:cubicBezTo>
                  <a:cubicBezTo>
                    <a:pt x="20" y="78"/>
                    <a:pt x="19" y="80"/>
                    <a:pt x="19" y="81"/>
                  </a:cubicBezTo>
                  <a:cubicBezTo>
                    <a:pt x="19" y="81"/>
                    <a:pt x="17" y="81"/>
                    <a:pt x="16" y="81"/>
                  </a:cubicBezTo>
                  <a:cubicBezTo>
                    <a:pt x="15" y="82"/>
                    <a:pt x="14" y="82"/>
                    <a:pt x="13" y="83"/>
                  </a:cubicBezTo>
                  <a:cubicBezTo>
                    <a:pt x="12" y="83"/>
                    <a:pt x="14" y="84"/>
                    <a:pt x="14" y="84"/>
                  </a:cubicBezTo>
                  <a:cubicBezTo>
                    <a:pt x="14" y="86"/>
                    <a:pt x="14" y="86"/>
                    <a:pt x="14" y="86"/>
                  </a:cubicBezTo>
                  <a:cubicBezTo>
                    <a:pt x="12" y="86"/>
                    <a:pt x="12" y="86"/>
                    <a:pt x="12" y="86"/>
                  </a:cubicBezTo>
                  <a:cubicBezTo>
                    <a:pt x="11" y="85"/>
                    <a:pt x="11" y="85"/>
                    <a:pt x="11" y="85"/>
                  </a:cubicBezTo>
                  <a:cubicBezTo>
                    <a:pt x="9" y="87"/>
                    <a:pt x="9" y="87"/>
                    <a:pt x="9" y="87"/>
                  </a:cubicBezTo>
                  <a:cubicBezTo>
                    <a:pt x="8" y="89"/>
                    <a:pt x="8" y="89"/>
                    <a:pt x="8" y="89"/>
                  </a:cubicBezTo>
                  <a:cubicBezTo>
                    <a:pt x="8" y="89"/>
                    <a:pt x="9" y="91"/>
                    <a:pt x="9" y="91"/>
                  </a:cubicBezTo>
                  <a:close/>
                  <a:moveTo>
                    <a:pt x="35" y="76"/>
                  </a:moveTo>
                  <a:cubicBezTo>
                    <a:pt x="35" y="76"/>
                    <a:pt x="35" y="76"/>
                    <a:pt x="35" y="76"/>
                  </a:cubicBezTo>
                  <a:cubicBezTo>
                    <a:pt x="36" y="77"/>
                    <a:pt x="36" y="77"/>
                    <a:pt x="36" y="77"/>
                  </a:cubicBezTo>
                  <a:cubicBezTo>
                    <a:pt x="36" y="77"/>
                    <a:pt x="37" y="78"/>
                    <a:pt x="39" y="78"/>
                  </a:cubicBezTo>
                  <a:cubicBezTo>
                    <a:pt x="42" y="78"/>
                    <a:pt x="42" y="80"/>
                    <a:pt x="44" y="78"/>
                  </a:cubicBezTo>
                  <a:cubicBezTo>
                    <a:pt x="44" y="77"/>
                    <a:pt x="44" y="77"/>
                    <a:pt x="43" y="76"/>
                  </a:cubicBezTo>
                  <a:cubicBezTo>
                    <a:pt x="43" y="75"/>
                    <a:pt x="42" y="75"/>
                    <a:pt x="42" y="74"/>
                  </a:cubicBezTo>
                  <a:cubicBezTo>
                    <a:pt x="42" y="74"/>
                    <a:pt x="42" y="74"/>
                    <a:pt x="40" y="72"/>
                  </a:cubicBezTo>
                  <a:cubicBezTo>
                    <a:pt x="39" y="71"/>
                    <a:pt x="39" y="72"/>
                    <a:pt x="38" y="72"/>
                  </a:cubicBezTo>
                  <a:cubicBezTo>
                    <a:pt x="37" y="72"/>
                    <a:pt x="36" y="72"/>
                    <a:pt x="35" y="72"/>
                  </a:cubicBezTo>
                  <a:cubicBezTo>
                    <a:pt x="34" y="73"/>
                    <a:pt x="36" y="74"/>
                    <a:pt x="36" y="75"/>
                  </a:cubicBezTo>
                  <a:cubicBezTo>
                    <a:pt x="36" y="75"/>
                    <a:pt x="35" y="76"/>
                    <a:pt x="35" y="76"/>
                  </a:cubicBezTo>
                  <a:close/>
                  <a:moveTo>
                    <a:pt x="22" y="57"/>
                  </a:moveTo>
                  <a:cubicBezTo>
                    <a:pt x="22" y="57"/>
                    <a:pt x="22" y="57"/>
                    <a:pt x="22" y="57"/>
                  </a:cubicBezTo>
                  <a:cubicBezTo>
                    <a:pt x="22" y="56"/>
                    <a:pt x="24" y="56"/>
                    <a:pt x="25" y="57"/>
                  </a:cubicBezTo>
                  <a:cubicBezTo>
                    <a:pt x="25" y="57"/>
                    <a:pt x="27" y="58"/>
                    <a:pt x="27" y="59"/>
                  </a:cubicBezTo>
                  <a:cubicBezTo>
                    <a:pt x="27" y="59"/>
                    <a:pt x="28" y="59"/>
                    <a:pt x="28" y="60"/>
                  </a:cubicBezTo>
                  <a:cubicBezTo>
                    <a:pt x="28" y="60"/>
                    <a:pt x="29" y="61"/>
                    <a:pt x="29" y="62"/>
                  </a:cubicBezTo>
                  <a:cubicBezTo>
                    <a:pt x="30" y="63"/>
                    <a:pt x="31" y="64"/>
                    <a:pt x="31" y="64"/>
                  </a:cubicBezTo>
                  <a:cubicBezTo>
                    <a:pt x="31" y="64"/>
                    <a:pt x="32" y="65"/>
                    <a:pt x="31" y="65"/>
                  </a:cubicBezTo>
                  <a:cubicBezTo>
                    <a:pt x="30" y="65"/>
                    <a:pt x="27" y="65"/>
                    <a:pt x="27" y="65"/>
                  </a:cubicBezTo>
                  <a:cubicBezTo>
                    <a:pt x="27" y="65"/>
                    <a:pt x="26" y="66"/>
                    <a:pt x="26" y="66"/>
                  </a:cubicBezTo>
                  <a:cubicBezTo>
                    <a:pt x="26" y="67"/>
                    <a:pt x="28" y="68"/>
                    <a:pt x="27" y="68"/>
                  </a:cubicBezTo>
                  <a:cubicBezTo>
                    <a:pt x="26" y="69"/>
                    <a:pt x="26" y="69"/>
                    <a:pt x="25" y="69"/>
                  </a:cubicBezTo>
                  <a:cubicBezTo>
                    <a:pt x="24" y="68"/>
                    <a:pt x="23" y="66"/>
                    <a:pt x="23" y="66"/>
                  </a:cubicBezTo>
                  <a:cubicBezTo>
                    <a:pt x="22" y="67"/>
                    <a:pt x="22" y="70"/>
                    <a:pt x="22" y="70"/>
                  </a:cubicBezTo>
                  <a:cubicBezTo>
                    <a:pt x="22" y="71"/>
                    <a:pt x="23" y="72"/>
                    <a:pt x="22" y="73"/>
                  </a:cubicBezTo>
                  <a:cubicBezTo>
                    <a:pt x="22" y="73"/>
                    <a:pt x="19" y="74"/>
                    <a:pt x="19" y="74"/>
                  </a:cubicBezTo>
                  <a:cubicBezTo>
                    <a:pt x="19" y="74"/>
                    <a:pt x="18" y="74"/>
                    <a:pt x="18" y="74"/>
                  </a:cubicBezTo>
                  <a:cubicBezTo>
                    <a:pt x="17" y="74"/>
                    <a:pt x="15" y="72"/>
                    <a:pt x="14" y="71"/>
                  </a:cubicBezTo>
                  <a:cubicBezTo>
                    <a:pt x="14" y="70"/>
                    <a:pt x="14" y="68"/>
                    <a:pt x="14" y="68"/>
                  </a:cubicBezTo>
                  <a:cubicBezTo>
                    <a:pt x="13" y="67"/>
                    <a:pt x="12" y="66"/>
                    <a:pt x="12" y="66"/>
                  </a:cubicBezTo>
                  <a:cubicBezTo>
                    <a:pt x="12" y="66"/>
                    <a:pt x="13" y="65"/>
                    <a:pt x="11" y="66"/>
                  </a:cubicBezTo>
                  <a:cubicBezTo>
                    <a:pt x="8" y="66"/>
                    <a:pt x="9" y="67"/>
                    <a:pt x="8" y="67"/>
                  </a:cubicBezTo>
                  <a:cubicBezTo>
                    <a:pt x="7" y="66"/>
                    <a:pt x="7" y="65"/>
                    <a:pt x="5" y="65"/>
                  </a:cubicBezTo>
                  <a:cubicBezTo>
                    <a:pt x="4" y="65"/>
                    <a:pt x="3" y="64"/>
                    <a:pt x="3" y="64"/>
                  </a:cubicBezTo>
                  <a:cubicBezTo>
                    <a:pt x="3" y="64"/>
                    <a:pt x="6" y="62"/>
                    <a:pt x="7" y="62"/>
                  </a:cubicBezTo>
                  <a:cubicBezTo>
                    <a:pt x="8" y="62"/>
                    <a:pt x="7" y="62"/>
                    <a:pt x="9" y="62"/>
                  </a:cubicBezTo>
                  <a:cubicBezTo>
                    <a:pt x="12" y="61"/>
                    <a:pt x="13" y="63"/>
                    <a:pt x="13" y="61"/>
                  </a:cubicBezTo>
                  <a:cubicBezTo>
                    <a:pt x="14" y="59"/>
                    <a:pt x="14" y="58"/>
                    <a:pt x="15" y="57"/>
                  </a:cubicBezTo>
                  <a:cubicBezTo>
                    <a:pt x="15" y="56"/>
                    <a:pt x="16" y="54"/>
                    <a:pt x="16" y="54"/>
                  </a:cubicBezTo>
                  <a:cubicBezTo>
                    <a:pt x="16" y="53"/>
                    <a:pt x="19" y="53"/>
                    <a:pt x="19" y="53"/>
                  </a:cubicBezTo>
                  <a:cubicBezTo>
                    <a:pt x="20" y="56"/>
                    <a:pt x="20" y="56"/>
                    <a:pt x="20" y="56"/>
                  </a:cubicBezTo>
                  <a:cubicBezTo>
                    <a:pt x="20" y="56"/>
                    <a:pt x="20" y="57"/>
                    <a:pt x="21" y="57"/>
                  </a:cubicBezTo>
                  <a:cubicBezTo>
                    <a:pt x="22" y="57"/>
                    <a:pt x="22" y="57"/>
                    <a:pt x="22" y="57"/>
                  </a:cubicBezTo>
                  <a:close/>
                  <a:moveTo>
                    <a:pt x="36" y="52"/>
                  </a:moveTo>
                  <a:cubicBezTo>
                    <a:pt x="36" y="52"/>
                    <a:pt x="36" y="52"/>
                    <a:pt x="36" y="52"/>
                  </a:cubicBezTo>
                  <a:cubicBezTo>
                    <a:pt x="35" y="53"/>
                    <a:pt x="35" y="53"/>
                    <a:pt x="35" y="53"/>
                  </a:cubicBezTo>
                  <a:cubicBezTo>
                    <a:pt x="31" y="53"/>
                    <a:pt x="31" y="53"/>
                    <a:pt x="31" y="53"/>
                  </a:cubicBezTo>
                  <a:cubicBezTo>
                    <a:pt x="31" y="55"/>
                    <a:pt x="31" y="55"/>
                    <a:pt x="31" y="55"/>
                  </a:cubicBezTo>
                  <a:cubicBezTo>
                    <a:pt x="33" y="57"/>
                    <a:pt x="33" y="57"/>
                    <a:pt x="33" y="57"/>
                  </a:cubicBezTo>
                  <a:cubicBezTo>
                    <a:pt x="33" y="57"/>
                    <a:pt x="34" y="56"/>
                    <a:pt x="35" y="56"/>
                  </a:cubicBezTo>
                  <a:cubicBezTo>
                    <a:pt x="36" y="56"/>
                    <a:pt x="38" y="56"/>
                    <a:pt x="38" y="56"/>
                  </a:cubicBezTo>
                  <a:cubicBezTo>
                    <a:pt x="39" y="55"/>
                    <a:pt x="39" y="55"/>
                    <a:pt x="39" y="55"/>
                  </a:cubicBezTo>
                  <a:cubicBezTo>
                    <a:pt x="38" y="52"/>
                    <a:pt x="38" y="52"/>
                    <a:pt x="38" y="52"/>
                  </a:cubicBezTo>
                  <a:lnTo>
                    <a:pt x="36" y="52"/>
                  </a:lnTo>
                  <a:close/>
                </a:path>
              </a:pathLst>
            </a:custGeom>
            <a:solidFill>
              <a:srgbClr val="E6EFF1"/>
            </a:solidFill>
            <a:ln w="12700" cap="rnd" cmpd="sng">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Lato Light"/>
              </a:endParaRPr>
            </a:p>
          </p:txBody>
        </p:sp>
        <p:sp>
          <p:nvSpPr>
            <p:cNvPr id="31" name="Freeform 195">
              <a:extLst>
                <a:ext uri="{FF2B5EF4-FFF2-40B4-BE49-F238E27FC236}">
                  <a16:creationId xmlns:a16="http://schemas.microsoft.com/office/drawing/2014/main" id="{817F40B1-2F28-E291-7E98-B812ABA36137}"/>
                </a:ext>
              </a:extLst>
            </p:cNvPr>
            <p:cNvSpPr>
              <a:spLocks/>
            </p:cNvSpPr>
            <p:nvPr/>
          </p:nvSpPr>
          <p:spPr bwMode="auto">
            <a:xfrm>
              <a:off x="5343557" y="4733066"/>
              <a:ext cx="702939" cy="513047"/>
            </a:xfrm>
            <a:custGeom>
              <a:avLst/>
              <a:gdLst>
                <a:gd name="T0" fmla="*/ 7 w 244"/>
                <a:gd name="T1" fmla="*/ 36 h 184"/>
                <a:gd name="T2" fmla="*/ 21 w 244"/>
                <a:gd name="T3" fmla="*/ 52 h 184"/>
                <a:gd name="T4" fmla="*/ 77 w 244"/>
                <a:gd name="T5" fmla="*/ 49 h 184"/>
                <a:gd name="T6" fmla="*/ 144 w 244"/>
                <a:gd name="T7" fmla="*/ 21 h 184"/>
                <a:gd name="T8" fmla="*/ 203 w 244"/>
                <a:gd name="T9" fmla="*/ 3 h 184"/>
                <a:gd name="T10" fmla="*/ 238 w 244"/>
                <a:gd name="T11" fmla="*/ 8 h 184"/>
                <a:gd name="T12" fmla="*/ 241 w 244"/>
                <a:gd name="T13" fmla="*/ 22 h 184"/>
                <a:gd name="T14" fmla="*/ 232 w 244"/>
                <a:gd name="T15" fmla="*/ 27 h 184"/>
                <a:gd name="T16" fmla="*/ 225 w 244"/>
                <a:gd name="T17" fmla="*/ 36 h 184"/>
                <a:gd name="T18" fmla="*/ 225 w 244"/>
                <a:gd name="T19" fmla="*/ 56 h 184"/>
                <a:gd name="T20" fmla="*/ 222 w 244"/>
                <a:gd name="T21" fmla="*/ 69 h 184"/>
                <a:gd name="T22" fmla="*/ 220 w 244"/>
                <a:gd name="T23" fmla="*/ 76 h 184"/>
                <a:gd name="T24" fmla="*/ 216 w 244"/>
                <a:gd name="T25" fmla="*/ 83 h 184"/>
                <a:gd name="T26" fmla="*/ 232 w 244"/>
                <a:gd name="T27" fmla="*/ 92 h 184"/>
                <a:gd name="T28" fmla="*/ 244 w 244"/>
                <a:gd name="T29" fmla="*/ 102 h 184"/>
                <a:gd name="T30" fmla="*/ 231 w 244"/>
                <a:gd name="T31" fmla="*/ 108 h 184"/>
                <a:gd name="T32" fmla="*/ 211 w 244"/>
                <a:gd name="T33" fmla="*/ 106 h 184"/>
                <a:gd name="T34" fmla="*/ 201 w 244"/>
                <a:gd name="T35" fmla="*/ 115 h 184"/>
                <a:gd name="T36" fmla="*/ 188 w 244"/>
                <a:gd name="T37" fmla="*/ 126 h 184"/>
                <a:gd name="T38" fmla="*/ 181 w 244"/>
                <a:gd name="T39" fmla="*/ 135 h 184"/>
                <a:gd name="T40" fmla="*/ 179 w 244"/>
                <a:gd name="T41" fmla="*/ 147 h 184"/>
                <a:gd name="T42" fmla="*/ 174 w 244"/>
                <a:gd name="T43" fmla="*/ 158 h 184"/>
                <a:gd name="T44" fmla="*/ 155 w 244"/>
                <a:gd name="T45" fmla="*/ 165 h 184"/>
                <a:gd name="T46" fmla="*/ 139 w 244"/>
                <a:gd name="T47" fmla="*/ 167 h 184"/>
                <a:gd name="T48" fmla="*/ 116 w 244"/>
                <a:gd name="T49" fmla="*/ 164 h 184"/>
                <a:gd name="T50" fmla="*/ 104 w 244"/>
                <a:gd name="T51" fmla="*/ 163 h 184"/>
                <a:gd name="T52" fmla="*/ 92 w 244"/>
                <a:gd name="T53" fmla="*/ 169 h 184"/>
                <a:gd name="T54" fmla="*/ 70 w 244"/>
                <a:gd name="T55" fmla="*/ 177 h 184"/>
                <a:gd name="T56" fmla="*/ 57 w 244"/>
                <a:gd name="T57" fmla="*/ 184 h 184"/>
                <a:gd name="T58" fmla="*/ 51 w 244"/>
                <a:gd name="T59" fmla="*/ 183 h 184"/>
                <a:gd name="T60" fmla="*/ 48 w 244"/>
                <a:gd name="T61" fmla="*/ 172 h 184"/>
                <a:gd name="T62" fmla="*/ 50 w 244"/>
                <a:gd name="T63" fmla="*/ 165 h 184"/>
                <a:gd name="T64" fmla="*/ 24 w 244"/>
                <a:gd name="T65" fmla="*/ 143 h 184"/>
                <a:gd name="T66" fmla="*/ 21 w 244"/>
                <a:gd name="T67" fmla="*/ 138 h 184"/>
                <a:gd name="T68" fmla="*/ 20 w 244"/>
                <a:gd name="T69" fmla="*/ 133 h 184"/>
                <a:gd name="T70" fmla="*/ 20 w 244"/>
                <a:gd name="T71" fmla="*/ 125 h 184"/>
                <a:gd name="T72" fmla="*/ 16 w 244"/>
                <a:gd name="T73" fmla="*/ 113 h 184"/>
                <a:gd name="T74" fmla="*/ 19 w 244"/>
                <a:gd name="T75" fmla="*/ 106 h 184"/>
                <a:gd name="T76" fmla="*/ 25 w 244"/>
                <a:gd name="T77" fmla="*/ 99 h 184"/>
                <a:gd name="T78" fmla="*/ 33 w 244"/>
                <a:gd name="T79" fmla="*/ 84 h 184"/>
                <a:gd name="T80" fmla="*/ 21 w 244"/>
                <a:gd name="T81" fmla="*/ 77 h 184"/>
                <a:gd name="T82" fmla="*/ 11 w 244"/>
                <a:gd name="T83" fmla="*/ 73 h 184"/>
                <a:gd name="T84" fmla="*/ 2 w 244"/>
                <a:gd name="T85" fmla="*/ 60 h 184"/>
                <a:gd name="T86" fmla="*/ 1 w 244"/>
                <a:gd name="T87" fmla="*/ 47 h 184"/>
                <a:gd name="T88" fmla="*/ 7 w 244"/>
                <a:gd name="T89" fmla="*/ 39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44" h="184">
                  <a:moveTo>
                    <a:pt x="7" y="38"/>
                  </a:moveTo>
                  <a:cubicBezTo>
                    <a:pt x="7" y="36"/>
                    <a:pt x="7" y="36"/>
                    <a:pt x="7" y="36"/>
                  </a:cubicBezTo>
                  <a:cubicBezTo>
                    <a:pt x="7" y="36"/>
                    <a:pt x="7" y="36"/>
                    <a:pt x="7" y="36"/>
                  </a:cubicBezTo>
                  <a:cubicBezTo>
                    <a:pt x="14" y="34"/>
                    <a:pt x="20" y="38"/>
                    <a:pt x="23" y="38"/>
                  </a:cubicBezTo>
                  <a:cubicBezTo>
                    <a:pt x="29" y="39"/>
                    <a:pt x="16" y="46"/>
                    <a:pt x="18" y="46"/>
                  </a:cubicBezTo>
                  <a:cubicBezTo>
                    <a:pt x="20" y="45"/>
                    <a:pt x="18" y="51"/>
                    <a:pt x="21" y="52"/>
                  </a:cubicBezTo>
                  <a:cubicBezTo>
                    <a:pt x="26" y="53"/>
                    <a:pt x="30" y="49"/>
                    <a:pt x="36" y="49"/>
                  </a:cubicBezTo>
                  <a:cubicBezTo>
                    <a:pt x="41" y="48"/>
                    <a:pt x="47" y="51"/>
                    <a:pt x="49" y="49"/>
                  </a:cubicBezTo>
                  <a:cubicBezTo>
                    <a:pt x="53" y="44"/>
                    <a:pt x="69" y="54"/>
                    <a:pt x="77" y="49"/>
                  </a:cubicBezTo>
                  <a:cubicBezTo>
                    <a:pt x="82" y="45"/>
                    <a:pt x="102" y="43"/>
                    <a:pt x="109" y="43"/>
                  </a:cubicBezTo>
                  <a:cubicBezTo>
                    <a:pt x="127" y="42"/>
                    <a:pt x="128" y="42"/>
                    <a:pt x="136" y="37"/>
                  </a:cubicBezTo>
                  <a:cubicBezTo>
                    <a:pt x="136" y="37"/>
                    <a:pt x="141" y="26"/>
                    <a:pt x="144" y="21"/>
                  </a:cubicBezTo>
                  <a:cubicBezTo>
                    <a:pt x="146" y="17"/>
                    <a:pt x="152" y="15"/>
                    <a:pt x="158" y="11"/>
                  </a:cubicBezTo>
                  <a:cubicBezTo>
                    <a:pt x="163" y="7"/>
                    <a:pt x="176" y="3"/>
                    <a:pt x="179" y="2"/>
                  </a:cubicBezTo>
                  <a:cubicBezTo>
                    <a:pt x="182" y="2"/>
                    <a:pt x="203" y="3"/>
                    <a:pt x="203" y="3"/>
                  </a:cubicBezTo>
                  <a:cubicBezTo>
                    <a:pt x="214" y="0"/>
                    <a:pt x="214" y="0"/>
                    <a:pt x="214" y="0"/>
                  </a:cubicBezTo>
                  <a:cubicBezTo>
                    <a:pt x="214" y="0"/>
                    <a:pt x="216" y="8"/>
                    <a:pt x="219" y="9"/>
                  </a:cubicBezTo>
                  <a:cubicBezTo>
                    <a:pt x="228" y="10"/>
                    <a:pt x="235" y="10"/>
                    <a:pt x="238" y="8"/>
                  </a:cubicBezTo>
                  <a:cubicBezTo>
                    <a:pt x="239" y="8"/>
                    <a:pt x="239" y="10"/>
                    <a:pt x="240" y="11"/>
                  </a:cubicBezTo>
                  <a:cubicBezTo>
                    <a:pt x="241" y="13"/>
                    <a:pt x="242" y="17"/>
                    <a:pt x="242" y="17"/>
                  </a:cubicBezTo>
                  <a:cubicBezTo>
                    <a:pt x="241" y="22"/>
                    <a:pt x="241" y="22"/>
                    <a:pt x="241" y="22"/>
                  </a:cubicBezTo>
                  <a:cubicBezTo>
                    <a:pt x="240" y="23"/>
                    <a:pt x="240" y="23"/>
                    <a:pt x="240" y="23"/>
                  </a:cubicBezTo>
                  <a:cubicBezTo>
                    <a:pt x="235" y="26"/>
                    <a:pt x="235" y="26"/>
                    <a:pt x="235" y="26"/>
                  </a:cubicBezTo>
                  <a:cubicBezTo>
                    <a:pt x="235" y="26"/>
                    <a:pt x="233" y="26"/>
                    <a:pt x="232" y="27"/>
                  </a:cubicBezTo>
                  <a:cubicBezTo>
                    <a:pt x="231" y="27"/>
                    <a:pt x="229" y="28"/>
                    <a:pt x="229" y="28"/>
                  </a:cubicBezTo>
                  <a:cubicBezTo>
                    <a:pt x="229" y="28"/>
                    <a:pt x="227" y="30"/>
                    <a:pt x="227" y="31"/>
                  </a:cubicBezTo>
                  <a:cubicBezTo>
                    <a:pt x="226" y="33"/>
                    <a:pt x="225" y="36"/>
                    <a:pt x="225" y="36"/>
                  </a:cubicBezTo>
                  <a:cubicBezTo>
                    <a:pt x="223" y="41"/>
                    <a:pt x="223" y="41"/>
                    <a:pt x="223" y="41"/>
                  </a:cubicBezTo>
                  <a:cubicBezTo>
                    <a:pt x="223" y="48"/>
                    <a:pt x="223" y="48"/>
                    <a:pt x="223" y="48"/>
                  </a:cubicBezTo>
                  <a:cubicBezTo>
                    <a:pt x="225" y="56"/>
                    <a:pt x="225" y="56"/>
                    <a:pt x="225" y="56"/>
                  </a:cubicBezTo>
                  <a:cubicBezTo>
                    <a:pt x="227" y="65"/>
                    <a:pt x="227" y="65"/>
                    <a:pt x="227" y="65"/>
                  </a:cubicBezTo>
                  <a:cubicBezTo>
                    <a:pt x="227" y="65"/>
                    <a:pt x="224" y="68"/>
                    <a:pt x="223" y="68"/>
                  </a:cubicBezTo>
                  <a:cubicBezTo>
                    <a:pt x="223" y="68"/>
                    <a:pt x="222" y="69"/>
                    <a:pt x="222" y="69"/>
                  </a:cubicBezTo>
                  <a:cubicBezTo>
                    <a:pt x="222" y="71"/>
                    <a:pt x="222" y="71"/>
                    <a:pt x="222" y="71"/>
                  </a:cubicBezTo>
                  <a:cubicBezTo>
                    <a:pt x="221" y="74"/>
                    <a:pt x="221" y="74"/>
                    <a:pt x="221" y="74"/>
                  </a:cubicBezTo>
                  <a:cubicBezTo>
                    <a:pt x="220" y="76"/>
                    <a:pt x="220" y="76"/>
                    <a:pt x="220" y="76"/>
                  </a:cubicBezTo>
                  <a:cubicBezTo>
                    <a:pt x="220" y="76"/>
                    <a:pt x="219" y="78"/>
                    <a:pt x="218" y="78"/>
                  </a:cubicBezTo>
                  <a:cubicBezTo>
                    <a:pt x="217" y="79"/>
                    <a:pt x="215" y="81"/>
                    <a:pt x="215" y="81"/>
                  </a:cubicBezTo>
                  <a:cubicBezTo>
                    <a:pt x="216" y="83"/>
                    <a:pt x="216" y="83"/>
                    <a:pt x="216" y="83"/>
                  </a:cubicBezTo>
                  <a:cubicBezTo>
                    <a:pt x="227" y="85"/>
                    <a:pt x="227" y="85"/>
                    <a:pt x="227" y="85"/>
                  </a:cubicBezTo>
                  <a:cubicBezTo>
                    <a:pt x="227" y="87"/>
                    <a:pt x="227" y="87"/>
                    <a:pt x="227" y="87"/>
                  </a:cubicBezTo>
                  <a:cubicBezTo>
                    <a:pt x="232" y="92"/>
                    <a:pt x="232" y="92"/>
                    <a:pt x="232" y="92"/>
                  </a:cubicBezTo>
                  <a:cubicBezTo>
                    <a:pt x="235" y="97"/>
                    <a:pt x="235" y="97"/>
                    <a:pt x="235" y="97"/>
                  </a:cubicBezTo>
                  <a:cubicBezTo>
                    <a:pt x="240" y="99"/>
                    <a:pt x="240" y="99"/>
                    <a:pt x="240" y="99"/>
                  </a:cubicBezTo>
                  <a:cubicBezTo>
                    <a:pt x="240" y="99"/>
                    <a:pt x="244" y="102"/>
                    <a:pt x="244" y="102"/>
                  </a:cubicBezTo>
                  <a:cubicBezTo>
                    <a:pt x="243" y="103"/>
                    <a:pt x="238" y="105"/>
                    <a:pt x="238" y="105"/>
                  </a:cubicBezTo>
                  <a:cubicBezTo>
                    <a:pt x="235" y="107"/>
                    <a:pt x="235" y="107"/>
                    <a:pt x="235" y="107"/>
                  </a:cubicBezTo>
                  <a:cubicBezTo>
                    <a:pt x="235" y="107"/>
                    <a:pt x="233" y="107"/>
                    <a:pt x="231" y="108"/>
                  </a:cubicBezTo>
                  <a:cubicBezTo>
                    <a:pt x="230" y="109"/>
                    <a:pt x="224" y="112"/>
                    <a:pt x="224" y="112"/>
                  </a:cubicBezTo>
                  <a:cubicBezTo>
                    <a:pt x="216" y="107"/>
                    <a:pt x="216" y="107"/>
                    <a:pt x="216" y="107"/>
                  </a:cubicBezTo>
                  <a:cubicBezTo>
                    <a:pt x="211" y="106"/>
                    <a:pt x="211" y="106"/>
                    <a:pt x="211" y="106"/>
                  </a:cubicBezTo>
                  <a:cubicBezTo>
                    <a:pt x="209" y="109"/>
                    <a:pt x="209" y="109"/>
                    <a:pt x="209" y="109"/>
                  </a:cubicBezTo>
                  <a:cubicBezTo>
                    <a:pt x="204" y="110"/>
                    <a:pt x="204" y="110"/>
                    <a:pt x="204" y="110"/>
                  </a:cubicBezTo>
                  <a:cubicBezTo>
                    <a:pt x="201" y="115"/>
                    <a:pt x="201" y="115"/>
                    <a:pt x="201" y="115"/>
                  </a:cubicBezTo>
                  <a:cubicBezTo>
                    <a:pt x="201" y="115"/>
                    <a:pt x="194" y="117"/>
                    <a:pt x="192" y="118"/>
                  </a:cubicBezTo>
                  <a:cubicBezTo>
                    <a:pt x="191" y="119"/>
                    <a:pt x="187" y="122"/>
                    <a:pt x="187" y="122"/>
                  </a:cubicBezTo>
                  <a:cubicBezTo>
                    <a:pt x="188" y="126"/>
                    <a:pt x="188" y="126"/>
                    <a:pt x="188" y="126"/>
                  </a:cubicBezTo>
                  <a:cubicBezTo>
                    <a:pt x="184" y="129"/>
                    <a:pt x="184" y="129"/>
                    <a:pt x="184" y="129"/>
                  </a:cubicBezTo>
                  <a:cubicBezTo>
                    <a:pt x="184" y="129"/>
                    <a:pt x="181" y="130"/>
                    <a:pt x="180" y="132"/>
                  </a:cubicBezTo>
                  <a:cubicBezTo>
                    <a:pt x="180" y="134"/>
                    <a:pt x="181" y="135"/>
                    <a:pt x="181" y="135"/>
                  </a:cubicBezTo>
                  <a:cubicBezTo>
                    <a:pt x="179" y="135"/>
                    <a:pt x="176" y="136"/>
                    <a:pt x="175" y="137"/>
                  </a:cubicBezTo>
                  <a:cubicBezTo>
                    <a:pt x="174" y="137"/>
                    <a:pt x="174" y="139"/>
                    <a:pt x="175" y="141"/>
                  </a:cubicBezTo>
                  <a:cubicBezTo>
                    <a:pt x="175" y="142"/>
                    <a:pt x="177" y="144"/>
                    <a:pt x="179" y="147"/>
                  </a:cubicBezTo>
                  <a:cubicBezTo>
                    <a:pt x="180" y="150"/>
                    <a:pt x="181" y="150"/>
                    <a:pt x="181" y="151"/>
                  </a:cubicBezTo>
                  <a:cubicBezTo>
                    <a:pt x="181" y="152"/>
                    <a:pt x="180" y="155"/>
                    <a:pt x="179" y="156"/>
                  </a:cubicBezTo>
                  <a:cubicBezTo>
                    <a:pt x="177" y="158"/>
                    <a:pt x="175" y="158"/>
                    <a:pt x="174" y="158"/>
                  </a:cubicBezTo>
                  <a:cubicBezTo>
                    <a:pt x="173" y="159"/>
                    <a:pt x="170" y="161"/>
                    <a:pt x="169" y="161"/>
                  </a:cubicBezTo>
                  <a:cubicBezTo>
                    <a:pt x="168" y="162"/>
                    <a:pt x="163" y="163"/>
                    <a:pt x="162" y="163"/>
                  </a:cubicBezTo>
                  <a:cubicBezTo>
                    <a:pt x="161" y="163"/>
                    <a:pt x="155" y="165"/>
                    <a:pt x="155" y="165"/>
                  </a:cubicBezTo>
                  <a:cubicBezTo>
                    <a:pt x="150" y="167"/>
                    <a:pt x="150" y="167"/>
                    <a:pt x="150" y="167"/>
                  </a:cubicBezTo>
                  <a:cubicBezTo>
                    <a:pt x="147" y="169"/>
                    <a:pt x="147" y="169"/>
                    <a:pt x="147" y="169"/>
                  </a:cubicBezTo>
                  <a:cubicBezTo>
                    <a:pt x="139" y="167"/>
                    <a:pt x="139" y="167"/>
                    <a:pt x="139" y="167"/>
                  </a:cubicBezTo>
                  <a:cubicBezTo>
                    <a:pt x="129" y="164"/>
                    <a:pt x="129" y="164"/>
                    <a:pt x="129" y="164"/>
                  </a:cubicBezTo>
                  <a:cubicBezTo>
                    <a:pt x="129" y="164"/>
                    <a:pt x="124" y="168"/>
                    <a:pt x="123" y="168"/>
                  </a:cubicBezTo>
                  <a:cubicBezTo>
                    <a:pt x="122" y="168"/>
                    <a:pt x="116" y="164"/>
                    <a:pt x="116" y="164"/>
                  </a:cubicBezTo>
                  <a:cubicBezTo>
                    <a:pt x="113" y="159"/>
                    <a:pt x="113" y="159"/>
                    <a:pt x="113" y="159"/>
                  </a:cubicBezTo>
                  <a:cubicBezTo>
                    <a:pt x="113" y="159"/>
                    <a:pt x="107" y="160"/>
                    <a:pt x="106" y="160"/>
                  </a:cubicBezTo>
                  <a:cubicBezTo>
                    <a:pt x="105" y="160"/>
                    <a:pt x="104" y="162"/>
                    <a:pt x="104" y="163"/>
                  </a:cubicBezTo>
                  <a:cubicBezTo>
                    <a:pt x="103" y="163"/>
                    <a:pt x="101" y="163"/>
                    <a:pt x="99" y="163"/>
                  </a:cubicBezTo>
                  <a:cubicBezTo>
                    <a:pt x="96" y="163"/>
                    <a:pt x="94" y="165"/>
                    <a:pt x="94" y="165"/>
                  </a:cubicBezTo>
                  <a:cubicBezTo>
                    <a:pt x="92" y="169"/>
                    <a:pt x="92" y="169"/>
                    <a:pt x="92" y="169"/>
                  </a:cubicBezTo>
                  <a:cubicBezTo>
                    <a:pt x="92" y="169"/>
                    <a:pt x="87" y="171"/>
                    <a:pt x="87" y="171"/>
                  </a:cubicBezTo>
                  <a:cubicBezTo>
                    <a:pt x="86" y="172"/>
                    <a:pt x="77" y="175"/>
                    <a:pt x="77" y="175"/>
                  </a:cubicBezTo>
                  <a:cubicBezTo>
                    <a:pt x="70" y="177"/>
                    <a:pt x="70" y="177"/>
                    <a:pt x="70" y="177"/>
                  </a:cubicBezTo>
                  <a:cubicBezTo>
                    <a:pt x="70" y="177"/>
                    <a:pt x="68" y="178"/>
                    <a:pt x="67" y="177"/>
                  </a:cubicBezTo>
                  <a:cubicBezTo>
                    <a:pt x="66" y="177"/>
                    <a:pt x="63" y="180"/>
                    <a:pt x="63" y="180"/>
                  </a:cubicBezTo>
                  <a:cubicBezTo>
                    <a:pt x="57" y="184"/>
                    <a:pt x="57" y="184"/>
                    <a:pt x="57" y="184"/>
                  </a:cubicBezTo>
                  <a:cubicBezTo>
                    <a:pt x="51" y="184"/>
                    <a:pt x="51" y="184"/>
                    <a:pt x="51" y="184"/>
                  </a:cubicBezTo>
                  <a:cubicBezTo>
                    <a:pt x="51" y="184"/>
                    <a:pt x="51" y="183"/>
                    <a:pt x="51" y="183"/>
                  </a:cubicBezTo>
                  <a:cubicBezTo>
                    <a:pt x="51" y="183"/>
                    <a:pt x="51" y="183"/>
                    <a:pt x="51" y="183"/>
                  </a:cubicBezTo>
                  <a:cubicBezTo>
                    <a:pt x="51" y="182"/>
                    <a:pt x="51" y="182"/>
                    <a:pt x="51" y="182"/>
                  </a:cubicBezTo>
                  <a:cubicBezTo>
                    <a:pt x="51" y="181"/>
                    <a:pt x="50" y="180"/>
                    <a:pt x="50" y="178"/>
                  </a:cubicBezTo>
                  <a:cubicBezTo>
                    <a:pt x="49" y="176"/>
                    <a:pt x="48" y="174"/>
                    <a:pt x="48" y="172"/>
                  </a:cubicBezTo>
                  <a:cubicBezTo>
                    <a:pt x="48" y="171"/>
                    <a:pt x="49" y="170"/>
                    <a:pt x="49" y="169"/>
                  </a:cubicBezTo>
                  <a:cubicBezTo>
                    <a:pt x="49" y="169"/>
                    <a:pt x="49" y="169"/>
                    <a:pt x="49" y="169"/>
                  </a:cubicBezTo>
                  <a:cubicBezTo>
                    <a:pt x="50" y="168"/>
                    <a:pt x="50" y="167"/>
                    <a:pt x="50" y="165"/>
                  </a:cubicBezTo>
                  <a:cubicBezTo>
                    <a:pt x="49" y="161"/>
                    <a:pt x="45" y="161"/>
                    <a:pt x="44" y="157"/>
                  </a:cubicBezTo>
                  <a:cubicBezTo>
                    <a:pt x="43" y="154"/>
                    <a:pt x="39" y="151"/>
                    <a:pt x="39" y="150"/>
                  </a:cubicBezTo>
                  <a:cubicBezTo>
                    <a:pt x="32" y="146"/>
                    <a:pt x="28" y="147"/>
                    <a:pt x="24" y="143"/>
                  </a:cubicBezTo>
                  <a:cubicBezTo>
                    <a:pt x="23" y="142"/>
                    <a:pt x="22" y="141"/>
                    <a:pt x="22" y="140"/>
                  </a:cubicBezTo>
                  <a:cubicBezTo>
                    <a:pt x="23" y="139"/>
                    <a:pt x="23" y="139"/>
                    <a:pt x="23" y="139"/>
                  </a:cubicBezTo>
                  <a:cubicBezTo>
                    <a:pt x="23" y="139"/>
                    <a:pt x="22" y="139"/>
                    <a:pt x="21" y="138"/>
                  </a:cubicBezTo>
                  <a:cubicBezTo>
                    <a:pt x="20" y="137"/>
                    <a:pt x="19" y="136"/>
                    <a:pt x="18" y="135"/>
                  </a:cubicBezTo>
                  <a:cubicBezTo>
                    <a:pt x="18" y="135"/>
                    <a:pt x="18" y="135"/>
                    <a:pt x="18" y="135"/>
                  </a:cubicBezTo>
                  <a:cubicBezTo>
                    <a:pt x="19" y="135"/>
                    <a:pt x="20" y="133"/>
                    <a:pt x="20" y="133"/>
                  </a:cubicBezTo>
                  <a:cubicBezTo>
                    <a:pt x="21" y="130"/>
                    <a:pt x="21" y="130"/>
                    <a:pt x="21" y="130"/>
                  </a:cubicBezTo>
                  <a:cubicBezTo>
                    <a:pt x="22" y="128"/>
                    <a:pt x="22" y="128"/>
                    <a:pt x="22" y="128"/>
                  </a:cubicBezTo>
                  <a:cubicBezTo>
                    <a:pt x="22" y="128"/>
                    <a:pt x="21" y="125"/>
                    <a:pt x="20" y="125"/>
                  </a:cubicBezTo>
                  <a:cubicBezTo>
                    <a:pt x="20" y="124"/>
                    <a:pt x="17" y="123"/>
                    <a:pt x="17" y="123"/>
                  </a:cubicBezTo>
                  <a:cubicBezTo>
                    <a:pt x="17" y="118"/>
                    <a:pt x="17" y="118"/>
                    <a:pt x="17" y="118"/>
                  </a:cubicBezTo>
                  <a:cubicBezTo>
                    <a:pt x="16" y="113"/>
                    <a:pt x="16" y="113"/>
                    <a:pt x="16" y="113"/>
                  </a:cubicBezTo>
                  <a:cubicBezTo>
                    <a:pt x="14" y="110"/>
                    <a:pt x="14" y="110"/>
                    <a:pt x="14" y="110"/>
                  </a:cubicBezTo>
                  <a:cubicBezTo>
                    <a:pt x="14" y="110"/>
                    <a:pt x="16" y="108"/>
                    <a:pt x="17" y="107"/>
                  </a:cubicBezTo>
                  <a:cubicBezTo>
                    <a:pt x="17" y="107"/>
                    <a:pt x="18" y="106"/>
                    <a:pt x="19" y="106"/>
                  </a:cubicBezTo>
                  <a:cubicBezTo>
                    <a:pt x="20" y="105"/>
                    <a:pt x="22" y="105"/>
                    <a:pt x="23" y="105"/>
                  </a:cubicBezTo>
                  <a:cubicBezTo>
                    <a:pt x="24" y="105"/>
                    <a:pt x="26" y="103"/>
                    <a:pt x="26" y="103"/>
                  </a:cubicBezTo>
                  <a:cubicBezTo>
                    <a:pt x="26" y="103"/>
                    <a:pt x="26" y="100"/>
                    <a:pt x="25" y="99"/>
                  </a:cubicBezTo>
                  <a:cubicBezTo>
                    <a:pt x="25" y="97"/>
                    <a:pt x="27" y="95"/>
                    <a:pt x="27" y="95"/>
                  </a:cubicBezTo>
                  <a:cubicBezTo>
                    <a:pt x="27" y="95"/>
                    <a:pt x="30" y="91"/>
                    <a:pt x="31" y="90"/>
                  </a:cubicBezTo>
                  <a:cubicBezTo>
                    <a:pt x="32" y="89"/>
                    <a:pt x="33" y="84"/>
                    <a:pt x="33" y="84"/>
                  </a:cubicBezTo>
                  <a:cubicBezTo>
                    <a:pt x="29" y="84"/>
                    <a:pt x="29" y="84"/>
                    <a:pt x="29" y="84"/>
                  </a:cubicBezTo>
                  <a:cubicBezTo>
                    <a:pt x="25" y="83"/>
                    <a:pt x="25" y="83"/>
                    <a:pt x="25" y="83"/>
                  </a:cubicBezTo>
                  <a:cubicBezTo>
                    <a:pt x="25" y="83"/>
                    <a:pt x="21" y="77"/>
                    <a:pt x="21" y="77"/>
                  </a:cubicBezTo>
                  <a:cubicBezTo>
                    <a:pt x="21" y="76"/>
                    <a:pt x="19" y="76"/>
                    <a:pt x="19" y="76"/>
                  </a:cubicBezTo>
                  <a:cubicBezTo>
                    <a:pt x="19" y="76"/>
                    <a:pt x="15" y="74"/>
                    <a:pt x="15" y="74"/>
                  </a:cubicBezTo>
                  <a:cubicBezTo>
                    <a:pt x="14" y="74"/>
                    <a:pt x="11" y="73"/>
                    <a:pt x="11" y="73"/>
                  </a:cubicBezTo>
                  <a:cubicBezTo>
                    <a:pt x="11" y="73"/>
                    <a:pt x="7" y="68"/>
                    <a:pt x="6" y="66"/>
                  </a:cubicBezTo>
                  <a:cubicBezTo>
                    <a:pt x="5" y="64"/>
                    <a:pt x="4" y="63"/>
                    <a:pt x="4" y="63"/>
                  </a:cubicBezTo>
                  <a:cubicBezTo>
                    <a:pt x="4" y="63"/>
                    <a:pt x="3" y="61"/>
                    <a:pt x="2" y="60"/>
                  </a:cubicBezTo>
                  <a:cubicBezTo>
                    <a:pt x="1" y="59"/>
                    <a:pt x="1" y="57"/>
                    <a:pt x="1" y="57"/>
                  </a:cubicBezTo>
                  <a:cubicBezTo>
                    <a:pt x="1" y="57"/>
                    <a:pt x="2" y="54"/>
                    <a:pt x="1" y="52"/>
                  </a:cubicBezTo>
                  <a:cubicBezTo>
                    <a:pt x="1" y="51"/>
                    <a:pt x="0" y="47"/>
                    <a:pt x="1" y="47"/>
                  </a:cubicBezTo>
                  <a:cubicBezTo>
                    <a:pt x="2" y="45"/>
                    <a:pt x="3" y="43"/>
                    <a:pt x="5" y="42"/>
                  </a:cubicBezTo>
                  <a:cubicBezTo>
                    <a:pt x="6" y="42"/>
                    <a:pt x="6" y="42"/>
                    <a:pt x="7" y="42"/>
                  </a:cubicBezTo>
                  <a:cubicBezTo>
                    <a:pt x="8" y="42"/>
                    <a:pt x="7" y="39"/>
                    <a:pt x="7" y="39"/>
                  </a:cubicBezTo>
                  <a:lnTo>
                    <a:pt x="7" y="38"/>
                  </a:lnTo>
                  <a:close/>
                </a:path>
              </a:pathLst>
            </a:custGeom>
            <a:solidFill>
              <a:srgbClr val="E6EFF1"/>
            </a:solidFill>
            <a:ln w="12700" cap="rnd" cmpd="sng">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Lato Light"/>
              </a:endParaRPr>
            </a:p>
          </p:txBody>
        </p:sp>
        <p:sp>
          <p:nvSpPr>
            <p:cNvPr id="226" name="Freeform 221">
              <a:extLst>
                <a:ext uri="{FF2B5EF4-FFF2-40B4-BE49-F238E27FC236}">
                  <a16:creationId xmlns:a16="http://schemas.microsoft.com/office/drawing/2014/main" id="{27386561-0E02-9609-8C17-38586549D5D0}"/>
                </a:ext>
              </a:extLst>
            </p:cNvPr>
            <p:cNvSpPr>
              <a:spLocks noEditPoints="1"/>
            </p:cNvSpPr>
            <p:nvPr/>
          </p:nvSpPr>
          <p:spPr bwMode="auto">
            <a:xfrm>
              <a:off x="3876555" y="4213287"/>
              <a:ext cx="802962" cy="395895"/>
            </a:xfrm>
            <a:custGeom>
              <a:avLst/>
              <a:gdLst>
                <a:gd name="T0" fmla="*/ 196 w 279"/>
                <a:gd name="T1" fmla="*/ 4 h 142"/>
                <a:gd name="T2" fmla="*/ 219 w 279"/>
                <a:gd name="T3" fmla="*/ 5 h 142"/>
                <a:gd name="T4" fmla="*/ 249 w 279"/>
                <a:gd name="T5" fmla="*/ 8 h 142"/>
                <a:gd name="T6" fmla="*/ 268 w 279"/>
                <a:gd name="T7" fmla="*/ 17 h 142"/>
                <a:gd name="T8" fmla="*/ 266 w 279"/>
                <a:gd name="T9" fmla="*/ 29 h 142"/>
                <a:gd name="T10" fmla="*/ 271 w 279"/>
                <a:gd name="T11" fmla="*/ 39 h 142"/>
                <a:gd name="T12" fmla="*/ 277 w 279"/>
                <a:gd name="T13" fmla="*/ 56 h 142"/>
                <a:gd name="T14" fmla="*/ 259 w 279"/>
                <a:gd name="T15" fmla="*/ 63 h 142"/>
                <a:gd name="T16" fmla="*/ 260 w 279"/>
                <a:gd name="T17" fmla="*/ 82 h 142"/>
                <a:gd name="T18" fmla="*/ 255 w 279"/>
                <a:gd name="T19" fmla="*/ 104 h 142"/>
                <a:gd name="T20" fmla="*/ 238 w 279"/>
                <a:gd name="T21" fmla="*/ 121 h 142"/>
                <a:gd name="T22" fmla="*/ 206 w 279"/>
                <a:gd name="T23" fmla="*/ 128 h 142"/>
                <a:gd name="T24" fmla="*/ 191 w 279"/>
                <a:gd name="T25" fmla="*/ 142 h 142"/>
                <a:gd name="T26" fmla="*/ 146 w 279"/>
                <a:gd name="T27" fmla="*/ 138 h 142"/>
                <a:gd name="T28" fmla="*/ 104 w 279"/>
                <a:gd name="T29" fmla="*/ 126 h 142"/>
                <a:gd name="T30" fmla="*/ 94 w 279"/>
                <a:gd name="T31" fmla="*/ 112 h 142"/>
                <a:gd name="T32" fmla="*/ 60 w 279"/>
                <a:gd name="T33" fmla="*/ 121 h 142"/>
                <a:gd name="T34" fmla="*/ 39 w 279"/>
                <a:gd name="T35" fmla="*/ 126 h 142"/>
                <a:gd name="T36" fmla="*/ 37 w 279"/>
                <a:gd name="T37" fmla="*/ 118 h 142"/>
                <a:gd name="T38" fmla="*/ 31 w 279"/>
                <a:gd name="T39" fmla="*/ 120 h 142"/>
                <a:gd name="T40" fmla="*/ 26 w 279"/>
                <a:gd name="T41" fmla="*/ 124 h 142"/>
                <a:gd name="T42" fmla="*/ 17 w 279"/>
                <a:gd name="T43" fmla="*/ 120 h 142"/>
                <a:gd name="T44" fmla="*/ 2 w 279"/>
                <a:gd name="T45" fmla="*/ 114 h 142"/>
                <a:gd name="T46" fmla="*/ 2 w 279"/>
                <a:gd name="T47" fmla="*/ 113 h 142"/>
                <a:gd name="T48" fmla="*/ 4 w 279"/>
                <a:gd name="T49" fmla="*/ 113 h 142"/>
                <a:gd name="T50" fmla="*/ 5 w 279"/>
                <a:gd name="T51" fmla="*/ 112 h 142"/>
                <a:gd name="T52" fmla="*/ 4 w 279"/>
                <a:gd name="T53" fmla="*/ 111 h 142"/>
                <a:gd name="T54" fmla="*/ 4 w 279"/>
                <a:gd name="T55" fmla="*/ 110 h 142"/>
                <a:gd name="T56" fmla="*/ 3 w 279"/>
                <a:gd name="T57" fmla="*/ 109 h 142"/>
                <a:gd name="T58" fmla="*/ 3 w 279"/>
                <a:gd name="T59" fmla="*/ 108 h 142"/>
                <a:gd name="T60" fmla="*/ 2 w 279"/>
                <a:gd name="T61" fmla="*/ 106 h 142"/>
                <a:gd name="T62" fmla="*/ 2 w 279"/>
                <a:gd name="T63" fmla="*/ 104 h 142"/>
                <a:gd name="T64" fmla="*/ 7 w 279"/>
                <a:gd name="T65" fmla="*/ 94 h 142"/>
                <a:gd name="T66" fmla="*/ 6 w 279"/>
                <a:gd name="T67" fmla="*/ 91 h 142"/>
                <a:gd name="T68" fmla="*/ 6 w 279"/>
                <a:gd name="T69" fmla="*/ 91 h 142"/>
                <a:gd name="T70" fmla="*/ 6 w 279"/>
                <a:gd name="T71" fmla="*/ 90 h 142"/>
                <a:gd name="T72" fmla="*/ 6 w 279"/>
                <a:gd name="T73" fmla="*/ 90 h 142"/>
                <a:gd name="T74" fmla="*/ 23 w 279"/>
                <a:gd name="T75" fmla="*/ 94 h 142"/>
                <a:gd name="T76" fmla="*/ 32 w 279"/>
                <a:gd name="T77" fmla="*/ 101 h 142"/>
                <a:gd name="T78" fmla="*/ 38 w 279"/>
                <a:gd name="T79" fmla="*/ 88 h 142"/>
                <a:gd name="T80" fmla="*/ 55 w 279"/>
                <a:gd name="T81" fmla="*/ 95 h 142"/>
                <a:gd name="T82" fmla="*/ 73 w 279"/>
                <a:gd name="T83" fmla="*/ 88 h 142"/>
                <a:gd name="T84" fmla="*/ 95 w 279"/>
                <a:gd name="T85" fmla="*/ 82 h 142"/>
                <a:gd name="T86" fmla="*/ 110 w 279"/>
                <a:gd name="T87" fmla="*/ 80 h 142"/>
                <a:gd name="T88" fmla="*/ 123 w 279"/>
                <a:gd name="T89" fmla="*/ 85 h 142"/>
                <a:gd name="T90" fmla="*/ 130 w 279"/>
                <a:gd name="T91" fmla="*/ 76 h 142"/>
                <a:gd name="T92" fmla="*/ 123 w 279"/>
                <a:gd name="T93" fmla="*/ 62 h 142"/>
                <a:gd name="T94" fmla="*/ 126 w 279"/>
                <a:gd name="T95" fmla="*/ 48 h 142"/>
                <a:gd name="T96" fmla="*/ 141 w 279"/>
                <a:gd name="T97" fmla="*/ 38 h 142"/>
                <a:gd name="T98" fmla="*/ 152 w 279"/>
                <a:gd name="T99" fmla="*/ 29 h 142"/>
                <a:gd name="T100" fmla="*/ 160 w 279"/>
                <a:gd name="T101" fmla="*/ 20 h 142"/>
                <a:gd name="T102" fmla="*/ 183 w 279"/>
                <a:gd name="T103" fmla="*/ 25 h 142"/>
                <a:gd name="T104" fmla="*/ 1 w 279"/>
                <a:gd name="T105" fmla="*/ 114 h 142"/>
                <a:gd name="T106" fmla="*/ 1 w 279"/>
                <a:gd name="T107" fmla="*/ 114 h 142"/>
                <a:gd name="T108" fmla="*/ 2 w 279"/>
                <a:gd name="T109" fmla="*/ 112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79" h="142">
                  <a:moveTo>
                    <a:pt x="187" y="24"/>
                  </a:moveTo>
                  <a:cubicBezTo>
                    <a:pt x="187" y="24"/>
                    <a:pt x="187" y="18"/>
                    <a:pt x="188" y="18"/>
                  </a:cubicBezTo>
                  <a:cubicBezTo>
                    <a:pt x="189" y="18"/>
                    <a:pt x="191" y="15"/>
                    <a:pt x="191" y="15"/>
                  </a:cubicBezTo>
                  <a:cubicBezTo>
                    <a:pt x="194" y="14"/>
                    <a:pt x="194" y="14"/>
                    <a:pt x="194" y="14"/>
                  </a:cubicBezTo>
                  <a:cubicBezTo>
                    <a:pt x="194" y="14"/>
                    <a:pt x="196" y="12"/>
                    <a:pt x="196" y="10"/>
                  </a:cubicBezTo>
                  <a:cubicBezTo>
                    <a:pt x="195" y="9"/>
                    <a:pt x="196" y="4"/>
                    <a:pt x="196" y="4"/>
                  </a:cubicBezTo>
                  <a:cubicBezTo>
                    <a:pt x="196" y="4"/>
                    <a:pt x="195" y="1"/>
                    <a:pt x="196" y="1"/>
                  </a:cubicBezTo>
                  <a:cubicBezTo>
                    <a:pt x="198" y="0"/>
                    <a:pt x="201" y="2"/>
                    <a:pt x="201" y="2"/>
                  </a:cubicBezTo>
                  <a:cubicBezTo>
                    <a:pt x="206" y="3"/>
                    <a:pt x="206" y="3"/>
                    <a:pt x="206" y="3"/>
                  </a:cubicBezTo>
                  <a:cubicBezTo>
                    <a:pt x="206" y="3"/>
                    <a:pt x="208" y="3"/>
                    <a:pt x="209" y="3"/>
                  </a:cubicBezTo>
                  <a:cubicBezTo>
                    <a:pt x="210" y="3"/>
                    <a:pt x="214" y="4"/>
                    <a:pt x="214" y="4"/>
                  </a:cubicBezTo>
                  <a:cubicBezTo>
                    <a:pt x="214" y="4"/>
                    <a:pt x="218" y="5"/>
                    <a:pt x="219" y="5"/>
                  </a:cubicBezTo>
                  <a:cubicBezTo>
                    <a:pt x="220" y="5"/>
                    <a:pt x="224" y="5"/>
                    <a:pt x="224" y="5"/>
                  </a:cubicBezTo>
                  <a:cubicBezTo>
                    <a:pt x="226" y="6"/>
                    <a:pt x="226" y="6"/>
                    <a:pt x="226" y="6"/>
                  </a:cubicBezTo>
                  <a:cubicBezTo>
                    <a:pt x="233" y="9"/>
                    <a:pt x="233" y="9"/>
                    <a:pt x="233" y="9"/>
                  </a:cubicBezTo>
                  <a:cubicBezTo>
                    <a:pt x="237" y="11"/>
                    <a:pt x="237" y="11"/>
                    <a:pt x="237" y="11"/>
                  </a:cubicBezTo>
                  <a:cubicBezTo>
                    <a:pt x="248" y="12"/>
                    <a:pt x="248" y="12"/>
                    <a:pt x="248" y="12"/>
                  </a:cubicBezTo>
                  <a:cubicBezTo>
                    <a:pt x="249" y="8"/>
                    <a:pt x="249" y="8"/>
                    <a:pt x="249" y="8"/>
                  </a:cubicBezTo>
                  <a:cubicBezTo>
                    <a:pt x="249" y="8"/>
                    <a:pt x="253" y="7"/>
                    <a:pt x="253" y="8"/>
                  </a:cubicBezTo>
                  <a:cubicBezTo>
                    <a:pt x="254" y="8"/>
                    <a:pt x="256" y="10"/>
                    <a:pt x="259" y="11"/>
                  </a:cubicBezTo>
                  <a:cubicBezTo>
                    <a:pt x="262" y="11"/>
                    <a:pt x="265" y="10"/>
                    <a:pt x="265" y="10"/>
                  </a:cubicBezTo>
                  <a:cubicBezTo>
                    <a:pt x="267" y="16"/>
                    <a:pt x="267" y="16"/>
                    <a:pt x="267" y="16"/>
                  </a:cubicBezTo>
                  <a:cubicBezTo>
                    <a:pt x="269" y="17"/>
                    <a:pt x="269" y="17"/>
                    <a:pt x="269" y="17"/>
                  </a:cubicBezTo>
                  <a:cubicBezTo>
                    <a:pt x="268" y="17"/>
                    <a:pt x="268" y="17"/>
                    <a:pt x="268" y="17"/>
                  </a:cubicBezTo>
                  <a:cubicBezTo>
                    <a:pt x="268" y="20"/>
                    <a:pt x="268" y="20"/>
                    <a:pt x="268" y="20"/>
                  </a:cubicBezTo>
                  <a:cubicBezTo>
                    <a:pt x="269" y="21"/>
                    <a:pt x="269" y="21"/>
                    <a:pt x="269" y="21"/>
                  </a:cubicBezTo>
                  <a:cubicBezTo>
                    <a:pt x="269" y="21"/>
                    <a:pt x="268" y="23"/>
                    <a:pt x="268" y="23"/>
                  </a:cubicBezTo>
                  <a:cubicBezTo>
                    <a:pt x="268" y="23"/>
                    <a:pt x="268" y="25"/>
                    <a:pt x="268" y="25"/>
                  </a:cubicBezTo>
                  <a:cubicBezTo>
                    <a:pt x="266" y="27"/>
                    <a:pt x="266" y="27"/>
                    <a:pt x="266" y="27"/>
                  </a:cubicBezTo>
                  <a:cubicBezTo>
                    <a:pt x="266" y="29"/>
                    <a:pt x="266" y="29"/>
                    <a:pt x="266" y="29"/>
                  </a:cubicBezTo>
                  <a:cubicBezTo>
                    <a:pt x="266" y="29"/>
                    <a:pt x="266" y="32"/>
                    <a:pt x="266" y="32"/>
                  </a:cubicBezTo>
                  <a:cubicBezTo>
                    <a:pt x="266" y="32"/>
                    <a:pt x="267" y="33"/>
                    <a:pt x="268" y="33"/>
                  </a:cubicBezTo>
                  <a:cubicBezTo>
                    <a:pt x="268" y="33"/>
                    <a:pt x="268" y="34"/>
                    <a:pt x="268" y="34"/>
                  </a:cubicBezTo>
                  <a:cubicBezTo>
                    <a:pt x="268" y="34"/>
                    <a:pt x="269" y="35"/>
                    <a:pt x="270" y="36"/>
                  </a:cubicBezTo>
                  <a:cubicBezTo>
                    <a:pt x="270" y="36"/>
                    <a:pt x="270" y="36"/>
                    <a:pt x="270" y="36"/>
                  </a:cubicBezTo>
                  <a:cubicBezTo>
                    <a:pt x="270" y="36"/>
                    <a:pt x="271" y="38"/>
                    <a:pt x="271" y="39"/>
                  </a:cubicBezTo>
                  <a:cubicBezTo>
                    <a:pt x="272" y="40"/>
                    <a:pt x="272" y="41"/>
                    <a:pt x="272" y="41"/>
                  </a:cubicBezTo>
                  <a:cubicBezTo>
                    <a:pt x="272" y="41"/>
                    <a:pt x="273" y="43"/>
                    <a:pt x="274" y="43"/>
                  </a:cubicBezTo>
                  <a:cubicBezTo>
                    <a:pt x="274" y="43"/>
                    <a:pt x="275" y="43"/>
                    <a:pt x="276" y="43"/>
                  </a:cubicBezTo>
                  <a:cubicBezTo>
                    <a:pt x="276" y="43"/>
                    <a:pt x="277" y="43"/>
                    <a:pt x="277" y="43"/>
                  </a:cubicBezTo>
                  <a:cubicBezTo>
                    <a:pt x="277" y="44"/>
                    <a:pt x="276" y="50"/>
                    <a:pt x="276" y="50"/>
                  </a:cubicBezTo>
                  <a:cubicBezTo>
                    <a:pt x="277" y="56"/>
                    <a:pt x="277" y="56"/>
                    <a:pt x="277" y="56"/>
                  </a:cubicBezTo>
                  <a:cubicBezTo>
                    <a:pt x="277" y="56"/>
                    <a:pt x="276" y="59"/>
                    <a:pt x="276" y="60"/>
                  </a:cubicBezTo>
                  <a:cubicBezTo>
                    <a:pt x="277" y="62"/>
                    <a:pt x="279" y="64"/>
                    <a:pt x="276" y="65"/>
                  </a:cubicBezTo>
                  <a:cubicBezTo>
                    <a:pt x="274" y="65"/>
                    <a:pt x="271" y="67"/>
                    <a:pt x="270" y="65"/>
                  </a:cubicBezTo>
                  <a:cubicBezTo>
                    <a:pt x="270" y="65"/>
                    <a:pt x="269" y="63"/>
                    <a:pt x="269" y="66"/>
                  </a:cubicBezTo>
                  <a:cubicBezTo>
                    <a:pt x="270" y="67"/>
                    <a:pt x="267" y="66"/>
                    <a:pt x="267" y="66"/>
                  </a:cubicBezTo>
                  <a:cubicBezTo>
                    <a:pt x="259" y="63"/>
                    <a:pt x="259" y="63"/>
                    <a:pt x="259" y="63"/>
                  </a:cubicBezTo>
                  <a:cubicBezTo>
                    <a:pt x="257" y="65"/>
                    <a:pt x="257" y="65"/>
                    <a:pt x="257" y="65"/>
                  </a:cubicBezTo>
                  <a:cubicBezTo>
                    <a:pt x="253" y="68"/>
                    <a:pt x="253" y="68"/>
                    <a:pt x="253" y="68"/>
                  </a:cubicBezTo>
                  <a:cubicBezTo>
                    <a:pt x="259" y="70"/>
                    <a:pt x="259" y="70"/>
                    <a:pt x="259" y="70"/>
                  </a:cubicBezTo>
                  <a:cubicBezTo>
                    <a:pt x="261" y="70"/>
                    <a:pt x="261" y="70"/>
                    <a:pt x="261" y="70"/>
                  </a:cubicBezTo>
                  <a:cubicBezTo>
                    <a:pt x="266" y="78"/>
                    <a:pt x="266" y="78"/>
                    <a:pt x="266" y="78"/>
                  </a:cubicBezTo>
                  <a:cubicBezTo>
                    <a:pt x="260" y="82"/>
                    <a:pt x="260" y="82"/>
                    <a:pt x="260" y="82"/>
                  </a:cubicBezTo>
                  <a:cubicBezTo>
                    <a:pt x="260" y="82"/>
                    <a:pt x="257" y="84"/>
                    <a:pt x="256" y="84"/>
                  </a:cubicBezTo>
                  <a:cubicBezTo>
                    <a:pt x="255" y="84"/>
                    <a:pt x="254" y="85"/>
                    <a:pt x="254" y="85"/>
                  </a:cubicBezTo>
                  <a:cubicBezTo>
                    <a:pt x="257" y="91"/>
                    <a:pt x="257" y="91"/>
                    <a:pt x="257" y="91"/>
                  </a:cubicBezTo>
                  <a:cubicBezTo>
                    <a:pt x="257" y="93"/>
                    <a:pt x="257" y="93"/>
                    <a:pt x="257" y="93"/>
                  </a:cubicBezTo>
                  <a:cubicBezTo>
                    <a:pt x="258" y="99"/>
                    <a:pt x="258" y="99"/>
                    <a:pt x="258" y="99"/>
                  </a:cubicBezTo>
                  <a:cubicBezTo>
                    <a:pt x="255" y="104"/>
                    <a:pt x="255" y="104"/>
                    <a:pt x="255" y="104"/>
                  </a:cubicBezTo>
                  <a:cubicBezTo>
                    <a:pt x="252" y="105"/>
                    <a:pt x="252" y="105"/>
                    <a:pt x="252" y="105"/>
                  </a:cubicBezTo>
                  <a:cubicBezTo>
                    <a:pt x="249" y="112"/>
                    <a:pt x="249" y="112"/>
                    <a:pt x="249" y="112"/>
                  </a:cubicBezTo>
                  <a:cubicBezTo>
                    <a:pt x="244" y="115"/>
                    <a:pt x="244" y="115"/>
                    <a:pt x="244" y="115"/>
                  </a:cubicBezTo>
                  <a:cubicBezTo>
                    <a:pt x="243" y="119"/>
                    <a:pt x="243" y="119"/>
                    <a:pt x="243" y="119"/>
                  </a:cubicBezTo>
                  <a:cubicBezTo>
                    <a:pt x="244" y="125"/>
                    <a:pt x="244" y="125"/>
                    <a:pt x="244" y="125"/>
                  </a:cubicBezTo>
                  <a:cubicBezTo>
                    <a:pt x="238" y="121"/>
                    <a:pt x="238" y="121"/>
                    <a:pt x="238" y="121"/>
                  </a:cubicBezTo>
                  <a:cubicBezTo>
                    <a:pt x="233" y="123"/>
                    <a:pt x="233" y="123"/>
                    <a:pt x="233" y="123"/>
                  </a:cubicBezTo>
                  <a:cubicBezTo>
                    <a:pt x="230" y="124"/>
                    <a:pt x="230" y="124"/>
                    <a:pt x="230" y="124"/>
                  </a:cubicBezTo>
                  <a:cubicBezTo>
                    <a:pt x="224" y="128"/>
                    <a:pt x="224" y="128"/>
                    <a:pt x="224" y="128"/>
                  </a:cubicBezTo>
                  <a:cubicBezTo>
                    <a:pt x="219" y="126"/>
                    <a:pt x="219" y="126"/>
                    <a:pt x="219" y="126"/>
                  </a:cubicBezTo>
                  <a:cubicBezTo>
                    <a:pt x="212" y="128"/>
                    <a:pt x="212" y="128"/>
                    <a:pt x="212" y="128"/>
                  </a:cubicBezTo>
                  <a:cubicBezTo>
                    <a:pt x="206" y="128"/>
                    <a:pt x="206" y="128"/>
                    <a:pt x="206" y="128"/>
                  </a:cubicBezTo>
                  <a:cubicBezTo>
                    <a:pt x="203" y="130"/>
                    <a:pt x="203" y="130"/>
                    <a:pt x="203" y="130"/>
                  </a:cubicBezTo>
                  <a:cubicBezTo>
                    <a:pt x="201" y="134"/>
                    <a:pt x="201" y="134"/>
                    <a:pt x="201" y="134"/>
                  </a:cubicBezTo>
                  <a:cubicBezTo>
                    <a:pt x="200" y="136"/>
                    <a:pt x="200" y="136"/>
                    <a:pt x="200" y="136"/>
                  </a:cubicBezTo>
                  <a:cubicBezTo>
                    <a:pt x="196" y="137"/>
                    <a:pt x="196" y="137"/>
                    <a:pt x="196" y="137"/>
                  </a:cubicBezTo>
                  <a:cubicBezTo>
                    <a:pt x="194" y="140"/>
                    <a:pt x="194" y="140"/>
                    <a:pt x="194" y="140"/>
                  </a:cubicBezTo>
                  <a:cubicBezTo>
                    <a:pt x="191" y="142"/>
                    <a:pt x="191" y="142"/>
                    <a:pt x="191" y="142"/>
                  </a:cubicBezTo>
                  <a:cubicBezTo>
                    <a:pt x="189" y="142"/>
                    <a:pt x="189" y="142"/>
                    <a:pt x="189" y="142"/>
                  </a:cubicBezTo>
                  <a:cubicBezTo>
                    <a:pt x="180" y="142"/>
                    <a:pt x="180" y="142"/>
                    <a:pt x="180" y="142"/>
                  </a:cubicBezTo>
                  <a:cubicBezTo>
                    <a:pt x="170" y="141"/>
                    <a:pt x="170" y="141"/>
                    <a:pt x="170" y="141"/>
                  </a:cubicBezTo>
                  <a:cubicBezTo>
                    <a:pt x="161" y="138"/>
                    <a:pt x="161" y="138"/>
                    <a:pt x="161" y="138"/>
                  </a:cubicBezTo>
                  <a:cubicBezTo>
                    <a:pt x="154" y="139"/>
                    <a:pt x="154" y="139"/>
                    <a:pt x="154" y="139"/>
                  </a:cubicBezTo>
                  <a:cubicBezTo>
                    <a:pt x="154" y="139"/>
                    <a:pt x="149" y="138"/>
                    <a:pt x="146" y="138"/>
                  </a:cubicBezTo>
                  <a:cubicBezTo>
                    <a:pt x="142" y="138"/>
                    <a:pt x="134" y="136"/>
                    <a:pt x="134" y="136"/>
                  </a:cubicBezTo>
                  <a:cubicBezTo>
                    <a:pt x="124" y="133"/>
                    <a:pt x="124" y="133"/>
                    <a:pt x="124" y="133"/>
                  </a:cubicBezTo>
                  <a:cubicBezTo>
                    <a:pt x="118" y="133"/>
                    <a:pt x="118" y="133"/>
                    <a:pt x="118" y="133"/>
                  </a:cubicBezTo>
                  <a:cubicBezTo>
                    <a:pt x="109" y="132"/>
                    <a:pt x="109" y="132"/>
                    <a:pt x="109" y="132"/>
                  </a:cubicBezTo>
                  <a:cubicBezTo>
                    <a:pt x="109" y="132"/>
                    <a:pt x="108" y="130"/>
                    <a:pt x="107" y="129"/>
                  </a:cubicBezTo>
                  <a:cubicBezTo>
                    <a:pt x="107" y="128"/>
                    <a:pt x="104" y="126"/>
                    <a:pt x="104" y="126"/>
                  </a:cubicBezTo>
                  <a:cubicBezTo>
                    <a:pt x="104" y="124"/>
                    <a:pt x="104" y="124"/>
                    <a:pt x="104" y="124"/>
                  </a:cubicBezTo>
                  <a:cubicBezTo>
                    <a:pt x="102" y="119"/>
                    <a:pt x="102" y="119"/>
                    <a:pt x="102" y="119"/>
                  </a:cubicBezTo>
                  <a:cubicBezTo>
                    <a:pt x="100" y="115"/>
                    <a:pt x="100" y="115"/>
                    <a:pt x="100" y="115"/>
                  </a:cubicBezTo>
                  <a:cubicBezTo>
                    <a:pt x="102" y="112"/>
                    <a:pt x="102" y="112"/>
                    <a:pt x="102" y="112"/>
                  </a:cubicBezTo>
                  <a:cubicBezTo>
                    <a:pt x="100" y="111"/>
                    <a:pt x="100" y="111"/>
                    <a:pt x="100" y="111"/>
                  </a:cubicBezTo>
                  <a:cubicBezTo>
                    <a:pt x="100" y="111"/>
                    <a:pt x="96" y="112"/>
                    <a:pt x="94" y="112"/>
                  </a:cubicBezTo>
                  <a:cubicBezTo>
                    <a:pt x="93" y="113"/>
                    <a:pt x="87" y="114"/>
                    <a:pt x="87" y="114"/>
                  </a:cubicBezTo>
                  <a:cubicBezTo>
                    <a:pt x="85" y="115"/>
                    <a:pt x="85" y="115"/>
                    <a:pt x="85" y="115"/>
                  </a:cubicBezTo>
                  <a:cubicBezTo>
                    <a:pt x="77" y="115"/>
                    <a:pt x="77" y="115"/>
                    <a:pt x="77" y="115"/>
                  </a:cubicBezTo>
                  <a:cubicBezTo>
                    <a:pt x="69" y="116"/>
                    <a:pt x="69" y="116"/>
                    <a:pt x="69" y="116"/>
                  </a:cubicBezTo>
                  <a:cubicBezTo>
                    <a:pt x="66" y="118"/>
                    <a:pt x="66" y="118"/>
                    <a:pt x="66" y="118"/>
                  </a:cubicBezTo>
                  <a:cubicBezTo>
                    <a:pt x="60" y="121"/>
                    <a:pt x="60" y="121"/>
                    <a:pt x="60" y="121"/>
                  </a:cubicBezTo>
                  <a:cubicBezTo>
                    <a:pt x="60" y="125"/>
                    <a:pt x="60" y="125"/>
                    <a:pt x="60" y="125"/>
                  </a:cubicBezTo>
                  <a:cubicBezTo>
                    <a:pt x="57" y="129"/>
                    <a:pt x="57" y="129"/>
                    <a:pt x="57" y="129"/>
                  </a:cubicBezTo>
                  <a:cubicBezTo>
                    <a:pt x="52" y="129"/>
                    <a:pt x="52" y="129"/>
                    <a:pt x="52" y="129"/>
                  </a:cubicBezTo>
                  <a:cubicBezTo>
                    <a:pt x="47" y="125"/>
                    <a:pt x="47" y="125"/>
                    <a:pt x="47" y="125"/>
                  </a:cubicBezTo>
                  <a:cubicBezTo>
                    <a:pt x="45" y="127"/>
                    <a:pt x="45" y="127"/>
                    <a:pt x="45" y="127"/>
                  </a:cubicBezTo>
                  <a:cubicBezTo>
                    <a:pt x="39" y="126"/>
                    <a:pt x="39" y="126"/>
                    <a:pt x="39" y="126"/>
                  </a:cubicBezTo>
                  <a:cubicBezTo>
                    <a:pt x="38" y="127"/>
                    <a:pt x="38" y="127"/>
                    <a:pt x="38" y="127"/>
                  </a:cubicBezTo>
                  <a:cubicBezTo>
                    <a:pt x="38" y="127"/>
                    <a:pt x="38" y="126"/>
                    <a:pt x="38" y="126"/>
                  </a:cubicBezTo>
                  <a:cubicBezTo>
                    <a:pt x="38" y="125"/>
                    <a:pt x="39" y="122"/>
                    <a:pt x="39" y="122"/>
                  </a:cubicBezTo>
                  <a:cubicBezTo>
                    <a:pt x="39" y="122"/>
                    <a:pt x="39" y="121"/>
                    <a:pt x="39" y="120"/>
                  </a:cubicBezTo>
                  <a:cubicBezTo>
                    <a:pt x="39" y="120"/>
                    <a:pt x="38" y="119"/>
                    <a:pt x="38" y="119"/>
                  </a:cubicBezTo>
                  <a:cubicBezTo>
                    <a:pt x="37" y="118"/>
                    <a:pt x="37" y="118"/>
                    <a:pt x="37" y="118"/>
                  </a:cubicBezTo>
                  <a:cubicBezTo>
                    <a:pt x="37" y="118"/>
                    <a:pt x="36" y="116"/>
                    <a:pt x="36" y="116"/>
                  </a:cubicBezTo>
                  <a:cubicBezTo>
                    <a:pt x="35" y="117"/>
                    <a:pt x="34" y="117"/>
                    <a:pt x="34" y="117"/>
                  </a:cubicBezTo>
                  <a:cubicBezTo>
                    <a:pt x="34" y="117"/>
                    <a:pt x="34" y="119"/>
                    <a:pt x="34" y="119"/>
                  </a:cubicBezTo>
                  <a:cubicBezTo>
                    <a:pt x="33" y="120"/>
                    <a:pt x="32" y="120"/>
                    <a:pt x="32" y="120"/>
                  </a:cubicBezTo>
                  <a:cubicBezTo>
                    <a:pt x="32" y="120"/>
                    <a:pt x="32" y="120"/>
                    <a:pt x="32" y="120"/>
                  </a:cubicBezTo>
                  <a:cubicBezTo>
                    <a:pt x="31" y="120"/>
                    <a:pt x="31" y="120"/>
                    <a:pt x="31" y="120"/>
                  </a:cubicBezTo>
                  <a:cubicBezTo>
                    <a:pt x="30" y="122"/>
                    <a:pt x="30" y="122"/>
                    <a:pt x="30" y="122"/>
                  </a:cubicBezTo>
                  <a:cubicBezTo>
                    <a:pt x="29" y="123"/>
                    <a:pt x="29" y="123"/>
                    <a:pt x="29" y="123"/>
                  </a:cubicBezTo>
                  <a:cubicBezTo>
                    <a:pt x="29" y="123"/>
                    <a:pt x="29" y="123"/>
                    <a:pt x="29" y="123"/>
                  </a:cubicBezTo>
                  <a:cubicBezTo>
                    <a:pt x="29" y="123"/>
                    <a:pt x="29" y="123"/>
                    <a:pt x="29" y="123"/>
                  </a:cubicBezTo>
                  <a:cubicBezTo>
                    <a:pt x="29" y="123"/>
                    <a:pt x="28" y="123"/>
                    <a:pt x="28" y="124"/>
                  </a:cubicBezTo>
                  <a:cubicBezTo>
                    <a:pt x="28" y="124"/>
                    <a:pt x="27" y="124"/>
                    <a:pt x="26" y="124"/>
                  </a:cubicBezTo>
                  <a:cubicBezTo>
                    <a:pt x="26" y="124"/>
                    <a:pt x="24" y="124"/>
                    <a:pt x="24" y="124"/>
                  </a:cubicBezTo>
                  <a:cubicBezTo>
                    <a:pt x="23" y="123"/>
                    <a:pt x="23" y="123"/>
                    <a:pt x="23" y="123"/>
                  </a:cubicBezTo>
                  <a:cubicBezTo>
                    <a:pt x="20" y="122"/>
                    <a:pt x="20" y="122"/>
                    <a:pt x="20" y="122"/>
                  </a:cubicBezTo>
                  <a:cubicBezTo>
                    <a:pt x="20" y="122"/>
                    <a:pt x="20" y="122"/>
                    <a:pt x="20" y="122"/>
                  </a:cubicBezTo>
                  <a:cubicBezTo>
                    <a:pt x="18" y="121"/>
                    <a:pt x="18" y="121"/>
                    <a:pt x="18" y="121"/>
                  </a:cubicBezTo>
                  <a:cubicBezTo>
                    <a:pt x="17" y="120"/>
                    <a:pt x="17" y="120"/>
                    <a:pt x="17" y="120"/>
                  </a:cubicBezTo>
                  <a:cubicBezTo>
                    <a:pt x="17" y="118"/>
                    <a:pt x="17" y="118"/>
                    <a:pt x="17" y="118"/>
                  </a:cubicBezTo>
                  <a:cubicBezTo>
                    <a:pt x="15" y="116"/>
                    <a:pt x="15" y="116"/>
                    <a:pt x="15" y="116"/>
                  </a:cubicBezTo>
                  <a:cubicBezTo>
                    <a:pt x="11" y="115"/>
                    <a:pt x="11" y="115"/>
                    <a:pt x="11" y="115"/>
                  </a:cubicBezTo>
                  <a:cubicBezTo>
                    <a:pt x="8" y="114"/>
                    <a:pt x="8" y="114"/>
                    <a:pt x="8" y="114"/>
                  </a:cubicBezTo>
                  <a:cubicBezTo>
                    <a:pt x="6" y="114"/>
                    <a:pt x="6" y="114"/>
                    <a:pt x="6" y="114"/>
                  </a:cubicBezTo>
                  <a:cubicBezTo>
                    <a:pt x="6" y="114"/>
                    <a:pt x="2" y="114"/>
                    <a:pt x="2" y="114"/>
                  </a:cubicBezTo>
                  <a:cubicBezTo>
                    <a:pt x="2" y="114"/>
                    <a:pt x="1" y="114"/>
                    <a:pt x="1" y="114"/>
                  </a:cubicBezTo>
                  <a:cubicBezTo>
                    <a:pt x="1" y="114"/>
                    <a:pt x="1" y="114"/>
                    <a:pt x="1" y="114"/>
                  </a:cubicBezTo>
                  <a:cubicBezTo>
                    <a:pt x="1" y="114"/>
                    <a:pt x="1" y="114"/>
                    <a:pt x="1" y="114"/>
                  </a:cubicBezTo>
                  <a:cubicBezTo>
                    <a:pt x="1" y="114"/>
                    <a:pt x="1" y="114"/>
                    <a:pt x="1" y="114"/>
                  </a:cubicBezTo>
                  <a:cubicBezTo>
                    <a:pt x="2" y="114"/>
                    <a:pt x="2" y="114"/>
                    <a:pt x="2" y="114"/>
                  </a:cubicBezTo>
                  <a:cubicBezTo>
                    <a:pt x="2" y="114"/>
                    <a:pt x="2" y="113"/>
                    <a:pt x="2" y="113"/>
                  </a:cubicBezTo>
                  <a:cubicBezTo>
                    <a:pt x="2" y="113"/>
                    <a:pt x="2" y="113"/>
                    <a:pt x="2" y="113"/>
                  </a:cubicBezTo>
                  <a:cubicBezTo>
                    <a:pt x="2" y="113"/>
                    <a:pt x="3" y="114"/>
                    <a:pt x="3" y="114"/>
                  </a:cubicBezTo>
                  <a:cubicBezTo>
                    <a:pt x="3" y="114"/>
                    <a:pt x="3" y="114"/>
                    <a:pt x="3" y="114"/>
                  </a:cubicBezTo>
                  <a:cubicBezTo>
                    <a:pt x="3" y="114"/>
                    <a:pt x="3" y="114"/>
                    <a:pt x="3" y="114"/>
                  </a:cubicBezTo>
                  <a:cubicBezTo>
                    <a:pt x="3" y="114"/>
                    <a:pt x="4" y="113"/>
                    <a:pt x="4" y="113"/>
                  </a:cubicBezTo>
                  <a:cubicBezTo>
                    <a:pt x="4" y="113"/>
                    <a:pt x="4" y="113"/>
                    <a:pt x="4" y="113"/>
                  </a:cubicBezTo>
                  <a:cubicBezTo>
                    <a:pt x="4" y="113"/>
                    <a:pt x="4" y="113"/>
                    <a:pt x="4" y="113"/>
                  </a:cubicBezTo>
                  <a:cubicBezTo>
                    <a:pt x="4" y="113"/>
                    <a:pt x="4" y="113"/>
                    <a:pt x="4" y="113"/>
                  </a:cubicBezTo>
                  <a:cubicBezTo>
                    <a:pt x="4" y="113"/>
                    <a:pt x="4" y="113"/>
                    <a:pt x="4" y="113"/>
                  </a:cubicBezTo>
                  <a:cubicBezTo>
                    <a:pt x="4" y="113"/>
                    <a:pt x="4" y="113"/>
                    <a:pt x="4" y="113"/>
                  </a:cubicBezTo>
                  <a:cubicBezTo>
                    <a:pt x="4" y="113"/>
                    <a:pt x="4" y="113"/>
                    <a:pt x="5" y="113"/>
                  </a:cubicBezTo>
                  <a:cubicBezTo>
                    <a:pt x="5" y="113"/>
                    <a:pt x="5" y="113"/>
                    <a:pt x="5" y="112"/>
                  </a:cubicBezTo>
                  <a:cubicBezTo>
                    <a:pt x="5" y="112"/>
                    <a:pt x="5" y="112"/>
                    <a:pt x="5" y="112"/>
                  </a:cubicBezTo>
                  <a:cubicBezTo>
                    <a:pt x="5" y="112"/>
                    <a:pt x="5" y="112"/>
                    <a:pt x="4" y="112"/>
                  </a:cubicBezTo>
                  <a:cubicBezTo>
                    <a:pt x="4" y="112"/>
                    <a:pt x="4" y="112"/>
                    <a:pt x="4" y="112"/>
                  </a:cubicBezTo>
                  <a:cubicBezTo>
                    <a:pt x="4" y="112"/>
                    <a:pt x="4" y="112"/>
                    <a:pt x="4" y="111"/>
                  </a:cubicBezTo>
                  <a:cubicBezTo>
                    <a:pt x="4" y="111"/>
                    <a:pt x="5" y="111"/>
                    <a:pt x="5" y="111"/>
                  </a:cubicBezTo>
                  <a:cubicBezTo>
                    <a:pt x="5" y="111"/>
                    <a:pt x="5" y="111"/>
                    <a:pt x="4" y="111"/>
                  </a:cubicBezTo>
                  <a:cubicBezTo>
                    <a:pt x="4" y="111"/>
                    <a:pt x="4" y="111"/>
                    <a:pt x="4" y="111"/>
                  </a:cubicBezTo>
                  <a:cubicBezTo>
                    <a:pt x="4" y="110"/>
                    <a:pt x="4" y="111"/>
                    <a:pt x="4" y="111"/>
                  </a:cubicBezTo>
                  <a:cubicBezTo>
                    <a:pt x="4" y="110"/>
                    <a:pt x="4" y="110"/>
                    <a:pt x="4" y="110"/>
                  </a:cubicBezTo>
                  <a:cubicBezTo>
                    <a:pt x="4" y="110"/>
                    <a:pt x="4" y="110"/>
                    <a:pt x="4" y="110"/>
                  </a:cubicBezTo>
                  <a:cubicBezTo>
                    <a:pt x="4" y="110"/>
                    <a:pt x="4" y="110"/>
                    <a:pt x="4" y="110"/>
                  </a:cubicBezTo>
                  <a:cubicBezTo>
                    <a:pt x="4" y="110"/>
                    <a:pt x="4" y="110"/>
                    <a:pt x="4" y="110"/>
                  </a:cubicBezTo>
                  <a:cubicBezTo>
                    <a:pt x="4" y="110"/>
                    <a:pt x="4" y="110"/>
                    <a:pt x="4" y="110"/>
                  </a:cubicBezTo>
                  <a:cubicBezTo>
                    <a:pt x="3" y="110"/>
                    <a:pt x="3" y="110"/>
                    <a:pt x="3" y="110"/>
                  </a:cubicBezTo>
                  <a:cubicBezTo>
                    <a:pt x="3" y="110"/>
                    <a:pt x="3" y="110"/>
                    <a:pt x="3" y="110"/>
                  </a:cubicBezTo>
                  <a:cubicBezTo>
                    <a:pt x="3" y="109"/>
                    <a:pt x="3" y="109"/>
                    <a:pt x="3" y="109"/>
                  </a:cubicBezTo>
                  <a:cubicBezTo>
                    <a:pt x="3" y="109"/>
                    <a:pt x="3" y="109"/>
                    <a:pt x="3" y="109"/>
                  </a:cubicBezTo>
                  <a:cubicBezTo>
                    <a:pt x="3" y="109"/>
                    <a:pt x="3" y="109"/>
                    <a:pt x="3" y="109"/>
                  </a:cubicBezTo>
                  <a:cubicBezTo>
                    <a:pt x="3" y="109"/>
                    <a:pt x="3" y="108"/>
                    <a:pt x="3" y="108"/>
                  </a:cubicBezTo>
                  <a:cubicBezTo>
                    <a:pt x="3" y="108"/>
                    <a:pt x="3" y="108"/>
                    <a:pt x="3" y="108"/>
                  </a:cubicBezTo>
                  <a:cubicBezTo>
                    <a:pt x="3" y="108"/>
                    <a:pt x="3" y="108"/>
                    <a:pt x="3" y="108"/>
                  </a:cubicBezTo>
                  <a:cubicBezTo>
                    <a:pt x="3" y="108"/>
                    <a:pt x="3" y="108"/>
                    <a:pt x="3" y="108"/>
                  </a:cubicBezTo>
                  <a:cubicBezTo>
                    <a:pt x="3" y="108"/>
                    <a:pt x="3" y="108"/>
                    <a:pt x="3" y="108"/>
                  </a:cubicBezTo>
                  <a:cubicBezTo>
                    <a:pt x="3" y="108"/>
                    <a:pt x="3" y="108"/>
                    <a:pt x="3" y="108"/>
                  </a:cubicBezTo>
                  <a:cubicBezTo>
                    <a:pt x="3" y="107"/>
                    <a:pt x="3" y="108"/>
                    <a:pt x="3" y="107"/>
                  </a:cubicBezTo>
                  <a:cubicBezTo>
                    <a:pt x="3" y="107"/>
                    <a:pt x="3" y="107"/>
                    <a:pt x="3" y="107"/>
                  </a:cubicBezTo>
                  <a:cubicBezTo>
                    <a:pt x="3" y="107"/>
                    <a:pt x="3" y="107"/>
                    <a:pt x="3" y="107"/>
                  </a:cubicBezTo>
                  <a:cubicBezTo>
                    <a:pt x="3" y="107"/>
                    <a:pt x="2" y="107"/>
                    <a:pt x="2" y="106"/>
                  </a:cubicBezTo>
                  <a:cubicBezTo>
                    <a:pt x="2" y="106"/>
                    <a:pt x="2" y="106"/>
                    <a:pt x="2" y="106"/>
                  </a:cubicBezTo>
                  <a:cubicBezTo>
                    <a:pt x="2" y="106"/>
                    <a:pt x="2" y="106"/>
                    <a:pt x="2" y="106"/>
                  </a:cubicBezTo>
                  <a:cubicBezTo>
                    <a:pt x="2" y="106"/>
                    <a:pt x="2" y="106"/>
                    <a:pt x="2" y="106"/>
                  </a:cubicBezTo>
                  <a:cubicBezTo>
                    <a:pt x="2" y="107"/>
                    <a:pt x="2" y="107"/>
                    <a:pt x="2" y="107"/>
                  </a:cubicBezTo>
                  <a:cubicBezTo>
                    <a:pt x="2" y="108"/>
                    <a:pt x="2" y="108"/>
                    <a:pt x="2" y="108"/>
                  </a:cubicBezTo>
                  <a:cubicBezTo>
                    <a:pt x="1" y="108"/>
                    <a:pt x="1" y="108"/>
                    <a:pt x="1" y="108"/>
                  </a:cubicBezTo>
                  <a:cubicBezTo>
                    <a:pt x="1" y="107"/>
                    <a:pt x="1" y="107"/>
                    <a:pt x="1" y="107"/>
                  </a:cubicBezTo>
                  <a:cubicBezTo>
                    <a:pt x="2" y="104"/>
                    <a:pt x="2" y="104"/>
                    <a:pt x="2" y="104"/>
                  </a:cubicBezTo>
                  <a:cubicBezTo>
                    <a:pt x="4" y="102"/>
                    <a:pt x="4" y="102"/>
                    <a:pt x="4" y="102"/>
                  </a:cubicBezTo>
                  <a:cubicBezTo>
                    <a:pt x="4" y="102"/>
                    <a:pt x="4" y="100"/>
                    <a:pt x="5" y="100"/>
                  </a:cubicBezTo>
                  <a:cubicBezTo>
                    <a:pt x="5" y="99"/>
                    <a:pt x="5" y="98"/>
                    <a:pt x="5" y="98"/>
                  </a:cubicBezTo>
                  <a:cubicBezTo>
                    <a:pt x="7" y="97"/>
                    <a:pt x="7" y="97"/>
                    <a:pt x="7" y="97"/>
                  </a:cubicBezTo>
                  <a:cubicBezTo>
                    <a:pt x="7" y="97"/>
                    <a:pt x="8" y="96"/>
                    <a:pt x="8" y="96"/>
                  </a:cubicBezTo>
                  <a:cubicBezTo>
                    <a:pt x="8" y="95"/>
                    <a:pt x="7" y="94"/>
                    <a:pt x="7" y="94"/>
                  </a:cubicBezTo>
                  <a:cubicBezTo>
                    <a:pt x="7" y="93"/>
                    <a:pt x="8" y="92"/>
                    <a:pt x="8" y="92"/>
                  </a:cubicBezTo>
                  <a:cubicBezTo>
                    <a:pt x="7" y="92"/>
                    <a:pt x="7" y="91"/>
                    <a:pt x="6" y="91"/>
                  </a:cubicBezTo>
                  <a:cubicBezTo>
                    <a:pt x="6" y="91"/>
                    <a:pt x="6" y="91"/>
                    <a:pt x="6" y="91"/>
                  </a:cubicBezTo>
                  <a:cubicBezTo>
                    <a:pt x="6" y="91"/>
                    <a:pt x="6" y="91"/>
                    <a:pt x="6" y="91"/>
                  </a:cubicBezTo>
                  <a:cubicBezTo>
                    <a:pt x="6" y="91"/>
                    <a:pt x="6" y="91"/>
                    <a:pt x="6" y="91"/>
                  </a:cubicBezTo>
                  <a:cubicBezTo>
                    <a:pt x="6" y="91"/>
                    <a:pt x="6" y="91"/>
                    <a:pt x="6" y="91"/>
                  </a:cubicBezTo>
                  <a:cubicBezTo>
                    <a:pt x="6" y="91"/>
                    <a:pt x="6" y="91"/>
                    <a:pt x="6" y="91"/>
                  </a:cubicBezTo>
                  <a:cubicBezTo>
                    <a:pt x="6" y="91"/>
                    <a:pt x="6" y="91"/>
                    <a:pt x="6" y="91"/>
                  </a:cubicBezTo>
                  <a:cubicBezTo>
                    <a:pt x="6" y="91"/>
                    <a:pt x="6" y="91"/>
                    <a:pt x="6" y="91"/>
                  </a:cubicBezTo>
                  <a:cubicBezTo>
                    <a:pt x="6" y="91"/>
                    <a:pt x="6" y="91"/>
                    <a:pt x="6" y="91"/>
                  </a:cubicBezTo>
                  <a:cubicBezTo>
                    <a:pt x="6" y="91"/>
                    <a:pt x="6" y="91"/>
                    <a:pt x="6" y="91"/>
                  </a:cubicBezTo>
                  <a:cubicBezTo>
                    <a:pt x="6" y="91"/>
                    <a:pt x="6" y="91"/>
                    <a:pt x="6" y="91"/>
                  </a:cubicBezTo>
                  <a:cubicBezTo>
                    <a:pt x="6" y="91"/>
                    <a:pt x="6" y="91"/>
                    <a:pt x="6" y="91"/>
                  </a:cubicBezTo>
                  <a:cubicBezTo>
                    <a:pt x="6" y="91"/>
                    <a:pt x="6" y="91"/>
                    <a:pt x="6" y="91"/>
                  </a:cubicBezTo>
                  <a:cubicBezTo>
                    <a:pt x="6" y="91"/>
                    <a:pt x="6" y="91"/>
                    <a:pt x="6" y="91"/>
                  </a:cubicBezTo>
                  <a:cubicBezTo>
                    <a:pt x="6" y="91"/>
                    <a:pt x="6" y="91"/>
                    <a:pt x="6" y="91"/>
                  </a:cubicBezTo>
                  <a:cubicBezTo>
                    <a:pt x="6" y="91"/>
                    <a:pt x="6" y="91"/>
                    <a:pt x="6" y="90"/>
                  </a:cubicBezTo>
                  <a:cubicBezTo>
                    <a:pt x="6" y="90"/>
                    <a:pt x="6" y="90"/>
                    <a:pt x="6" y="90"/>
                  </a:cubicBezTo>
                  <a:cubicBezTo>
                    <a:pt x="6" y="90"/>
                    <a:pt x="6" y="90"/>
                    <a:pt x="6" y="90"/>
                  </a:cubicBezTo>
                  <a:cubicBezTo>
                    <a:pt x="6" y="90"/>
                    <a:pt x="6" y="90"/>
                    <a:pt x="6" y="90"/>
                  </a:cubicBezTo>
                  <a:cubicBezTo>
                    <a:pt x="6" y="90"/>
                    <a:pt x="6" y="90"/>
                    <a:pt x="6" y="90"/>
                  </a:cubicBezTo>
                  <a:cubicBezTo>
                    <a:pt x="6" y="90"/>
                    <a:pt x="6" y="90"/>
                    <a:pt x="6" y="90"/>
                  </a:cubicBezTo>
                  <a:cubicBezTo>
                    <a:pt x="6" y="90"/>
                    <a:pt x="6" y="90"/>
                    <a:pt x="6" y="90"/>
                  </a:cubicBezTo>
                  <a:cubicBezTo>
                    <a:pt x="6" y="90"/>
                    <a:pt x="6" y="90"/>
                    <a:pt x="6" y="90"/>
                  </a:cubicBezTo>
                  <a:cubicBezTo>
                    <a:pt x="8" y="88"/>
                    <a:pt x="10" y="86"/>
                    <a:pt x="10" y="86"/>
                  </a:cubicBezTo>
                  <a:cubicBezTo>
                    <a:pt x="10" y="86"/>
                    <a:pt x="12" y="85"/>
                    <a:pt x="14" y="86"/>
                  </a:cubicBezTo>
                  <a:cubicBezTo>
                    <a:pt x="15" y="87"/>
                    <a:pt x="17" y="89"/>
                    <a:pt x="18" y="90"/>
                  </a:cubicBezTo>
                  <a:cubicBezTo>
                    <a:pt x="18" y="90"/>
                    <a:pt x="19" y="91"/>
                    <a:pt x="20" y="91"/>
                  </a:cubicBezTo>
                  <a:cubicBezTo>
                    <a:pt x="21" y="91"/>
                    <a:pt x="22" y="92"/>
                    <a:pt x="22" y="92"/>
                  </a:cubicBezTo>
                  <a:cubicBezTo>
                    <a:pt x="22" y="93"/>
                    <a:pt x="23" y="92"/>
                    <a:pt x="23" y="94"/>
                  </a:cubicBezTo>
                  <a:cubicBezTo>
                    <a:pt x="22" y="96"/>
                    <a:pt x="22" y="98"/>
                    <a:pt x="23" y="98"/>
                  </a:cubicBezTo>
                  <a:cubicBezTo>
                    <a:pt x="25" y="97"/>
                    <a:pt x="26" y="96"/>
                    <a:pt x="26" y="97"/>
                  </a:cubicBezTo>
                  <a:cubicBezTo>
                    <a:pt x="26" y="98"/>
                    <a:pt x="27" y="97"/>
                    <a:pt x="26" y="99"/>
                  </a:cubicBezTo>
                  <a:cubicBezTo>
                    <a:pt x="26" y="101"/>
                    <a:pt x="25" y="102"/>
                    <a:pt x="26" y="102"/>
                  </a:cubicBezTo>
                  <a:cubicBezTo>
                    <a:pt x="28" y="103"/>
                    <a:pt x="30" y="104"/>
                    <a:pt x="31" y="103"/>
                  </a:cubicBezTo>
                  <a:cubicBezTo>
                    <a:pt x="32" y="101"/>
                    <a:pt x="31" y="103"/>
                    <a:pt x="32" y="101"/>
                  </a:cubicBezTo>
                  <a:cubicBezTo>
                    <a:pt x="33" y="98"/>
                    <a:pt x="33" y="99"/>
                    <a:pt x="34" y="98"/>
                  </a:cubicBezTo>
                  <a:cubicBezTo>
                    <a:pt x="34" y="96"/>
                    <a:pt x="34" y="97"/>
                    <a:pt x="35" y="95"/>
                  </a:cubicBezTo>
                  <a:cubicBezTo>
                    <a:pt x="35" y="93"/>
                    <a:pt x="36" y="94"/>
                    <a:pt x="35" y="93"/>
                  </a:cubicBezTo>
                  <a:cubicBezTo>
                    <a:pt x="35" y="93"/>
                    <a:pt x="35" y="92"/>
                    <a:pt x="34" y="91"/>
                  </a:cubicBezTo>
                  <a:cubicBezTo>
                    <a:pt x="34" y="89"/>
                    <a:pt x="32" y="90"/>
                    <a:pt x="35" y="89"/>
                  </a:cubicBezTo>
                  <a:cubicBezTo>
                    <a:pt x="37" y="88"/>
                    <a:pt x="38" y="88"/>
                    <a:pt x="38" y="88"/>
                  </a:cubicBezTo>
                  <a:cubicBezTo>
                    <a:pt x="38" y="87"/>
                    <a:pt x="41" y="87"/>
                    <a:pt x="41" y="87"/>
                  </a:cubicBezTo>
                  <a:cubicBezTo>
                    <a:pt x="41" y="87"/>
                    <a:pt x="44" y="87"/>
                    <a:pt x="44" y="87"/>
                  </a:cubicBezTo>
                  <a:cubicBezTo>
                    <a:pt x="45" y="87"/>
                    <a:pt x="49" y="87"/>
                    <a:pt x="49" y="88"/>
                  </a:cubicBezTo>
                  <a:cubicBezTo>
                    <a:pt x="49" y="89"/>
                    <a:pt x="51" y="89"/>
                    <a:pt x="51" y="89"/>
                  </a:cubicBezTo>
                  <a:cubicBezTo>
                    <a:pt x="51" y="89"/>
                    <a:pt x="53" y="89"/>
                    <a:pt x="54" y="91"/>
                  </a:cubicBezTo>
                  <a:cubicBezTo>
                    <a:pt x="54" y="94"/>
                    <a:pt x="54" y="96"/>
                    <a:pt x="55" y="95"/>
                  </a:cubicBezTo>
                  <a:cubicBezTo>
                    <a:pt x="56" y="95"/>
                    <a:pt x="58" y="97"/>
                    <a:pt x="58" y="96"/>
                  </a:cubicBezTo>
                  <a:cubicBezTo>
                    <a:pt x="59" y="95"/>
                    <a:pt x="60" y="94"/>
                    <a:pt x="61" y="94"/>
                  </a:cubicBezTo>
                  <a:cubicBezTo>
                    <a:pt x="62" y="94"/>
                    <a:pt x="60" y="93"/>
                    <a:pt x="63" y="93"/>
                  </a:cubicBezTo>
                  <a:cubicBezTo>
                    <a:pt x="67" y="94"/>
                    <a:pt x="66" y="95"/>
                    <a:pt x="68" y="93"/>
                  </a:cubicBezTo>
                  <a:cubicBezTo>
                    <a:pt x="69" y="91"/>
                    <a:pt x="69" y="91"/>
                    <a:pt x="71" y="90"/>
                  </a:cubicBezTo>
                  <a:cubicBezTo>
                    <a:pt x="72" y="89"/>
                    <a:pt x="72" y="89"/>
                    <a:pt x="73" y="88"/>
                  </a:cubicBezTo>
                  <a:cubicBezTo>
                    <a:pt x="73" y="88"/>
                    <a:pt x="77" y="88"/>
                    <a:pt x="77" y="88"/>
                  </a:cubicBezTo>
                  <a:cubicBezTo>
                    <a:pt x="78" y="87"/>
                    <a:pt x="79" y="85"/>
                    <a:pt x="80" y="85"/>
                  </a:cubicBezTo>
                  <a:cubicBezTo>
                    <a:pt x="80" y="85"/>
                    <a:pt x="84" y="85"/>
                    <a:pt x="85" y="85"/>
                  </a:cubicBezTo>
                  <a:cubicBezTo>
                    <a:pt x="86" y="85"/>
                    <a:pt x="88" y="85"/>
                    <a:pt x="89" y="84"/>
                  </a:cubicBezTo>
                  <a:cubicBezTo>
                    <a:pt x="89" y="83"/>
                    <a:pt x="89" y="83"/>
                    <a:pt x="90" y="82"/>
                  </a:cubicBezTo>
                  <a:cubicBezTo>
                    <a:pt x="92" y="82"/>
                    <a:pt x="93" y="82"/>
                    <a:pt x="95" y="82"/>
                  </a:cubicBezTo>
                  <a:cubicBezTo>
                    <a:pt x="97" y="82"/>
                    <a:pt x="97" y="82"/>
                    <a:pt x="98" y="82"/>
                  </a:cubicBezTo>
                  <a:cubicBezTo>
                    <a:pt x="99" y="82"/>
                    <a:pt x="100" y="84"/>
                    <a:pt x="100" y="81"/>
                  </a:cubicBezTo>
                  <a:cubicBezTo>
                    <a:pt x="99" y="78"/>
                    <a:pt x="98" y="78"/>
                    <a:pt x="99" y="77"/>
                  </a:cubicBezTo>
                  <a:cubicBezTo>
                    <a:pt x="101" y="77"/>
                    <a:pt x="103" y="77"/>
                    <a:pt x="103" y="77"/>
                  </a:cubicBezTo>
                  <a:cubicBezTo>
                    <a:pt x="104" y="77"/>
                    <a:pt x="108" y="78"/>
                    <a:pt x="109" y="78"/>
                  </a:cubicBezTo>
                  <a:cubicBezTo>
                    <a:pt x="109" y="78"/>
                    <a:pt x="110" y="80"/>
                    <a:pt x="110" y="80"/>
                  </a:cubicBezTo>
                  <a:cubicBezTo>
                    <a:pt x="111" y="80"/>
                    <a:pt x="112" y="81"/>
                    <a:pt x="113" y="80"/>
                  </a:cubicBezTo>
                  <a:cubicBezTo>
                    <a:pt x="113" y="80"/>
                    <a:pt x="114" y="78"/>
                    <a:pt x="115" y="78"/>
                  </a:cubicBezTo>
                  <a:cubicBezTo>
                    <a:pt x="116" y="78"/>
                    <a:pt x="119" y="78"/>
                    <a:pt x="119" y="78"/>
                  </a:cubicBezTo>
                  <a:cubicBezTo>
                    <a:pt x="119" y="78"/>
                    <a:pt x="123" y="79"/>
                    <a:pt x="123" y="79"/>
                  </a:cubicBezTo>
                  <a:cubicBezTo>
                    <a:pt x="123" y="79"/>
                    <a:pt x="122" y="81"/>
                    <a:pt x="122" y="82"/>
                  </a:cubicBezTo>
                  <a:cubicBezTo>
                    <a:pt x="122" y="83"/>
                    <a:pt x="122" y="84"/>
                    <a:pt x="123" y="85"/>
                  </a:cubicBezTo>
                  <a:cubicBezTo>
                    <a:pt x="123" y="85"/>
                    <a:pt x="125" y="87"/>
                    <a:pt x="125" y="87"/>
                  </a:cubicBezTo>
                  <a:cubicBezTo>
                    <a:pt x="125" y="87"/>
                    <a:pt x="130" y="89"/>
                    <a:pt x="130" y="89"/>
                  </a:cubicBezTo>
                  <a:cubicBezTo>
                    <a:pt x="130" y="89"/>
                    <a:pt x="131" y="90"/>
                    <a:pt x="131" y="86"/>
                  </a:cubicBezTo>
                  <a:cubicBezTo>
                    <a:pt x="131" y="82"/>
                    <a:pt x="131" y="81"/>
                    <a:pt x="131" y="81"/>
                  </a:cubicBezTo>
                  <a:cubicBezTo>
                    <a:pt x="131" y="77"/>
                    <a:pt x="131" y="77"/>
                    <a:pt x="131" y="77"/>
                  </a:cubicBezTo>
                  <a:cubicBezTo>
                    <a:pt x="131" y="77"/>
                    <a:pt x="131" y="76"/>
                    <a:pt x="130" y="76"/>
                  </a:cubicBezTo>
                  <a:cubicBezTo>
                    <a:pt x="130" y="76"/>
                    <a:pt x="129" y="76"/>
                    <a:pt x="129" y="76"/>
                  </a:cubicBezTo>
                  <a:cubicBezTo>
                    <a:pt x="129" y="76"/>
                    <a:pt x="125" y="75"/>
                    <a:pt x="124" y="75"/>
                  </a:cubicBezTo>
                  <a:cubicBezTo>
                    <a:pt x="123" y="75"/>
                    <a:pt x="124" y="73"/>
                    <a:pt x="124" y="72"/>
                  </a:cubicBezTo>
                  <a:cubicBezTo>
                    <a:pt x="124" y="72"/>
                    <a:pt x="126" y="70"/>
                    <a:pt x="126" y="70"/>
                  </a:cubicBezTo>
                  <a:cubicBezTo>
                    <a:pt x="126" y="67"/>
                    <a:pt x="126" y="67"/>
                    <a:pt x="126" y="67"/>
                  </a:cubicBezTo>
                  <a:cubicBezTo>
                    <a:pt x="123" y="62"/>
                    <a:pt x="123" y="62"/>
                    <a:pt x="123" y="62"/>
                  </a:cubicBezTo>
                  <a:cubicBezTo>
                    <a:pt x="120" y="59"/>
                    <a:pt x="120" y="59"/>
                    <a:pt x="120" y="59"/>
                  </a:cubicBezTo>
                  <a:cubicBezTo>
                    <a:pt x="118" y="54"/>
                    <a:pt x="118" y="54"/>
                    <a:pt x="118" y="54"/>
                  </a:cubicBezTo>
                  <a:cubicBezTo>
                    <a:pt x="118" y="54"/>
                    <a:pt x="118" y="54"/>
                    <a:pt x="118" y="54"/>
                  </a:cubicBezTo>
                  <a:cubicBezTo>
                    <a:pt x="118" y="54"/>
                    <a:pt x="118" y="54"/>
                    <a:pt x="118" y="54"/>
                  </a:cubicBezTo>
                  <a:cubicBezTo>
                    <a:pt x="121" y="52"/>
                    <a:pt x="121" y="52"/>
                    <a:pt x="121" y="52"/>
                  </a:cubicBezTo>
                  <a:cubicBezTo>
                    <a:pt x="123" y="50"/>
                    <a:pt x="126" y="48"/>
                    <a:pt x="126" y="48"/>
                  </a:cubicBezTo>
                  <a:cubicBezTo>
                    <a:pt x="126" y="48"/>
                    <a:pt x="126" y="48"/>
                    <a:pt x="127" y="48"/>
                  </a:cubicBezTo>
                  <a:cubicBezTo>
                    <a:pt x="129" y="46"/>
                    <a:pt x="129" y="46"/>
                    <a:pt x="129" y="46"/>
                  </a:cubicBezTo>
                  <a:cubicBezTo>
                    <a:pt x="129" y="46"/>
                    <a:pt x="134" y="44"/>
                    <a:pt x="134" y="44"/>
                  </a:cubicBezTo>
                  <a:cubicBezTo>
                    <a:pt x="134" y="44"/>
                    <a:pt x="135" y="43"/>
                    <a:pt x="135" y="43"/>
                  </a:cubicBezTo>
                  <a:cubicBezTo>
                    <a:pt x="136" y="43"/>
                    <a:pt x="136" y="43"/>
                    <a:pt x="136" y="43"/>
                  </a:cubicBezTo>
                  <a:cubicBezTo>
                    <a:pt x="141" y="38"/>
                    <a:pt x="141" y="38"/>
                    <a:pt x="141" y="38"/>
                  </a:cubicBezTo>
                  <a:cubicBezTo>
                    <a:pt x="141" y="33"/>
                    <a:pt x="141" y="33"/>
                    <a:pt x="141" y="33"/>
                  </a:cubicBezTo>
                  <a:cubicBezTo>
                    <a:pt x="142" y="31"/>
                    <a:pt x="142" y="31"/>
                    <a:pt x="142" y="31"/>
                  </a:cubicBezTo>
                  <a:cubicBezTo>
                    <a:pt x="142" y="30"/>
                    <a:pt x="142" y="28"/>
                    <a:pt x="142" y="28"/>
                  </a:cubicBezTo>
                  <a:cubicBezTo>
                    <a:pt x="148" y="28"/>
                    <a:pt x="148" y="28"/>
                    <a:pt x="148" y="28"/>
                  </a:cubicBezTo>
                  <a:cubicBezTo>
                    <a:pt x="148" y="28"/>
                    <a:pt x="149" y="29"/>
                    <a:pt x="150" y="30"/>
                  </a:cubicBezTo>
                  <a:cubicBezTo>
                    <a:pt x="151" y="30"/>
                    <a:pt x="152" y="29"/>
                    <a:pt x="152" y="29"/>
                  </a:cubicBezTo>
                  <a:cubicBezTo>
                    <a:pt x="153" y="29"/>
                    <a:pt x="154" y="27"/>
                    <a:pt x="154" y="27"/>
                  </a:cubicBezTo>
                  <a:cubicBezTo>
                    <a:pt x="154" y="24"/>
                    <a:pt x="154" y="24"/>
                    <a:pt x="154" y="24"/>
                  </a:cubicBezTo>
                  <a:cubicBezTo>
                    <a:pt x="153" y="19"/>
                    <a:pt x="153" y="19"/>
                    <a:pt x="153" y="19"/>
                  </a:cubicBezTo>
                  <a:cubicBezTo>
                    <a:pt x="153" y="16"/>
                    <a:pt x="153" y="16"/>
                    <a:pt x="153" y="16"/>
                  </a:cubicBezTo>
                  <a:cubicBezTo>
                    <a:pt x="153" y="16"/>
                    <a:pt x="153" y="16"/>
                    <a:pt x="153" y="16"/>
                  </a:cubicBezTo>
                  <a:cubicBezTo>
                    <a:pt x="154" y="16"/>
                    <a:pt x="158" y="19"/>
                    <a:pt x="160" y="20"/>
                  </a:cubicBezTo>
                  <a:cubicBezTo>
                    <a:pt x="161" y="21"/>
                    <a:pt x="164" y="24"/>
                    <a:pt x="164" y="24"/>
                  </a:cubicBezTo>
                  <a:cubicBezTo>
                    <a:pt x="164" y="24"/>
                    <a:pt x="169" y="25"/>
                    <a:pt x="170" y="25"/>
                  </a:cubicBezTo>
                  <a:cubicBezTo>
                    <a:pt x="170" y="25"/>
                    <a:pt x="175" y="26"/>
                    <a:pt x="175" y="26"/>
                  </a:cubicBezTo>
                  <a:cubicBezTo>
                    <a:pt x="176" y="24"/>
                    <a:pt x="176" y="24"/>
                    <a:pt x="176" y="24"/>
                  </a:cubicBezTo>
                  <a:cubicBezTo>
                    <a:pt x="179" y="22"/>
                    <a:pt x="179" y="22"/>
                    <a:pt x="179" y="22"/>
                  </a:cubicBezTo>
                  <a:cubicBezTo>
                    <a:pt x="183" y="25"/>
                    <a:pt x="183" y="25"/>
                    <a:pt x="183" y="25"/>
                  </a:cubicBezTo>
                  <a:cubicBezTo>
                    <a:pt x="187" y="24"/>
                    <a:pt x="187" y="24"/>
                    <a:pt x="187" y="24"/>
                  </a:cubicBezTo>
                  <a:close/>
                  <a:moveTo>
                    <a:pt x="5" y="91"/>
                  </a:moveTo>
                  <a:cubicBezTo>
                    <a:pt x="5" y="91"/>
                    <a:pt x="5" y="91"/>
                    <a:pt x="5" y="91"/>
                  </a:cubicBezTo>
                  <a:cubicBezTo>
                    <a:pt x="5" y="91"/>
                    <a:pt x="5" y="91"/>
                    <a:pt x="5" y="91"/>
                  </a:cubicBezTo>
                  <a:cubicBezTo>
                    <a:pt x="5" y="91"/>
                    <a:pt x="5" y="91"/>
                    <a:pt x="5" y="91"/>
                  </a:cubicBezTo>
                  <a:close/>
                  <a:moveTo>
                    <a:pt x="1" y="114"/>
                  </a:moveTo>
                  <a:cubicBezTo>
                    <a:pt x="1" y="114"/>
                    <a:pt x="1" y="114"/>
                    <a:pt x="1" y="114"/>
                  </a:cubicBezTo>
                  <a:cubicBezTo>
                    <a:pt x="1" y="114"/>
                    <a:pt x="1" y="114"/>
                    <a:pt x="1" y="114"/>
                  </a:cubicBezTo>
                  <a:cubicBezTo>
                    <a:pt x="1" y="114"/>
                    <a:pt x="1" y="114"/>
                    <a:pt x="1" y="114"/>
                  </a:cubicBezTo>
                  <a:cubicBezTo>
                    <a:pt x="1" y="114"/>
                    <a:pt x="1" y="114"/>
                    <a:pt x="1" y="114"/>
                  </a:cubicBezTo>
                  <a:close/>
                  <a:moveTo>
                    <a:pt x="1" y="114"/>
                  </a:moveTo>
                  <a:cubicBezTo>
                    <a:pt x="1" y="114"/>
                    <a:pt x="1" y="114"/>
                    <a:pt x="1" y="114"/>
                  </a:cubicBezTo>
                  <a:cubicBezTo>
                    <a:pt x="1" y="114"/>
                    <a:pt x="1" y="113"/>
                    <a:pt x="1" y="113"/>
                  </a:cubicBezTo>
                  <a:cubicBezTo>
                    <a:pt x="1" y="113"/>
                    <a:pt x="1" y="113"/>
                    <a:pt x="1" y="113"/>
                  </a:cubicBezTo>
                  <a:cubicBezTo>
                    <a:pt x="1" y="113"/>
                    <a:pt x="2" y="113"/>
                    <a:pt x="2" y="112"/>
                  </a:cubicBezTo>
                  <a:cubicBezTo>
                    <a:pt x="2" y="112"/>
                    <a:pt x="2" y="112"/>
                    <a:pt x="2" y="112"/>
                  </a:cubicBezTo>
                  <a:cubicBezTo>
                    <a:pt x="2" y="112"/>
                    <a:pt x="2" y="112"/>
                    <a:pt x="2" y="112"/>
                  </a:cubicBezTo>
                  <a:cubicBezTo>
                    <a:pt x="2" y="112"/>
                    <a:pt x="2" y="112"/>
                    <a:pt x="2" y="112"/>
                  </a:cubicBezTo>
                  <a:cubicBezTo>
                    <a:pt x="1" y="112"/>
                    <a:pt x="1" y="112"/>
                    <a:pt x="1" y="112"/>
                  </a:cubicBezTo>
                  <a:cubicBezTo>
                    <a:pt x="0" y="114"/>
                    <a:pt x="0" y="114"/>
                    <a:pt x="0" y="114"/>
                  </a:cubicBezTo>
                  <a:lnTo>
                    <a:pt x="1" y="114"/>
                  </a:lnTo>
                  <a:close/>
                </a:path>
              </a:pathLst>
            </a:custGeom>
            <a:solidFill>
              <a:srgbClr val="E6EFF1"/>
            </a:solidFill>
            <a:ln w="12700" cap="rnd" cmpd="sng">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Lato Light"/>
              </a:endParaRPr>
            </a:p>
          </p:txBody>
        </p:sp>
        <p:sp>
          <p:nvSpPr>
            <p:cNvPr id="227" name="Freeform 11">
              <a:extLst>
                <a:ext uri="{FF2B5EF4-FFF2-40B4-BE49-F238E27FC236}">
                  <a16:creationId xmlns:a16="http://schemas.microsoft.com/office/drawing/2014/main" id="{7659FAF6-900A-1D12-0B19-5C58C8F1E595}"/>
                </a:ext>
              </a:extLst>
            </p:cNvPr>
            <p:cNvSpPr>
              <a:spLocks noEditPoints="1"/>
            </p:cNvSpPr>
            <p:nvPr/>
          </p:nvSpPr>
          <p:spPr bwMode="auto">
            <a:xfrm>
              <a:off x="2392882" y="3894147"/>
              <a:ext cx="1497565" cy="1504131"/>
            </a:xfrm>
            <a:custGeom>
              <a:avLst/>
              <a:gdLst>
                <a:gd name="T0" fmla="*/ 269 w 520"/>
                <a:gd name="T1" fmla="*/ 424 h 538"/>
                <a:gd name="T2" fmla="*/ 326 w 520"/>
                <a:gd name="T3" fmla="*/ 423 h 538"/>
                <a:gd name="T4" fmla="*/ 401 w 520"/>
                <a:gd name="T5" fmla="*/ 437 h 538"/>
                <a:gd name="T6" fmla="*/ 432 w 520"/>
                <a:gd name="T7" fmla="*/ 408 h 538"/>
                <a:gd name="T8" fmla="*/ 434 w 520"/>
                <a:gd name="T9" fmla="*/ 407 h 538"/>
                <a:gd name="T10" fmla="*/ 435 w 520"/>
                <a:gd name="T11" fmla="*/ 406 h 538"/>
                <a:gd name="T12" fmla="*/ 436 w 520"/>
                <a:gd name="T13" fmla="*/ 406 h 538"/>
                <a:gd name="T14" fmla="*/ 421 w 520"/>
                <a:gd name="T15" fmla="*/ 359 h 538"/>
                <a:gd name="T16" fmla="*/ 425 w 520"/>
                <a:gd name="T17" fmla="*/ 310 h 538"/>
                <a:gd name="T18" fmla="*/ 418 w 520"/>
                <a:gd name="T19" fmla="*/ 279 h 538"/>
                <a:gd name="T20" fmla="*/ 414 w 520"/>
                <a:gd name="T21" fmla="*/ 263 h 538"/>
                <a:gd name="T22" fmla="*/ 395 w 520"/>
                <a:gd name="T23" fmla="*/ 272 h 538"/>
                <a:gd name="T24" fmla="*/ 384 w 520"/>
                <a:gd name="T25" fmla="*/ 274 h 538"/>
                <a:gd name="T26" fmla="*/ 389 w 520"/>
                <a:gd name="T27" fmla="*/ 259 h 538"/>
                <a:gd name="T28" fmla="*/ 402 w 520"/>
                <a:gd name="T29" fmla="*/ 242 h 538"/>
                <a:gd name="T30" fmla="*/ 411 w 520"/>
                <a:gd name="T31" fmla="*/ 230 h 538"/>
                <a:gd name="T32" fmla="*/ 424 w 520"/>
                <a:gd name="T33" fmla="*/ 215 h 538"/>
                <a:gd name="T34" fmla="*/ 422 w 520"/>
                <a:gd name="T35" fmla="*/ 208 h 538"/>
                <a:gd name="T36" fmla="*/ 434 w 520"/>
                <a:gd name="T37" fmla="*/ 208 h 538"/>
                <a:gd name="T38" fmla="*/ 443 w 520"/>
                <a:gd name="T39" fmla="*/ 202 h 538"/>
                <a:gd name="T40" fmla="*/ 451 w 520"/>
                <a:gd name="T41" fmla="*/ 160 h 538"/>
                <a:gd name="T42" fmla="*/ 430 w 520"/>
                <a:gd name="T43" fmla="*/ 116 h 538"/>
                <a:gd name="T44" fmla="*/ 401 w 520"/>
                <a:gd name="T45" fmla="*/ 94 h 538"/>
                <a:gd name="T46" fmla="*/ 391 w 520"/>
                <a:gd name="T47" fmla="*/ 95 h 538"/>
                <a:gd name="T48" fmla="*/ 383 w 520"/>
                <a:gd name="T49" fmla="*/ 91 h 538"/>
                <a:gd name="T50" fmla="*/ 367 w 520"/>
                <a:gd name="T51" fmla="*/ 82 h 538"/>
                <a:gd name="T52" fmla="*/ 355 w 520"/>
                <a:gd name="T53" fmla="*/ 61 h 538"/>
                <a:gd name="T54" fmla="*/ 335 w 520"/>
                <a:gd name="T55" fmla="*/ 65 h 538"/>
                <a:gd name="T56" fmla="*/ 330 w 520"/>
                <a:gd name="T57" fmla="*/ 48 h 538"/>
                <a:gd name="T58" fmla="*/ 311 w 520"/>
                <a:gd name="T59" fmla="*/ 35 h 538"/>
                <a:gd name="T60" fmla="*/ 291 w 520"/>
                <a:gd name="T61" fmla="*/ 20 h 538"/>
                <a:gd name="T62" fmla="*/ 281 w 520"/>
                <a:gd name="T63" fmla="*/ 1 h 538"/>
                <a:gd name="T64" fmla="*/ 229 w 520"/>
                <a:gd name="T65" fmla="*/ 53 h 538"/>
                <a:gd name="T66" fmla="*/ 145 w 520"/>
                <a:gd name="T67" fmla="*/ 76 h 538"/>
                <a:gd name="T68" fmla="*/ 117 w 520"/>
                <a:gd name="T69" fmla="*/ 65 h 538"/>
                <a:gd name="T70" fmla="*/ 107 w 520"/>
                <a:gd name="T71" fmla="*/ 111 h 538"/>
                <a:gd name="T72" fmla="*/ 46 w 520"/>
                <a:gd name="T73" fmla="*/ 99 h 538"/>
                <a:gd name="T74" fmla="*/ 16 w 520"/>
                <a:gd name="T75" fmla="*/ 117 h 538"/>
                <a:gd name="T76" fmla="*/ 19 w 520"/>
                <a:gd name="T77" fmla="*/ 145 h 538"/>
                <a:gd name="T78" fmla="*/ 58 w 520"/>
                <a:gd name="T79" fmla="*/ 167 h 538"/>
                <a:gd name="T80" fmla="*/ 91 w 520"/>
                <a:gd name="T81" fmla="*/ 200 h 538"/>
                <a:gd name="T82" fmla="*/ 95 w 520"/>
                <a:gd name="T83" fmla="*/ 228 h 538"/>
                <a:gd name="T84" fmla="*/ 109 w 520"/>
                <a:gd name="T85" fmla="*/ 250 h 538"/>
                <a:gd name="T86" fmla="*/ 109 w 520"/>
                <a:gd name="T87" fmla="*/ 265 h 538"/>
                <a:gd name="T88" fmla="*/ 114 w 520"/>
                <a:gd name="T89" fmla="*/ 284 h 538"/>
                <a:gd name="T90" fmla="*/ 92 w 520"/>
                <a:gd name="T91" fmla="*/ 371 h 538"/>
                <a:gd name="T92" fmla="*/ 159 w 520"/>
                <a:gd name="T93" fmla="*/ 443 h 538"/>
                <a:gd name="T94" fmla="*/ 193 w 520"/>
                <a:gd name="T95" fmla="*/ 453 h 538"/>
                <a:gd name="T96" fmla="*/ 197 w 520"/>
                <a:gd name="T97" fmla="*/ 450 h 538"/>
                <a:gd name="T98" fmla="*/ 203 w 520"/>
                <a:gd name="T99" fmla="*/ 453 h 538"/>
                <a:gd name="T100" fmla="*/ 208 w 520"/>
                <a:gd name="T101" fmla="*/ 456 h 538"/>
                <a:gd name="T102" fmla="*/ 203 w 520"/>
                <a:gd name="T103" fmla="*/ 460 h 538"/>
                <a:gd name="T104" fmla="*/ 198 w 520"/>
                <a:gd name="T105" fmla="*/ 462 h 538"/>
                <a:gd name="T106" fmla="*/ 243 w 520"/>
                <a:gd name="T107" fmla="*/ 471 h 538"/>
                <a:gd name="T108" fmla="*/ 193 w 520"/>
                <a:gd name="T109" fmla="*/ 458 h 538"/>
                <a:gd name="T110" fmla="*/ 449 w 520"/>
                <a:gd name="T111" fmla="*/ 200 h 538"/>
                <a:gd name="T112" fmla="*/ 511 w 520"/>
                <a:gd name="T113" fmla="*/ 523 h 538"/>
                <a:gd name="T114" fmla="*/ 517 w 520"/>
                <a:gd name="T115" fmla="*/ 468 h 538"/>
                <a:gd name="T116" fmla="*/ 485 w 520"/>
                <a:gd name="T117" fmla="*/ 478 h 538"/>
                <a:gd name="T118" fmla="*/ 493 w 520"/>
                <a:gd name="T119" fmla="*/ 520 h 5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20" h="538">
                  <a:moveTo>
                    <a:pt x="259" y="471"/>
                  </a:moveTo>
                  <a:cubicBezTo>
                    <a:pt x="261" y="468"/>
                    <a:pt x="261" y="468"/>
                    <a:pt x="261" y="468"/>
                  </a:cubicBezTo>
                  <a:cubicBezTo>
                    <a:pt x="261" y="468"/>
                    <a:pt x="261" y="462"/>
                    <a:pt x="259" y="461"/>
                  </a:cubicBezTo>
                  <a:cubicBezTo>
                    <a:pt x="258" y="460"/>
                    <a:pt x="257" y="459"/>
                    <a:pt x="257" y="459"/>
                  </a:cubicBezTo>
                  <a:cubicBezTo>
                    <a:pt x="257" y="459"/>
                    <a:pt x="257" y="455"/>
                    <a:pt x="257" y="453"/>
                  </a:cubicBezTo>
                  <a:cubicBezTo>
                    <a:pt x="257" y="452"/>
                    <a:pt x="257" y="448"/>
                    <a:pt x="257" y="447"/>
                  </a:cubicBezTo>
                  <a:cubicBezTo>
                    <a:pt x="257" y="446"/>
                    <a:pt x="258" y="442"/>
                    <a:pt x="258" y="441"/>
                  </a:cubicBezTo>
                  <a:cubicBezTo>
                    <a:pt x="258" y="441"/>
                    <a:pt x="257" y="441"/>
                    <a:pt x="259" y="439"/>
                  </a:cubicBezTo>
                  <a:cubicBezTo>
                    <a:pt x="261" y="436"/>
                    <a:pt x="261" y="434"/>
                    <a:pt x="261" y="434"/>
                  </a:cubicBezTo>
                  <a:cubicBezTo>
                    <a:pt x="265" y="429"/>
                    <a:pt x="265" y="429"/>
                    <a:pt x="265" y="429"/>
                  </a:cubicBezTo>
                  <a:cubicBezTo>
                    <a:pt x="265" y="429"/>
                    <a:pt x="268" y="424"/>
                    <a:pt x="269" y="424"/>
                  </a:cubicBezTo>
                  <a:cubicBezTo>
                    <a:pt x="270" y="425"/>
                    <a:pt x="274" y="424"/>
                    <a:pt x="275" y="424"/>
                  </a:cubicBezTo>
                  <a:cubicBezTo>
                    <a:pt x="276" y="424"/>
                    <a:pt x="280" y="428"/>
                    <a:pt x="282" y="424"/>
                  </a:cubicBezTo>
                  <a:cubicBezTo>
                    <a:pt x="284" y="421"/>
                    <a:pt x="285" y="419"/>
                    <a:pt x="285" y="418"/>
                  </a:cubicBezTo>
                  <a:cubicBezTo>
                    <a:pt x="286" y="417"/>
                    <a:pt x="287" y="414"/>
                    <a:pt x="290" y="414"/>
                  </a:cubicBezTo>
                  <a:cubicBezTo>
                    <a:pt x="293" y="413"/>
                    <a:pt x="300" y="413"/>
                    <a:pt x="300" y="413"/>
                  </a:cubicBezTo>
                  <a:cubicBezTo>
                    <a:pt x="303" y="414"/>
                    <a:pt x="303" y="414"/>
                    <a:pt x="303" y="414"/>
                  </a:cubicBezTo>
                  <a:cubicBezTo>
                    <a:pt x="311" y="417"/>
                    <a:pt x="311" y="417"/>
                    <a:pt x="311" y="417"/>
                  </a:cubicBezTo>
                  <a:cubicBezTo>
                    <a:pt x="311" y="417"/>
                    <a:pt x="314" y="417"/>
                    <a:pt x="316" y="417"/>
                  </a:cubicBezTo>
                  <a:cubicBezTo>
                    <a:pt x="317" y="417"/>
                    <a:pt x="318" y="417"/>
                    <a:pt x="318" y="417"/>
                  </a:cubicBezTo>
                  <a:cubicBezTo>
                    <a:pt x="321" y="421"/>
                    <a:pt x="321" y="421"/>
                    <a:pt x="321" y="421"/>
                  </a:cubicBezTo>
                  <a:cubicBezTo>
                    <a:pt x="321" y="421"/>
                    <a:pt x="325" y="423"/>
                    <a:pt x="326" y="423"/>
                  </a:cubicBezTo>
                  <a:cubicBezTo>
                    <a:pt x="327" y="423"/>
                    <a:pt x="335" y="421"/>
                    <a:pt x="335" y="421"/>
                  </a:cubicBezTo>
                  <a:cubicBezTo>
                    <a:pt x="335" y="421"/>
                    <a:pt x="338" y="420"/>
                    <a:pt x="339" y="421"/>
                  </a:cubicBezTo>
                  <a:cubicBezTo>
                    <a:pt x="340" y="422"/>
                    <a:pt x="343" y="423"/>
                    <a:pt x="344" y="424"/>
                  </a:cubicBezTo>
                  <a:cubicBezTo>
                    <a:pt x="344" y="425"/>
                    <a:pt x="352" y="429"/>
                    <a:pt x="354" y="430"/>
                  </a:cubicBezTo>
                  <a:cubicBezTo>
                    <a:pt x="355" y="431"/>
                    <a:pt x="359" y="430"/>
                    <a:pt x="359" y="430"/>
                  </a:cubicBezTo>
                  <a:cubicBezTo>
                    <a:pt x="361" y="435"/>
                    <a:pt x="361" y="435"/>
                    <a:pt x="361" y="435"/>
                  </a:cubicBezTo>
                  <a:cubicBezTo>
                    <a:pt x="371" y="438"/>
                    <a:pt x="371" y="438"/>
                    <a:pt x="371" y="438"/>
                  </a:cubicBezTo>
                  <a:cubicBezTo>
                    <a:pt x="375" y="438"/>
                    <a:pt x="375" y="438"/>
                    <a:pt x="375" y="438"/>
                  </a:cubicBezTo>
                  <a:cubicBezTo>
                    <a:pt x="389" y="443"/>
                    <a:pt x="389" y="443"/>
                    <a:pt x="389" y="443"/>
                  </a:cubicBezTo>
                  <a:cubicBezTo>
                    <a:pt x="398" y="436"/>
                    <a:pt x="398" y="436"/>
                    <a:pt x="398" y="436"/>
                  </a:cubicBezTo>
                  <a:cubicBezTo>
                    <a:pt x="398" y="436"/>
                    <a:pt x="400" y="437"/>
                    <a:pt x="401" y="437"/>
                  </a:cubicBezTo>
                  <a:cubicBezTo>
                    <a:pt x="402" y="437"/>
                    <a:pt x="404" y="429"/>
                    <a:pt x="404" y="429"/>
                  </a:cubicBezTo>
                  <a:cubicBezTo>
                    <a:pt x="404" y="429"/>
                    <a:pt x="404" y="427"/>
                    <a:pt x="405" y="427"/>
                  </a:cubicBezTo>
                  <a:cubicBezTo>
                    <a:pt x="407" y="427"/>
                    <a:pt x="414" y="424"/>
                    <a:pt x="414" y="424"/>
                  </a:cubicBezTo>
                  <a:cubicBezTo>
                    <a:pt x="414" y="423"/>
                    <a:pt x="413" y="419"/>
                    <a:pt x="416" y="418"/>
                  </a:cubicBezTo>
                  <a:cubicBezTo>
                    <a:pt x="418" y="417"/>
                    <a:pt x="422" y="414"/>
                    <a:pt x="422" y="414"/>
                  </a:cubicBezTo>
                  <a:cubicBezTo>
                    <a:pt x="423" y="413"/>
                    <a:pt x="421" y="411"/>
                    <a:pt x="424" y="410"/>
                  </a:cubicBezTo>
                  <a:cubicBezTo>
                    <a:pt x="426" y="410"/>
                    <a:pt x="429" y="409"/>
                    <a:pt x="431" y="409"/>
                  </a:cubicBezTo>
                  <a:cubicBezTo>
                    <a:pt x="431" y="409"/>
                    <a:pt x="431" y="409"/>
                    <a:pt x="431" y="409"/>
                  </a:cubicBezTo>
                  <a:cubicBezTo>
                    <a:pt x="431" y="408"/>
                    <a:pt x="431" y="408"/>
                    <a:pt x="431" y="408"/>
                  </a:cubicBezTo>
                  <a:cubicBezTo>
                    <a:pt x="431" y="408"/>
                    <a:pt x="431" y="408"/>
                    <a:pt x="431" y="408"/>
                  </a:cubicBezTo>
                  <a:cubicBezTo>
                    <a:pt x="432" y="408"/>
                    <a:pt x="432" y="408"/>
                    <a:pt x="432" y="408"/>
                  </a:cubicBezTo>
                  <a:cubicBezTo>
                    <a:pt x="432" y="408"/>
                    <a:pt x="432" y="408"/>
                    <a:pt x="432" y="408"/>
                  </a:cubicBezTo>
                  <a:cubicBezTo>
                    <a:pt x="432" y="408"/>
                    <a:pt x="432" y="408"/>
                    <a:pt x="432" y="408"/>
                  </a:cubicBezTo>
                  <a:cubicBezTo>
                    <a:pt x="432" y="408"/>
                    <a:pt x="432" y="408"/>
                    <a:pt x="432" y="408"/>
                  </a:cubicBezTo>
                  <a:cubicBezTo>
                    <a:pt x="432" y="408"/>
                    <a:pt x="432" y="408"/>
                    <a:pt x="432" y="408"/>
                  </a:cubicBezTo>
                  <a:cubicBezTo>
                    <a:pt x="432" y="408"/>
                    <a:pt x="432" y="408"/>
                    <a:pt x="432" y="408"/>
                  </a:cubicBezTo>
                  <a:cubicBezTo>
                    <a:pt x="433" y="407"/>
                    <a:pt x="433" y="407"/>
                    <a:pt x="433" y="407"/>
                  </a:cubicBezTo>
                  <a:cubicBezTo>
                    <a:pt x="433" y="407"/>
                    <a:pt x="433" y="407"/>
                    <a:pt x="433" y="407"/>
                  </a:cubicBezTo>
                  <a:cubicBezTo>
                    <a:pt x="433" y="407"/>
                    <a:pt x="433" y="407"/>
                    <a:pt x="433" y="407"/>
                  </a:cubicBezTo>
                  <a:cubicBezTo>
                    <a:pt x="434" y="407"/>
                    <a:pt x="434" y="407"/>
                    <a:pt x="434" y="407"/>
                  </a:cubicBezTo>
                  <a:cubicBezTo>
                    <a:pt x="434" y="407"/>
                    <a:pt x="434" y="407"/>
                    <a:pt x="434" y="407"/>
                  </a:cubicBezTo>
                  <a:cubicBezTo>
                    <a:pt x="434" y="407"/>
                    <a:pt x="434" y="407"/>
                    <a:pt x="434" y="407"/>
                  </a:cubicBezTo>
                  <a:cubicBezTo>
                    <a:pt x="434" y="407"/>
                    <a:pt x="434" y="407"/>
                    <a:pt x="434" y="407"/>
                  </a:cubicBezTo>
                  <a:cubicBezTo>
                    <a:pt x="434" y="407"/>
                    <a:pt x="434" y="407"/>
                    <a:pt x="434" y="407"/>
                  </a:cubicBezTo>
                  <a:cubicBezTo>
                    <a:pt x="434" y="407"/>
                    <a:pt x="434" y="407"/>
                    <a:pt x="434" y="407"/>
                  </a:cubicBezTo>
                  <a:cubicBezTo>
                    <a:pt x="434" y="407"/>
                    <a:pt x="434" y="407"/>
                    <a:pt x="434" y="407"/>
                  </a:cubicBezTo>
                  <a:cubicBezTo>
                    <a:pt x="434" y="407"/>
                    <a:pt x="434" y="407"/>
                    <a:pt x="434" y="407"/>
                  </a:cubicBezTo>
                  <a:cubicBezTo>
                    <a:pt x="435" y="407"/>
                    <a:pt x="435" y="407"/>
                    <a:pt x="435" y="407"/>
                  </a:cubicBezTo>
                  <a:cubicBezTo>
                    <a:pt x="435" y="407"/>
                    <a:pt x="435" y="407"/>
                    <a:pt x="435" y="407"/>
                  </a:cubicBezTo>
                  <a:cubicBezTo>
                    <a:pt x="435" y="407"/>
                    <a:pt x="435" y="407"/>
                    <a:pt x="435" y="407"/>
                  </a:cubicBezTo>
                  <a:cubicBezTo>
                    <a:pt x="435" y="407"/>
                    <a:pt x="435" y="407"/>
                    <a:pt x="435" y="407"/>
                  </a:cubicBezTo>
                  <a:cubicBezTo>
                    <a:pt x="435" y="406"/>
                    <a:pt x="435" y="406"/>
                    <a:pt x="435" y="406"/>
                  </a:cubicBezTo>
                  <a:cubicBezTo>
                    <a:pt x="435" y="406"/>
                    <a:pt x="435" y="406"/>
                    <a:pt x="435" y="406"/>
                  </a:cubicBezTo>
                  <a:cubicBezTo>
                    <a:pt x="435" y="406"/>
                    <a:pt x="435" y="406"/>
                    <a:pt x="435" y="406"/>
                  </a:cubicBezTo>
                  <a:cubicBezTo>
                    <a:pt x="435" y="406"/>
                    <a:pt x="435" y="406"/>
                    <a:pt x="435" y="406"/>
                  </a:cubicBezTo>
                  <a:cubicBezTo>
                    <a:pt x="435" y="406"/>
                    <a:pt x="435" y="406"/>
                    <a:pt x="435" y="406"/>
                  </a:cubicBezTo>
                  <a:cubicBezTo>
                    <a:pt x="435" y="406"/>
                    <a:pt x="435" y="406"/>
                    <a:pt x="435" y="406"/>
                  </a:cubicBezTo>
                  <a:cubicBezTo>
                    <a:pt x="436" y="406"/>
                    <a:pt x="436" y="406"/>
                    <a:pt x="436" y="406"/>
                  </a:cubicBezTo>
                  <a:cubicBezTo>
                    <a:pt x="436" y="406"/>
                    <a:pt x="436" y="406"/>
                    <a:pt x="436" y="406"/>
                  </a:cubicBezTo>
                  <a:cubicBezTo>
                    <a:pt x="436" y="406"/>
                    <a:pt x="436" y="406"/>
                    <a:pt x="436" y="406"/>
                  </a:cubicBezTo>
                  <a:cubicBezTo>
                    <a:pt x="436" y="406"/>
                    <a:pt x="436" y="406"/>
                    <a:pt x="436" y="406"/>
                  </a:cubicBezTo>
                  <a:cubicBezTo>
                    <a:pt x="436" y="406"/>
                    <a:pt x="436" y="406"/>
                    <a:pt x="436" y="406"/>
                  </a:cubicBezTo>
                  <a:cubicBezTo>
                    <a:pt x="436" y="406"/>
                    <a:pt x="436" y="406"/>
                    <a:pt x="436" y="406"/>
                  </a:cubicBezTo>
                  <a:cubicBezTo>
                    <a:pt x="436" y="406"/>
                    <a:pt x="436" y="406"/>
                    <a:pt x="436" y="406"/>
                  </a:cubicBezTo>
                  <a:cubicBezTo>
                    <a:pt x="436" y="406"/>
                    <a:pt x="436" y="406"/>
                    <a:pt x="436" y="406"/>
                  </a:cubicBezTo>
                  <a:cubicBezTo>
                    <a:pt x="437" y="405"/>
                    <a:pt x="438" y="405"/>
                    <a:pt x="438" y="405"/>
                  </a:cubicBezTo>
                  <a:cubicBezTo>
                    <a:pt x="444" y="400"/>
                    <a:pt x="444" y="400"/>
                    <a:pt x="444" y="400"/>
                  </a:cubicBezTo>
                  <a:cubicBezTo>
                    <a:pt x="447" y="389"/>
                    <a:pt x="447" y="389"/>
                    <a:pt x="447" y="389"/>
                  </a:cubicBezTo>
                  <a:cubicBezTo>
                    <a:pt x="443" y="386"/>
                    <a:pt x="443" y="386"/>
                    <a:pt x="443" y="386"/>
                  </a:cubicBezTo>
                  <a:cubicBezTo>
                    <a:pt x="434" y="386"/>
                    <a:pt x="434" y="386"/>
                    <a:pt x="434" y="386"/>
                  </a:cubicBezTo>
                  <a:cubicBezTo>
                    <a:pt x="424" y="382"/>
                    <a:pt x="424" y="382"/>
                    <a:pt x="424" y="382"/>
                  </a:cubicBezTo>
                  <a:cubicBezTo>
                    <a:pt x="419" y="374"/>
                    <a:pt x="419" y="374"/>
                    <a:pt x="419" y="374"/>
                  </a:cubicBezTo>
                  <a:cubicBezTo>
                    <a:pt x="416" y="374"/>
                    <a:pt x="416" y="374"/>
                    <a:pt x="416" y="374"/>
                  </a:cubicBezTo>
                  <a:cubicBezTo>
                    <a:pt x="415" y="367"/>
                    <a:pt x="413" y="370"/>
                    <a:pt x="417" y="365"/>
                  </a:cubicBezTo>
                  <a:cubicBezTo>
                    <a:pt x="421" y="359"/>
                    <a:pt x="421" y="359"/>
                    <a:pt x="421" y="359"/>
                  </a:cubicBezTo>
                  <a:cubicBezTo>
                    <a:pt x="420" y="349"/>
                    <a:pt x="420" y="349"/>
                    <a:pt x="420" y="349"/>
                  </a:cubicBezTo>
                  <a:cubicBezTo>
                    <a:pt x="417" y="346"/>
                    <a:pt x="417" y="346"/>
                    <a:pt x="417" y="346"/>
                  </a:cubicBezTo>
                  <a:cubicBezTo>
                    <a:pt x="412" y="343"/>
                    <a:pt x="412" y="343"/>
                    <a:pt x="412" y="343"/>
                  </a:cubicBezTo>
                  <a:cubicBezTo>
                    <a:pt x="412" y="343"/>
                    <a:pt x="409" y="339"/>
                    <a:pt x="408" y="338"/>
                  </a:cubicBezTo>
                  <a:cubicBezTo>
                    <a:pt x="408" y="338"/>
                    <a:pt x="408" y="336"/>
                    <a:pt x="408" y="336"/>
                  </a:cubicBezTo>
                  <a:cubicBezTo>
                    <a:pt x="407" y="335"/>
                    <a:pt x="411" y="335"/>
                    <a:pt x="411" y="335"/>
                  </a:cubicBezTo>
                  <a:cubicBezTo>
                    <a:pt x="412" y="335"/>
                    <a:pt x="415" y="334"/>
                    <a:pt x="416" y="334"/>
                  </a:cubicBezTo>
                  <a:cubicBezTo>
                    <a:pt x="417" y="334"/>
                    <a:pt x="421" y="330"/>
                    <a:pt x="421" y="330"/>
                  </a:cubicBezTo>
                  <a:cubicBezTo>
                    <a:pt x="421" y="330"/>
                    <a:pt x="423" y="326"/>
                    <a:pt x="425" y="325"/>
                  </a:cubicBezTo>
                  <a:cubicBezTo>
                    <a:pt x="426" y="324"/>
                    <a:pt x="428" y="316"/>
                    <a:pt x="428" y="315"/>
                  </a:cubicBezTo>
                  <a:cubicBezTo>
                    <a:pt x="428" y="315"/>
                    <a:pt x="426" y="310"/>
                    <a:pt x="425" y="310"/>
                  </a:cubicBezTo>
                  <a:cubicBezTo>
                    <a:pt x="416" y="306"/>
                    <a:pt x="418" y="304"/>
                    <a:pt x="414" y="302"/>
                  </a:cubicBezTo>
                  <a:cubicBezTo>
                    <a:pt x="414" y="297"/>
                    <a:pt x="414" y="297"/>
                    <a:pt x="414" y="297"/>
                  </a:cubicBezTo>
                  <a:cubicBezTo>
                    <a:pt x="419" y="293"/>
                    <a:pt x="419" y="293"/>
                    <a:pt x="419" y="293"/>
                  </a:cubicBezTo>
                  <a:cubicBezTo>
                    <a:pt x="420" y="292"/>
                    <a:pt x="422" y="291"/>
                    <a:pt x="423" y="291"/>
                  </a:cubicBezTo>
                  <a:cubicBezTo>
                    <a:pt x="424" y="289"/>
                    <a:pt x="424" y="289"/>
                    <a:pt x="424" y="289"/>
                  </a:cubicBezTo>
                  <a:cubicBezTo>
                    <a:pt x="424" y="289"/>
                    <a:pt x="422" y="287"/>
                    <a:pt x="422" y="287"/>
                  </a:cubicBezTo>
                  <a:cubicBezTo>
                    <a:pt x="422" y="287"/>
                    <a:pt x="421" y="286"/>
                    <a:pt x="420" y="286"/>
                  </a:cubicBezTo>
                  <a:cubicBezTo>
                    <a:pt x="420" y="286"/>
                    <a:pt x="419" y="285"/>
                    <a:pt x="419" y="285"/>
                  </a:cubicBezTo>
                  <a:cubicBezTo>
                    <a:pt x="419" y="285"/>
                    <a:pt x="418" y="284"/>
                    <a:pt x="417" y="284"/>
                  </a:cubicBezTo>
                  <a:cubicBezTo>
                    <a:pt x="416" y="284"/>
                    <a:pt x="417" y="282"/>
                    <a:pt x="418" y="282"/>
                  </a:cubicBezTo>
                  <a:cubicBezTo>
                    <a:pt x="418" y="281"/>
                    <a:pt x="418" y="279"/>
                    <a:pt x="418" y="279"/>
                  </a:cubicBezTo>
                  <a:cubicBezTo>
                    <a:pt x="418" y="279"/>
                    <a:pt x="415" y="279"/>
                    <a:pt x="414" y="279"/>
                  </a:cubicBezTo>
                  <a:cubicBezTo>
                    <a:pt x="414" y="278"/>
                    <a:pt x="414" y="278"/>
                    <a:pt x="414" y="278"/>
                  </a:cubicBezTo>
                  <a:cubicBezTo>
                    <a:pt x="414" y="278"/>
                    <a:pt x="415" y="275"/>
                    <a:pt x="416" y="275"/>
                  </a:cubicBezTo>
                  <a:cubicBezTo>
                    <a:pt x="416" y="274"/>
                    <a:pt x="416" y="273"/>
                    <a:pt x="416" y="273"/>
                  </a:cubicBezTo>
                  <a:cubicBezTo>
                    <a:pt x="416" y="273"/>
                    <a:pt x="416" y="272"/>
                    <a:pt x="416" y="270"/>
                  </a:cubicBezTo>
                  <a:cubicBezTo>
                    <a:pt x="417" y="269"/>
                    <a:pt x="416" y="269"/>
                    <a:pt x="416" y="269"/>
                  </a:cubicBezTo>
                  <a:cubicBezTo>
                    <a:pt x="416" y="269"/>
                    <a:pt x="415" y="268"/>
                    <a:pt x="414" y="268"/>
                  </a:cubicBezTo>
                  <a:cubicBezTo>
                    <a:pt x="414" y="268"/>
                    <a:pt x="414" y="268"/>
                    <a:pt x="415" y="267"/>
                  </a:cubicBezTo>
                  <a:cubicBezTo>
                    <a:pt x="416" y="265"/>
                    <a:pt x="416" y="266"/>
                    <a:pt x="416" y="266"/>
                  </a:cubicBezTo>
                  <a:cubicBezTo>
                    <a:pt x="416" y="264"/>
                    <a:pt x="416" y="264"/>
                    <a:pt x="416" y="264"/>
                  </a:cubicBezTo>
                  <a:cubicBezTo>
                    <a:pt x="414" y="263"/>
                    <a:pt x="414" y="263"/>
                    <a:pt x="414" y="263"/>
                  </a:cubicBezTo>
                  <a:cubicBezTo>
                    <a:pt x="411" y="261"/>
                    <a:pt x="411" y="261"/>
                    <a:pt x="411" y="261"/>
                  </a:cubicBezTo>
                  <a:cubicBezTo>
                    <a:pt x="411" y="261"/>
                    <a:pt x="407" y="261"/>
                    <a:pt x="407" y="261"/>
                  </a:cubicBezTo>
                  <a:cubicBezTo>
                    <a:pt x="407" y="261"/>
                    <a:pt x="404" y="261"/>
                    <a:pt x="404" y="261"/>
                  </a:cubicBezTo>
                  <a:cubicBezTo>
                    <a:pt x="402" y="262"/>
                    <a:pt x="402" y="262"/>
                    <a:pt x="402" y="262"/>
                  </a:cubicBezTo>
                  <a:cubicBezTo>
                    <a:pt x="401" y="263"/>
                    <a:pt x="401" y="263"/>
                    <a:pt x="401" y="263"/>
                  </a:cubicBezTo>
                  <a:cubicBezTo>
                    <a:pt x="398" y="264"/>
                    <a:pt x="398" y="264"/>
                    <a:pt x="398" y="264"/>
                  </a:cubicBezTo>
                  <a:cubicBezTo>
                    <a:pt x="395" y="265"/>
                    <a:pt x="395" y="265"/>
                    <a:pt x="395" y="265"/>
                  </a:cubicBezTo>
                  <a:cubicBezTo>
                    <a:pt x="395" y="265"/>
                    <a:pt x="394" y="267"/>
                    <a:pt x="393" y="268"/>
                  </a:cubicBezTo>
                  <a:cubicBezTo>
                    <a:pt x="393" y="268"/>
                    <a:pt x="393" y="269"/>
                    <a:pt x="393" y="269"/>
                  </a:cubicBezTo>
                  <a:cubicBezTo>
                    <a:pt x="395" y="270"/>
                    <a:pt x="395" y="270"/>
                    <a:pt x="395" y="270"/>
                  </a:cubicBezTo>
                  <a:cubicBezTo>
                    <a:pt x="395" y="272"/>
                    <a:pt x="395" y="272"/>
                    <a:pt x="395" y="272"/>
                  </a:cubicBezTo>
                  <a:cubicBezTo>
                    <a:pt x="396" y="272"/>
                    <a:pt x="396" y="272"/>
                    <a:pt x="396" y="272"/>
                  </a:cubicBezTo>
                  <a:cubicBezTo>
                    <a:pt x="395" y="274"/>
                    <a:pt x="395" y="274"/>
                    <a:pt x="395" y="274"/>
                  </a:cubicBezTo>
                  <a:cubicBezTo>
                    <a:pt x="395" y="274"/>
                    <a:pt x="394" y="274"/>
                    <a:pt x="393" y="275"/>
                  </a:cubicBezTo>
                  <a:cubicBezTo>
                    <a:pt x="392" y="276"/>
                    <a:pt x="392" y="277"/>
                    <a:pt x="392" y="277"/>
                  </a:cubicBezTo>
                  <a:cubicBezTo>
                    <a:pt x="389" y="278"/>
                    <a:pt x="389" y="278"/>
                    <a:pt x="389" y="278"/>
                  </a:cubicBezTo>
                  <a:cubicBezTo>
                    <a:pt x="387" y="277"/>
                    <a:pt x="387" y="277"/>
                    <a:pt x="387" y="277"/>
                  </a:cubicBezTo>
                  <a:cubicBezTo>
                    <a:pt x="385" y="278"/>
                    <a:pt x="385" y="278"/>
                    <a:pt x="385" y="278"/>
                  </a:cubicBezTo>
                  <a:cubicBezTo>
                    <a:pt x="384" y="278"/>
                    <a:pt x="384" y="278"/>
                    <a:pt x="384" y="278"/>
                  </a:cubicBezTo>
                  <a:cubicBezTo>
                    <a:pt x="384" y="276"/>
                    <a:pt x="384" y="276"/>
                    <a:pt x="384" y="276"/>
                  </a:cubicBezTo>
                  <a:cubicBezTo>
                    <a:pt x="383" y="275"/>
                    <a:pt x="383" y="275"/>
                    <a:pt x="383" y="275"/>
                  </a:cubicBezTo>
                  <a:cubicBezTo>
                    <a:pt x="384" y="274"/>
                    <a:pt x="384" y="274"/>
                    <a:pt x="384" y="274"/>
                  </a:cubicBezTo>
                  <a:cubicBezTo>
                    <a:pt x="384" y="274"/>
                    <a:pt x="385" y="273"/>
                    <a:pt x="385" y="273"/>
                  </a:cubicBezTo>
                  <a:cubicBezTo>
                    <a:pt x="386" y="273"/>
                    <a:pt x="387" y="272"/>
                    <a:pt x="387" y="272"/>
                  </a:cubicBezTo>
                  <a:cubicBezTo>
                    <a:pt x="389" y="272"/>
                    <a:pt x="389" y="272"/>
                    <a:pt x="389" y="272"/>
                  </a:cubicBezTo>
                  <a:cubicBezTo>
                    <a:pt x="389" y="270"/>
                    <a:pt x="389" y="270"/>
                    <a:pt x="389" y="270"/>
                  </a:cubicBezTo>
                  <a:cubicBezTo>
                    <a:pt x="390" y="268"/>
                    <a:pt x="390" y="268"/>
                    <a:pt x="390" y="268"/>
                  </a:cubicBezTo>
                  <a:cubicBezTo>
                    <a:pt x="390" y="265"/>
                    <a:pt x="390" y="265"/>
                    <a:pt x="390" y="265"/>
                  </a:cubicBezTo>
                  <a:cubicBezTo>
                    <a:pt x="389" y="264"/>
                    <a:pt x="389" y="264"/>
                    <a:pt x="389" y="264"/>
                  </a:cubicBezTo>
                  <a:cubicBezTo>
                    <a:pt x="388" y="263"/>
                    <a:pt x="388" y="263"/>
                    <a:pt x="388" y="263"/>
                  </a:cubicBezTo>
                  <a:cubicBezTo>
                    <a:pt x="388" y="262"/>
                    <a:pt x="388" y="262"/>
                    <a:pt x="388" y="262"/>
                  </a:cubicBezTo>
                  <a:cubicBezTo>
                    <a:pt x="388" y="260"/>
                    <a:pt x="388" y="260"/>
                    <a:pt x="388" y="260"/>
                  </a:cubicBezTo>
                  <a:cubicBezTo>
                    <a:pt x="389" y="259"/>
                    <a:pt x="389" y="259"/>
                    <a:pt x="389" y="259"/>
                  </a:cubicBezTo>
                  <a:cubicBezTo>
                    <a:pt x="389" y="259"/>
                    <a:pt x="390" y="258"/>
                    <a:pt x="390" y="257"/>
                  </a:cubicBezTo>
                  <a:cubicBezTo>
                    <a:pt x="390" y="257"/>
                    <a:pt x="390" y="255"/>
                    <a:pt x="390" y="255"/>
                  </a:cubicBezTo>
                  <a:cubicBezTo>
                    <a:pt x="390" y="255"/>
                    <a:pt x="390" y="254"/>
                    <a:pt x="390" y="254"/>
                  </a:cubicBezTo>
                  <a:cubicBezTo>
                    <a:pt x="394" y="250"/>
                    <a:pt x="394" y="250"/>
                    <a:pt x="394" y="250"/>
                  </a:cubicBezTo>
                  <a:cubicBezTo>
                    <a:pt x="396" y="248"/>
                    <a:pt x="396" y="248"/>
                    <a:pt x="396" y="248"/>
                  </a:cubicBezTo>
                  <a:cubicBezTo>
                    <a:pt x="396" y="248"/>
                    <a:pt x="398" y="248"/>
                    <a:pt x="398" y="247"/>
                  </a:cubicBezTo>
                  <a:cubicBezTo>
                    <a:pt x="398" y="247"/>
                    <a:pt x="400" y="247"/>
                    <a:pt x="400" y="247"/>
                  </a:cubicBezTo>
                  <a:cubicBezTo>
                    <a:pt x="400" y="247"/>
                    <a:pt x="401" y="246"/>
                    <a:pt x="401" y="246"/>
                  </a:cubicBezTo>
                  <a:cubicBezTo>
                    <a:pt x="402" y="245"/>
                    <a:pt x="402" y="244"/>
                    <a:pt x="402" y="244"/>
                  </a:cubicBezTo>
                  <a:cubicBezTo>
                    <a:pt x="402" y="244"/>
                    <a:pt x="402" y="243"/>
                    <a:pt x="402" y="243"/>
                  </a:cubicBezTo>
                  <a:cubicBezTo>
                    <a:pt x="402" y="243"/>
                    <a:pt x="402" y="242"/>
                    <a:pt x="402" y="242"/>
                  </a:cubicBezTo>
                  <a:cubicBezTo>
                    <a:pt x="402" y="242"/>
                    <a:pt x="402" y="241"/>
                    <a:pt x="402" y="241"/>
                  </a:cubicBezTo>
                  <a:cubicBezTo>
                    <a:pt x="402" y="240"/>
                    <a:pt x="403" y="240"/>
                    <a:pt x="403" y="240"/>
                  </a:cubicBezTo>
                  <a:cubicBezTo>
                    <a:pt x="403" y="238"/>
                    <a:pt x="403" y="238"/>
                    <a:pt x="403" y="238"/>
                  </a:cubicBezTo>
                  <a:cubicBezTo>
                    <a:pt x="403" y="238"/>
                    <a:pt x="402" y="237"/>
                    <a:pt x="402" y="236"/>
                  </a:cubicBezTo>
                  <a:cubicBezTo>
                    <a:pt x="402" y="236"/>
                    <a:pt x="402" y="236"/>
                    <a:pt x="402" y="235"/>
                  </a:cubicBezTo>
                  <a:cubicBezTo>
                    <a:pt x="403" y="234"/>
                    <a:pt x="404" y="234"/>
                    <a:pt x="404" y="234"/>
                  </a:cubicBezTo>
                  <a:cubicBezTo>
                    <a:pt x="406" y="234"/>
                    <a:pt x="406" y="234"/>
                    <a:pt x="406" y="234"/>
                  </a:cubicBezTo>
                  <a:cubicBezTo>
                    <a:pt x="406" y="234"/>
                    <a:pt x="407" y="233"/>
                    <a:pt x="408" y="233"/>
                  </a:cubicBezTo>
                  <a:cubicBezTo>
                    <a:pt x="408" y="233"/>
                    <a:pt x="409" y="232"/>
                    <a:pt x="409" y="232"/>
                  </a:cubicBezTo>
                  <a:cubicBezTo>
                    <a:pt x="410" y="230"/>
                    <a:pt x="410" y="230"/>
                    <a:pt x="410" y="230"/>
                  </a:cubicBezTo>
                  <a:cubicBezTo>
                    <a:pt x="411" y="230"/>
                    <a:pt x="411" y="230"/>
                    <a:pt x="411" y="230"/>
                  </a:cubicBezTo>
                  <a:cubicBezTo>
                    <a:pt x="412" y="229"/>
                    <a:pt x="412" y="229"/>
                    <a:pt x="412" y="229"/>
                  </a:cubicBezTo>
                  <a:cubicBezTo>
                    <a:pt x="412" y="227"/>
                    <a:pt x="412" y="227"/>
                    <a:pt x="412" y="227"/>
                  </a:cubicBezTo>
                  <a:cubicBezTo>
                    <a:pt x="414" y="226"/>
                    <a:pt x="414" y="226"/>
                    <a:pt x="414" y="226"/>
                  </a:cubicBezTo>
                  <a:cubicBezTo>
                    <a:pt x="414" y="225"/>
                    <a:pt x="414" y="225"/>
                    <a:pt x="414" y="225"/>
                  </a:cubicBezTo>
                  <a:cubicBezTo>
                    <a:pt x="415" y="224"/>
                    <a:pt x="415" y="224"/>
                    <a:pt x="415" y="224"/>
                  </a:cubicBezTo>
                  <a:cubicBezTo>
                    <a:pt x="416" y="224"/>
                    <a:pt x="416" y="224"/>
                    <a:pt x="416" y="224"/>
                  </a:cubicBezTo>
                  <a:cubicBezTo>
                    <a:pt x="418" y="222"/>
                    <a:pt x="418" y="222"/>
                    <a:pt x="418" y="222"/>
                  </a:cubicBezTo>
                  <a:cubicBezTo>
                    <a:pt x="420" y="221"/>
                    <a:pt x="420" y="221"/>
                    <a:pt x="420" y="221"/>
                  </a:cubicBezTo>
                  <a:cubicBezTo>
                    <a:pt x="420" y="221"/>
                    <a:pt x="421" y="219"/>
                    <a:pt x="421" y="218"/>
                  </a:cubicBezTo>
                  <a:cubicBezTo>
                    <a:pt x="421" y="217"/>
                    <a:pt x="421" y="217"/>
                    <a:pt x="422" y="216"/>
                  </a:cubicBezTo>
                  <a:cubicBezTo>
                    <a:pt x="422" y="216"/>
                    <a:pt x="423" y="216"/>
                    <a:pt x="424" y="215"/>
                  </a:cubicBezTo>
                  <a:cubicBezTo>
                    <a:pt x="424" y="215"/>
                    <a:pt x="424" y="214"/>
                    <a:pt x="424" y="214"/>
                  </a:cubicBezTo>
                  <a:cubicBezTo>
                    <a:pt x="425" y="214"/>
                    <a:pt x="425" y="214"/>
                    <a:pt x="425" y="214"/>
                  </a:cubicBezTo>
                  <a:cubicBezTo>
                    <a:pt x="425" y="212"/>
                    <a:pt x="425" y="212"/>
                    <a:pt x="425" y="212"/>
                  </a:cubicBezTo>
                  <a:cubicBezTo>
                    <a:pt x="425" y="211"/>
                    <a:pt x="425" y="211"/>
                    <a:pt x="425" y="211"/>
                  </a:cubicBezTo>
                  <a:cubicBezTo>
                    <a:pt x="425" y="211"/>
                    <a:pt x="423" y="212"/>
                    <a:pt x="423" y="212"/>
                  </a:cubicBezTo>
                  <a:cubicBezTo>
                    <a:pt x="423" y="212"/>
                    <a:pt x="422" y="212"/>
                    <a:pt x="421" y="212"/>
                  </a:cubicBezTo>
                  <a:cubicBezTo>
                    <a:pt x="421" y="212"/>
                    <a:pt x="420" y="212"/>
                    <a:pt x="419" y="212"/>
                  </a:cubicBezTo>
                  <a:cubicBezTo>
                    <a:pt x="418" y="211"/>
                    <a:pt x="419" y="211"/>
                    <a:pt x="419" y="211"/>
                  </a:cubicBezTo>
                  <a:cubicBezTo>
                    <a:pt x="419" y="211"/>
                    <a:pt x="420" y="211"/>
                    <a:pt x="420" y="210"/>
                  </a:cubicBezTo>
                  <a:cubicBezTo>
                    <a:pt x="420" y="210"/>
                    <a:pt x="421" y="208"/>
                    <a:pt x="421" y="208"/>
                  </a:cubicBezTo>
                  <a:cubicBezTo>
                    <a:pt x="422" y="208"/>
                    <a:pt x="422" y="208"/>
                    <a:pt x="422" y="208"/>
                  </a:cubicBezTo>
                  <a:cubicBezTo>
                    <a:pt x="423" y="207"/>
                    <a:pt x="423" y="207"/>
                    <a:pt x="423" y="207"/>
                  </a:cubicBezTo>
                  <a:cubicBezTo>
                    <a:pt x="423" y="207"/>
                    <a:pt x="424" y="207"/>
                    <a:pt x="424" y="207"/>
                  </a:cubicBezTo>
                  <a:cubicBezTo>
                    <a:pt x="424" y="207"/>
                    <a:pt x="423" y="206"/>
                    <a:pt x="423" y="206"/>
                  </a:cubicBezTo>
                  <a:cubicBezTo>
                    <a:pt x="423" y="204"/>
                    <a:pt x="423" y="204"/>
                    <a:pt x="423" y="204"/>
                  </a:cubicBezTo>
                  <a:cubicBezTo>
                    <a:pt x="425" y="205"/>
                    <a:pt x="425" y="205"/>
                    <a:pt x="425" y="205"/>
                  </a:cubicBezTo>
                  <a:cubicBezTo>
                    <a:pt x="428" y="205"/>
                    <a:pt x="428" y="205"/>
                    <a:pt x="428" y="205"/>
                  </a:cubicBezTo>
                  <a:cubicBezTo>
                    <a:pt x="429" y="204"/>
                    <a:pt x="429" y="204"/>
                    <a:pt x="429" y="204"/>
                  </a:cubicBezTo>
                  <a:cubicBezTo>
                    <a:pt x="429" y="204"/>
                    <a:pt x="430" y="206"/>
                    <a:pt x="430" y="206"/>
                  </a:cubicBezTo>
                  <a:cubicBezTo>
                    <a:pt x="430" y="207"/>
                    <a:pt x="430" y="208"/>
                    <a:pt x="431" y="208"/>
                  </a:cubicBezTo>
                  <a:cubicBezTo>
                    <a:pt x="431" y="208"/>
                    <a:pt x="433" y="209"/>
                    <a:pt x="433" y="209"/>
                  </a:cubicBezTo>
                  <a:cubicBezTo>
                    <a:pt x="433" y="209"/>
                    <a:pt x="433" y="208"/>
                    <a:pt x="434" y="208"/>
                  </a:cubicBezTo>
                  <a:cubicBezTo>
                    <a:pt x="434" y="208"/>
                    <a:pt x="435" y="208"/>
                    <a:pt x="435" y="208"/>
                  </a:cubicBezTo>
                  <a:cubicBezTo>
                    <a:pt x="436" y="208"/>
                    <a:pt x="437" y="208"/>
                    <a:pt x="437" y="208"/>
                  </a:cubicBezTo>
                  <a:cubicBezTo>
                    <a:pt x="437" y="208"/>
                    <a:pt x="438" y="208"/>
                    <a:pt x="439" y="208"/>
                  </a:cubicBezTo>
                  <a:cubicBezTo>
                    <a:pt x="439" y="207"/>
                    <a:pt x="439" y="207"/>
                    <a:pt x="439" y="207"/>
                  </a:cubicBezTo>
                  <a:cubicBezTo>
                    <a:pt x="439" y="207"/>
                    <a:pt x="439" y="206"/>
                    <a:pt x="439" y="206"/>
                  </a:cubicBezTo>
                  <a:cubicBezTo>
                    <a:pt x="439" y="206"/>
                    <a:pt x="440" y="204"/>
                    <a:pt x="440" y="204"/>
                  </a:cubicBezTo>
                  <a:cubicBezTo>
                    <a:pt x="440" y="204"/>
                    <a:pt x="441" y="204"/>
                    <a:pt x="441" y="204"/>
                  </a:cubicBezTo>
                  <a:cubicBezTo>
                    <a:pt x="441" y="204"/>
                    <a:pt x="442" y="204"/>
                    <a:pt x="442" y="204"/>
                  </a:cubicBezTo>
                  <a:cubicBezTo>
                    <a:pt x="442" y="204"/>
                    <a:pt x="442" y="203"/>
                    <a:pt x="442" y="203"/>
                  </a:cubicBezTo>
                  <a:cubicBezTo>
                    <a:pt x="442" y="203"/>
                    <a:pt x="442" y="202"/>
                    <a:pt x="442" y="202"/>
                  </a:cubicBezTo>
                  <a:cubicBezTo>
                    <a:pt x="442" y="202"/>
                    <a:pt x="443" y="202"/>
                    <a:pt x="443" y="202"/>
                  </a:cubicBezTo>
                  <a:cubicBezTo>
                    <a:pt x="443" y="200"/>
                    <a:pt x="443" y="200"/>
                    <a:pt x="443" y="200"/>
                  </a:cubicBezTo>
                  <a:cubicBezTo>
                    <a:pt x="443" y="200"/>
                    <a:pt x="445" y="200"/>
                    <a:pt x="445" y="200"/>
                  </a:cubicBezTo>
                  <a:cubicBezTo>
                    <a:pt x="446" y="200"/>
                    <a:pt x="445" y="200"/>
                    <a:pt x="445" y="200"/>
                  </a:cubicBezTo>
                  <a:cubicBezTo>
                    <a:pt x="448" y="199"/>
                    <a:pt x="448" y="199"/>
                    <a:pt x="448" y="199"/>
                  </a:cubicBezTo>
                  <a:cubicBezTo>
                    <a:pt x="448" y="199"/>
                    <a:pt x="448" y="199"/>
                    <a:pt x="448" y="200"/>
                  </a:cubicBezTo>
                  <a:cubicBezTo>
                    <a:pt x="446" y="197"/>
                    <a:pt x="443" y="193"/>
                    <a:pt x="443" y="193"/>
                  </a:cubicBezTo>
                  <a:cubicBezTo>
                    <a:pt x="445" y="189"/>
                    <a:pt x="445" y="189"/>
                    <a:pt x="445" y="189"/>
                  </a:cubicBezTo>
                  <a:cubicBezTo>
                    <a:pt x="445" y="189"/>
                    <a:pt x="446" y="182"/>
                    <a:pt x="446" y="180"/>
                  </a:cubicBezTo>
                  <a:cubicBezTo>
                    <a:pt x="446" y="179"/>
                    <a:pt x="446" y="173"/>
                    <a:pt x="446" y="173"/>
                  </a:cubicBezTo>
                  <a:cubicBezTo>
                    <a:pt x="446" y="173"/>
                    <a:pt x="442" y="172"/>
                    <a:pt x="445" y="169"/>
                  </a:cubicBezTo>
                  <a:cubicBezTo>
                    <a:pt x="448" y="165"/>
                    <a:pt x="451" y="160"/>
                    <a:pt x="451" y="160"/>
                  </a:cubicBezTo>
                  <a:cubicBezTo>
                    <a:pt x="451" y="150"/>
                    <a:pt x="451" y="150"/>
                    <a:pt x="451" y="150"/>
                  </a:cubicBezTo>
                  <a:cubicBezTo>
                    <a:pt x="451" y="150"/>
                    <a:pt x="448" y="147"/>
                    <a:pt x="452" y="145"/>
                  </a:cubicBezTo>
                  <a:cubicBezTo>
                    <a:pt x="456" y="142"/>
                    <a:pt x="463" y="133"/>
                    <a:pt x="463" y="133"/>
                  </a:cubicBezTo>
                  <a:cubicBezTo>
                    <a:pt x="470" y="125"/>
                    <a:pt x="470" y="125"/>
                    <a:pt x="470" y="125"/>
                  </a:cubicBezTo>
                  <a:cubicBezTo>
                    <a:pt x="458" y="122"/>
                    <a:pt x="458" y="122"/>
                    <a:pt x="458" y="122"/>
                  </a:cubicBezTo>
                  <a:cubicBezTo>
                    <a:pt x="451" y="121"/>
                    <a:pt x="451" y="121"/>
                    <a:pt x="451" y="121"/>
                  </a:cubicBezTo>
                  <a:cubicBezTo>
                    <a:pt x="446" y="118"/>
                    <a:pt x="446" y="118"/>
                    <a:pt x="446" y="118"/>
                  </a:cubicBezTo>
                  <a:cubicBezTo>
                    <a:pt x="443" y="113"/>
                    <a:pt x="443" y="113"/>
                    <a:pt x="443" y="113"/>
                  </a:cubicBezTo>
                  <a:cubicBezTo>
                    <a:pt x="440" y="115"/>
                    <a:pt x="440" y="115"/>
                    <a:pt x="440" y="115"/>
                  </a:cubicBezTo>
                  <a:cubicBezTo>
                    <a:pt x="437" y="117"/>
                    <a:pt x="437" y="117"/>
                    <a:pt x="437" y="117"/>
                  </a:cubicBezTo>
                  <a:cubicBezTo>
                    <a:pt x="430" y="116"/>
                    <a:pt x="430" y="116"/>
                    <a:pt x="430" y="116"/>
                  </a:cubicBezTo>
                  <a:cubicBezTo>
                    <a:pt x="425" y="111"/>
                    <a:pt x="425" y="111"/>
                    <a:pt x="425" y="111"/>
                  </a:cubicBezTo>
                  <a:cubicBezTo>
                    <a:pt x="421" y="114"/>
                    <a:pt x="421" y="114"/>
                    <a:pt x="421" y="114"/>
                  </a:cubicBezTo>
                  <a:cubicBezTo>
                    <a:pt x="417" y="111"/>
                    <a:pt x="417" y="111"/>
                    <a:pt x="417" y="111"/>
                  </a:cubicBezTo>
                  <a:cubicBezTo>
                    <a:pt x="414" y="106"/>
                    <a:pt x="414" y="106"/>
                    <a:pt x="414" y="106"/>
                  </a:cubicBezTo>
                  <a:cubicBezTo>
                    <a:pt x="413" y="102"/>
                    <a:pt x="413" y="102"/>
                    <a:pt x="413" y="102"/>
                  </a:cubicBezTo>
                  <a:cubicBezTo>
                    <a:pt x="408" y="97"/>
                    <a:pt x="408" y="97"/>
                    <a:pt x="408" y="97"/>
                  </a:cubicBezTo>
                  <a:cubicBezTo>
                    <a:pt x="406" y="97"/>
                    <a:pt x="406" y="97"/>
                    <a:pt x="406" y="97"/>
                  </a:cubicBezTo>
                  <a:cubicBezTo>
                    <a:pt x="406" y="98"/>
                    <a:pt x="405" y="98"/>
                    <a:pt x="405" y="98"/>
                  </a:cubicBezTo>
                  <a:cubicBezTo>
                    <a:pt x="405" y="98"/>
                    <a:pt x="402" y="97"/>
                    <a:pt x="402" y="97"/>
                  </a:cubicBezTo>
                  <a:cubicBezTo>
                    <a:pt x="402" y="95"/>
                    <a:pt x="402" y="95"/>
                    <a:pt x="402" y="95"/>
                  </a:cubicBezTo>
                  <a:cubicBezTo>
                    <a:pt x="401" y="94"/>
                    <a:pt x="401" y="94"/>
                    <a:pt x="401" y="94"/>
                  </a:cubicBezTo>
                  <a:cubicBezTo>
                    <a:pt x="399" y="94"/>
                    <a:pt x="399" y="94"/>
                    <a:pt x="399" y="94"/>
                  </a:cubicBezTo>
                  <a:cubicBezTo>
                    <a:pt x="397" y="95"/>
                    <a:pt x="397" y="95"/>
                    <a:pt x="397" y="95"/>
                  </a:cubicBezTo>
                  <a:cubicBezTo>
                    <a:pt x="396" y="96"/>
                    <a:pt x="396" y="96"/>
                    <a:pt x="396" y="96"/>
                  </a:cubicBezTo>
                  <a:cubicBezTo>
                    <a:pt x="396" y="96"/>
                    <a:pt x="396" y="96"/>
                    <a:pt x="396" y="96"/>
                  </a:cubicBezTo>
                  <a:cubicBezTo>
                    <a:pt x="395" y="97"/>
                    <a:pt x="395" y="97"/>
                    <a:pt x="395" y="97"/>
                  </a:cubicBezTo>
                  <a:cubicBezTo>
                    <a:pt x="394" y="97"/>
                    <a:pt x="394" y="97"/>
                    <a:pt x="394" y="97"/>
                  </a:cubicBezTo>
                  <a:cubicBezTo>
                    <a:pt x="394" y="97"/>
                    <a:pt x="394" y="97"/>
                    <a:pt x="394" y="97"/>
                  </a:cubicBezTo>
                  <a:cubicBezTo>
                    <a:pt x="394" y="97"/>
                    <a:pt x="393" y="97"/>
                    <a:pt x="393" y="97"/>
                  </a:cubicBezTo>
                  <a:cubicBezTo>
                    <a:pt x="391" y="97"/>
                    <a:pt x="391" y="97"/>
                    <a:pt x="391" y="97"/>
                  </a:cubicBezTo>
                  <a:cubicBezTo>
                    <a:pt x="391" y="96"/>
                    <a:pt x="391" y="96"/>
                    <a:pt x="391" y="96"/>
                  </a:cubicBezTo>
                  <a:cubicBezTo>
                    <a:pt x="391" y="95"/>
                    <a:pt x="391" y="95"/>
                    <a:pt x="391" y="95"/>
                  </a:cubicBezTo>
                  <a:cubicBezTo>
                    <a:pt x="389" y="94"/>
                    <a:pt x="389" y="94"/>
                    <a:pt x="389" y="94"/>
                  </a:cubicBezTo>
                  <a:cubicBezTo>
                    <a:pt x="388" y="94"/>
                    <a:pt x="388" y="94"/>
                    <a:pt x="388" y="94"/>
                  </a:cubicBezTo>
                  <a:cubicBezTo>
                    <a:pt x="388" y="94"/>
                    <a:pt x="387" y="93"/>
                    <a:pt x="387" y="93"/>
                  </a:cubicBezTo>
                  <a:cubicBezTo>
                    <a:pt x="386" y="93"/>
                    <a:pt x="386" y="92"/>
                    <a:pt x="386" y="92"/>
                  </a:cubicBezTo>
                  <a:cubicBezTo>
                    <a:pt x="385" y="91"/>
                    <a:pt x="385" y="91"/>
                    <a:pt x="385" y="91"/>
                  </a:cubicBezTo>
                  <a:cubicBezTo>
                    <a:pt x="387" y="91"/>
                    <a:pt x="387" y="91"/>
                    <a:pt x="387" y="91"/>
                  </a:cubicBezTo>
                  <a:cubicBezTo>
                    <a:pt x="387" y="91"/>
                    <a:pt x="387" y="90"/>
                    <a:pt x="387" y="90"/>
                  </a:cubicBezTo>
                  <a:cubicBezTo>
                    <a:pt x="387" y="90"/>
                    <a:pt x="387" y="90"/>
                    <a:pt x="387" y="90"/>
                  </a:cubicBezTo>
                  <a:cubicBezTo>
                    <a:pt x="387" y="90"/>
                    <a:pt x="386" y="90"/>
                    <a:pt x="386" y="90"/>
                  </a:cubicBezTo>
                  <a:cubicBezTo>
                    <a:pt x="384" y="90"/>
                    <a:pt x="384" y="90"/>
                    <a:pt x="384" y="90"/>
                  </a:cubicBezTo>
                  <a:cubicBezTo>
                    <a:pt x="383" y="91"/>
                    <a:pt x="383" y="91"/>
                    <a:pt x="383" y="91"/>
                  </a:cubicBezTo>
                  <a:cubicBezTo>
                    <a:pt x="381" y="91"/>
                    <a:pt x="381" y="91"/>
                    <a:pt x="381" y="91"/>
                  </a:cubicBezTo>
                  <a:cubicBezTo>
                    <a:pt x="379" y="92"/>
                    <a:pt x="379" y="92"/>
                    <a:pt x="379" y="92"/>
                  </a:cubicBezTo>
                  <a:cubicBezTo>
                    <a:pt x="376" y="92"/>
                    <a:pt x="376" y="92"/>
                    <a:pt x="376" y="92"/>
                  </a:cubicBezTo>
                  <a:cubicBezTo>
                    <a:pt x="375" y="90"/>
                    <a:pt x="375" y="90"/>
                    <a:pt x="375" y="90"/>
                  </a:cubicBezTo>
                  <a:cubicBezTo>
                    <a:pt x="374" y="88"/>
                    <a:pt x="374" y="88"/>
                    <a:pt x="374" y="88"/>
                  </a:cubicBezTo>
                  <a:cubicBezTo>
                    <a:pt x="373" y="87"/>
                    <a:pt x="373" y="87"/>
                    <a:pt x="373" y="87"/>
                  </a:cubicBezTo>
                  <a:cubicBezTo>
                    <a:pt x="372" y="87"/>
                    <a:pt x="372" y="87"/>
                    <a:pt x="372" y="87"/>
                  </a:cubicBezTo>
                  <a:cubicBezTo>
                    <a:pt x="369" y="86"/>
                    <a:pt x="369" y="86"/>
                    <a:pt x="369" y="86"/>
                  </a:cubicBezTo>
                  <a:cubicBezTo>
                    <a:pt x="370" y="84"/>
                    <a:pt x="370" y="84"/>
                    <a:pt x="370" y="84"/>
                  </a:cubicBezTo>
                  <a:cubicBezTo>
                    <a:pt x="370" y="84"/>
                    <a:pt x="369" y="82"/>
                    <a:pt x="369" y="82"/>
                  </a:cubicBezTo>
                  <a:cubicBezTo>
                    <a:pt x="368" y="82"/>
                    <a:pt x="367" y="82"/>
                    <a:pt x="367" y="82"/>
                  </a:cubicBezTo>
                  <a:cubicBezTo>
                    <a:pt x="365" y="80"/>
                    <a:pt x="365" y="80"/>
                    <a:pt x="365" y="80"/>
                  </a:cubicBezTo>
                  <a:cubicBezTo>
                    <a:pt x="365" y="80"/>
                    <a:pt x="365" y="79"/>
                    <a:pt x="364" y="78"/>
                  </a:cubicBezTo>
                  <a:cubicBezTo>
                    <a:pt x="363" y="78"/>
                    <a:pt x="363" y="77"/>
                    <a:pt x="362" y="77"/>
                  </a:cubicBezTo>
                  <a:cubicBezTo>
                    <a:pt x="361" y="77"/>
                    <a:pt x="359" y="77"/>
                    <a:pt x="359" y="77"/>
                  </a:cubicBezTo>
                  <a:cubicBezTo>
                    <a:pt x="359" y="77"/>
                    <a:pt x="358" y="75"/>
                    <a:pt x="357" y="75"/>
                  </a:cubicBezTo>
                  <a:cubicBezTo>
                    <a:pt x="357" y="75"/>
                    <a:pt x="353" y="75"/>
                    <a:pt x="353" y="75"/>
                  </a:cubicBezTo>
                  <a:cubicBezTo>
                    <a:pt x="353" y="75"/>
                    <a:pt x="354" y="72"/>
                    <a:pt x="354" y="72"/>
                  </a:cubicBezTo>
                  <a:cubicBezTo>
                    <a:pt x="354" y="71"/>
                    <a:pt x="354" y="68"/>
                    <a:pt x="354" y="68"/>
                  </a:cubicBezTo>
                  <a:cubicBezTo>
                    <a:pt x="354" y="67"/>
                    <a:pt x="354" y="67"/>
                    <a:pt x="354" y="67"/>
                  </a:cubicBezTo>
                  <a:cubicBezTo>
                    <a:pt x="354" y="67"/>
                    <a:pt x="353" y="66"/>
                    <a:pt x="354" y="64"/>
                  </a:cubicBezTo>
                  <a:cubicBezTo>
                    <a:pt x="355" y="62"/>
                    <a:pt x="354" y="63"/>
                    <a:pt x="355" y="61"/>
                  </a:cubicBezTo>
                  <a:cubicBezTo>
                    <a:pt x="356" y="58"/>
                    <a:pt x="356" y="57"/>
                    <a:pt x="356" y="57"/>
                  </a:cubicBezTo>
                  <a:cubicBezTo>
                    <a:pt x="354" y="56"/>
                    <a:pt x="354" y="56"/>
                    <a:pt x="354" y="56"/>
                  </a:cubicBezTo>
                  <a:cubicBezTo>
                    <a:pt x="354" y="56"/>
                    <a:pt x="353" y="55"/>
                    <a:pt x="352" y="56"/>
                  </a:cubicBezTo>
                  <a:cubicBezTo>
                    <a:pt x="352" y="58"/>
                    <a:pt x="351" y="58"/>
                    <a:pt x="351" y="58"/>
                  </a:cubicBezTo>
                  <a:cubicBezTo>
                    <a:pt x="349" y="61"/>
                    <a:pt x="349" y="61"/>
                    <a:pt x="349" y="61"/>
                  </a:cubicBezTo>
                  <a:cubicBezTo>
                    <a:pt x="349" y="64"/>
                    <a:pt x="349" y="64"/>
                    <a:pt x="349" y="64"/>
                  </a:cubicBezTo>
                  <a:cubicBezTo>
                    <a:pt x="349" y="64"/>
                    <a:pt x="350" y="65"/>
                    <a:pt x="347" y="65"/>
                  </a:cubicBezTo>
                  <a:cubicBezTo>
                    <a:pt x="345" y="65"/>
                    <a:pt x="343" y="65"/>
                    <a:pt x="343" y="65"/>
                  </a:cubicBezTo>
                  <a:cubicBezTo>
                    <a:pt x="343" y="65"/>
                    <a:pt x="345" y="67"/>
                    <a:pt x="342" y="67"/>
                  </a:cubicBezTo>
                  <a:cubicBezTo>
                    <a:pt x="340" y="67"/>
                    <a:pt x="337" y="67"/>
                    <a:pt x="337" y="67"/>
                  </a:cubicBezTo>
                  <a:cubicBezTo>
                    <a:pt x="335" y="65"/>
                    <a:pt x="335" y="65"/>
                    <a:pt x="335" y="65"/>
                  </a:cubicBezTo>
                  <a:cubicBezTo>
                    <a:pt x="331" y="66"/>
                    <a:pt x="331" y="66"/>
                    <a:pt x="331" y="66"/>
                  </a:cubicBezTo>
                  <a:cubicBezTo>
                    <a:pt x="331" y="66"/>
                    <a:pt x="331" y="65"/>
                    <a:pt x="331" y="63"/>
                  </a:cubicBezTo>
                  <a:cubicBezTo>
                    <a:pt x="331" y="62"/>
                    <a:pt x="330" y="60"/>
                    <a:pt x="331" y="60"/>
                  </a:cubicBezTo>
                  <a:cubicBezTo>
                    <a:pt x="332" y="60"/>
                    <a:pt x="333" y="59"/>
                    <a:pt x="333" y="59"/>
                  </a:cubicBezTo>
                  <a:cubicBezTo>
                    <a:pt x="332" y="56"/>
                    <a:pt x="332" y="56"/>
                    <a:pt x="332" y="56"/>
                  </a:cubicBezTo>
                  <a:cubicBezTo>
                    <a:pt x="332" y="56"/>
                    <a:pt x="332" y="56"/>
                    <a:pt x="332" y="56"/>
                  </a:cubicBezTo>
                  <a:cubicBezTo>
                    <a:pt x="332" y="56"/>
                    <a:pt x="331" y="56"/>
                    <a:pt x="331" y="55"/>
                  </a:cubicBezTo>
                  <a:cubicBezTo>
                    <a:pt x="331" y="54"/>
                    <a:pt x="332" y="52"/>
                    <a:pt x="332" y="52"/>
                  </a:cubicBezTo>
                  <a:cubicBezTo>
                    <a:pt x="333" y="51"/>
                    <a:pt x="333" y="49"/>
                    <a:pt x="333" y="49"/>
                  </a:cubicBezTo>
                  <a:cubicBezTo>
                    <a:pt x="332" y="49"/>
                    <a:pt x="332" y="49"/>
                    <a:pt x="332" y="49"/>
                  </a:cubicBezTo>
                  <a:cubicBezTo>
                    <a:pt x="332" y="49"/>
                    <a:pt x="330" y="50"/>
                    <a:pt x="330" y="48"/>
                  </a:cubicBezTo>
                  <a:cubicBezTo>
                    <a:pt x="330" y="47"/>
                    <a:pt x="329" y="45"/>
                    <a:pt x="329" y="45"/>
                  </a:cubicBezTo>
                  <a:cubicBezTo>
                    <a:pt x="329" y="45"/>
                    <a:pt x="327" y="44"/>
                    <a:pt x="327" y="44"/>
                  </a:cubicBezTo>
                  <a:cubicBezTo>
                    <a:pt x="326" y="44"/>
                    <a:pt x="326" y="44"/>
                    <a:pt x="325" y="45"/>
                  </a:cubicBezTo>
                  <a:cubicBezTo>
                    <a:pt x="325" y="45"/>
                    <a:pt x="322" y="44"/>
                    <a:pt x="322" y="44"/>
                  </a:cubicBezTo>
                  <a:cubicBezTo>
                    <a:pt x="322" y="44"/>
                    <a:pt x="319" y="44"/>
                    <a:pt x="319" y="44"/>
                  </a:cubicBezTo>
                  <a:cubicBezTo>
                    <a:pt x="318" y="44"/>
                    <a:pt x="317" y="46"/>
                    <a:pt x="317" y="46"/>
                  </a:cubicBezTo>
                  <a:cubicBezTo>
                    <a:pt x="315" y="43"/>
                    <a:pt x="315" y="43"/>
                    <a:pt x="315" y="43"/>
                  </a:cubicBezTo>
                  <a:cubicBezTo>
                    <a:pt x="316" y="40"/>
                    <a:pt x="316" y="40"/>
                    <a:pt x="316" y="40"/>
                  </a:cubicBezTo>
                  <a:cubicBezTo>
                    <a:pt x="316" y="40"/>
                    <a:pt x="314" y="38"/>
                    <a:pt x="314" y="37"/>
                  </a:cubicBezTo>
                  <a:cubicBezTo>
                    <a:pt x="314" y="37"/>
                    <a:pt x="313" y="35"/>
                    <a:pt x="313" y="35"/>
                  </a:cubicBezTo>
                  <a:cubicBezTo>
                    <a:pt x="311" y="35"/>
                    <a:pt x="311" y="35"/>
                    <a:pt x="311" y="35"/>
                  </a:cubicBezTo>
                  <a:cubicBezTo>
                    <a:pt x="310" y="34"/>
                    <a:pt x="310" y="34"/>
                    <a:pt x="310" y="34"/>
                  </a:cubicBezTo>
                  <a:cubicBezTo>
                    <a:pt x="310" y="34"/>
                    <a:pt x="308" y="34"/>
                    <a:pt x="307" y="34"/>
                  </a:cubicBezTo>
                  <a:cubicBezTo>
                    <a:pt x="306" y="34"/>
                    <a:pt x="306" y="34"/>
                    <a:pt x="305" y="34"/>
                  </a:cubicBezTo>
                  <a:cubicBezTo>
                    <a:pt x="305" y="34"/>
                    <a:pt x="303" y="32"/>
                    <a:pt x="303" y="32"/>
                  </a:cubicBezTo>
                  <a:cubicBezTo>
                    <a:pt x="303" y="31"/>
                    <a:pt x="303" y="30"/>
                    <a:pt x="303" y="29"/>
                  </a:cubicBezTo>
                  <a:cubicBezTo>
                    <a:pt x="302" y="28"/>
                    <a:pt x="301" y="26"/>
                    <a:pt x="301" y="25"/>
                  </a:cubicBezTo>
                  <a:cubicBezTo>
                    <a:pt x="301" y="25"/>
                    <a:pt x="302" y="23"/>
                    <a:pt x="302" y="23"/>
                  </a:cubicBezTo>
                  <a:cubicBezTo>
                    <a:pt x="301" y="22"/>
                    <a:pt x="299" y="20"/>
                    <a:pt x="299" y="20"/>
                  </a:cubicBezTo>
                  <a:cubicBezTo>
                    <a:pt x="298" y="18"/>
                    <a:pt x="298" y="18"/>
                    <a:pt x="298" y="18"/>
                  </a:cubicBezTo>
                  <a:cubicBezTo>
                    <a:pt x="298" y="18"/>
                    <a:pt x="295" y="20"/>
                    <a:pt x="294" y="20"/>
                  </a:cubicBezTo>
                  <a:cubicBezTo>
                    <a:pt x="293" y="20"/>
                    <a:pt x="291" y="19"/>
                    <a:pt x="291" y="20"/>
                  </a:cubicBezTo>
                  <a:cubicBezTo>
                    <a:pt x="291" y="20"/>
                    <a:pt x="292" y="22"/>
                    <a:pt x="291" y="22"/>
                  </a:cubicBezTo>
                  <a:cubicBezTo>
                    <a:pt x="290" y="22"/>
                    <a:pt x="288" y="22"/>
                    <a:pt x="287" y="21"/>
                  </a:cubicBezTo>
                  <a:cubicBezTo>
                    <a:pt x="286" y="20"/>
                    <a:pt x="286" y="19"/>
                    <a:pt x="286" y="18"/>
                  </a:cubicBezTo>
                  <a:cubicBezTo>
                    <a:pt x="285" y="18"/>
                    <a:pt x="285" y="16"/>
                    <a:pt x="284" y="16"/>
                  </a:cubicBezTo>
                  <a:cubicBezTo>
                    <a:pt x="283" y="16"/>
                    <a:pt x="282" y="16"/>
                    <a:pt x="282" y="15"/>
                  </a:cubicBezTo>
                  <a:cubicBezTo>
                    <a:pt x="282" y="15"/>
                    <a:pt x="282" y="12"/>
                    <a:pt x="282" y="12"/>
                  </a:cubicBezTo>
                  <a:cubicBezTo>
                    <a:pt x="282" y="10"/>
                    <a:pt x="282" y="10"/>
                    <a:pt x="282" y="10"/>
                  </a:cubicBezTo>
                  <a:cubicBezTo>
                    <a:pt x="282" y="10"/>
                    <a:pt x="282" y="7"/>
                    <a:pt x="281" y="7"/>
                  </a:cubicBezTo>
                  <a:cubicBezTo>
                    <a:pt x="281" y="6"/>
                    <a:pt x="280" y="5"/>
                    <a:pt x="280" y="5"/>
                  </a:cubicBezTo>
                  <a:cubicBezTo>
                    <a:pt x="280" y="2"/>
                    <a:pt x="280" y="2"/>
                    <a:pt x="280" y="2"/>
                  </a:cubicBezTo>
                  <a:cubicBezTo>
                    <a:pt x="281" y="1"/>
                    <a:pt x="281" y="1"/>
                    <a:pt x="281" y="1"/>
                  </a:cubicBezTo>
                  <a:cubicBezTo>
                    <a:pt x="281" y="1"/>
                    <a:pt x="281" y="0"/>
                    <a:pt x="282" y="0"/>
                  </a:cubicBezTo>
                  <a:cubicBezTo>
                    <a:pt x="259" y="4"/>
                    <a:pt x="259" y="4"/>
                    <a:pt x="259" y="4"/>
                  </a:cubicBezTo>
                  <a:cubicBezTo>
                    <a:pt x="249" y="5"/>
                    <a:pt x="249" y="5"/>
                    <a:pt x="249" y="5"/>
                  </a:cubicBezTo>
                  <a:cubicBezTo>
                    <a:pt x="245" y="10"/>
                    <a:pt x="245" y="10"/>
                    <a:pt x="245" y="10"/>
                  </a:cubicBezTo>
                  <a:cubicBezTo>
                    <a:pt x="243" y="15"/>
                    <a:pt x="243" y="15"/>
                    <a:pt x="243" y="15"/>
                  </a:cubicBezTo>
                  <a:cubicBezTo>
                    <a:pt x="244" y="23"/>
                    <a:pt x="244" y="23"/>
                    <a:pt x="244" y="23"/>
                  </a:cubicBezTo>
                  <a:cubicBezTo>
                    <a:pt x="241" y="28"/>
                    <a:pt x="241" y="28"/>
                    <a:pt x="241" y="28"/>
                  </a:cubicBezTo>
                  <a:cubicBezTo>
                    <a:pt x="241" y="34"/>
                    <a:pt x="241" y="34"/>
                    <a:pt x="241" y="34"/>
                  </a:cubicBezTo>
                  <a:cubicBezTo>
                    <a:pt x="241" y="43"/>
                    <a:pt x="241" y="43"/>
                    <a:pt x="241" y="43"/>
                  </a:cubicBezTo>
                  <a:cubicBezTo>
                    <a:pt x="236" y="46"/>
                    <a:pt x="236" y="46"/>
                    <a:pt x="236" y="46"/>
                  </a:cubicBezTo>
                  <a:cubicBezTo>
                    <a:pt x="229" y="53"/>
                    <a:pt x="229" y="53"/>
                    <a:pt x="229" y="53"/>
                  </a:cubicBezTo>
                  <a:cubicBezTo>
                    <a:pt x="219" y="57"/>
                    <a:pt x="219" y="57"/>
                    <a:pt x="219" y="57"/>
                  </a:cubicBezTo>
                  <a:cubicBezTo>
                    <a:pt x="206" y="60"/>
                    <a:pt x="206" y="60"/>
                    <a:pt x="206" y="60"/>
                  </a:cubicBezTo>
                  <a:cubicBezTo>
                    <a:pt x="196" y="63"/>
                    <a:pt x="196" y="63"/>
                    <a:pt x="196" y="63"/>
                  </a:cubicBezTo>
                  <a:cubicBezTo>
                    <a:pt x="187" y="68"/>
                    <a:pt x="187" y="68"/>
                    <a:pt x="187" y="68"/>
                  </a:cubicBezTo>
                  <a:cubicBezTo>
                    <a:pt x="185" y="75"/>
                    <a:pt x="185" y="75"/>
                    <a:pt x="185" y="75"/>
                  </a:cubicBezTo>
                  <a:cubicBezTo>
                    <a:pt x="184" y="84"/>
                    <a:pt x="184" y="84"/>
                    <a:pt x="184" y="84"/>
                  </a:cubicBezTo>
                  <a:cubicBezTo>
                    <a:pt x="177" y="87"/>
                    <a:pt x="177" y="87"/>
                    <a:pt x="177" y="87"/>
                  </a:cubicBezTo>
                  <a:cubicBezTo>
                    <a:pt x="177" y="87"/>
                    <a:pt x="174" y="89"/>
                    <a:pt x="172" y="88"/>
                  </a:cubicBezTo>
                  <a:cubicBezTo>
                    <a:pt x="169" y="88"/>
                    <a:pt x="163" y="86"/>
                    <a:pt x="163" y="86"/>
                  </a:cubicBezTo>
                  <a:cubicBezTo>
                    <a:pt x="163" y="86"/>
                    <a:pt x="156" y="82"/>
                    <a:pt x="153" y="82"/>
                  </a:cubicBezTo>
                  <a:cubicBezTo>
                    <a:pt x="150" y="81"/>
                    <a:pt x="145" y="76"/>
                    <a:pt x="145" y="76"/>
                  </a:cubicBezTo>
                  <a:cubicBezTo>
                    <a:pt x="140" y="80"/>
                    <a:pt x="140" y="80"/>
                    <a:pt x="140" y="80"/>
                  </a:cubicBezTo>
                  <a:cubicBezTo>
                    <a:pt x="140" y="80"/>
                    <a:pt x="137" y="77"/>
                    <a:pt x="137" y="75"/>
                  </a:cubicBezTo>
                  <a:cubicBezTo>
                    <a:pt x="137" y="74"/>
                    <a:pt x="137" y="74"/>
                    <a:pt x="137" y="72"/>
                  </a:cubicBezTo>
                  <a:cubicBezTo>
                    <a:pt x="137" y="69"/>
                    <a:pt x="137" y="64"/>
                    <a:pt x="137" y="64"/>
                  </a:cubicBezTo>
                  <a:cubicBezTo>
                    <a:pt x="130" y="61"/>
                    <a:pt x="130" y="61"/>
                    <a:pt x="130" y="61"/>
                  </a:cubicBezTo>
                  <a:cubicBezTo>
                    <a:pt x="123" y="60"/>
                    <a:pt x="123" y="60"/>
                    <a:pt x="123" y="60"/>
                  </a:cubicBezTo>
                  <a:cubicBezTo>
                    <a:pt x="123" y="60"/>
                    <a:pt x="123" y="62"/>
                    <a:pt x="121" y="60"/>
                  </a:cubicBezTo>
                  <a:cubicBezTo>
                    <a:pt x="118" y="58"/>
                    <a:pt x="118" y="54"/>
                    <a:pt x="118" y="54"/>
                  </a:cubicBezTo>
                  <a:cubicBezTo>
                    <a:pt x="112" y="51"/>
                    <a:pt x="112" y="51"/>
                    <a:pt x="112" y="51"/>
                  </a:cubicBezTo>
                  <a:cubicBezTo>
                    <a:pt x="110" y="59"/>
                    <a:pt x="110" y="59"/>
                    <a:pt x="110" y="59"/>
                  </a:cubicBezTo>
                  <a:cubicBezTo>
                    <a:pt x="117" y="65"/>
                    <a:pt x="117" y="65"/>
                    <a:pt x="117" y="65"/>
                  </a:cubicBezTo>
                  <a:cubicBezTo>
                    <a:pt x="119" y="69"/>
                    <a:pt x="119" y="69"/>
                    <a:pt x="119" y="69"/>
                  </a:cubicBezTo>
                  <a:cubicBezTo>
                    <a:pt x="117" y="75"/>
                    <a:pt x="117" y="75"/>
                    <a:pt x="117" y="75"/>
                  </a:cubicBezTo>
                  <a:cubicBezTo>
                    <a:pt x="119" y="80"/>
                    <a:pt x="119" y="80"/>
                    <a:pt x="119" y="80"/>
                  </a:cubicBezTo>
                  <a:cubicBezTo>
                    <a:pt x="120" y="84"/>
                    <a:pt x="120" y="84"/>
                    <a:pt x="120" y="84"/>
                  </a:cubicBezTo>
                  <a:cubicBezTo>
                    <a:pt x="120" y="84"/>
                    <a:pt x="121" y="84"/>
                    <a:pt x="121" y="87"/>
                  </a:cubicBezTo>
                  <a:cubicBezTo>
                    <a:pt x="121" y="89"/>
                    <a:pt x="120" y="99"/>
                    <a:pt x="120" y="99"/>
                  </a:cubicBezTo>
                  <a:cubicBezTo>
                    <a:pt x="120" y="107"/>
                    <a:pt x="120" y="107"/>
                    <a:pt x="120" y="107"/>
                  </a:cubicBezTo>
                  <a:cubicBezTo>
                    <a:pt x="123" y="115"/>
                    <a:pt x="123" y="115"/>
                    <a:pt x="123" y="115"/>
                  </a:cubicBezTo>
                  <a:cubicBezTo>
                    <a:pt x="123" y="115"/>
                    <a:pt x="118" y="118"/>
                    <a:pt x="116" y="118"/>
                  </a:cubicBezTo>
                  <a:cubicBezTo>
                    <a:pt x="114" y="118"/>
                    <a:pt x="109" y="116"/>
                    <a:pt x="109" y="116"/>
                  </a:cubicBezTo>
                  <a:cubicBezTo>
                    <a:pt x="107" y="111"/>
                    <a:pt x="107" y="111"/>
                    <a:pt x="107" y="111"/>
                  </a:cubicBezTo>
                  <a:cubicBezTo>
                    <a:pt x="95" y="112"/>
                    <a:pt x="95" y="112"/>
                    <a:pt x="95" y="112"/>
                  </a:cubicBezTo>
                  <a:cubicBezTo>
                    <a:pt x="88" y="111"/>
                    <a:pt x="88" y="111"/>
                    <a:pt x="88" y="111"/>
                  </a:cubicBezTo>
                  <a:cubicBezTo>
                    <a:pt x="82" y="115"/>
                    <a:pt x="82" y="115"/>
                    <a:pt x="82" y="115"/>
                  </a:cubicBezTo>
                  <a:cubicBezTo>
                    <a:pt x="78" y="114"/>
                    <a:pt x="78" y="114"/>
                    <a:pt x="78" y="114"/>
                  </a:cubicBezTo>
                  <a:cubicBezTo>
                    <a:pt x="74" y="110"/>
                    <a:pt x="74" y="110"/>
                    <a:pt x="74" y="110"/>
                  </a:cubicBezTo>
                  <a:cubicBezTo>
                    <a:pt x="73" y="104"/>
                    <a:pt x="73" y="104"/>
                    <a:pt x="73" y="104"/>
                  </a:cubicBezTo>
                  <a:cubicBezTo>
                    <a:pt x="71" y="99"/>
                    <a:pt x="71" y="99"/>
                    <a:pt x="71" y="99"/>
                  </a:cubicBezTo>
                  <a:cubicBezTo>
                    <a:pt x="67" y="94"/>
                    <a:pt x="67" y="94"/>
                    <a:pt x="67" y="94"/>
                  </a:cubicBezTo>
                  <a:cubicBezTo>
                    <a:pt x="54" y="95"/>
                    <a:pt x="54" y="95"/>
                    <a:pt x="54" y="95"/>
                  </a:cubicBezTo>
                  <a:cubicBezTo>
                    <a:pt x="49" y="96"/>
                    <a:pt x="49" y="96"/>
                    <a:pt x="49" y="96"/>
                  </a:cubicBezTo>
                  <a:cubicBezTo>
                    <a:pt x="46" y="99"/>
                    <a:pt x="46" y="99"/>
                    <a:pt x="46" y="99"/>
                  </a:cubicBezTo>
                  <a:cubicBezTo>
                    <a:pt x="40" y="98"/>
                    <a:pt x="40" y="98"/>
                    <a:pt x="40" y="98"/>
                  </a:cubicBezTo>
                  <a:cubicBezTo>
                    <a:pt x="38" y="101"/>
                    <a:pt x="38" y="101"/>
                    <a:pt x="38" y="101"/>
                  </a:cubicBezTo>
                  <a:cubicBezTo>
                    <a:pt x="31" y="99"/>
                    <a:pt x="31" y="99"/>
                    <a:pt x="31" y="99"/>
                  </a:cubicBezTo>
                  <a:cubicBezTo>
                    <a:pt x="24" y="100"/>
                    <a:pt x="24" y="100"/>
                    <a:pt x="24" y="100"/>
                  </a:cubicBezTo>
                  <a:cubicBezTo>
                    <a:pt x="19" y="99"/>
                    <a:pt x="19" y="99"/>
                    <a:pt x="19" y="99"/>
                  </a:cubicBezTo>
                  <a:cubicBezTo>
                    <a:pt x="10" y="101"/>
                    <a:pt x="10" y="101"/>
                    <a:pt x="10" y="101"/>
                  </a:cubicBezTo>
                  <a:cubicBezTo>
                    <a:pt x="5" y="105"/>
                    <a:pt x="5" y="105"/>
                    <a:pt x="5" y="105"/>
                  </a:cubicBezTo>
                  <a:cubicBezTo>
                    <a:pt x="0" y="113"/>
                    <a:pt x="0" y="113"/>
                    <a:pt x="0" y="113"/>
                  </a:cubicBezTo>
                  <a:cubicBezTo>
                    <a:pt x="0" y="113"/>
                    <a:pt x="2" y="113"/>
                    <a:pt x="4" y="113"/>
                  </a:cubicBezTo>
                  <a:cubicBezTo>
                    <a:pt x="5" y="113"/>
                    <a:pt x="14" y="114"/>
                    <a:pt x="14" y="114"/>
                  </a:cubicBezTo>
                  <a:cubicBezTo>
                    <a:pt x="16" y="117"/>
                    <a:pt x="16" y="117"/>
                    <a:pt x="16" y="117"/>
                  </a:cubicBezTo>
                  <a:cubicBezTo>
                    <a:pt x="10" y="120"/>
                    <a:pt x="10" y="120"/>
                    <a:pt x="10" y="120"/>
                  </a:cubicBezTo>
                  <a:cubicBezTo>
                    <a:pt x="15" y="122"/>
                    <a:pt x="15" y="122"/>
                    <a:pt x="15" y="122"/>
                  </a:cubicBezTo>
                  <a:cubicBezTo>
                    <a:pt x="16" y="124"/>
                    <a:pt x="16" y="124"/>
                    <a:pt x="16" y="124"/>
                  </a:cubicBezTo>
                  <a:cubicBezTo>
                    <a:pt x="16" y="127"/>
                    <a:pt x="16" y="127"/>
                    <a:pt x="16" y="127"/>
                  </a:cubicBezTo>
                  <a:cubicBezTo>
                    <a:pt x="5" y="128"/>
                    <a:pt x="5" y="128"/>
                    <a:pt x="5" y="128"/>
                  </a:cubicBezTo>
                  <a:cubicBezTo>
                    <a:pt x="5" y="128"/>
                    <a:pt x="2" y="127"/>
                    <a:pt x="2" y="129"/>
                  </a:cubicBezTo>
                  <a:cubicBezTo>
                    <a:pt x="1" y="131"/>
                    <a:pt x="5" y="132"/>
                    <a:pt x="5" y="132"/>
                  </a:cubicBezTo>
                  <a:cubicBezTo>
                    <a:pt x="10" y="135"/>
                    <a:pt x="10" y="135"/>
                    <a:pt x="10" y="135"/>
                  </a:cubicBezTo>
                  <a:cubicBezTo>
                    <a:pt x="9" y="145"/>
                    <a:pt x="9" y="145"/>
                    <a:pt x="9" y="145"/>
                  </a:cubicBezTo>
                  <a:cubicBezTo>
                    <a:pt x="13" y="145"/>
                    <a:pt x="13" y="145"/>
                    <a:pt x="13" y="145"/>
                  </a:cubicBezTo>
                  <a:cubicBezTo>
                    <a:pt x="19" y="145"/>
                    <a:pt x="19" y="145"/>
                    <a:pt x="19" y="145"/>
                  </a:cubicBezTo>
                  <a:cubicBezTo>
                    <a:pt x="19" y="145"/>
                    <a:pt x="20" y="143"/>
                    <a:pt x="23" y="142"/>
                  </a:cubicBezTo>
                  <a:cubicBezTo>
                    <a:pt x="25" y="142"/>
                    <a:pt x="28" y="142"/>
                    <a:pt x="28" y="142"/>
                  </a:cubicBezTo>
                  <a:cubicBezTo>
                    <a:pt x="28" y="142"/>
                    <a:pt x="28" y="141"/>
                    <a:pt x="30" y="146"/>
                  </a:cubicBezTo>
                  <a:cubicBezTo>
                    <a:pt x="31" y="150"/>
                    <a:pt x="31" y="150"/>
                    <a:pt x="31" y="150"/>
                  </a:cubicBezTo>
                  <a:cubicBezTo>
                    <a:pt x="35" y="151"/>
                    <a:pt x="35" y="151"/>
                    <a:pt x="35" y="151"/>
                  </a:cubicBezTo>
                  <a:cubicBezTo>
                    <a:pt x="37" y="152"/>
                    <a:pt x="37" y="152"/>
                    <a:pt x="37" y="152"/>
                  </a:cubicBezTo>
                  <a:cubicBezTo>
                    <a:pt x="37" y="152"/>
                    <a:pt x="41" y="154"/>
                    <a:pt x="43" y="155"/>
                  </a:cubicBezTo>
                  <a:cubicBezTo>
                    <a:pt x="45" y="156"/>
                    <a:pt x="49" y="160"/>
                    <a:pt x="49" y="160"/>
                  </a:cubicBezTo>
                  <a:cubicBezTo>
                    <a:pt x="51" y="161"/>
                    <a:pt x="51" y="161"/>
                    <a:pt x="51" y="161"/>
                  </a:cubicBezTo>
                  <a:cubicBezTo>
                    <a:pt x="51" y="166"/>
                    <a:pt x="51" y="166"/>
                    <a:pt x="51" y="166"/>
                  </a:cubicBezTo>
                  <a:cubicBezTo>
                    <a:pt x="51" y="166"/>
                    <a:pt x="55" y="167"/>
                    <a:pt x="58" y="167"/>
                  </a:cubicBezTo>
                  <a:cubicBezTo>
                    <a:pt x="61" y="167"/>
                    <a:pt x="68" y="166"/>
                    <a:pt x="68" y="166"/>
                  </a:cubicBezTo>
                  <a:cubicBezTo>
                    <a:pt x="70" y="170"/>
                    <a:pt x="70" y="170"/>
                    <a:pt x="70" y="170"/>
                  </a:cubicBezTo>
                  <a:cubicBezTo>
                    <a:pt x="72" y="170"/>
                    <a:pt x="81" y="173"/>
                    <a:pt x="81" y="173"/>
                  </a:cubicBezTo>
                  <a:cubicBezTo>
                    <a:pt x="78" y="177"/>
                    <a:pt x="78" y="177"/>
                    <a:pt x="78" y="177"/>
                  </a:cubicBezTo>
                  <a:cubicBezTo>
                    <a:pt x="75" y="180"/>
                    <a:pt x="75" y="180"/>
                    <a:pt x="75" y="180"/>
                  </a:cubicBezTo>
                  <a:cubicBezTo>
                    <a:pt x="74" y="183"/>
                    <a:pt x="74" y="183"/>
                    <a:pt x="74" y="183"/>
                  </a:cubicBezTo>
                  <a:cubicBezTo>
                    <a:pt x="74" y="183"/>
                    <a:pt x="75" y="183"/>
                    <a:pt x="79" y="184"/>
                  </a:cubicBezTo>
                  <a:cubicBezTo>
                    <a:pt x="83" y="185"/>
                    <a:pt x="86" y="187"/>
                    <a:pt x="86" y="187"/>
                  </a:cubicBezTo>
                  <a:cubicBezTo>
                    <a:pt x="84" y="192"/>
                    <a:pt x="84" y="192"/>
                    <a:pt x="84" y="192"/>
                  </a:cubicBezTo>
                  <a:cubicBezTo>
                    <a:pt x="89" y="196"/>
                    <a:pt x="89" y="196"/>
                    <a:pt x="89" y="196"/>
                  </a:cubicBezTo>
                  <a:cubicBezTo>
                    <a:pt x="89" y="196"/>
                    <a:pt x="91" y="199"/>
                    <a:pt x="91" y="200"/>
                  </a:cubicBezTo>
                  <a:cubicBezTo>
                    <a:pt x="90" y="201"/>
                    <a:pt x="90" y="203"/>
                    <a:pt x="90" y="203"/>
                  </a:cubicBezTo>
                  <a:cubicBezTo>
                    <a:pt x="87" y="202"/>
                    <a:pt x="87" y="202"/>
                    <a:pt x="87" y="202"/>
                  </a:cubicBezTo>
                  <a:cubicBezTo>
                    <a:pt x="87" y="202"/>
                    <a:pt x="87" y="204"/>
                    <a:pt x="86" y="202"/>
                  </a:cubicBezTo>
                  <a:cubicBezTo>
                    <a:pt x="84" y="200"/>
                    <a:pt x="83" y="198"/>
                    <a:pt x="83" y="198"/>
                  </a:cubicBezTo>
                  <a:cubicBezTo>
                    <a:pt x="82" y="202"/>
                    <a:pt x="82" y="202"/>
                    <a:pt x="82" y="202"/>
                  </a:cubicBezTo>
                  <a:cubicBezTo>
                    <a:pt x="82" y="202"/>
                    <a:pt x="83" y="206"/>
                    <a:pt x="84" y="207"/>
                  </a:cubicBezTo>
                  <a:cubicBezTo>
                    <a:pt x="86" y="207"/>
                    <a:pt x="86" y="206"/>
                    <a:pt x="86" y="209"/>
                  </a:cubicBezTo>
                  <a:cubicBezTo>
                    <a:pt x="86" y="211"/>
                    <a:pt x="87" y="216"/>
                    <a:pt x="88" y="217"/>
                  </a:cubicBezTo>
                  <a:cubicBezTo>
                    <a:pt x="89" y="219"/>
                    <a:pt x="89" y="224"/>
                    <a:pt x="90" y="225"/>
                  </a:cubicBezTo>
                  <a:cubicBezTo>
                    <a:pt x="92" y="225"/>
                    <a:pt x="93" y="226"/>
                    <a:pt x="93" y="226"/>
                  </a:cubicBezTo>
                  <a:cubicBezTo>
                    <a:pt x="95" y="228"/>
                    <a:pt x="95" y="228"/>
                    <a:pt x="95" y="228"/>
                  </a:cubicBezTo>
                  <a:cubicBezTo>
                    <a:pt x="101" y="233"/>
                    <a:pt x="101" y="233"/>
                    <a:pt x="101" y="233"/>
                  </a:cubicBezTo>
                  <a:cubicBezTo>
                    <a:pt x="101" y="233"/>
                    <a:pt x="105" y="236"/>
                    <a:pt x="107" y="237"/>
                  </a:cubicBezTo>
                  <a:cubicBezTo>
                    <a:pt x="109" y="238"/>
                    <a:pt x="110" y="238"/>
                    <a:pt x="110" y="238"/>
                  </a:cubicBezTo>
                  <a:cubicBezTo>
                    <a:pt x="115" y="243"/>
                    <a:pt x="115" y="243"/>
                    <a:pt x="115" y="243"/>
                  </a:cubicBezTo>
                  <a:cubicBezTo>
                    <a:pt x="115" y="243"/>
                    <a:pt x="118" y="248"/>
                    <a:pt x="117" y="248"/>
                  </a:cubicBezTo>
                  <a:cubicBezTo>
                    <a:pt x="116" y="248"/>
                    <a:pt x="117" y="249"/>
                    <a:pt x="115" y="249"/>
                  </a:cubicBezTo>
                  <a:cubicBezTo>
                    <a:pt x="112" y="249"/>
                    <a:pt x="113" y="251"/>
                    <a:pt x="111" y="249"/>
                  </a:cubicBezTo>
                  <a:cubicBezTo>
                    <a:pt x="108" y="247"/>
                    <a:pt x="106" y="244"/>
                    <a:pt x="103" y="244"/>
                  </a:cubicBezTo>
                  <a:cubicBezTo>
                    <a:pt x="100" y="244"/>
                    <a:pt x="100" y="244"/>
                    <a:pt x="100" y="244"/>
                  </a:cubicBezTo>
                  <a:cubicBezTo>
                    <a:pt x="106" y="249"/>
                    <a:pt x="106" y="249"/>
                    <a:pt x="106" y="249"/>
                  </a:cubicBezTo>
                  <a:cubicBezTo>
                    <a:pt x="109" y="250"/>
                    <a:pt x="109" y="250"/>
                    <a:pt x="109" y="250"/>
                  </a:cubicBezTo>
                  <a:cubicBezTo>
                    <a:pt x="113" y="254"/>
                    <a:pt x="113" y="254"/>
                    <a:pt x="113" y="254"/>
                  </a:cubicBezTo>
                  <a:cubicBezTo>
                    <a:pt x="114" y="254"/>
                    <a:pt x="114" y="254"/>
                    <a:pt x="114" y="254"/>
                  </a:cubicBezTo>
                  <a:cubicBezTo>
                    <a:pt x="114" y="254"/>
                    <a:pt x="115" y="256"/>
                    <a:pt x="115" y="257"/>
                  </a:cubicBezTo>
                  <a:cubicBezTo>
                    <a:pt x="115" y="258"/>
                    <a:pt x="114" y="261"/>
                    <a:pt x="113" y="262"/>
                  </a:cubicBezTo>
                  <a:cubicBezTo>
                    <a:pt x="113" y="264"/>
                    <a:pt x="113" y="266"/>
                    <a:pt x="113" y="266"/>
                  </a:cubicBezTo>
                  <a:cubicBezTo>
                    <a:pt x="110" y="259"/>
                    <a:pt x="110" y="259"/>
                    <a:pt x="110" y="259"/>
                  </a:cubicBezTo>
                  <a:cubicBezTo>
                    <a:pt x="110" y="259"/>
                    <a:pt x="111" y="257"/>
                    <a:pt x="109" y="256"/>
                  </a:cubicBezTo>
                  <a:cubicBezTo>
                    <a:pt x="107" y="256"/>
                    <a:pt x="105" y="257"/>
                    <a:pt x="105" y="257"/>
                  </a:cubicBezTo>
                  <a:cubicBezTo>
                    <a:pt x="105" y="257"/>
                    <a:pt x="104" y="259"/>
                    <a:pt x="105" y="260"/>
                  </a:cubicBezTo>
                  <a:cubicBezTo>
                    <a:pt x="107" y="261"/>
                    <a:pt x="108" y="262"/>
                    <a:pt x="108" y="263"/>
                  </a:cubicBezTo>
                  <a:cubicBezTo>
                    <a:pt x="109" y="264"/>
                    <a:pt x="109" y="265"/>
                    <a:pt x="109" y="265"/>
                  </a:cubicBezTo>
                  <a:cubicBezTo>
                    <a:pt x="109" y="265"/>
                    <a:pt x="111" y="265"/>
                    <a:pt x="111" y="267"/>
                  </a:cubicBezTo>
                  <a:cubicBezTo>
                    <a:pt x="111" y="270"/>
                    <a:pt x="110" y="273"/>
                    <a:pt x="110" y="273"/>
                  </a:cubicBezTo>
                  <a:cubicBezTo>
                    <a:pt x="110" y="273"/>
                    <a:pt x="108" y="273"/>
                    <a:pt x="111" y="275"/>
                  </a:cubicBezTo>
                  <a:cubicBezTo>
                    <a:pt x="114" y="277"/>
                    <a:pt x="115" y="278"/>
                    <a:pt x="116" y="279"/>
                  </a:cubicBezTo>
                  <a:cubicBezTo>
                    <a:pt x="117" y="280"/>
                    <a:pt x="121" y="285"/>
                    <a:pt x="121" y="285"/>
                  </a:cubicBezTo>
                  <a:cubicBezTo>
                    <a:pt x="124" y="289"/>
                    <a:pt x="124" y="289"/>
                    <a:pt x="124" y="289"/>
                  </a:cubicBezTo>
                  <a:cubicBezTo>
                    <a:pt x="124" y="289"/>
                    <a:pt x="124" y="291"/>
                    <a:pt x="124" y="291"/>
                  </a:cubicBezTo>
                  <a:cubicBezTo>
                    <a:pt x="123" y="291"/>
                    <a:pt x="121" y="291"/>
                    <a:pt x="121" y="291"/>
                  </a:cubicBezTo>
                  <a:cubicBezTo>
                    <a:pt x="121" y="291"/>
                    <a:pt x="120" y="291"/>
                    <a:pt x="119" y="290"/>
                  </a:cubicBezTo>
                  <a:cubicBezTo>
                    <a:pt x="118" y="288"/>
                    <a:pt x="116" y="285"/>
                    <a:pt x="116" y="285"/>
                  </a:cubicBezTo>
                  <a:cubicBezTo>
                    <a:pt x="114" y="284"/>
                    <a:pt x="114" y="284"/>
                    <a:pt x="114" y="284"/>
                  </a:cubicBezTo>
                  <a:cubicBezTo>
                    <a:pt x="112" y="285"/>
                    <a:pt x="112" y="285"/>
                    <a:pt x="112" y="285"/>
                  </a:cubicBezTo>
                  <a:cubicBezTo>
                    <a:pt x="112" y="285"/>
                    <a:pt x="110" y="289"/>
                    <a:pt x="110" y="289"/>
                  </a:cubicBezTo>
                  <a:cubicBezTo>
                    <a:pt x="110" y="290"/>
                    <a:pt x="107" y="296"/>
                    <a:pt x="107" y="296"/>
                  </a:cubicBezTo>
                  <a:cubicBezTo>
                    <a:pt x="105" y="308"/>
                    <a:pt x="105" y="308"/>
                    <a:pt x="105" y="308"/>
                  </a:cubicBezTo>
                  <a:cubicBezTo>
                    <a:pt x="105" y="308"/>
                    <a:pt x="105" y="322"/>
                    <a:pt x="104" y="323"/>
                  </a:cubicBezTo>
                  <a:cubicBezTo>
                    <a:pt x="104" y="324"/>
                    <a:pt x="100" y="334"/>
                    <a:pt x="100" y="334"/>
                  </a:cubicBezTo>
                  <a:cubicBezTo>
                    <a:pt x="100" y="334"/>
                    <a:pt x="100" y="335"/>
                    <a:pt x="100" y="338"/>
                  </a:cubicBezTo>
                  <a:cubicBezTo>
                    <a:pt x="99" y="341"/>
                    <a:pt x="98" y="346"/>
                    <a:pt x="98" y="346"/>
                  </a:cubicBezTo>
                  <a:cubicBezTo>
                    <a:pt x="98" y="346"/>
                    <a:pt x="97" y="350"/>
                    <a:pt x="97" y="352"/>
                  </a:cubicBezTo>
                  <a:cubicBezTo>
                    <a:pt x="96" y="354"/>
                    <a:pt x="93" y="362"/>
                    <a:pt x="93" y="362"/>
                  </a:cubicBezTo>
                  <a:cubicBezTo>
                    <a:pt x="92" y="371"/>
                    <a:pt x="92" y="371"/>
                    <a:pt x="92" y="371"/>
                  </a:cubicBezTo>
                  <a:cubicBezTo>
                    <a:pt x="84" y="388"/>
                    <a:pt x="84" y="388"/>
                    <a:pt x="84" y="388"/>
                  </a:cubicBezTo>
                  <a:cubicBezTo>
                    <a:pt x="78" y="393"/>
                    <a:pt x="78" y="393"/>
                    <a:pt x="78" y="393"/>
                  </a:cubicBezTo>
                  <a:cubicBezTo>
                    <a:pt x="75" y="395"/>
                    <a:pt x="75" y="395"/>
                    <a:pt x="75" y="395"/>
                  </a:cubicBezTo>
                  <a:cubicBezTo>
                    <a:pt x="78" y="396"/>
                    <a:pt x="80" y="397"/>
                    <a:pt x="81" y="400"/>
                  </a:cubicBezTo>
                  <a:cubicBezTo>
                    <a:pt x="83" y="405"/>
                    <a:pt x="87" y="413"/>
                    <a:pt x="87" y="413"/>
                  </a:cubicBezTo>
                  <a:cubicBezTo>
                    <a:pt x="100" y="418"/>
                    <a:pt x="100" y="418"/>
                    <a:pt x="100" y="418"/>
                  </a:cubicBezTo>
                  <a:cubicBezTo>
                    <a:pt x="100" y="418"/>
                    <a:pt x="107" y="424"/>
                    <a:pt x="108" y="426"/>
                  </a:cubicBezTo>
                  <a:cubicBezTo>
                    <a:pt x="109" y="427"/>
                    <a:pt x="124" y="432"/>
                    <a:pt x="124" y="432"/>
                  </a:cubicBezTo>
                  <a:cubicBezTo>
                    <a:pt x="134" y="441"/>
                    <a:pt x="134" y="441"/>
                    <a:pt x="134" y="441"/>
                  </a:cubicBezTo>
                  <a:cubicBezTo>
                    <a:pt x="149" y="441"/>
                    <a:pt x="149" y="441"/>
                    <a:pt x="149" y="441"/>
                  </a:cubicBezTo>
                  <a:cubicBezTo>
                    <a:pt x="159" y="443"/>
                    <a:pt x="159" y="443"/>
                    <a:pt x="159" y="443"/>
                  </a:cubicBezTo>
                  <a:cubicBezTo>
                    <a:pt x="164" y="437"/>
                    <a:pt x="164" y="437"/>
                    <a:pt x="164" y="437"/>
                  </a:cubicBezTo>
                  <a:cubicBezTo>
                    <a:pt x="164" y="437"/>
                    <a:pt x="189" y="449"/>
                    <a:pt x="190" y="449"/>
                  </a:cubicBezTo>
                  <a:cubicBezTo>
                    <a:pt x="191" y="449"/>
                    <a:pt x="191" y="452"/>
                    <a:pt x="192" y="455"/>
                  </a:cubicBezTo>
                  <a:cubicBezTo>
                    <a:pt x="192" y="455"/>
                    <a:pt x="192" y="455"/>
                    <a:pt x="192" y="455"/>
                  </a:cubicBezTo>
                  <a:cubicBezTo>
                    <a:pt x="192" y="455"/>
                    <a:pt x="192" y="455"/>
                    <a:pt x="192" y="455"/>
                  </a:cubicBezTo>
                  <a:cubicBezTo>
                    <a:pt x="193" y="455"/>
                    <a:pt x="193" y="455"/>
                    <a:pt x="193" y="455"/>
                  </a:cubicBezTo>
                  <a:cubicBezTo>
                    <a:pt x="193" y="455"/>
                    <a:pt x="192" y="454"/>
                    <a:pt x="192" y="454"/>
                  </a:cubicBezTo>
                  <a:cubicBezTo>
                    <a:pt x="192" y="453"/>
                    <a:pt x="192" y="453"/>
                    <a:pt x="192" y="453"/>
                  </a:cubicBezTo>
                  <a:cubicBezTo>
                    <a:pt x="193" y="453"/>
                    <a:pt x="193" y="453"/>
                    <a:pt x="193" y="453"/>
                  </a:cubicBezTo>
                  <a:cubicBezTo>
                    <a:pt x="193" y="453"/>
                    <a:pt x="193" y="453"/>
                    <a:pt x="193" y="453"/>
                  </a:cubicBezTo>
                  <a:cubicBezTo>
                    <a:pt x="193" y="453"/>
                    <a:pt x="193" y="453"/>
                    <a:pt x="193" y="453"/>
                  </a:cubicBezTo>
                  <a:cubicBezTo>
                    <a:pt x="194" y="453"/>
                    <a:pt x="194" y="453"/>
                    <a:pt x="194" y="453"/>
                  </a:cubicBezTo>
                  <a:cubicBezTo>
                    <a:pt x="195" y="452"/>
                    <a:pt x="195" y="452"/>
                    <a:pt x="195" y="452"/>
                  </a:cubicBezTo>
                  <a:cubicBezTo>
                    <a:pt x="195" y="452"/>
                    <a:pt x="195" y="452"/>
                    <a:pt x="195" y="452"/>
                  </a:cubicBezTo>
                  <a:cubicBezTo>
                    <a:pt x="195" y="451"/>
                    <a:pt x="194" y="451"/>
                    <a:pt x="194" y="451"/>
                  </a:cubicBezTo>
                  <a:cubicBezTo>
                    <a:pt x="194" y="451"/>
                    <a:pt x="195" y="451"/>
                    <a:pt x="195" y="450"/>
                  </a:cubicBezTo>
                  <a:cubicBezTo>
                    <a:pt x="195" y="450"/>
                    <a:pt x="195" y="450"/>
                    <a:pt x="195" y="450"/>
                  </a:cubicBezTo>
                  <a:cubicBezTo>
                    <a:pt x="196" y="450"/>
                    <a:pt x="196" y="450"/>
                    <a:pt x="196" y="450"/>
                  </a:cubicBezTo>
                  <a:cubicBezTo>
                    <a:pt x="196" y="450"/>
                    <a:pt x="196" y="450"/>
                    <a:pt x="196" y="450"/>
                  </a:cubicBezTo>
                  <a:cubicBezTo>
                    <a:pt x="196" y="450"/>
                    <a:pt x="196" y="450"/>
                    <a:pt x="196" y="450"/>
                  </a:cubicBezTo>
                  <a:cubicBezTo>
                    <a:pt x="197" y="450"/>
                    <a:pt x="197" y="450"/>
                    <a:pt x="197" y="450"/>
                  </a:cubicBezTo>
                  <a:cubicBezTo>
                    <a:pt x="197" y="450"/>
                    <a:pt x="197" y="450"/>
                    <a:pt x="197" y="450"/>
                  </a:cubicBezTo>
                  <a:cubicBezTo>
                    <a:pt x="198" y="450"/>
                    <a:pt x="198" y="450"/>
                    <a:pt x="198" y="450"/>
                  </a:cubicBezTo>
                  <a:cubicBezTo>
                    <a:pt x="198" y="450"/>
                    <a:pt x="198" y="450"/>
                    <a:pt x="198" y="450"/>
                  </a:cubicBezTo>
                  <a:cubicBezTo>
                    <a:pt x="198" y="450"/>
                    <a:pt x="199" y="450"/>
                    <a:pt x="199" y="450"/>
                  </a:cubicBezTo>
                  <a:cubicBezTo>
                    <a:pt x="199" y="450"/>
                    <a:pt x="199" y="451"/>
                    <a:pt x="199" y="451"/>
                  </a:cubicBezTo>
                  <a:cubicBezTo>
                    <a:pt x="199" y="451"/>
                    <a:pt x="199" y="451"/>
                    <a:pt x="199" y="451"/>
                  </a:cubicBezTo>
                  <a:cubicBezTo>
                    <a:pt x="199" y="451"/>
                    <a:pt x="200" y="451"/>
                    <a:pt x="200" y="451"/>
                  </a:cubicBezTo>
                  <a:cubicBezTo>
                    <a:pt x="200" y="451"/>
                    <a:pt x="200" y="452"/>
                    <a:pt x="200" y="452"/>
                  </a:cubicBezTo>
                  <a:cubicBezTo>
                    <a:pt x="200" y="452"/>
                    <a:pt x="201" y="452"/>
                    <a:pt x="201" y="452"/>
                  </a:cubicBezTo>
                  <a:cubicBezTo>
                    <a:pt x="201" y="452"/>
                    <a:pt x="202" y="452"/>
                    <a:pt x="202" y="452"/>
                  </a:cubicBezTo>
                  <a:cubicBezTo>
                    <a:pt x="202" y="452"/>
                    <a:pt x="202" y="452"/>
                    <a:pt x="202" y="453"/>
                  </a:cubicBezTo>
                  <a:cubicBezTo>
                    <a:pt x="203" y="453"/>
                    <a:pt x="203" y="453"/>
                    <a:pt x="203" y="453"/>
                  </a:cubicBezTo>
                  <a:cubicBezTo>
                    <a:pt x="203" y="452"/>
                    <a:pt x="204" y="452"/>
                    <a:pt x="204" y="452"/>
                  </a:cubicBezTo>
                  <a:cubicBezTo>
                    <a:pt x="204" y="453"/>
                    <a:pt x="204" y="453"/>
                    <a:pt x="204" y="453"/>
                  </a:cubicBezTo>
                  <a:cubicBezTo>
                    <a:pt x="205" y="453"/>
                    <a:pt x="205" y="453"/>
                    <a:pt x="205" y="453"/>
                  </a:cubicBezTo>
                  <a:cubicBezTo>
                    <a:pt x="206" y="453"/>
                    <a:pt x="206" y="453"/>
                    <a:pt x="206" y="453"/>
                  </a:cubicBezTo>
                  <a:cubicBezTo>
                    <a:pt x="206" y="454"/>
                    <a:pt x="206" y="454"/>
                    <a:pt x="206" y="454"/>
                  </a:cubicBezTo>
                  <a:cubicBezTo>
                    <a:pt x="205" y="454"/>
                    <a:pt x="205" y="454"/>
                    <a:pt x="205" y="454"/>
                  </a:cubicBezTo>
                  <a:cubicBezTo>
                    <a:pt x="205" y="454"/>
                    <a:pt x="205" y="454"/>
                    <a:pt x="205" y="454"/>
                  </a:cubicBezTo>
                  <a:cubicBezTo>
                    <a:pt x="205" y="455"/>
                    <a:pt x="205" y="455"/>
                    <a:pt x="205" y="455"/>
                  </a:cubicBezTo>
                  <a:cubicBezTo>
                    <a:pt x="206" y="455"/>
                    <a:pt x="206" y="455"/>
                    <a:pt x="206" y="455"/>
                  </a:cubicBezTo>
                  <a:cubicBezTo>
                    <a:pt x="206" y="455"/>
                    <a:pt x="206" y="455"/>
                    <a:pt x="206" y="455"/>
                  </a:cubicBezTo>
                  <a:cubicBezTo>
                    <a:pt x="208" y="456"/>
                    <a:pt x="208" y="456"/>
                    <a:pt x="208" y="456"/>
                  </a:cubicBezTo>
                  <a:cubicBezTo>
                    <a:pt x="207" y="456"/>
                    <a:pt x="207" y="456"/>
                    <a:pt x="207" y="456"/>
                  </a:cubicBezTo>
                  <a:cubicBezTo>
                    <a:pt x="207" y="456"/>
                    <a:pt x="207" y="456"/>
                    <a:pt x="207" y="456"/>
                  </a:cubicBezTo>
                  <a:cubicBezTo>
                    <a:pt x="207" y="456"/>
                    <a:pt x="206" y="456"/>
                    <a:pt x="206" y="456"/>
                  </a:cubicBezTo>
                  <a:cubicBezTo>
                    <a:pt x="206" y="456"/>
                    <a:pt x="205" y="456"/>
                    <a:pt x="205" y="456"/>
                  </a:cubicBezTo>
                  <a:cubicBezTo>
                    <a:pt x="205" y="457"/>
                    <a:pt x="205" y="457"/>
                    <a:pt x="205" y="457"/>
                  </a:cubicBezTo>
                  <a:cubicBezTo>
                    <a:pt x="205" y="459"/>
                    <a:pt x="205" y="459"/>
                    <a:pt x="205" y="459"/>
                  </a:cubicBezTo>
                  <a:cubicBezTo>
                    <a:pt x="204" y="459"/>
                    <a:pt x="204" y="459"/>
                    <a:pt x="204" y="459"/>
                  </a:cubicBezTo>
                  <a:cubicBezTo>
                    <a:pt x="204" y="460"/>
                    <a:pt x="204" y="460"/>
                    <a:pt x="204" y="460"/>
                  </a:cubicBezTo>
                  <a:cubicBezTo>
                    <a:pt x="204" y="460"/>
                    <a:pt x="204" y="460"/>
                    <a:pt x="204" y="460"/>
                  </a:cubicBezTo>
                  <a:cubicBezTo>
                    <a:pt x="204" y="460"/>
                    <a:pt x="204" y="460"/>
                    <a:pt x="204" y="460"/>
                  </a:cubicBezTo>
                  <a:cubicBezTo>
                    <a:pt x="204" y="460"/>
                    <a:pt x="204" y="460"/>
                    <a:pt x="203" y="460"/>
                  </a:cubicBezTo>
                  <a:cubicBezTo>
                    <a:pt x="203" y="460"/>
                    <a:pt x="203" y="460"/>
                    <a:pt x="203" y="460"/>
                  </a:cubicBezTo>
                  <a:cubicBezTo>
                    <a:pt x="202" y="459"/>
                    <a:pt x="202" y="459"/>
                    <a:pt x="202" y="459"/>
                  </a:cubicBezTo>
                  <a:cubicBezTo>
                    <a:pt x="202" y="460"/>
                    <a:pt x="202" y="460"/>
                    <a:pt x="202" y="460"/>
                  </a:cubicBezTo>
                  <a:cubicBezTo>
                    <a:pt x="202" y="461"/>
                    <a:pt x="202" y="461"/>
                    <a:pt x="202" y="461"/>
                  </a:cubicBezTo>
                  <a:cubicBezTo>
                    <a:pt x="202" y="461"/>
                    <a:pt x="202" y="461"/>
                    <a:pt x="202" y="461"/>
                  </a:cubicBezTo>
                  <a:cubicBezTo>
                    <a:pt x="201" y="461"/>
                    <a:pt x="201" y="461"/>
                    <a:pt x="201" y="461"/>
                  </a:cubicBezTo>
                  <a:cubicBezTo>
                    <a:pt x="200" y="461"/>
                    <a:pt x="200" y="461"/>
                    <a:pt x="200" y="461"/>
                  </a:cubicBezTo>
                  <a:cubicBezTo>
                    <a:pt x="199" y="461"/>
                    <a:pt x="199" y="461"/>
                    <a:pt x="199" y="461"/>
                  </a:cubicBezTo>
                  <a:cubicBezTo>
                    <a:pt x="199" y="461"/>
                    <a:pt x="199" y="461"/>
                    <a:pt x="199" y="461"/>
                  </a:cubicBezTo>
                  <a:cubicBezTo>
                    <a:pt x="198" y="462"/>
                    <a:pt x="198" y="462"/>
                    <a:pt x="198" y="462"/>
                  </a:cubicBezTo>
                  <a:cubicBezTo>
                    <a:pt x="198" y="462"/>
                    <a:pt x="198" y="462"/>
                    <a:pt x="198" y="462"/>
                  </a:cubicBezTo>
                  <a:cubicBezTo>
                    <a:pt x="198" y="462"/>
                    <a:pt x="198" y="462"/>
                    <a:pt x="198" y="462"/>
                  </a:cubicBezTo>
                  <a:cubicBezTo>
                    <a:pt x="198" y="462"/>
                    <a:pt x="198" y="462"/>
                    <a:pt x="198" y="462"/>
                  </a:cubicBezTo>
                  <a:cubicBezTo>
                    <a:pt x="197" y="461"/>
                    <a:pt x="197" y="461"/>
                    <a:pt x="197" y="461"/>
                  </a:cubicBezTo>
                  <a:cubicBezTo>
                    <a:pt x="197" y="462"/>
                    <a:pt x="197" y="462"/>
                    <a:pt x="197" y="462"/>
                  </a:cubicBezTo>
                  <a:cubicBezTo>
                    <a:pt x="197" y="462"/>
                    <a:pt x="197" y="462"/>
                    <a:pt x="197" y="462"/>
                  </a:cubicBezTo>
                  <a:cubicBezTo>
                    <a:pt x="197" y="462"/>
                    <a:pt x="197" y="462"/>
                    <a:pt x="197" y="462"/>
                  </a:cubicBezTo>
                  <a:cubicBezTo>
                    <a:pt x="210" y="465"/>
                    <a:pt x="210" y="465"/>
                    <a:pt x="210" y="465"/>
                  </a:cubicBezTo>
                  <a:cubicBezTo>
                    <a:pt x="213" y="466"/>
                    <a:pt x="213" y="468"/>
                    <a:pt x="216" y="470"/>
                  </a:cubicBezTo>
                  <a:cubicBezTo>
                    <a:pt x="224" y="467"/>
                    <a:pt x="224" y="467"/>
                    <a:pt x="224" y="467"/>
                  </a:cubicBezTo>
                  <a:cubicBezTo>
                    <a:pt x="234" y="474"/>
                    <a:pt x="234" y="474"/>
                    <a:pt x="234" y="474"/>
                  </a:cubicBezTo>
                  <a:cubicBezTo>
                    <a:pt x="243" y="471"/>
                    <a:pt x="243" y="471"/>
                    <a:pt x="243" y="471"/>
                  </a:cubicBezTo>
                  <a:cubicBezTo>
                    <a:pt x="252" y="471"/>
                    <a:pt x="252" y="471"/>
                    <a:pt x="252" y="471"/>
                  </a:cubicBezTo>
                  <a:cubicBezTo>
                    <a:pt x="252" y="470"/>
                    <a:pt x="256" y="470"/>
                    <a:pt x="259" y="471"/>
                  </a:cubicBezTo>
                  <a:cubicBezTo>
                    <a:pt x="259" y="471"/>
                    <a:pt x="259" y="471"/>
                    <a:pt x="259" y="471"/>
                  </a:cubicBezTo>
                  <a:close/>
                  <a:moveTo>
                    <a:pt x="192" y="456"/>
                  </a:moveTo>
                  <a:cubicBezTo>
                    <a:pt x="192" y="456"/>
                    <a:pt x="192" y="456"/>
                    <a:pt x="192" y="456"/>
                  </a:cubicBezTo>
                  <a:cubicBezTo>
                    <a:pt x="192" y="456"/>
                    <a:pt x="192" y="456"/>
                    <a:pt x="192" y="456"/>
                  </a:cubicBezTo>
                  <a:cubicBezTo>
                    <a:pt x="192" y="456"/>
                    <a:pt x="193" y="456"/>
                    <a:pt x="193" y="456"/>
                  </a:cubicBezTo>
                  <a:cubicBezTo>
                    <a:pt x="193" y="456"/>
                    <a:pt x="193" y="457"/>
                    <a:pt x="193" y="457"/>
                  </a:cubicBezTo>
                  <a:cubicBezTo>
                    <a:pt x="193" y="457"/>
                    <a:pt x="193" y="457"/>
                    <a:pt x="193" y="457"/>
                  </a:cubicBezTo>
                  <a:cubicBezTo>
                    <a:pt x="193" y="457"/>
                    <a:pt x="193" y="457"/>
                    <a:pt x="194" y="458"/>
                  </a:cubicBezTo>
                  <a:cubicBezTo>
                    <a:pt x="194" y="458"/>
                    <a:pt x="193" y="458"/>
                    <a:pt x="193" y="458"/>
                  </a:cubicBezTo>
                  <a:cubicBezTo>
                    <a:pt x="193" y="458"/>
                    <a:pt x="193" y="458"/>
                    <a:pt x="193" y="458"/>
                  </a:cubicBezTo>
                  <a:cubicBezTo>
                    <a:pt x="192" y="458"/>
                    <a:pt x="192" y="458"/>
                    <a:pt x="192" y="458"/>
                  </a:cubicBezTo>
                  <a:cubicBezTo>
                    <a:pt x="192" y="458"/>
                    <a:pt x="192" y="458"/>
                    <a:pt x="192" y="458"/>
                  </a:cubicBezTo>
                  <a:cubicBezTo>
                    <a:pt x="192" y="456"/>
                    <a:pt x="192" y="456"/>
                    <a:pt x="192" y="456"/>
                  </a:cubicBezTo>
                  <a:close/>
                  <a:moveTo>
                    <a:pt x="450" y="202"/>
                  </a:moveTo>
                  <a:cubicBezTo>
                    <a:pt x="450" y="202"/>
                    <a:pt x="450" y="202"/>
                    <a:pt x="450" y="202"/>
                  </a:cubicBezTo>
                  <a:cubicBezTo>
                    <a:pt x="449" y="202"/>
                    <a:pt x="449" y="202"/>
                    <a:pt x="449" y="202"/>
                  </a:cubicBezTo>
                  <a:cubicBezTo>
                    <a:pt x="448" y="201"/>
                    <a:pt x="448" y="201"/>
                    <a:pt x="448" y="201"/>
                  </a:cubicBezTo>
                  <a:cubicBezTo>
                    <a:pt x="448" y="201"/>
                    <a:pt x="448" y="201"/>
                    <a:pt x="448" y="201"/>
                  </a:cubicBezTo>
                  <a:cubicBezTo>
                    <a:pt x="448" y="201"/>
                    <a:pt x="448" y="201"/>
                    <a:pt x="448" y="201"/>
                  </a:cubicBezTo>
                  <a:cubicBezTo>
                    <a:pt x="449" y="201"/>
                    <a:pt x="449" y="200"/>
                    <a:pt x="449" y="200"/>
                  </a:cubicBezTo>
                  <a:cubicBezTo>
                    <a:pt x="449" y="201"/>
                    <a:pt x="450" y="201"/>
                    <a:pt x="450" y="202"/>
                  </a:cubicBezTo>
                  <a:close/>
                  <a:moveTo>
                    <a:pt x="493" y="520"/>
                  </a:moveTo>
                  <a:cubicBezTo>
                    <a:pt x="493" y="520"/>
                    <a:pt x="493" y="520"/>
                    <a:pt x="493" y="520"/>
                  </a:cubicBezTo>
                  <a:cubicBezTo>
                    <a:pt x="491" y="524"/>
                    <a:pt x="491" y="524"/>
                    <a:pt x="491" y="524"/>
                  </a:cubicBezTo>
                  <a:cubicBezTo>
                    <a:pt x="489" y="527"/>
                    <a:pt x="489" y="527"/>
                    <a:pt x="489" y="527"/>
                  </a:cubicBezTo>
                  <a:cubicBezTo>
                    <a:pt x="494" y="529"/>
                    <a:pt x="494" y="529"/>
                    <a:pt x="494" y="529"/>
                  </a:cubicBezTo>
                  <a:cubicBezTo>
                    <a:pt x="497" y="533"/>
                    <a:pt x="497" y="533"/>
                    <a:pt x="497" y="533"/>
                  </a:cubicBezTo>
                  <a:cubicBezTo>
                    <a:pt x="497" y="533"/>
                    <a:pt x="499" y="536"/>
                    <a:pt x="501" y="536"/>
                  </a:cubicBezTo>
                  <a:cubicBezTo>
                    <a:pt x="503" y="536"/>
                    <a:pt x="506" y="538"/>
                    <a:pt x="506" y="538"/>
                  </a:cubicBezTo>
                  <a:cubicBezTo>
                    <a:pt x="506" y="538"/>
                    <a:pt x="508" y="535"/>
                    <a:pt x="508" y="531"/>
                  </a:cubicBezTo>
                  <a:cubicBezTo>
                    <a:pt x="509" y="528"/>
                    <a:pt x="505" y="524"/>
                    <a:pt x="511" y="523"/>
                  </a:cubicBezTo>
                  <a:cubicBezTo>
                    <a:pt x="517" y="523"/>
                    <a:pt x="513" y="516"/>
                    <a:pt x="513" y="516"/>
                  </a:cubicBezTo>
                  <a:cubicBezTo>
                    <a:pt x="513" y="511"/>
                    <a:pt x="513" y="511"/>
                    <a:pt x="513" y="511"/>
                  </a:cubicBezTo>
                  <a:cubicBezTo>
                    <a:pt x="512" y="505"/>
                    <a:pt x="512" y="505"/>
                    <a:pt x="512" y="505"/>
                  </a:cubicBezTo>
                  <a:cubicBezTo>
                    <a:pt x="513" y="503"/>
                    <a:pt x="513" y="503"/>
                    <a:pt x="513" y="503"/>
                  </a:cubicBezTo>
                  <a:cubicBezTo>
                    <a:pt x="516" y="499"/>
                    <a:pt x="516" y="499"/>
                    <a:pt x="516" y="499"/>
                  </a:cubicBezTo>
                  <a:cubicBezTo>
                    <a:pt x="519" y="496"/>
                    <a:pt x="519" y="496"/>
                    <a:pt x="519" y="496"/>
                  </a:cubicBezTo>
                  <a:cubicBezTo>
                    <a:pt x="519" y="496"/>
                    <a:pt x="520" y="493"/>
                    <a:pt x="520" y="491"/>
                  </a:cubicBezTo>
                  <a:cubicBezTo>
                    <a:pt x="519" y="490"/>
                    <a:pt x="516" y="485"/>
                    <a:pt x="516" y="485"/>
                  </a:cubicBezTo>
                  <a:cubicBezTo>
                    <a:pt x="519" y="473"/>
                    <a:pt x="519" y="473"/>
                    <a:pt x="519" y="473"/>
                  </a:cubicBezTo>
                  <a:cubicBezTo>
                    <a:pt x="518" y="471"/>
                    <a:pt x="518" y="471"/>
                    <a:pt x="518" y="471"/>
                  </a:cubicBezTo>
                  <a:cubicBezTo>
                    <a:pt x="517" y="468"/>
                    <a:pt x="517" y="468"/>
                    <a:pt x="517" y="468"/>
                  </a:cubicBezTo>
                  <a:cubicBezTo>
                    <a:pt x="515" y="459"/>
                    <a:pt x="515" y="459"/>
                    <a:pt x="515" y="459"/>
                  </a:cubicBezTo>
                  <a:cubicBezTo>
                    <a:pt x="515" y="447"/>
                    <a:pt x="515" y="447"/>
                    <a:pt x="515" y="447"/>
                  </a:cubicBezTo>
                  <a:cubicBezTo>
                    <a:pt x="509" y="449"/>
                    <a:pt x="509" y="449"/>
                    <a:pt x="509" y="449"/>
                  </a:cubicBezTo>
                  <a:cubicBezTo>
                    <a:pt x="511" y="454"/>
                    <a:pt x="511" y="454"/>
                    <a:pt x="511" y="454"/>
                  </a:cubicBezTo>
                  <a:cubicBezTo>
                    <a:pt x="509" y="463"/>
                    <a:pt x="509" y="463"/>
                    <a:pt x="509" y="463"/>
                  </a:cubicBezTo>
                  <a:cubicBezTo>
                    <a:pt x="504" y="464"/>
                    <a:pt x="504" y="464"/>
                    <a:pt x="504" y="464"/>
                  </a:cubicBezTo>
                  <a:cubicBezTo>
                    <a:pt x="502" y="465"/>
                    <a:pt x="502" y="465"/>
                    <a:pt x="502" y="465"/>
                  </a:cubicBezTo>
                  <a:cubicBezTo>
                    <a:pt x="499" y="468"/>
                    <a:pt x="499" y="468"/>
                    <a:pt x="499" y="468"/>
                  </a:cubicBezTo>
                  <a:cubicBezTo>
                    <a:pt x="494" y="469"/>
                    <a:pt x="494" y="469"/>
                    <a:pt x="494" y="469"/>
                  </a:cubicBezTo>
                  <a:cubicBezTo>
                    <a:pt x="489" y="473"/>
                    <a:pt x="489" y="473"/>
                    <a:pt x="489" y="473"/>
                  </a:cubicBezTo>
                  <a:cubicBezTo>
                    <a:pt x="485" y="478"/>
                    <a:pt x="485" y="478"/>
                    <a:pt x="485" y="478"/>
                  </a:cubicBezTo>
                  <a:cubicBezTo>
                    <a:pt x="482" y="481"/>
                    <a:pt x="482" y="481"/>
                    <a:pt x="482" y="481"/>
                  </a:cubicBezTo>
                  <a:cubicBezTo>
                    <a:pt x="482" y="481"/>
                    <a:pt x="482" y="483"/>
                    <a:pt x="484" y="485"/>
                  </a:cubicBezTo>
                  <a:cubicBezTo>
                    <a:pt x="486" y="488"/>
                    <a:pt x="481" y="498"/>
                    <a:pt x="481" y="498"/>
                  </a:cubicBezTo>
                  <a:cubicBezTo>
                    <a:pt x="485" y="498"/>
                    <a:pt x="485" y="498"/>
                    <a:pt x="485" y="498"/>
                  </a:cubicBezTo>
                  <a:cubicBezTo>
                    <a:pt x="486" y="503"/>
                    <a:pt x="486" y="503"/>
                    <a:pt x="486" y="503"/>
                  </a:cubicBezTo>
                  <a:cubicBezTo>
                    <a:pt x="483" y="508"/>
                    <a:pt x="483" y="508"/>
                    <a:pt x="483" y="508"/>
                  </a:cubicBezTo>
                  <a:cubicBezTo>
                    <a:pt x="486" y="510"/>
                    <a:pt x="486" y="510"/>
                    <a:pt x="486" y="510"/>
                  </a:cubicBezTo>
                  <a:cubicBezTo>
                    <a:pt x="489" y="510"/>
                    <a:pt x="489" y="510"/>
                    <a:pt x="489" y="510"/>
                  </a:cubicBezTo>
                  <a:cubicBezTo>
                    <a:pt x="486" y="516"/>
                    <a:pt x="486" y="516"/>
                    <a:pt x="486" y="516"/>
                  </a:cubicBezTo>
                  <a:cubicBezTo>
                    <a:pt x="486" y="518"/>
                    <a:pt x="486" y="518"/>
                    <a:pt x="486" y="518"/>
                  </a:cubicBezTo>
                  <a:lnTo>
                    <a:pt x="493" y="520"/>
                  </a:lnTo>
                  <a:close/>
                </a:path>
              </a:pathLst>
            </a:custGeom>
            <a:solidFill>
              <a:schemeClr val="accent2">
                <a:lumMod val="20000"/>
                <a:lumOff val="80000"/>
              </a:schemeClr>
            </a:solidFill>
            <a:ln w="12700" cap="rnd" cmpd="sng">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Lato Light"/>
              </a:endParaRPr>
            </a:p>
          </p:txBody>
        </p:sp>
        <p:sp>
          <p:nvSpPr>
            <p:cNvPr id="228" name="Freeform 13">
              <a:extLst>
                <a:ext uri="{FF2B5EF4-FFF2-40B4-BE49-F238E27FC236}">
                  <a16:creationId xmlns:a16="http://schemas.microsoft.com/office/drawing/2014/main" id="{8440BDA9-B241-89F5-875C-9D90CBD85ADE}"/>
                </a:ext>
              </a:extLst>
            </p:cNvPr>
            <p:cNvSpPr>
              <a:spLocks/>
            </p:cNvSpPr>
            <p:nvPr/>
          </p:nvSpPr>
          <p:spPr bwMode="auto">
            <a:xfrm>
              <a:off x="1345421" y="1797520"/>
              <a:ext cx="686269" cy="553445"/>
            </a:xfrm>
            <a:custGeom>
              <a:avLst/>
              <a:gdLst>
                <a:gd name="T0" fmla="*/ 46 w 238"/>
                <a:gd name="T1" fmla="*/ 78 h 198"/>
                <a:gd name="T2" fmla="*/ 30 w 238"/>
                <a:gd name="T3" fmla="*/ 73 h 198"/>
                <a:gd name="T4" fmla="*/ 10 w 238"/>
                <a:gd name="T5" fmla="*/ 70 h 198"/>
                <a:gd name="T6" fmla="*/ 13 w 238"/>
                <a:gd name="T7" fmla="*/ 76 h 198"/>
                <a:gd name="T8" fmla="*/ 34 w 238"/>
                <a:gd name="T9" fmla="*/ 91 h 198"/>
                <a:gd name="T10" fmla="*/ 35 w 238"/>
                <a:gd name="T11" fmla="*/ 107 h 198"/>
                <a:gd name="T12" fmla="*/ 34 w 238"/>
                <a:gd name="T13" fmla="*/ 113 h 198"/>
                <a:gd name="T14" fmla="*/ 25 w 238"/>
                <a:gd name="T15" fmla="*/ 127 h 198"/>
                <a:gd name="T16" fmla="*/ 9 w 238"/>
                <a:gd name="T17" fmla="*/ 124 h 198"/>
                <a:gd name="T18" fmla="*/ 20 w 238"/>
                <a:gd name="T19" fmla="*/ 138 h 198"/>
                <a:gd name="T20" fmla="*/ 48 w 238"/>
                <a:gd name="T21" fmla="*/ 162 h 198"/>
                <a:gd name="T22" fmla="*/ 85 w 238"/>
                <a:gd name="T23" fmla="*/ 195 h 198"/>
                <a:gd name="T24" fmla="*/ 131 w 238"/>
                <a:gd name="T25" fmla="*/ 189 h 198"/>
                <a:gd name="T26" fmla="*/ 164 w 238"/>
                <a:gd name="T27" fmla="*/ 181 h 198"/>
                <a:gd name="T28" fmla="*/ 194 w 238"/>
                <a:gd name="T29" fmla="*/ 178 h 198"/>
                <a:gd name="T30" fmla="*/ 212 w 238"/>
                <a:gd name="T31" fmla="*/ 165 h 198"/>
                <a:gd name="T32" fmla="*/ 226 w 238"/>
                <a:gd name="T33" fmla="*/ 157 h 198"/>
                <a:gd name="T34" fmla="*/ 230 w 238"/>
                <a:gd name="T35" fmla="*/ 148 h 198"/>
                <a:gd name="T36" fmla="*/ 235 w 238"/>
                <a:gd name="T37" fmla="*/ 133 h 198"/>
                <a:gd name="T38" fmla="*/ 227 w 238"/>
                <a:gd name="T39" fmla="*/ 109 h 198"/>
                <a:gd name="T40" fmla="*/ 224 w 238"/>
                <a:gd name="T41" fmla="*/ 92 h 198"/>
                <a:gd name="T42" fmla="*/ 228 w 238"/>
                <a:gd name="T43" fmla="*/ 76 h 198"/>
                <a:gd name="T44" fmla="*/ 210 w 238"/>
                <a:gd name="T45" fmla="*/ 76 h 198"/>
                <a:gd name="T46" fmla="*/ 206 w 238"/>
                <a:gd name="T47" fmla="*/ 58 h 198"/>
                <a:gd name="T48" fmla="*/ 192 w 238"/>
                <a:gd name="T49" fmla="*/ 68 h 198"/>
                <a:gd name="T50" fmla="*/ 173 w 238"/>
                <a:gd name="T51" fmla="*/ 66 h 198"/>
                <a:gd name="T52" fmla="*/ 160 w 238"/>
                <a:gd name="T53" fmla="*/ 64 h 198"/>
                <a:gd name="T54" fmla="*/ 147 w 238"/>
                <a:gd name="T55" fmla="*/ 80 h 198"/>
                <a:gd name="T56" fmla="*/ 141 w 238"/>
                <a:gd name="T57" fmla="*/ 54 h 198"/>
                <a:gd name="T58" fmla="*/ 128 w 238"/>
                <a:gd name="T59" fmla="*/ 53 h 198"/>
                <a:gd name="T60" fmla="*/ 119 w 238"/>
                <a:gd name="T61" fmla="*/ 67 h 198"/>
                <a:gd name="T62" fmla="*/ 109 w 238"/>
                <a:gd name="T63" fmla="*/ 43 h 198"/>
                <a:gd name="T64" fmla="*/ 96 w 238"/>
                <a:gd name="T65" fmla="*/ 67 h 198"/>
                <a:gd name="T66" fmla="*/ 80 w 238"/>
                <a:gd name="T67" fmla="*/ 67 h 198"/>
                <a:gd name="T68" fmla="*/ 71 w 238"/>
                <a:gd name="T69" fmla="*/ 75 h 198"/>
                <a:gd name="T70" fmla="*/ 75 w 238"/>
                <a:gd name="T71" fmla="*/ 59 h 198"/>
                <a:gd name="T72" fmla="*/ 78 w 238"/>
                <a:gd name="T73" fmla="*/ 52 h 198"/>
                <a:gd name="T74" fmla="*/ 83 w 238"/>
                <a:gd name="T75" fmla="*/ 39 h 198"/>
                <a:gd name="T76" fmla="*/ 80 w 238"/>
                <a:gd name="T77" fmla="*/ 29 h 198"/>
                <a:gd name="T78" fmla="*/ 74 w 238"/>
                <a:gd name="T79" fmla="*/ 7 h 198"/>
                <a:gd name="T80" fmla="*/ 63 w 238"/>
                <a:gd name="T81" fmla="*/ 1 h 198"/>
                <a:gd name="T82" fmla="*/ 61 w 238"/>
                <a:gd name="T83" fmla="*/ 8 h 198"/>
                <a:gd name="T84" fmla="*/ 67 w 238"/>
                <a:gd name="T85" fmla="*/ 12 h 198"/>
                <a:gd name="T86" fmla="*/ 57 w 238"/>
                <a:gd name="T87" fmla="*/ 12 h 198"/>
                <a:gd name="T88" fmla="*/ 62 w 238"/>
                <a:gd name="T89" fmla="*/ 33 h 198"/>
                <a:gd name="T90" fmla="*/ 59 w 238"/>
                <a:gd name="T91" fmla="*/ 28 h 198"/>
                <a:gd name="T92" fmla="*/ 55 w 238"/>
                <a:gd name="T93" fmla="*/ 24 h 198"/>
                <a:gd name="T94" fmla="*/ 53 w 238"/>
                <a:gd name="T95" fmla="*/ 15 h 198"/>
                <a:gd name="T96" fmla="*/ 43 w 238"/>
                <a:gd name="T97" fmla="*/ 9 h 198"/>
                <a:gd name="T98" fmla="*/ 36 w 238"/>
                <a:gd name="T99" fmla="*/ 18 h 198"/>
                <a:gd name="T100" fmla="*/ 32 w 238"/>
                <a:gd name="T101" fmla="*/ 26 h 198"/>
                <a:gd name="T102" fmla="*/ 31 w 238"/>
                <a:gd name="T103" fmla="*/ 30 h 198"/>
                <a:gd name="T104" fmla="*/ 23 w 238"/>
                <a:gd name="T105" fmla="*/ 28 h 198"/>
                <a:gd name="T106" fmla="*/ 23 w 238"/>
                <a:gd name="T107" fmla="*/ 36 h 198"/>
                <a:gd name="T108" fmla="*/ 11 w 238"/>
                <a:gd name="T109" fmla="*/ 29 h 198"/>
                <a:gd name="T110" fmla="*/ 20 w 238"/>
                <a:gd name="T111" fmla="*/ 44 h 198"/>
                <a:gd name="T112" fmla="*/ 36 w 238"/>
                <a:gd name="T113" fmla="*/ 46 h 198"/>
                <a:gd name="T114" fmla="*/ 44 w 238"/>
                <a:gd name="T115" fmla="*/ 46 h 198"/>
                <a:gd name="T116" fmla="*/ 53 w 238"/>
                <a:gd name="T117" fmla="*/ 52 h 198"/>
                <a:gd name="T118" fmla="*/ 59 w 238"/>
                <a:gd name="T119" fmla="*/ 59 h 198"/>
                <a:gd name="T120" fmla="*/ 47 w 238"/>
                <a:gd name="T121" fmla="*/ 65 h 198"/>
                <a:gd name="T122" fmla="*/ 46 w 238"/>
                <a:gd name="T123" fmla="*/ 73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38" h="198">
                  <a:moveTo>
                    <a:pt x="48" y="74"/>
                  </a:moveTo>
                  <a:cubicBezTo>
                    <a:pt x="52" y="77"/>
                    <a:pt x="52" y="77"/>
                    <a:pt x="52" y="77"/>
                  </a:cubicBezTo>
                  <a:cubicBezTo>
                    <a:pt x="55" y="75"/>
                    <a:pt x="55" y="75"/>
                    <a:pt x="55" y="75"/>
                  </a:cubicBezTo>
                  <a:cubicBezTo>
                    <a:pt x="57" y="73"/>
                    <a:pt x="57" y="73"/>
                    <a:pt x="57" y="73"/>
                  </a:cubicBezTo>
                  <a:cubicBezTo>
                    <a:pt x="59" y="75"/>
                    <a:pt x="59" y="75"/>
                    <a:pt x="59" y="75"/>
                  </a:cubicBezTo>
                  <a:cubicBezTo>
                    <a:pt x="56" y="78"/>
                    <a:pt x="56" y="78"/>
                    <a:pt x="56" y="78"/>
                  </a:cubicBezTo>
                  <a:cubicBezTo>
                    <a:pt x="54" y="80"/>
                    <a:pt x="54" y="80"/>
                    <a:pt x="54" y="80"/>
                  </a:cubicBezTo>
                  <a:cubicBezTo>
                    <a:pt x="54" y="83"/>
                    <a:pt x="54" y="83"/>
                    <a:pt x="54" y="83"/>
                  </a:cubicBezTo>
                  <a:cubicBezTo>
                    <a:pt x="50" y="82"/>
                    <a:pt x="50" y="82"/>
                    <a:pt x="50" y="82"/>
                  </a:cubicBezTo>
                  <a:cubicBezTo>
                    <a:pt x="46" y="78"/>
                    <a:pt x="46" y="78"/>
                    <a:pt x="46" y="78"/>
                  </a:cubicBezTo>
                  <a:cubicBezTo>
                    <a:pt x="44" y="77"/>
                    <a:pt x="44" y="77"/>
                    <a:pt x="44" y="77"/>
                  </a:cubicBezTo>
                  <a:cubicBezTo>
                    <a:pt x="42" y="76"/>
                    <a:pt x="42" y="76"/>
                    <a:pt x="42" y="76"/>
                  </a:cubicBezTo>
                  <a:cubicBezTo>
                    <a:pt x="41" y="73"/>
                    <a:pt x="41" y="73"/>
                    <a:pt x="41" y="73"/>
                  </a:cubicBezTo>
                  <a:cubicBezTo>
                    <a:pt x="40" y="74"/>
                    <a:pt x="40" y="74"/>
                    <a:pt x="40" y="74"/>
                  </a:cubicBezTo>
                  <a:cubicBezTo>
                    <a:pt x="36" y="75"/>
                    <a:pt x="36" y="75"/>
                    <a:pt x="36" y="75"/>
                  </a:cubicBezTo>
                  <a:cubicBezTo>
                    <a:pt x="35" y="76"/>
                    <a:pt x="35" y="76"/>
                    <a:pt x="35" y="76"/>
                  </a:cubicBezTo>
                  <a:cubicBezTo>
                    <a:pt x="34" y="74"/>
                    <a:pt x="34" y="74"/>
                    <a:pt x="34" y="74"/>
                  </a:cubicBezTo>
                  <a:cubicBezTo>
                    <a:pt x="35" y="72"/>
                    <a:pt x="35" y="72"/>
                    <a:pt x="35" y="72"/>
                  </a:cubicBezTo>
                  <a:cubicBezTo>
                    <a:pt x="32" y="72"/>
                    <a:pt x="32" y="72"/>
                    <a:pt x="32" y="72"/>
                  </a:cubicBezTo>
                  <a:cubicBezTo>
                    <a:pt x="32" y="72"/>
                    <a:pt x="31" y="73"/>
                    <a:pt x="30" y="73"/>
                  </a:cubicBezTo>
                  <a:cubicBezTo>
                    <a:pt x="29" y="73"/>
                    <a:pt x="28" y="73"/>
                    <a:pt x="28" y="73"/>
                  </a:cubicBezTo>
                  <a:cubicBezTo>
                    <a:pt x="27" y="72"/>
                    <a:pt x="26" y="71"/>
                    <a:pt x="25" y="71"/>
                  </a:cubicBezTo>
                  <a:cubicBezTo>
                    <a:pt x="24" y="70"/>
                    <a:pt x="23" y="69"/>
                    <a:pt x="23" y="69"/>
                  </a:cubicBezTo>
                  <a:cubicBezTo>
                    <a:pt x="21" y="70"/>
                    <a:pt x="21" y="70"/>
                    <a:pt x="21" y="70"/>
                  </a:cubicBezTo>
                  <a:cubicBezTo>
                    <a:pt x="19" y="72"/>
                    <a:pt x="19" y="72"/>
                    <a:pt x="19" y="72"/>
                  </a:cubicBezTo>
                  <a:cubicBezTo>
                    <a:pt x="19" y="71"/>
                    <a:pt x="19" y="71"/>
                    <a:pt x="19" y="71"/>
                  </a:cubicBezTo>
                  <a:cubicBezTo>
                    <a:pt x="17" y="70"/>
                    <a:pt x="17" y="70"/>
                    <a:pt x="17" y="70"/>
                  </a:cubicBezTo>
                  <a:cubicBezTo>
                    <a:pt x="13" y="70"/>
                    <a:pt x="13" y="70"/>
                    <a:pt x="13" y="70"/>
                  </a:cubicBezTo>
                  <a:cubicBezTo>
                    <a:pt x="12" y="70"/>
                    <a:pt x="12" y="70"/>
                    <a:pt x="12" y="70"/>
                  </a:cubicBezTo>
                  <a:cubicBezTo>
                    <a:pt x="12" y="70"/>
                    <a:pt x="12" y="70"/>
                    <a:pt x="10" y="70"/>
                  </a:cubicBezTo>
                  <a:cubicBezTo>
                    <a:pt x="9" y="69"/>
                    <a:pt x="9" y="69"/>
                    <a:pt x="9" y="69"/>
                  </a:cubicBezTo>
                  <a:cubicBezTo>
                    <a:pt x="6" y="68"/>
                    <a:pt x="6" y="68"/>
                    <a:pt x="6" y="68"/>
                  </a:cubicBezTo>
                  <a:cubicBezTo>
                    <a:pt x="3" y="67"/>
                    <a:pt x="3" y="67"/>
                    <a:pt x="3" y="67"/>
                  </a:cubicBezTo>
                  <a:cubicBezTo>
                    <a:pt x="3" y="67"/>
                    <a:pt x="2" y="67"/>
                    <a:pt x="2" y="68"/>
                  </a:cubicBezTo>
                  <a:cubicBezTo>
                    <a:pt x="2" y="70"/>
                    <a:pt x="0" y="71"/>
                    <a:pt x="0" y="72"/>
                  </a:cubicBezTo>
                  <a:cubicBezTo>
                    <a:pt x="1" y="73"/>
                    <a:pt x="2" y="73"/>
                    <a:pt x="3" y="75"/>
                  </a:cubicBezTo>
                  <a:cubicBezTo>
                    <a:pt x="5" y="76"/>
                    <a:pt x="5" y="76"/>
                    <a:pt x="5" y="76"/>
                  </a:cubicBezTo>
                  <a:cubicBezTo>
                    <a:pt x="8" y="76"/>
                    <a:pt x="8" y="76"/>
                    <a:pt x="8" y="76"/>
                  </a:cubicBezTo>
                  <a:cubicBezTo>
                    <a:pt x="9" y="75"/>
                    <a:pt x="9" y="75"/>
                    <a:pt x="9" y="75"/>
                  </a:cubicBezTo>
                  <a:cubicBezTo>
                    <a:pt x="13" y="76"/>
                    <a:pt x="13" y="76"/>
                    <a:pt x="13" y="76"/>
                  </a:cubicBezTo>
                  <a:cubicBezTo>
                    <a:pt x="14" y="78"/>
                    <a:pt x="15" y="80"/>
                    <a:pt x="16" y="79"/>
                  </a:cubicBezTo>
                  <a:cubicBezTo>
                    <a:pt x="17" y="78"/>
                    <a:pt x="17" y="78"/>
                    <a:pt x="17" y="78"/>
                  </a:cubicBezTo>
                  <a:cubicBezTo>
                    <a:pt x="19" y="79"/>
                    <a:pt x="19" y="79"/>
                    <a:pt x="19" y="79"/>
                  </a:cubicBezTo>
                  <a:cubicBezTo>
                    <a:pt x="19" y="79"/>
                    <a:pt x="20" y="83"/>
                    <a:pt x="22" y="83"/>
                  </a:cubicBezTo>
                  <a:cubicBezTo>
                    <a:pt x="23" y="84"/>
                    <a:pt x="24" y="84"/>
                    <a:pt x="24" y="84"/>
                  </a:cubicBezTo>
                  <a:cubicBezTo>
                    <a:pt x="28" y="86"/>
                    <a:pt x="28" y="86"/>
                    <a:pt x="28" y="86"/>
                  </a:cubicBezTo>
                  <a:cubicBezTo>
                    <a:pt x="30" y="86"/>
                    <a:pt x="30" y="86"/>
                    <a:pt x="30" y="86"/>
                  </a:cubicBezTo>
                  <a:cubicBezTo>
                    <a:pt x="30" y="86"/>
                    <a:pt x="33" y="85"/>
                    <a:pt x="33" y="86"/>
                  </a:cubicBezTo>
                  <a:cubicBezTo>
                    <a:pt x="33" y="87"/>
                    <a:pt x="35" y="88"/>
                    <a:pt x="34" y="89"/>
                  </a:cubicBezTo>
                  <a:cubicBezTo>
                    <a:pt x="34" y="89"/>
                    <a:pt x="34" y="90"/>
                    <a:pt x="34" y="91"/>
                  </a:cubicBezTo>
                  <a:cubicBezTo>
                    <a:pt x="34" y="92"/>
                    <a:pt x="34" y="93"/>
                    <a:pt x="34" y="93"/>
                  </a:cubicBezTo>
                  <a:cubicBezTo>
                    <a:pt x="31" y="96"/>
                    <a:pt x="31" y="96"/>
                    <a:pt x="31" y="96"/>
                  </a:cubicBezTo>
                  <a:cubicBezTo>
                    <a:pt x="31" y="98"/>
                    <a:pt x="31" y="98"/>
                    <a:pt x="31" y="98"/>
                  </a:cubicBezTo>
                  <a:cubicBezTo>
                    <a:pt x="31" y="98"/>
                    <a:pt x="31" y="100"/>
                    <a:pt x="30" y="100"/>
                  </a:cubicBezTo>
                  <a:cubicBezTo>
                    <a:pt x="30" y="101"/>
                    <a:pt x="29" y="104"/>
                    <a:pt x="29" y="104"/>
                  </a:cubicBezTo>
                  <a:cubicBezTo>
                    <a:pt x="32" y="102"/>
                    <a:pt x="32" y="102"/>
                    <a:pt x="32" y="102"/>
                  </a:cubicBezTo>
                  <a:cubicBezTo>
                    <a:pt x="32" y="102"/>
                    <a:pt x="33" y="102"/>
                    <a:pt x="33" y="103"/>
                  </a:cubicBezTo>
                  <a:cubicBezTo>
                    <a:pt x="32" y="105"/>
                    <a:pt x="31" y="106"/>
                    <a:pt x="31" y="106"/>
                  </a:cubicBezTo>
                  <a:cubicBezTo>
                    <a:pt x="31" y="106"/>
                    <a:pt x="32" y="109"/>
                    <a:pt x="33" y="108"/>
                  </a:cubicBezTo>
                  <a:cubicBezTo>
                    <a:pt x="35" y="107"/>
                    <a:pt x="35" y="107"/>
                    <a:pt x="35" y="107"/>
                  </a:cubicBezTo>
                  <a:cubicBezTo>
                    <a:pt x="37" y="106"/>
                    <a:pt x="37" y="106"/>
                    <a:pt x="37" y="106"/>
                  </a:cubicBezTo>
                  <a:cubicBezTo>
                    <a:pt x="40" y="105"/>
                    <a:pt x="40" y="105"/>
                    <a:pt x="40" y="105"/>
                  </a:cubicBezTo>
                  <a:cubicBezTo>
                    <a:pt x="40" y="105"/>
                    <a:pt x="40" y="105"/>
                    <a:pt x="41" y="104"/>
                  </a:cubicBezTo>
                  <a:cubicBezTo>
                    <a:pt x="43" y="104"/>
                    <a:pt x="46" y="104"/>
                    <a:pt x="46" y="104"/>
                  </a:cubicBezTo>
                  <a:cubicBezTo>
                    <a:pt x="46" y="104"/>
                    <a:pt x="47" y="107"/>
                    <a:pt x="46" y="107"/>
                  </a:cubicBezTo>
                  <a:cubicBezTo>
                    <a:pt x="45" y="107"/>
                    <a:pt x="41" y="106"/>
                    <a:pt x="41" y="106"/>
                  </a:cubicBezTo>
                  <a:cubicBezTo>
                    <a:pt x="39" y="107"/>
                    <a:pt x="39" y="107"/>
                    <a:pt x="39" y="107"/>
                  </a:cubicBezTo>
                  <a:cubicBezTo>
                    <a:pt x="37" y="108"/>
                    <a:pt x="37" y="108"/>
                    <a:pt x="37" y="108"/>
                  </a:cubicBezTo>
                  <a:cubicBezTo>
                    <a:pt x="35" y="110"/>
                    <a:pt x="35" y="110"/>
                    <a:pt x="35" y="110"/>
                  </a:cubicBezTo>
                  <a:cubicBezTo>
                    <a:pt x="35" y="110"/>
                    <a:pt x="33" y="113"/>
                    <a:pt x="34" y="113"/>
                  </a:cubicBezTo>
                  <a:cubicBezTo>
                    <a:pt x="35" y="114"/>
                    <a:pt x="32" y="115"/>
                    <a:pt x="32" y="115"/>
                  </a:cubicBezTo>
                  <a:cubicBezTo>
                    <a:pt x="31" y="115"/>
                    <a:pt x="31" y="115"/>
                    <a:pt x="31" y="115"/>
                  </a:cubicBezTo>
                  <a:cubicBezTo>
                    <a:pt x="31" y="116"/>
                    <a:pt x="31" y="116"/>
                    <a:pt x="31" y="116"/>
                  </a:cubicBezTo>
                  <a:cubicBezTo>
                    <a:pt x="31" y="116"/>
                    <a:pt x="31" y="116"/>
                    <a:pt x="32" y="117"/>
                  </a:cubicBezTo>
                  <a:cubicBezTo>
                    <a:pt x="33" y="117"/>
                    <a:pt x="36" y="117"/>
                    <a:pt x="36" y="117"/>
                  </a:cubicBezTo>
                  <a:cubicBezTo>
                    <a:pt x="36" y="117"/>
                    <a:pt x="38" y="116"/>
                    <a:pt x="37" y="117"/>
                  </a:cubicBezTo>
                  <a:cubicBezTo>
                    <a:pt x="37" y="118"/>
                    <a:pt x="36" y="121"/>
                    <a:pt x="36" y="121"/>
                  </a:cubicBezTo>
                  <a:cubicBezTo>
                    <a:pt x="36" y="121"/>
                    <a:pt x="35" y="122"/>
                    <a:pt x="32" y="122"/>
                  </a:cubicBezTo>
                  <a:cubicBezTo>
                    <a:pt x="30" y="123"/>
                    <a:pt x="27" y="124"/>
                    <a:pt x="27" y="124"/>
                  </a:cubicBezTo>
                  <a:cubicBezTo>
                    <a:pt x="25" y="127"/>
                    <a:pt x="25" y="127"/>
                    <a:pt x="25" y="127"/>
                  </a:cubicBezTo>
                  <a:cubicBezTo>
                    <a:pt x="25" y="127"/>
                    <a:pt x="26" y="128"/>
                    <a:pt x="23" y="128"/>
                  </a:cubicBezTo>
                  <a:cubicBezTo>
                    <a:pt x="21" y="128"/>
                    <a:pt x="19" y="128"/>
                    <a:pt x="19" y="128"/>
                  </a:cubicBezTo>
                  <a:cubicBezTo>
                    <a:pt x="17" y="128"/>
                    <a:pt x="17" y="128"/>
                    <a:pt x="17" y="128"/>
                  </a:cubicBezTo>
                  <a:cubicBezTo>
                    <a:pt x="17" y="128"/>
                    <a:pt x="15" y="129"/>
                    <a:pt x="15" y="129"/>
                  </a:cubicBezTo>
                  <a:cubicBezTo>
                    <a:pt x="14" y="128"/>
                    <a:pt x="13" y="127"/>
                    <a:pt x="13" y="127"/>
                  </a:cubicBezTo>
                  <a:cubicBezTo>
                    <a:pt x="14" y="123"/>
                    <a:pt x="14" y="123"/>
                    <a:pt x="14" y="123"/>
                  </a:cubicBezTo>
                  <a:cubicBezTo>
                    <a:pt x="13" y="122"/>
                    <a:pt x="13" y="122"/>
                    <a:pt x="13" y="122"/>
                  </a:cubicBezTo>
                  <a:cubicBezTo>
                    <a:pt x="13" y="119"/>
                    <a:pt x="13" y="119"/>
                    <a:pt x="13" y="119"/>
                  </a:cubicBezTo>
                  <a:cubicBezTo>
                    <a:pt x="13" y="119"/>
                    <a:pt x="10" y="121"/>
                    <a:pt x="10" y="122"/>
                  </a:cubicBezTo>
                  <a:cubicBezTo>
                    <a:pt x="9" y="122"/>
                    <a:pt x="9" y="124"/>
                    <a:pt x="9" y="124"/>
                  </a:cubicBezTo>
                  <a:cubicBezTo>
                    <a:pt x="7" y="127"/>
                    <a:pt x="7" y="127"/>
                    <a:pt x="7" y="127"/>
                  </a:cubicBezTo>
                  <a:cubicBezTo>
                    <a:pt x="6" y="127"/>
                    <a:pt x="6" y="127"/>
                    <a:pt x="6" y="127"/>
                  </a:cubicBezTo>
                  <a:cubicBezTo>
                    <a:pt x="6" y="131"/>
                    <a:pt x="6" y="131"/>
                    <a:pt x="6" y="131"/>
                  </a:cubicBezTo>
                  <a:cubicBezTo>
                    <a:pt x="5" y="133"/>
                    <a:pt x="5" y="133"/>
                    <a:pt x="5" y="133"/>
                  </a:cubicBezTo>
                  <a:cubicBezTo>
                    <a:pt x="5" y="133"/>
                    <a:pt x="4" y="133"/>
                    <a:pt x="5" y="134"/>
                  </a:cubicBezTo>
                  <a:cubicBezTo>
                    <a:pt x="6" y="134"/>
                    <a:pt x="10" y="136"/>
                    <a:pt x="10" y="136"/>
                  </a:cubicBezTo>
                  <a:cubicBezTo>
                    <a:pt x="10" y="136"/>
                    <a:pt x="11" y="135"/>
                    <a:pt x="13" y="137"/>
                  </a:cubicBezTo>
                  <a:cubicBezTo>
                    <a:pt x="14" y="138"/>
                    <a:pt x="16" y="139"/>
                    <a:pt x="16" y="139"/>
                  </a:cubicBezTo>
                  <a:cubicBezTo>
                    <a:pt x="17" y="139"/>
                    <a:pt x="17" y="139"/>
                    <a:pt x="17" y="139"/>
                  </a:cubicBezTo>
                  <a:cubicBezTo>
                    <a:pt x="20" y="138"/>
                    <a:pt x="20" y="138"/>
                    <a:pt x="20" y="138"/>
                  </a:cubicBezTo>
                  <a:cubicBezTo>
                    <a:pt x="22" y="140"/>
                    <a:pt x="22" y="140"/>
                    <a:pt x="22" y="140"/>
                  </a:cubicBezTo>
                  <a:cubicBezTo>
                    <a:pt x="27" y="141"/>
                    <a:pt x="27" y="141"/>
                    <a:pt x="27" y="141"/>
                  </a:cubicBezTo>
                  <a:cubicBezTo>
                    <a:pt x="27" y="141"/>
                    <a:pt x="28" y="143"/>
                    <a:pt x="28" y="144"/>
                  </a:cubicBezTo>
                  <a:cubicBezTo>
                    <a:pt x="29" y="144"/>
                    <a:pt x="31" y="147"/>
                    <a:pt x="31" y="147"/>
                  </a:cubicBezTo>
                  <a:cubicBezTo>
                    <a:pt x="31" y="147"/>
                    <a:pt x="31" y="145"/>
                    <a:pt x="33" y="146"/>
                  </a:cubicBezTo>
                  <a:cubicBezTo>
                    <a:pt x="36" y="146"/>
                    <a:pt x="37" y="146"/>
                    <a:pt x="37" y="146"/>
                  </a:cubicBezTo>
                  <a:cubicBezTo>
                    <a:pt x="37" y="146"/>
                    <a:pt x="39" y="146"/>
                    <a:pt x="40" y="147"/>
                  </a:cubicBezTo>
                  <a:cubicBezTo>
                    <a:pt x="41" y="148"/>
                    <a:pt x="44" y="153"/>
                    <a:pt x="44" y="153"/>
                  </a:cubicBezTo>
                  <a:cubicBezTo>
                    <a:pt x="46" y="158"/>
                    <a:pt x="46" y="158"/>
                    <a:pt x="46" y="158"/>
                  </a:cubicBezTo>
                  <a:cubicBezTo>
                    <a:pt x="48" y="162"/>
                    <a:pt x="48" y="162"/>
                    <a:pt x="48" y="162"/>
                  </a:cubicBezTo>
                  <a:cubicBezTo>
                    <a:pt x="48" y="162"/>
                    <a:pt x="48" y="163"/>
                    <a:pt x="50" y="164"/>
                  </a:cubicBezTo>
                  <a:cubicBezTo>
                    <a:pt x="52" y="166"/>
                    <a:pt x="53" y="168"/>
                    <a:pt x="53" y="168"/>
                  </a:cubicBezTo>
                  <a:cubicBezTo>
                    <a:pt x="53" y="168"/>
                    <a:pt x="53" y="169"/>
                    <a:pt x="54" y="170"/>
                  </a:cubicBezTo>
                  <a:cubicBezTo>
                    <a:pt x="55" y="172"/>
                    <a:pt x="57" y="174"/>
                    <a:pt x="57" y="174"/>
                  </a:cubicBezTo>
                  <a:cubicBezTo>
                    <a:pt x="57" y="174"/>
                    <a:pt x="57" y="175"/>
                    <a:pt x="58" y="176"/>
                  </a:cubicBezTo>
                  <a:cubicBezTo>
                    <a:pt x="60" y="177"/>
                    <a:pt x="62" y="177"/>
                    <a:pt x="63" y="178"/>
                  </a:cubicBezTo>
                  <a:cubicBezTo>
                    <a:pt x="65" y="180"/>
                    <a:pt x="67" y="182"/>
                    <a:pt x="67" y="182"/>
                  </a:cubicBezTo>
                  <a:cubicBezTo>
                    <a:pt x="67" y="182"/>
                    <a:pt x="72" y="187"/>
                    <a:pt x="74" y="189"/>
                  </a:cubicBezTo>
                  <a:cubicBezTo>
                    <a:pt x="76" y="191"/>
                    <a:pt x="78" y="193"/>
                    <a:pt x="79" y="193"/>
                  </a:cubicBezTo>
                  <a:cubicBezTo>
                    <a:pt x="80" y="194"/>
                    <a:pt x="85" y="195"/>
                    <a:pt x="85" y="195"/>
                  </a:cubicBezTo>
                  <a:cubicBezTo>
                    <a:pt x="85" y="195"/>
                    <a:pt x="88" y="198"/>
                    <a:pt x="89" y="197"/>
                  </a:cubicBezTo>
                  <a:cubicBezTo>
                    <a:pt x="91" y="197"/>
                    <a:pt x="87" y="196"/>
                    <a:pt x="93" y="196"/>
                  </a:cubicBezTo>
                  <a:cubicBezTo>
                    <a:pt x="99" y="196"/>
                    <a:pt x="103" y="198"/>
                    <a:pt x="103" y="198"/>
                  </a:cubicBezTo>
                  <a:cubicBezTo>
                    <a:pt x="107" y="195"/>
                    <a:pt x="107" y="195"/>
                    <a:pt x="107" y="195"/>
                  </a:cubicBezTo>
                  <a:cubicBezTo>
                    <a:pt x="107" y="195"/>
                    <a:pt x="106" y="197"/>
                    <a:pt x="107" y="194"/>
                  </a:cubicBezTo>
                  <a:cubicBezTo>
                    <a:pt x="108" y="192"/>
                    <a:pt x="109" y="190"/>
                    <a:pt x="109" y="190"/>
                  </a:cubicBezTo>
                  <a:cubicBezTo>
                    <a:pt x="109" y="190"/>
                    <a:pt x="108" y="188"/>
                    <a:pt x="111" y="188"/>
                  </a:cubicBezTo>
                  <a:cubicBezTo>
                    <a:pt x="113" y="188"/>
                    <a:pt x="119" y="187"/>
                    <a:pt x="120" y="187"/>
                  </a:cubicBezTo>
                  <a:cubicBezTo>
                    <a:pt x="121" y="187"/>
                    <a:pt x="121" y="188"/>
                    <a:pt x="122" y="187"/>
                  </a:cubicBezTo>
                  <a:cubicBezTo>
                    <a:pt x="122" y="186"/>
                    <a:pt x="131" y="189"/>
                    <a:pt x="131" y="189"/>
                  </a:cubicBezTo>
                  <a:cubicBezTo>
                    <a:pt x="132" y="187"/>
                    <a:pt x="132" y="187"/>
                    <a:pt x="132" y="187"/>
                  </a:cubicBezTo>
                  <a:cubicBezTo>
                    <a:pt x="134" y="186"/>
                    <a:pt x="134" y="186"/>
                    <a:pt x="134" y="186"/>
                  </a:cubicBezTo>
                  <a:cubicBezTo>
                    <a:pt x="136" y="190"/>
                    <a:pt x="136" y="190"/>
                    <a:pt x="136" y="190"/>
                  </a:cubicBezTo>
                  <a:cubicBezTo>
                    <a:pt x="140" y="190"/>
                    <a:pt x="140" y="190"/>
                    <a:pt x="140" y="190"/>
                  </a:cubicBezTo>
                  <a:cubicBezTo>
                    <a:pt x="140" y="190"/>
                    <a:pt x="143" y="189"/>
                    <a:pt x="145" y="189"/>
                  </a:cubicBezTo>
                  <a:cubicBezTo>
                    <a:pt x="146" y="189"/>
                    <a:pt x="150" y="187"/>
                    <a:pt x="150" y="187"/>
                  </a:cubicBezTo>
                  <a:cubicBezTo>
                    <a:pt x="150" y="187"/>
                    <a:pt x="151" y="185"/>
                    <a:pt x="152" y="185"/>
                  </a:cubicBezTo>
                  <a:cubicBezTo>
                    <a:pt x="153" y="184"/>
                    <a:pt x="156" y="184"/>
                    <a:pt x="157" y="184"/>
                  </a:cubicBezTo>
                  <a:cubicBezTo>
                    <a:pt x="159" y="184"/>
                    <a:pt x="162" y="183"/>
                    <a:pt x="162" y="183"/>
                  </a:cubicBezTo>
                  <a:cubicBezTo>
                    <a:pt x="164" y="181"/>
                    <a:pt x="164" y="181"/>
                    <a:pt x="164" y="181"/>
                  </a:cubicBezTo>
                  <a:cubicBezTo>
                    <a:pt x="164" y="181"/>
                    <a:pt x="165" y="180"/>
                    <a:pt x="167" y="180"/>
                  </a:cubicBezTo>
                  <a:cubicBezTo>
                    <a:pt x="168" y="181"/>
                    <a:pt x="172" y="181"/>
                    <a:pt x="172" y="181"/>
                  </a:cubicBezTo>
                  <a:cubicBezTo>
                    <a:pt x="175" y="179"/>
                    <a:pt x="175" y="179"/>
                    <a:pt x="175" y="179"/>
                  </a:cubicBezTo>
                  <a:cubicBezTo>
                    <a:pt x="178" y="178"/>
                    <a:pt x="178" y="178"/>
                    <a:pt x="178" y="178"/>
                  </a:cubicBezTo>
                  <a:cubicBezTo>
                    <a:pt x="178" y="178"/>
                    <a:pt x="178" y="177"/>
                    <a:pt x="179" y="178"/>
                  </a:cubicBezTo>
                  <a:cubicBezTo>
                    <a:pt x="180" y="179"/>
                    <a:pt x="182" y="181"/>
                    <a:pt x="182" y="181"/>
                  </a:cubicBezTo>
                  <a:cubicBezTo>
                    <a:pt x="186" y="182"/>
                    <a:pt x="186" y="182"/>
                    <a:pt x="186" y="182"/>
                  </a:cubicBezTo>
                  <a:cubicBezTo>
                    <a:pt x="189" y="181"/>
                    <a:pt x="189" y="181"/>
                    <a:pt x="189" y="181"/>
                  </a:cubicBezTo>
                  <a:cubicBezTo>
                    <a:pt x="191" y="179"/>
                    <a:pt x="191" y="179"/>
                    <a:pt x="191" y="179"/>
                  </a:cubicBezTo>
                  <a:cubicBezTo>
                    <a:pt x="191" y="179"/>
                    <a:pt x="191" y="178"/>
                    <a:pt x="194" y="178"/>
                  </a:cubicBezTo>
                  <a:cubicBezTo>
                    <a:pt x="197" y="178"/>
                    <a:pt x="198" y="178"/>
                    <a:pt x="198" y="178"/>
                  </a:cubicBezTo>
                  <a:cubicBezTo>
                    <a:pt x="198" y="178"/>
                    <a:pt x="201" y="178"/>
                    <a:pt x="201" y="177"/>
                  </a:cubicBezTo>
                  <a:cubicBezTo>
                    <a:pt x="201" y="176"/>
                    <a:pt x="201" y="174"/>
                    <a:pt x="202" y="173"/>
                  </a:cubicBezTo>
                  <a:cubicBezTo>
                    <a:pt x="202" y="172"/>
                    <a:pt x="206" y="168"/>
                    <a:pt x="206" y="168"/>
                  </a:cubicBezTo>
                  <a:cubicBezTo>
                    <a:pt x="208" y="167"/>
                    <a:pt x="208" y="167"/>
                    <a:pt x="208" y="167"/>
                  </a:cubicBezTo>
                  <a:cubicBezTo>
                    <a:pt x="207" y="164"/>
                    <a:pt x="207" y="164"/>
                    <a:pt x="207" y="164"/>
                  </a:cubicBezTo>
                  <a:cubicBezTo>
                    <a:pt x="208" y="162"/>
                    <a:pt x="208" y="162"/>
                    <a:pt x="208" y="162"/>
                  </a:cubicBezTo>
                  <a:cubicBezTo>
                    <a:pt x="208" y="162"/>
                    <a:pt x="211" y="161"/>
                    <a:pt x="210" y="163"/>
                  </a:cubicBezTo>
                  <a:cubicBezTo>
                    <a:pt x="209" y="165"/>
                    <a:pt x="210" y="166"/>
                    <a:pt x="210" y="166"/>
                  </a:cubicBezTo>
                  <a:cubicBezTo>
                    <a:pt x="210" y="166"/>
                    <a:pt x="211" y="165"/>
                    <a:pt x="212" y="165"/>
                  </a:cubicBezTo>
                  <a:cubicBezTo>
                    <a:pt x="214" y="165"/>
                    <a:pt x="214" y="164"/>
                    <a:pt x="215" y="164"/>
                  </a:cubicBezTo>
                  <a:cubicBezTo>
                    <a:pt x="217" y="165"/>
                    <a:pt x="218" y="164"/>
                    <a:pt x="218" y="164"/>
                  </a:cubicBezTo>
                  <a:cubicBezTo>
                    <a:pt x="218" y="164"/>
                    <a:pt x="217" y="162"/>
                    <a:pt x="218" y="162"/>
                  </a:cubicBezTo>
                  <a:cubicBezTo>
                    <a:pt x="219" y="163"/>
                    <a:pt x="221" y="163"/>
                    <a:pt x="221" y="163"/>
                  </a:cubicBezTo>
                  <a:cubicBezTo>
                    <a:pt x="221" y="163"/>
                    <a:pt x="222" y="163"/>
                    <a:pt x="222" y="162"/>
                  </a:cubicBezTo>
                  <a:cubicBezTo>
                    <a:pt x="222" y="162"/>
                    <a:pt x="219" y="160"/>
                    <a:pt x="220" y="160"/>
                  </a:cubicBezTo>
                  <a:cubicBezTo>
                    <a:pt x="221" y="161"/>
                    <a:pt x="223" y="160"/>
                    <a:pt x="223" y="160"/>
                  </a:cubicBezTo>
                  <a:cubicBezTo>
                    <a:pt x="223" y="160"/>
                    <a:pt x="226" y="161"/>
                    <a:pt x="223" y="159"/>
                  </a:cubicBezTo>
                  <a:cubicBezTo>
                    <a:pt x="221" y="156"/>
                    <a:pt x="224" y="156"/>
                    <a:pt x="224" y="156"/>
                  </a:cubicBezTo>
                  <a:cubicBezTo>
                    <a:pt x="224" y="156"/>
                    <a:pt x="227" y="157"/>
                    <a:pt x="226" y="157"/>
                  </a:cubicBezTo>
                  <a:cubicBezTo>
                    <a:pt x="225" y="156"/>
                    <a:pt x="221" y="151"/>
                    <a:pt x="221" y="151"/>
                  </a:cubicBezTo>
                  <a:cubicBezTo>
                    <a:pt x="221" y="150"/>
                    <a:pt x="221" y="150"/>
                    <a:pt x="221" y="150"/>
                  </a:cubicBezTo>
                  <a:cubicBezTo>
                    <a:pt x="221" y="148"/>
                    <a:pt x="221" y="148"/>
                    <a:pt x="221" y="148"/>
                  </a:cubicBezTo>
                  <a:cubicBezTo>
                    <a:pt x="221" y="148"/>
                    <a:pt x="223" y="149"/>
                    <a:pt x="224" y="150"/>
                  </a:cubicBezTo>
                  <a:cubicBezTo>
                    <a:pt x="224" y="150"/>
                    <a:pt x="224" y="150"/>
                    <a:pt x="225" y="151"/>
                  </a:cubicBezTo>
                  <a:cubicBezTo>
                    <a:pt x="227" y="152"/>
                    <a:pt x="226" y="154"/>
                    <a:pt x="227" y="154"/>
                  </a:cubicBezTo>
                  <a:cubicBezTo>
                    <a:pt x="228" y="155"/>
                    <a:pt x="231" y="154"/>
                    <a:pt x="231" y="154"/>
                  </a:cubicBezTo>
                  <a:cubicBezTo>
                    <a:pt x="233" y="151"/>
                    <a:pt x="233" y="151"/>
                    <a:pt x="233" y="151"/>
                  </a:cubicBezTo>
                  <a:cubicBezTo>
                    <a:pt x="233" y="151"/>
                    <a:pt x="237" y="147"/>
                    <a:pt x="236" y="147"/>
                  </a:cubicBezTo>
                  <a:cubicBezTo>
                    <a:pt x="235" y="146"/>
                    <a:pt x="230" y="148"/>
                    <a:pt x="230" y="148"/>
                  </a:cubicBezTo>
                  <a:cubicBezTo>
                    <a:pt x="232" y="144"/>
                    <a:pt x="232" y="144"/>
                    <a:pt x="232" y="144"/>
                  </a:cubicBezTo>
                  <a:cubicBezTo>
                    <a:pt x="229" y="143"/>
                    <a:pt x="229" y="143"/>
                    <a:pt x="229" y="143"/>
                  </a:cubicBezTo>
                  <a:cubicBezTo>
                    <a:pt x="228" y="142"/>
                    <a:pt x="228" y="142"/>
                    <a:pt x="228" y="142"/>
                  </a:cubicBezTo>
                  <a:cubicBezTo>
                    <a:pt x="228" y="142"/>
                    <a:pt x="231" y="142"/>
                    <a:pt x="231" y="142"/>
                  </a:cubicBezTo>
                  <a:cubicBezTo>
                    <a:pt x="232" y="142"/>
                    <a:pt x="234" y="141"/>
                    <a:pt x="234" y="141"/>
                  </a:cubicBezTo>
                  <a:cubicBezTo>
                    <a:pt x="234" y="139"/>
                    <a:pt x="234" y="139"/>
                    <a:pt x="234" y="139"/>
                  </a:cubicBezTo>
                  <a:cubicBezTo>
                    <a:pt x="231" y="137"/>
                    <a:pt x="231" y="137"/>
                    <a:pt x="231" y="137"/>
                  </a:cubicBezTo>
                  <a:cubicBezTo>
                    <a:pt x="232" y="136"/>
                    <a:pt x="232" y="136"/>
                    <a:pt x="232" y="136"/>
                  </a:cubicBezTo>
                  <a:cubicBezTo>
                    <a:pt x="233" y="134"/>
                    <a:pt x="233" y="134"/>
                    <a:pt x="233" y="134"/>
                  </a:cubicBezTo>
                  <a:cubicBezTo>
                    <a:pt x="235" y="133"/>
                    <a:pt x="235" y="133"/>
                    <a:pt x="235" y="133"/>
                  </a:cubicBezTo>
                  <a:cubicBezTo>
                    <a:pt x="238" y="127"/>
                    <a:pt x="238" y="127"/>
                    <a:pt x="238" y="127"/>
                  </a:cubicBezTo>
                  <a:cubicBezTo>
                    <a:pt x="237" y="125"/>
                    <a:pt x="237" y="125"/>
                    <a:pt x="237" y="125"/>
                  </a:cubicBezTo>
                  <a:cubicBezTo>
                    <a:pt x="235" y="125"/>
                    <a:pt x="235" y="125"/>
                    <a:pt x="235" y="125"/>
                  </a:cubicBezTo>
                  <a:cubicBezTo>
                    <a:pt x="235" y="121"/>
                    <a:pt x="235" y="121"/>
                    <a:pt x="235" y="121"/>
                  </a:cubicBezTo>
                  <a:cubicBezTo>
                    <a:pt x="231" y="119"/>
                    <a:pt x="231" y="119"/>
                    <a:pt x="231" y="119"/>
                  </a:cubicBezTo>
                  <a:cubicBezTo>
                    <a:pt x="231" y="119"/>
                    <a:pt x="228" y="117"/>
                    <a:pt x="228" y="116"/>
                  </a:cubicBezTo>
                  <a:cubicBezTo>
                    <a:pt x="228" y="116"/>
                    <a:pt x="228" y="114"/>
                    <a:pt x="227" y="115"/>
                  </a:cubicBezTo>
                  <a:cubicBezTo>
                    <a:pt x="226" y="115"/>
                    <a:pt x="225" y="114"/>
                    <a:pt x="225" y="114"/>
                  </a:cubicBezTo>
                  <a:cubicBezTo>
                    <a:pt x="225" y="114"/>
                    <a:pt x="225" y="111"/>
                    <a:pt x="225" y="111"/>
                  </a:cubicBezTo>
                  <a:cubicBezTo>
                    <a:pt x="225" y="111"/>
                    <a:pt x="227" y="110"/>
                    <a:pt x="227" y="109"/>
                  </a:cubicBezTo>
                  <a:cubicBezTo>
                    <a:pt x="228" y="108"/>
                    <a:pt x="227" y="106"/>
                    <a:pt x="227" y="106"/>
                  </a:cubicBezTo>
                  <a:cubicBezTo>
                    <a:pt x="226" y="106"/>
                    <a:pt x="224" y="107"/>
                    <a:pt x="224" y="107"/>
                  </a:cubicBezTo>
                  <a:cubicBezTo>
                    <a:pt x="218" y="108"/>
                    <a:pt x="218" y="108"/>
                    <a:pt x="218" y="108"/>
                  </a:cubicBezTo>
                  <a:cubicBezTo>
                    <a:pt x="216" y="107"/>
                    <a:pt x="216" y="107"/>
                    <a:pt x="216" y="107"/>
                  </a:cubicBezTo>
                  <a:cubicBezTo>
                    <a:pt x="216" y="107"/>
                    <a:pt x="217" y="107"/>
                    <a:pt x="217" y="106"/>
                  </a:cubicBezTo>
                  <a:cubicBezTo>
                    <a:pt x="218" y="105"/>
                    <a:pt x="218" y="104"/>
                    <a:pt x="219" y="103"/>
                  </a:cubicBezTo>
                  <a:cubicBezTo>
                    <a:pt x="220" y="102"/>
                    <a:pt x="220" y="103"/>
                    <a:pt x="221" y="101"/>
                  </a:cubicBezTo>
                  <a:cubicBezTo>
                    <a:pt x="223" y="100"/>
                    <a:pt x="225" y="98"/>
                    <a:pt x="225" y="98"/>
                  </a:cubicBezTo>
                  <a:cubicBezTo>
                    <a:pt x="225" y="95"/>
                    <a:pt x="225" y="95"/>
                    <a:pt x="225" y="95"/>
                  </a:cubicBezTo>
                  <a:cubicBezTo>
                    <a:pt x="224" y="92"/>
                    <a:pt x="224" y="92"/>
                    <a:pt x="224" y="92"/>
                  </a:cubicBezTo>
                  <a:cubicBezTo>
                    <a:pt x="224" y="92"/>
                    <a:pt x="223" y="91"/>
                    <a:pt x="222" y="91"/>
                  </a:cubicBezTo>
                  <a:cubicBezTo>
                    <a:pt x="221" y="91"/>
                    <a:pt x="222" y="93"/>
                    <a:pt x="220" y="91"/>
                  </a:cubicBezTo>
                  <a:cubicBezTo>
                    <a:pt x="219" y="90"/>
                    <a:pt x="219" y="90"/>
                    <a:pt x="218" y="88"/>
                  </a:cubicBezTo>
                  <a:cubicBezTo>
                    <a:pt x="217" y="87"/>
                    <a:pt x="217" y="85"/>
                    <a:pt x="217" y="85"/>
                  </a:cubicBezTo>
                  <a:cubicBezTo>
                    <a:pt x="217" y="85"/>
                    <a:pt x="215" y="84"/>
                    <a:pt x="216" y="84"/>
                  </a:cubicBezTo>
                  <a:cubicBezTo>
                    <a:pt x="218" y="84"/>
                    <a:pt x="219" y="85"/>
                    <a:pt x="220" y="84"/>
                  </a:cubicBezTo>
                  <a:cubicBezTo>
                    <a:pt x="221" y="83"/>
                    <a:pt x="221" y="84"/>
                    <a:pt x="221" y="83"/>
                  </a:cubicBezTo>
                  <a:cubicBezTo>
                    <a:pt x="221" y="82"/>
                    <a:pt x="222" y="79"/>
                    <a:pt x="222" y="79"/>
                  </a:cubicBezTo>
                  <a:cubicBezTo>
                    <a:pt x="222" y="78"/>
                    <a:pt x="222" y="78"/>
                    <a:pt x="224" y="77"/>
                  </a:cubicBezTo>
                  <a:cubicBezTo>
                    <a:pt x="227" y="76"/>
                    <a:pt x="226" y="76"/>
                    <a:pt x="228" y="76"/>
                  </a:cubicBezTo>
                  <a:cubicBezTo>
                    <a:pt x="229" y="75"/>
                    <a:pt x="230" y="74"/>
                    <a:pt x="229" y="74"/>
                  </a:cubicBezTo>
                  <a:cubicBezTo>
                    <a:pt x="229" y="73"/>
                    <a:pt x="227" y="73"/>
                    <a:pt x="227" y="73"/>
                  </a:cubicBezTo>
                  <a:cubicBezTo>
                    <a:pt x="226" y="72"/>
                    <a:pt x="224" y="74"/>
                    <a:pt x="224" y="74"/>
                  </a:cubicBezTo>
                  <a:cubicBezTo>
                    <a:pt x="224" y="74"/>
                    <a:pt x="222" y="75"/>
                    <a:pt x="221" y="76"/>
                  </a:cubicBezTo>
                  <a:cubicBezTo>
                    <a:pt x="220" y="77"/>
                    <a:pt x="219" y="76"/>
                    <a:pt x="218" y="76"/>
                  </a:cubicBezTo>
                  <a:cubicBezTo>
                    <a:pt x="217" y="76"/>
                    <a:pt x="217" y="76"/>
                    <a:pt x="217" y="76"/>
                  </a:cubicBezTo>
                  <a:cubicBezTo>
                    <a:pt x="217" y="76"/>
                    <a:pt x="215" y="75"/>
                    <a:pt x="214" y="77"/>
                  </a:cubicBezTo>
                  <a:cubicBezTo>
                    <a:pt x="214" y="79"/>
                    <a:pt x="212" y="81"/>
                    <a:pt x="212" y="81"/>
                  </a:cubicBezTo>
                  <a:cubicBezTo>
                    <a:pt x="212" y="81"/>
                    <a:pt x="211" y="82"/>
                    <a:pt x="211" y="80"/>
                  </a:cubicBezTo>
                  <a:cubicBezTo>
                    <a:pt x="211" y="79"/>
                    <a:pt x="210" y="76"/>
                    <a:pt x="210" y="76"/>
                  </a:cubicBezTo>
                  <a:cubicBezTo>
                    <a:pt x="210" y="76"/>
                    <a:pt x="210" y="76"/>
                    <a:pt x="210" y="76"/>
                  </a:cubicBezTo>
                  <a:cubicBezTo>
                    <a:pt x="209" y="76"/>
                    <a:pt x="206" y="75"/>
                    <a:pt x="206" y="75"/>
                  </a:cubicBezTo>
                  <a:cubicBezTo>
                    <a:pt x="206" y="75"/>
                    <a:pt x="207" y="75"/>
                    <a:pt x="207" y="73"/>
                  </a:cubicBezTo>
                  <a:cubicBezTo>
                    <a:pt x="206" y="72"/>
                    <a:pt x="206" y="71"/>
                    <a:pt x="206" y="71"/>
                  </a:cubicBezTo>
                  <a:cubicBezTo>
                    <a:pt x="207" y="71"/>
                    <a:pt x="208" y="71"/>
                    <a:pt x="208" y="71"/>
                  </a:cubicBezTo>
                  <a:cubicBezTo>
                    <a:pt x="209" y="71"/>
                    <a:pt x="209" y="71"/>
                    <a:pt x="209" y="69"/>
                  </a:cubicBezTo>
                  <a:cubicBezTo>
                    <a:pt x="209" y="66"/>
                    <a:pt x="208" y="65"/>
                    <a:pt x="208" y="65"/>
                  </a:cubicBezTo>
                  <a:cubicBezTo>
                    <a:pt x="208" y="65"/>
                    <a:pt x="207" y="64"/>
                    <a:pt x="207" y="64"/>
                  </a:cubicBezTo>
                  <a:cubicBezTo>
                    <a:pt x="207" y="60"/>
                    <a:pt x="207" y="60"/>
                    <a:pt x="207" y="60"/>
                  </a:cubicBezTo>
                  <a:cubicBezTo>
                    <a:pt x="207" y="60"/>
                    <a:pt x="207" y="59"/>
                    <a:pt x="206" y="58"/>
                  </a:cubicBezTo>
                  <a:cubicBezTo>
                    <a:pt x="205" y="57"/>
                    <a:pt x="205" y="56"/>
                    <a:pt x="204" y="57"/>
                  </a:cubicBezTo>
                  <a:cubicBezTo>
                    <a:pt x="204" y="57"/>
                    <a:pt x="203" y="58"/>
                    <a:pt x="202" y="58"/>
                  </a:cubicBezTo>
                  <a:cubicBezTo>
                    <a:pt x="201" y="57"/>
                    <a:pt x="199" y="56"/>
                    <a:pt x="199" y="56"/>
                  </a:cubicBezTo>
                  <a:cubicBezTo>
                    <a:pt x="195" y="54"/>
                    <a:pt x="195" y="54"/>
                    <a:pt x="195" y="54"/>
                  </a:cubicBezTo>
                  <a:cubicBezTo>
                    <a:pt x="195" y="54"/>
                    <a:pt x="195" y="54"/>
                    <a:pt x="194" y="55"/>
                  </a:cubicBezTo>
                  <a:cubicBezTo>
                    <a:pt x="194" y="56"/>
                    <a:pt x="193" y="55"/>
                    <a:pt x="193" y="57"/>
                  </a:cubicBezTo>
                  <a:cubicBezTo>
                    <a:pt x="194" y="58"/>
                    <a:pt x="194" y="59"/>
                    <a:pt x="194" y="60"/>
                  </a:cubicBezTo>
                  <a:cubicBezTo>
                    <a:pt x="193" y="61"/>
                    <a:pt x="193" y="62"/>
                    <a:pt x="193" y="64"/>
                  </a:cubicBezTo>
                  <a:cubicBezTo>
                    <a:pt x="192" y="65"/>
                    <a:pt x="191" y="65"/>
                    <a:pt x="191" y="66"/>
                  </a:cubicBezTo>
                  <a:cubicBezTo>
                    <a:pt x="191" y="67"/>
                    <a:pt x="192" y="67"/>
                    <a:pt x="192" y="68"/>
                  </a:cubicBezTo>
                  <a:cubicBezTo>
                    <a:pt x="192" y="68"/>
                    <a:pt x="191" y="70"/>
                    <a:pt x="190" y="70"/>
                  </a:cubicBezTo>
                  <a:cubicBezTo>
                    <a:pt x="190" y="71"/>
                    <a:pt x="189" y="72"/>
                    <a:pt x="188" y="72"/>
                  </a:cubicBezTo>
                  <a:cubicBezTo>
                    <a:pt x="188" y="71"/>
                    <a:pt x="187" y="71"/>
                    <a:pt x="186" y="71"/>
                  </a:cubicBezTo>
                  <a:cubicBezTo>
                    <a:pt x="185" y="71"/>
                    <a:pt x="184" y="72"/>
                    <a:pt x="184" y="72"/>
                  </a:cubicBezTo>
                  <a:cubicBezTo>
                    <a:pt x="184" y="72"/>
                    <a:pt x="183" y="73"/>
                    <a:pt x="182" y="72"/>
                  </a:cubicBezTo>
                  <a:cubicBezTo>
                    <a:pt x="180" y="71"/>
                    <a:pt x="179" y="70"/>
                    <a:pt x="179" y="70"/>
                  </a:cubicBezTo>
                  <a:cubicBezTo>
                    <a:pt x="179" y="68"/>
                    <a:pt x="179" y="68"/>
                    <a:pt x="179" y="68"/>
                  </a:cubicBezTo>
                  <a:cubicBezTo>
                    <a:pt x="179" y="68"/>
                    <a:pt x="183" y="69"/>
                    <a:pt x="178" y="66"/>
                  </a:cubicBezTo>
                  <a:cubicBezTo>
                    <a:pt x="174" y="64"/>
                    <a:pt x="174" y="64"/>
                    <a:pt x="174" y="64"/>
                  </a:cubicBezTo>
                  <a:cubicBezTo>
                    <a:pt x="174" y="64"/>
                    <a:pt x="174" y="65"/>
                    <a:pt x="173" y="66"/>
                  </a:cubicBezTo>
                  <a:cubicBezTo>
                    <a:pt x="172" y="66"/>
                    <a:pt x="172" y="67"/>
                    <a:pt x="172" y="67"/>
                  </a:cubicBezTo>
                  <a:cubicBezTo>
                    <a:pt x="171" y="69"/>
                    <a:pt x="171" y="69"/>
                    <a:pt x="171" y="69"/>
                  </a:cubicBezTo>
                  <a:cubicBezTo>
                    <a:pt x="170" y="69"/>
                    <a:pt x="170" y="69"/>
                    <a:pt x="170" y="69"/>
                  </a:cubicBezTo>
                  <a:cubicBezTo>
                    <a:pt x="168" y="72"/>
                    <a:pt x="168" y="72"/>
                    <a:pt x="168" y="72"/>
                  </a:cubicBezTo>
                  <a:cubicBezTo>
                    <a:pt x="168" y="72"/>
                    <a:pt x="167" y="73"/>
                    <a:pt x="166" y="73"/>
                  </a:cubicBezTo>
                  <a:cubicBezTo>
                    <a:pt x="166" y="73"/>
                    <a:pt x="165" y="73"/>
                    <a:pt x="165" y="73"/>
                  </a:cubicBezTo>
                  <a:cubicBezTo>
                    <a:pt x="164" y="73"/>
                    <a:pt x="163" y="73"/>
                    <a:pt x="163" y="72"/>
                  </a:cubicBezTo>
                  <a:cubicBezTo>
                    <a:pt x="162" y="72"/>
                    <a:pt x="162" y="72"/>
                    <a:pt x="162" y="71"/>
                  </a:cubicBezTo>
                  <a:cubicBezTo>
                    <a:pt x="162" y="70"/>
                    <a:pt x="162" y="68"/>
                    <a:pt x="161" y="67"/>
                  </a:cubicBezTo>
                  <a:cubicBezTo>
                    <a:pt x="161" y="66"/>
                    <a:pt x="161" y="66"/>
                    <a:pt x="160" y="64"/>
                  </a:cubicBezTo>
                  <a:cubicBezTo>
                    <a:pt x="159" y="63"/>
                    <a:pt x="158" y="61"/>
                    <a:pt x="158" y="61"/>
                  </a:cubicBezTo>
                  <a:cubicBezTo>
                    <a:pt x="153" y="58"/>
                    <a:pt x="153" y="58"/>
                    <a:pt x="153" y="58"/>
                  </a:cubicBezTo>
                  <a:cubicBezTo>
                    <a:pt x="153" y="58"/>
                    <a:pt x="154" y="57"/>
                    <a:pt x="152" y="57"/>
                  </a:cubicBezTo>
                  <a:cubicBezTo>
                    <a:pt x="151" y="58"/>
                    <a:pt x="149" y="60"/>
                    <a:pt x="149" y="60"/>
                  </a:cubicBezTo>
                  <a:cubicBezTo>
                    <a:pt x="149" y="60"/>
                    <a:pt x="149" y="62"/>
                    <a:pt x="149" y="63"/>
                  </a:cubicBezTo>
                  <a:cubicBezTo>
                    <a:pt x="149" y="63"/>
                    <a:pt x="148" y="64"/>
                    <a:pt x="148" y="65"/>
                  </a:cubicBezTo>
                  <a:cubicBezTo>
                    <a:pt x="149" y="67"/>
                    <a:pt x="150" y="69"/>
                    <a:pt x="149" y="70"/>
                  </a:cubicBezTo>
                  <a:cubicBezTo>
                    <a:pt x="149" y="70"/>
                    <a:pt x="148" y="72"/>
                    <a:pt x="148" y="74"/>
                  </a:cubicBezTo>
                  <a:cubicBezTo>
                    <a:pt x="148" y="76"/>
                    <a:pt x="149" y="78"/>
                    <a:pt x="148" y="78"/>
                  </a:cubicBezTo>
                  <a:cubicBezTo>
                    <a:pt x="147" y="79"/>
                    <a:pt x="147" y="80"/>
                    <a:pt x="147" y="80"/>
                  </a:cubicBezTo>
                  <a:cubicBezTo>
                    <a:pt x="146" y="80"/>
                    <a:pt x="146" y="80"/>
                    <a:pt x="146" y="80"/>
                  </a:cubicBezTo>
                  <a:cubicBezTo>
                    <a:pt x="146" y="80"/>
                    <a:pt x="146" y="79"/>
                    <a:pt x="147" y="76"/>
                  </a:cubicBezTo>
                  <a:cubicBezTo>
                    <a:pt x="147" y="73"/>
                    <a:pt x="146" y="72"/>
                    <a:pt x="146" y="71"/>
                  </a:cubicBezTo>
                  <a:cubicBezTo>
                    <a:pt x="145" y="71"/>
                    <a:pt x="145" y="71"/>
                    <a:pt x="145" y="70"/>
                  </a:cubicBezTo>
                  <a:cubicBezTo>
                    <a:pt x="145" y="69"/>
                    <a:pt x="145" y="68"/>
                    <a:pt x="145" y="68"/>
                  </a:cubicBezTo>
                  <a:cubicBezTo>
                    <a:pt x="145" y="68"/>
                    <a:pt x="143" y="66"/>
                    <a:pt x="143" y="65"/>
                  </a:cubicBezTo>
                  <a:cubicBezTo>
                    <a:pt x="143" y="64"/>
                    <a:pt x="144" y="63"/>
                    <a:pt x="144" y="61"/>
                  </a:cubicBezTo>
                  <a:cubicBezTo>
                    <a:pt x="144" y="58"/>
                    <a:pt x="145" y="58"/>
                    <a:pt x="144" y="57"/>
                  </a:cubicBezTo>
                  <a:cubicBezTo>
                    <a:pt x="143" y="56"/>
                    <a:pt x="144" y="55"/>
                    <a:pt x="143" y="54"/>
                  </a:cubicBezTo>
                  <a:cubicBezTo>
                    <a:pt x="142" y="54"/>
                    <a:pt x="142" y="55"/>
                    <a:pt x="141" y="54"/>
                  </a:cubicBezTo>
                  <a:cubicBezTo>
                    <a:pt x="141" y="54"/>
                    <a:pt x="141" y="55"/>
                    <a:pt x="141" y="55"/>
                  </a:cubicBezTo>
                  <a:cubicBezTo>
                    <a:pt x="142" y="53"/>
                    <a:pt x="142" y="53"/>
                    <a:pt x="142" y="53"/>
                  </a:cubicBezTo>
                  <a:cubicBezTo>
                    <a:pt x="142" y="53"/>
                    <a:pt x="143" y="49"/>
                    <a:pt x="142" y="51"/>
                  </a:cubicBezTo>
                  <a:cubicBezTo>
                    <a:pt x="141" y="52"/>
                    <a:pt x="138" y="53"/>
                    <a:pt x="138" y="52"/>
                  </a:cubicBezTo>
                  <a:cubicBezTo>
                    <a:pt x="139" y="51"/>
                    <a:pt x="138" y="50"/>
                    <a:pt x="138" y="50"/>
                  </a:cubicBezTo>
                  <a:cubicBezTo>
                    <a:pt x="138" y="50"/>
                    <a:pt x="134" y="50"/>
                    <a:pt x="134" y="50"/>
                  </a:cubicBezTo>
                  <a:cubicBezTo>
                    <a:pt x="134" y="50"/>
                    <a:pt x="134" y="49"/>
                    <a:pt x="134" y="51"/>
                  </a:cubicBezTo>
                  <a:cubicBezTo>
                    <a:pt x="134" y="52"/>
                    <a:pt x="135" y="54"/>
                    <a:pt x="133" y="54"/>
                  </a:cubicBezTo>
                  <a:cubicBezTo>
                    <a:pt x="131" y="55"/>
                    <a:pt x="130" y="55"/>
                    <a:pt x="130" y="55"/>
                  </a:cubicBezTo>
                  <a:cubicBezTo>
                    <a:pt x="130" y="54"/>
                    <a:pt x="128" y="53"/>
                    <a:pt x="128" y="53"/>
                  </a:cubicBezTo>
                  <a:cubicBezTo>
                    <a:pt x="128" y="53"/>
                    <a:pt x="127" y="53"/>
                    <a:pt x="126" y="53"/>
                  </a:cubicBezTo>
                  <a:cubicBezTo>
                    <a:pt x="126" y="54"/>
                    <a:pt x="124" y="54"/>
                    <a:pt x="124" y="54"/>
                  </a:cubicBezTo>
                  <a:cubicBezTo>
                    <a:pt x="124" y="56"/>
                    <a:pt x="124" y="56"/>
                    <a:pt x="124" y="56"/>
                  </a:cubicBezTo>
                  <a:cubicBezTo>
                    <a:pt x="124" y="57"/>
                    <a:pt x="124" y="57"/>
                    <a:pt x="124" y="57"/>
                  </a:cubicBezTo>
                  <a:cubicBezTo>
                    <a:pt x="124" y="57"/>
                    <a:pt x="123" y="57"/>
                    <a:pt x="123" y="57"/>
                  </a:cubicBezTo>
                  <a:cubicBezTo>
                    <a:pt x="122" y="58"/>
                    <a:pt x="121" y="58"/>
                    <a:pt x="122" y="59"/>
                  </a:cubicBezTo>
                  <a:cubicBezTo>
                    <a:pt x="122" y="59"/>
                    <a:pt x="122" y="59"/>
                    <a:pt x="122" y="61"/>
                  </a:cubicBezTo>
                  <a:cubicBezTo>
                    <a:pt x="122" y="62"/>
                    <a:pt x="122" y="62"/>
                    <a:pt x="122" y="63"/>
                  </a:cubicBezTo>
                  <a:cubicBezTo>
                    <a:pt x="121" y="64"/>
                    <a:pt x="121" y="65"/>
                    <a:pt x="120" y="66"/>
                  </a:cubicBezTo>
                  <a:cubicBezTo>
                    <a:pt x="120" y="66"/>
                    <a:pt x="119" y="67"/>
                    <a:pt x="119" y="67"/>
                  </a:cubicBezTo>
                  <a:cubicBezTo>
                    <a:pt x="118" y="68"/>
                    <a:pt x="118" y="68"/>
                    <a:pt x="117" y="68"/>
                  </a:cubicBezTo>
                  <a:cubicBezTo>
                    <a:pt x="116" y="68"/>
                    <a:pt x="116" y="69"/>
                    <a:pt x="116" y="68"/>
                  </a:cubicBezTo>
                  <a:cubicBezTo>
                    <a:pt x="116" y="66"/>
                    <a:pt x="116" y="65"/>
                    <a:pt x="116" y="63"/>
                  </a:cubicBezTo>
                  <a:cubicBezTo>
                    <a:pt x="116" y="62"/>
                    <a:pt x="117" y="62"/>
                    <a:pt x="115" y="60"/>
                  </a:cubicBezTo>
                  <a:cubicBezTo>
                    <a:pt x="114" y="58"/>
                    <a:pt x="113" y="58"/>
                    <a:pt x="113" y="57"/>
                  </a:cubicBezTo>
                  <a:cubicBezTo>
                    <a:pt x="113" y="57"/>
                    <a:pt x="113" y="56"/>
                    <a:pt x="113" y="55"/>
                  </a:cubicBezTo>
                  <a:cubicBezTo>
                    <a:pt x="113" y="54"/>
                    <a:pt x="113" y="56"/>
                    <a:pt x="113" y="52"/>
                  </a:cubicBezTo>
                  <a:cubicBezTo>
                    <a:pt x="114" y="49"/>
                    <a:pt x="113" y="48"/>
                    <a:pt x="113" y="48"/>
                  </a:cubicBezTo>
                  <a:cubicBezTo>
                    <a:pt x="113" y="48"/>
                    <a:pt x="114" y="43"/>
                    <a:pt x="114" y="43"/>
                  </a:cubicBezTo>
                  <a:cubicBezTo>
                    <a:pt x="113" y="43"/>
                    <a:pt x="110" y="43"/>
                    <a:pt x="109" y="43"/>
                  </a:cubicBezTo>
                  <a:cubicBezTo>
                    <a:pt x="108" y="43"/>
                    <a:pt x="108" y="43"/>
                    <a:pt x="107" y="43"/>
                  </a:cubicBezTo>
                  <a:cubicBezTo>
                    <a:pt x="107" y="44"/>
                    <a:pt x="106" y="43"/>
                    <a:pt x="106" y="45"/>
                  </a:cubicBezTo>
                  <a:cubicBezTo>
                    <a:pt x="105" y="47"/>
                    <a:pt x="104" y="47"/>
                    <a:pt x="104" y="49"/>
                  </a:cubicBezTo>
                  <a:cubicBezTo>
                    <a:pt x="104" y="50"/>
                    <a:pt x="104" y="52"/>
                    <a:pt x="104" y="52"/>
                  </a:cubicBezTo>
                  <a:cubicBezTo>
                    <a:pt x="104" y="53"/>
                    <a:pt x="103" y="54"/>
                    <a:pt x="103" y="54"/>
                  </a:cubicBezTo>
                  <a:cubicBezTo>
                    <a:pt x="103" y="54"/>
                    <a:pt x="103" y="55"/>
                    <a:pt x="103" y="57"/>
                  </a:cubicBezTo>
                  <a:cubicBezTo>
                    <a:pt x="102" y="59"/>
                    <a:pt x="102" y="60"/>
                    <a:pt x="102" y="61"/>
                  </a:cubicBezTo>
                  <a:cubicBezTo>
                    <a:pt x="102" y="61"/>
                    <a:pt x="102" y="61"/>
                    <a:pt x="101" y="62"/>
                  </a:cubicBezTo>
                  <a:cubicBezTo>
                    <a:pt x="100" y="63"/>
                    <a:pt x="98" y="66"/>
                    <a:pt x="97" y="66"/>
                  </a:cubicBezTo>
                  <a:cubicBezTo>
                    <a:pt x="97" y="66"/>
                    <a:pt x="97" y="66"/>
                    <a:pt x="96" y="67"/>
                  </a:cubicBezTo>
                  <a:cubicBezTo>
                    <a:pt x="96" y="67"/>
                    <a:pt x="94" y="70"/>
                    <a:pt x="93" y="70"/>
                  </a:cubicBezTo>
                  <a:cubicBezTo>
                    <a:pt x="92" y="71"/>
                    <a:pt x="93" y="71"/>
                    <a:pt x="92" y="71"/>
                  </a:cubicBezTo>
                  <a:cubicBezTo>
                    <a:pt x="92" y="70"/>
                    <a:pt x="91" y="70"/>
                    <a:pt x="91" y="69"/>
                  </a:cubicBezTo>
                  <a:cubicBezTo>
                    <a:pt x="91" y="67"/>
                    <a:pt x="91" y="67"/>
                    <a:pt x="92" y="65"/>
                  </a:cubicBezTo>
                  <a:cubicBezTo>
                    <a:pt x="92" y="64"/>
                    <a:pt x="93" y="62"/>
                    <a:pt x="93" y="62"/>
                  </a:cubicBezTo>
                  <a:cubicBezTo>
                    <a:pt x="93" y="62"/>
                    <a:pt x="94" y="61"/>
                    <a:pt x="93" y="61"/>
                  </a:cubicBezTo>
                  <a:cubicBezTo>
                    <a:pt x="92" y="61"/>
                    <a:pt x="91" y="61"/>
                    <a:pt x="90" y="61"/>
                  </a:cubicBezTo>
                  <a:cubicBezTo>
                    <a:pt x="88" y="61"/>
                    <a:pt x="86" y="62"/>
                    <a:pt x="85" y="63"/>
                  </a:cubicBezTo>
                  <a:cubicBezTo>
                    <a:pt x="84" y="63"/>
                    <a:pt x="84" y="64"/>
                    <a:pt x="82" y="66"/>
                  </a:cubicBezTo>
                  <a:cubicBezTo>
                    <a:pt x="80" y="67"/>
                    <a:pt x="80" y="67"/>
                    <a:pt x="80" y="67"/>
                  </a:cubicBezTo>
                  <a:cubicBezTo>
                    <a:pt x="79" y="69"/>
                    <a:pt x="79" y="69"/>
                    <a:pt x="79" y="69"/>
                  </a:cubicBezTo>
                  <a:cubicBezTo>
                    <a:pt x="79" y="70"/>
                    <a:pt x="79" y="70"/>
                    <a:pt x="79" y="70"/>
                  </a:cubicBezTo>
                  <a:cubicBezTo>
                    <a:pt x="79" y="70"/>
                    <a:pt x="79" y="68"/>
                    <a:pt x="79" y="68"/>
                  </a:cubicBezTo>
                  <a:cubicBezTo>
                    <a:pt x="79" y="68"/>
                    <a:pt x="78" y="68"/>
                    <a:pt x="78" y="69"/>
                  </a:cubicBezTo>
                  <a:cubicBezTo>
                    <a:pt x="78" y="69"/>
                    <a:pt x="77" y="70"/>
                    <a:pt x="77" y="70"/>
                  </a:cubicBezTo>
                  <a:cubicBezTo>
                    <a:pt x="76" y="71"/>
                    <a:pt x="76" y="72"/>
                    <a:pt x="76" y="73"/>
                  </a:cubicBezTo>
                  <a:cubicBezTo>
                    <a:pt x="75" y="74"/>
                    <a:pt x="75" y="76"/>
                    <a:pt x="74" y="76"/>
                  </a:cubicBezTo>
                  <a:cubicBezTo>
                    <a:pt x="74" y="76"/>
                    <a:pt x="74" y="77"/>
                    <a:pt x="74" y="77"/>
                  </a:cubicBezTo>
                  <a:cubicBezTo>
                    <a:pt x="73" y="77"/>
                    <a:pt x="72" y="78"/>
                    <a:pt x="72" y="78"/>
                  </a:cubicBezTo>
                  <a:cubicBezTo>
                    <a:pt x="72" y="79"/>
                    <a:pt x="71" y="77"/>
                    <a:pt x="71" y="75"/>
                  </a:cubicBezTo>
                  <a:cubicBezTo>
                    <a:pt x="72" y="74"/>
                    <a:pt x="72" y="74"/>
                    <a:pt x="72" y="73"/>
                  </a:cubicBezTo>
                  <a:cubicBezTo>
                    <a:pt x="73" y="73"/>
                    <a:pt x="73" y="71"/>
                    <a:pt x="74" y="71"/>
                  </a:cubicBezTo>
                  <a:cubicBezTo>
                    <a:pt x="74" y="71"/>
                    <a:pt x="74" y="72"/>
                    <a:pt x="74" y="70"/>
                  </a:cubicBezTo>
                  <a:cubicBezTo>
                    <a:pt x="75" y="68"/>
                    <a:pt x="75" y="67"/>
                    <a:pt x="75" y="67"/>
                  </a:cubicBezTo>
                  <a:cubicBezTo>
                    <a:pt x="75" y="67"/>
                    <a:pt x="75" y="67"/>
                    <a:pt x="75" y="66"/>
                  </a:cubicBezTo>
                  <a:cubicBezTo>
                    <a:pt x="74" y="65"/>
                    <a:pt x="74" y="66"/>
                    <a:pt x="74" y="65"/>
                  </a:cubicBezTo>
                  <a:cubicBezTo>
                    <a:pt x="75" y="64"/>
                    <a:pt x="75" y="63"/>
                    <a:pt x="75" y="62"/>
                  </a:cubicBezTo>
                  <a:cubicBezTo>
                    <a:pt x="76" y="62"/>
                    <a:pt x="76" y="61"/>
                    <a:pt x="76" y="61"/>
                  </a:cubicBezTo>
                  <a:cubicBezTo>
                    <a:pt x="76" y="61"/>
                    <a:pt x="76" y="61"/>
                    <a:pt x="76" y="60"/>
                  </a:cubicBezTo>
                  <a:cubicBezTo>
                    <a:pt x="76" y="60"/>
                    <a:pt x="75" y="59"/>
                    <a:pt x="75" y="59"/>
                  </a:cubicBezTo>
                  <a:cubicBezTo>
                    <a:pt x="75" y="59"/>
                    <a:pt x="75" y="58"/>
                    <a:pt x="75" y="58"/>
                  </a:cubicBezTo>
                  <a:cubicBezTo>
                    <a:pt x="75" y="58"/>
                    <a:pt x="76" y="57"/>
                    <a:pt x="76" y="56"/>
                  </a:cubicBezTo>
                  <a:cubicBezTo>
                    <a:pt x="75" y="56"/>
                    <a:pt x="75" y="55"/>
                    <a:pt x="74" y="54"/>
                  </a:cubicBezTo>
                  <a:cubicBezTo>
                    <a:pt x="73" y="54"/>
                    <a:pt x="73" y="54"/>
                    <a:pt x="73" y="53"/>
                  </a:cubicBezTo>
                  <a:cubicBezTo>
                    <a:pt x="73" y="53"/>
                    <a:pt x="71" y="52"/>
                    <a:pt x="71" y="52"/>
                  </a:cubicBezTo>
                  <a:cubicBezTo>
                    <a:pt x="71" y="52"/>
                    <a:pt x="72" y="50"/>
                    <a:pt x="72" y="50"/>
                  </a:cubicBezTo>
                  <a:cubicBezTo>
                    <a:pt x="72" y="50"/>
                    <a:pt x="72" y="49"/>
                    <a:pt x="73" y="49"/>
                  </a:cubicBezTo>
                  <a:cubicBezTo>
                    <a:pt x="73" y="50"/>
                    <a:pt x="73" y="51"/>
                    <a:pt x="73" y="51"/>
                  </a:cubicBezTo>
                  <a:cubicBezTo>
                    <a:pt x="73" y="52"/>
                    <a:pt x="76" y="53"/>
                    <a:pt x="76" y="53"/>
                  </a:cubicBezTo>
                  <a:cubicBezTo>
                    <a:pt x="76" y="53"/>
                    <a:pt x="78" y="52"/>
                    <a:pt x="78" y="52"/>
                  </a:cubicBezTo>
                  <a:cubicBezTo>
                    <a:pt x="79" y="52"/>
                    <a:pt x="79" y="50"/>
                    <a:pt x="79" y="50"/>
                  </a:cubicBezTo>
                  <a:cubicBezTo>
                    <a:pt x="79" y="50"/>
                    <a:pt x="78" y="50"/>
                    <a:pt x="79" y="49"/>
                  </a:cubicBezTo>
                  <a:cubicBezTo>
                    <a:pt x="80" y="49"/>
                    <a:pt x="82" y="48"/>
                    <a:pt x="82" y="48"/>
                  </a:cubicBezTo>
                  <a:cubicBezTo>
                    <a:pt x="82" y="47"/>
                    <a:pt x="83" y="47"/>
                    <a:pt x="83" y="47"/>
                  </a:cubicBezTo>
                  <a:cubicBezTo>
                    <a:pt x="83" y="47"/>
                    <a:pt x="84" y="46"/>
                    <a:pt x="84" y="46"/>
                  </a:cubicBezTo>
                  <a:cubicBezTo>
                    <a:pt x="84" y="45"/>
                    <a:pt x="85" y="45"/>
                    <a:pt x="84" y="44"/>
                  </a:cubicBezTo>
                  <a:cubicBezTo>
                    <a:pt x="84" y="44"/>
                    <a:pt x="84" y="43"/>
                    <a:pt x="84" y="42"/>
                  </a:cubicBezTo>
                  <a:cubicBezTo>
                    <a:pt x="84" y="42"/>
                    <a:pt x="86" y="43"/>
                    <a:pt x="84" y="41"/>
                  </a:cubicBezTo>
                  <a:cubicBezTo>
                    <a:pt x="82" y="40"/>
                    <a:pt x="80" y="39"/>
                    <a:pt x="81" y="39"/>
                  </a:cubicBezTo>
                  <a:cubicBezTo>
                    <a:pt x="82" y="39"/>
                    <a:pt x="83" y="39"/>
                    <a:pt x="83" y="39"/>
                  </a:cubicBezTo>
                  <a:cubicBezTo>
                    <a:pt x="84" y="39"/>
                    <a:pt x="85" y="40"/>
                    <a:pt x="85" y="39"/>
                  </a:cubicBezTo>
                  <a:cubicBezTo>
                    <a:pt x="86" y="39"/>
                    <a:pt x="86" y="39"/>
                    <a:pt x="86" y="38"/>
                  </a:cubicBezTo>
                  <a:cubicBezTo>
                    <a:pt x="85" y="37"/>
                    <a:pt x="85" y="37"/>
                    <a:pt x="85" y="37"/>
                  </a:cubicBezTo>
                  <a:cubicBezTo>
                    <a:pt x="84" y="36"/>
                    <a:pt x="84" y="36"/>
                    <a:pt x="83" y="36"/>
                  </a:cubicBezTo>
                  <a:cubicBezTo>
                    <a:pt x="83" y="36"/>
                    <a:pt x="82" y="37"/>
                    <a:pt x="83" y="35"/>
                  </a:cubicBezTo>
                  <a:cubicBezTo>
                    <a:pt x="83" y="33"/>
                    <a:pt x="83" y="33"/>
                    <a:pt x="83" y="32"/>
                  </a:cubicBezTo>
                  <a:cubicBezTo>
                    <a:pt x="83" y="32"/>
                    <a:pt x="85" y="32"/>
                    <a:pt x="83" y="32"/>
                  </a:cubicBezTo>
                  <a:cubicBezTo>
                    <a:pt x="82" y="31"/>
                    <a:pt x="82" y="31"/>
                    <a:pt x="82" y="31"/>
                  </a:cubicBezTo>
                  <a:cubicBezTo>
                    <a:pt x="81" y="31"/>
                    <a:pt x="82" y="31"/>
                    <a:pt x="80" y="31"/>
                  </a:cubicBezTo>
                  <a:cubicBezTo>
                    <a:pt x="79" y="31"/>
                    <a:pt x="80" y="29"/>
                    <a:pt x="80" y="29"/>
                  </a:cubicBezTo>
                  <a:cubicBezTo>
                    <a:pt x="80" y="28"/>
                    <a:pt x="81" y="24"/>
                    <a:pt x="81" y="24"/>
                  </a:cubicBezTo>
                  <a:cubicBezTo>
                    <a:pt x="80" y="23"/>
                    <a:pt x="80" y="23"/>
                    <a:pt x="80" y="23"/>
                  </a:cubicBezTo>
                  <a:cubicBezTo>
                    <a:pt x="80" y="23"/>
                    <a:pt x="79" y="21"/>
                    <a:pt x="79" y="21"/>
                  </a:cubicBezTo>
                  <a:cubicBezTo>
                    <a:pt x="79" y="20"/>
                    <a:pt x="79" y="19"/>
                    <a:pt x="78" y="19"/>
                  </a:cubicBezTo>
                  <a:cubicBezTo>
                    <a:pt x="78" y="19"/>
                    <a:pt x="77" y="18"/>
                    <a:pt x="77" y="18"/>
                  </a:cubicBezTo>
                  <a:cubicBezTo>
                    <a:pt x="77" y="18"/>
                    <a:pt x="76" y="18"/>
                    <a:pt x="76" y="17"/>
                  </a:cubicBezTo>
                  <a:cubicBezTo>
                    <a:pt x="76" y="16"/>
                    <a:pt x="76" y="15"/>
                    <a:pt x="76" y="15"/>
                  </a:cubicBezTo>
                  <a:cubicBezTo>
                    <a:pt x="76" y="14"/>
                    <a:pt x="76" y="13"/>
                    <a:pt x="76" y="13"/>
                  </a:cubicBezTo>
                  <a:cubicBezTo>
                    <a:pt x="74" y="8"/>
                    <a:pt x="74" y="8"/>
                    <a:pt x="74" y="8"/>
                  </a:cubicBezTo>
                  <a:cubicBezTo>
                    <a:pt x="74" y="7"/>
                    <a:pt x="74" y="7"/>
                    <a:pt x="74" y="7"/>
                  </a:cubicBezTo>
                  <a:cubicBezTo>
                    <a:pt x="73" y="5"/>
                    <a:pt x="73" y="5"/>
                    <a:pt x="73" y="5"/>
                  </a:cubicBezTo>
                  <a:cubicBezTo>
                    <a:pt x="72" y="5"/>
                    <a:pt x="72" y="5"/>
                    <a:pt x="72" y="5"/>
                  </a:cubicBezTo>
                  <a:cubicBezTo>
                    <a:pt x="72" y="3"/>
                    <a:pt x="72" y="3"/>
                    <a:pt x="72" y="3"/>
                  </a:cubicBezTo>
                  <a:cubicBezTo>
                    <a:pt x="72" y="3"/>
                    <a:pt x="71" y="3"/>
                    <a:pt x="71" y="4"/>
                  </a:cubicBezTo>
                  <a:cubicBezTo>
                    <a:pt x="71" y="4"/>
                    <a:pt x="71" y="5"/>
                    <a:pt x="70" y="5"/>
                  </a:cubicBezTo>
                  <a:cubicBezTo>
                    <a:pt x="69" y="5"/>
                    <a:pt x="68" y="4"/>
                    <a:pt x="68" y="4"/>
                  </a:cubicBezTo>
                  <a:cubicBezTo>
                    <a:pt x="68" y="4"/>
                    <a:pt x="68" y="3"/>
                    <a:pt x="68" y="2"/>
                  </a:cubicBezTo>
                  <a:cubicBezTo>
                    <a:pt x="67" y="2"/>
                    <a:pt x="64" y="0"/>
                    <a:pt x="64" y="0"/>
                  </a:cubicBezTo>
                  <a:cubicBezTo>
                    <a:pt x="64" y="0"/>
                    <a:pt x="64" y="0"/>
                    <a:pt x="64" y="1"/>
                  </a:cubicBezTo>
                  <a:cubicBezTo>
                    <a:pt x="64" y="1"/>
                    <a:pt x="63" y="2"/>
                    <a:pt x="63" y="1"/>
                  </a:cubicBezTo>
                  <a:cubicBezTo>
                    <a:pt x="62" y="1"/>
                    <a:pt x="60" y="0"/>
                    <a:pt x="60" y="0"/>
                  </a:cubicBezTo>
                  <a:cubicBezTo>
                    <a:pt x="60" y="0"/>
                    <a:pt x="60" y="1"/>
                    <a:pt x="60" y="1"/>
                  </a:cubicBezTo>
                  <a:cubicBezTo>
                    <a:pt x="60" y="2"/>
                    <a:pt x="61" y="3"/>
                    <a:pt x="61" y="3"/>
                  </a:cubicBezTo>
                  <a:cubicBezTo>
                    <a:pt x="60" y="3"/>
                    <a:pt x="59" y="3"/>
                    <a:pt x="59" y="3"/>
                  </a:cubicBezTo>
                  <a:cubicBezTo>
                    <a:pt x="59" y="3"/>
                    <a:pt x="59" y="3"/>
                    <a:pt x="58" y="3"/>
                  </a:cubicBezTo>
                  <a:cubicBezTo>
                    <a:pt x="58" y="2"/>
                    <a:pt x="57" y="2"/>
                    <a:pt x="57" y="2"/>
                  </a:cubicBezTo>
                  <a:cubicBezTo>
                    <a:pt x="57" y="3"/>
                    <a:pt x="56" y="3"/>
                    <a:pt x="56" y="5"/>
                  </a:cubicBezTo>
                  <a:cubicBezTo>
                    <a:pt x="57" y="6"/>
                    <a:pt x="56" y="6"/>
                    <a:pt x="57" y="7"/>
                  </a:cubicBezTo>
                  <a:cubicBezTo>
                    <a:pt x="58" y="7"/>
                    <a:pt x="58" y="7"/>
                    <a:pt x="59" y="8"/>
                  </a:cubicBezTo>
                  <a:cubicBezTo>
                    <a:pt x="60" y="8"/>
                    <a:pt x="60" y="8"/>
                    <a:pt x="61" y="8"/>
                  </a:cubicBezTo>
                  <a:cubicBezTo>
                    <a:pt x="61" y="8"/>
                    <a:pt x="62" y="8"/>
                    <a:pt x="63" y="8"/>
                  </a:cubicBezTo>
                  <a:cubicBezTo>
                    <a:pt x="63" y="8"/>
                    <a:pt x="64" y="7"/>
                    <a:pt x="64" y="7"/>
                  </a:cubicBezTo>
                  <a:cubicBezTo>
                    <a:pt x="64" y="7"/>
                    <a:pt x="64" y="8"/>
                    <a:pt x="64" y="8"/>
                  </a:cubicBezTo>
                  <a:cubicBezTo>
                    <a:pt x="64" y="8"/>
                    <a:pt x="63" y="8"/>
                    <a:pt x="64" y="9"/>
                  </a:cubicBezTo>
                  <a:cubicBezTo>
                    <a:pt x="64" y="9"/>
                    <a:pt x="64" y="9"/>
                    <a:pt x="64" y="9"/>
                  </a:cubicBezTo>
                  <a:cubicBezTo>
                    <a:pt x="65" y="10"/>
                    <a:pt x="65" y="10"/>
                    <a:pt x="65" y="10"/>
                  </a:cubicBezTo>
                  <a:cubicBezTo>
                    <a:pt x="65" y="10"/>
                    <a:pt x="65" y="10"/>
                    <a:pt x="65" y="10"/>
                  </a:cubicBezTo>
                  <a:cubicBezTo>
                    <a:pt x="65" y="10"/>
                    <a:pt x="65" y="11"/>
                    <a:pt x="65" y="11"/>
                  </a:cubicBezTo>
                  <a:cubicBezTo>
                    <a:pt x="65" y="12"/>
                    <a:pt x="65" y="12"/>
                    <a:pt x="66" y="12"/>
                  </a:cubicBezTo>
                  <a:cubicBezTo>
                    <a:pt x="67" y="13"/>
                    <a:pt x="67" y="12"/>
                    <a:pt x="67" y="12"/>
                  </a:cubicBezTo>
                  <a:cubicBezTo>
                    <a:pt x="67" y="12"/>
                    <a:pt x="69" y="14"/>
                    <a:pt x="68" y="14"/>
                  </a:cubicBezTo>
                  <a:cubicBezTo>
                    <a:pt x="68" y="14"/>
                    <a:pt x="67" y="13"/>
                    <a:pt x="68" y="14"/>
                  </a:cubicBezTo>
                  <a:cubicBezTo>
                    <a:pt x="69" y="15"/>
                    <a:pt x="70" y="15"/>
                    <a:pt x="70" y="15"/>
                  </a:cubicBezTo>
                  <a:cubicBezTo>
                    <a:pt x="70" y="15"/>
                    <a:pt x="69" y="16"/>
                    <a:pt x="67" y="15"/>
                  </a:cubicBezTo>
                  <a:cubicBezTo>
                    <a:pt x="66" y="15"/>
                    <a:pt x="66" y="15"/>
                    <a:pt x="66" y="15"/>
                  </a:cubicBezTo>
                  <a:cubicBezTo>
                    <a:pt x="66" y="15"/>
                    <a:pt x="65" y="14"/>
                    <a:pt x="65" y="14"/>
                  </a:cubicBezTo>
                  <a:cubicBezTo>
                    <a:pt x="64" y="13"/>
                    <a:pt x="64" y="12"/>
                    <a:pt x="64" y="12"/>
                  </a:cubicBezTo>
                  <a:cubicBezTo>
                    <a:pt x="64" y="12"/>
                    <a:pt x="63" y="11"/>
                    <a:pt x="62" y="11"/>
                  </a:cubicBezTo>
                  <a:cubicBezTo>
                    <a:pt x="61" y="10"/>
                    <a:pt x="60" y="11"/>
                    <a:pt x="59" y="11"/>
                  </a:cubicBezTo>
                  <a:cubicBezTo>
                    <a:pt x="59" y="11"/>
                    <a:pt x="58" y="12"/>
                    <a:pt x="57" y="12"/>
                  </a:cubicBezTo>
                  <a:cubicBezTo>
                    <a:pt x="57" y="12"/>
                    <a:pt x="57" y="13"/>
                    <a:pt x="57" y="14"/>
                  </a:cubicBezTo>
                  <a:cubicBezTo>
                    <a:pt x="58" y="15"/>
                    <a:pt x="60" y="19"/>
                    <a:pt x="60" y="19"/>
                  </a:cubicBezTo>
                  <a:cubicBezTo>
                    <a:pt x="60" y="19"/>
                    <a:pt x="62" y="21"/>
                    <a:pt x="62" y="21"/>
                  </a:cubicBezTo>
                  <a:cubicBezTo>
                    <a:pt x="62" y="21"/>
                    <a:pt x="63" y="23"/>
                    <a:pt x="63" y="23"/>
                  </a:cubicBezTo>
                  <a:cubicBezTo>
                    <a:pt x="63" y="23"/>
                    <a:pt x="63" y="23"/>
                    <a:pt x="64" y="24"/>
                  </a:cubicBezTo>
                  <a:cubicBezTo>
                    <a:pt x="65" y="24"/>
                    <a:pt x="64" y="24"/>
                    <a:pt x="64" y="24"/>
                  </a:cubicBezTo>
                  <a:cubicBezTo>
                    <a:pt x="64" y="25"/>
                    <a:pt x="63" y="26"/>
                    <a:pt x="63" y="27"/>
                  </a:cubicBezTo>
                  <a:cubicBezTo>
                    <a:pt x="63" y="27"/>
                    <a:pt x="63" y="26"/>
                    <a:pt x="63" y="27"/>
                  </a:cubicBezTo>
                  <a:cubicBezTo>
                    <a:pt x="63" y="29"/>
                    <a:pt x="63" y="31"/>
                    <a:pt x="63" y="31"/>
                  </a:cubicBezTo>
                  <a:cubicBezTo>
                    <a:pt x="62" y="33"/>
                    <a:pt x="62" y="33"/>
                    <a:pt x="62" y="33"/>
                  </a:cubicBezTo>
                  <a:cubicBezTo>
                    <a:pt x="61" y="34"/>
                    <a:pt x="61" y="34"/>
                    <a:pt x="61" y="34"/>
                  </a:cubicBezTo>
                  <a:cubicBezTo>
                    <a:pt x="61" y="34"/>
                    <a:pt x="61" y="34"/>
                    <a:pt x="61" y="34"/>
                  </a:cubicBezTo>
                  <a:cubicBezTo>
                    <a:pt x="60" y="34"/>
                    <a:pt x="61" y="33"/>
                    <a:pt x="61" y="33"/>
                  </a:cubicBezTo>
                  <a:cubicBezTo>
                    <a:pt x="61" y="32"/>
                    <a:pt x="61" y="32"/>
                    <a:pt x="61" y="32"/>
                  </a:cubicBezTo>
                  <a:cubicBezTo>
                    <a:pt x="62" y="30"/>
                    <a:pt x="62" y="30"/>
                    <a:pt x="62" y="30"/>
                  </a:cubicBezTo>
                  <a:cubicBezTo>
                    <a:pt x="62" y="30"/>
                    <a:pt x="61" y="29"/>
                    <a:pt x="60" y="29"/>
                  </a:cubicBezTo>
                  <a:cubicBezTo>
                    <a:pt x="60" y="28"/>
                    <a:pt x="60" y="29"/>
                    <a:pt x="59" y="29"/>
                  </a:cubicBezTo>
                  <a:cubicBezTo>
                    <a:pt x="59" y="29"/>
                    <a:pt x="58" y="31"/>
                    <a:pt x="58" y="31"/>
                  </a:cubicBezTo>
                  <a:cubicBezTo>
                    <a:pt x="58" y="31"/>
                    <a:pt x="57" y="31"/>
                    <a:pt x="58" y="30"/>
                  </a:cubicBezTo>
                  <a:cubicBezTo>
                    <a:pt x="58" y="30"/>
                    <a:pt x="58" y="28"/>
                    <a:pt x="59" y="28"/>
                  </a:cubicBezTo>
                  <a:cubicBezTo>
                    <a:pt x="59" y="28"/>
                    <a:pt x="59" y="28"/>
                    <a:pt x="59" y="28"/>
                  </a:cubicBezTo>
                  <a:cubicBezTo>
                    <a:pt x="59" y="27"/>
                    <a:pt x="60" y="27"/>
                    <a:pt x="60" y="26"/>
                  </a:cubicBezTo>
                  <a:cubicBezTo>
                    <a:pt x="60" y="25"/>
                    <a:pt x="60" y="25"/>
                    <a:pt x="60" y="24"/>
                  </a:cubicBezTo>
                  <a:cubicBezTo>
                    <a:pt x="59" y="24"/>
                    <a:pt x="59" y="23"/>
                    <a:pt x="59" y="22"/>
                  </a:cubicBezTo>
                  <a:cubicBezTo>
                    <a:pt x="58" y="22"/>
                    <a:pt x="57" y="23"/>
                    <a:pt x="57" y="23"/>
                  </a:cubicBezTo>
                  <a:cubicBezTo>
                    <a:pt x="57" y="24"/>
                    <a:pt x="57" y="24"/>
                    <a:pt x="57" y="24"/>
                  </a:cubicBezTo>
                  <a:cubicBezTo>
                    <a:pt x="56" y="25"/>
                    <a:pt x="56" y="25"/>
                    <a:pt x="55" y="26"/>
                  </a:cubicBezTo>
                  <a:cubicBezTo>
                    <a:pt x="54" y="27"/>
                    <a:pt x="54" y="27"/>
                    <a:pt x="54" y="27"/>
                  </a:cubicBezTo>
                  <a:cubicBezTo>
                    <a:pt x="54" y="27"/>
                    <a:pt x="55" y="25"/>
                    <a:pt x="55" y="25"/>
                  </a:cubicBezTo>
                  <a:cubicBezTo>
                    <a:pt x="55" y="25"/>
                    <a:pt x="56" y="24"/>
                    <a:pt x="55" y="24"/>
                  </a:cubicBezTo>
                  <a:cubicBezTo>
                    <a:pt x="55" y="24"/>
                    <a:pt x="55" y="24"/>
                    <a:pt x="55" y="23"/>
                  </a:cubicBezTo>
                  <a:cubicBezTo>
                    <a:pt x="55" y="23"/>
                    <a:pt x="55" y="22"/>
                    <a:pt x="55" y="22"/>
                  </a:cubicBezTo>
                  <a:cubicBezTo>
                    <a:pt x="55" y="22"/>
                    <a:pt x="56" y="22"/>
                    <a:pt x="55" y="22"/>
                  </a:cubicBezTo>
                  <a:cubicBezTo>
                    <a:pt x="54" y="22"/>
                    <a:pt x="54" y="22"/>
                    <a:pt x="54" y="22"/>
                  </a:cubicBezTo>
                  <a:cubicBezTo>
                    <a:pt x="54" y="22"/>
                    <a:pt x="53" y="22"/>
                    <a:pt x="53" y="22"/>
                  </a:cubicBezTo>
                  <a:cubicBezTo>
                    <a:pt x="53" y="21"/>
                    <a:pt x="54" y="21"/>
                    <a:pt x="54" y="21"/>
                  </a:cubicBezTo>
                  <a:cubicBezTo>
                    <a:pt x="54" y="20"/>
                    <a:pt x="55" y="19"/>
                    <a:pt x="55" y="19"/>
                  </a:cubicBezTo>
                  <a:cubicBezTo>
                    <a:pt x="55" y="19"/>
                    <a:pt x="54" y="18"/>
                    <a:pt x="54" y="18"/>
                  </a:cubicBezTo>
                  <a:cubicBezTo>
                    <a:pt x="53" y="17"/>
                    <a:pt x="53" y="16"/>
                    <a:pt x="53" y="16"/>
                  </a:cubicBezTo>
                  <a:cubicBezTo>
                    <a:pt x="53" y="16"/>
                    <a:pt x="53" y="18"/>
                    <a:pt x="53" y="15"/>
                  </a:cubicBezTo>
                  <a:cubicBezTo>
                    <a:pt x="52" y="12"/>
                    <a:pt x="52" y="12"/>
                    <a:pt x="52" y="12"/>
                  </a:cubicBezTo>
                  <a:cubicBezTo>
                    <a:pt x="51" y="11"/>
                    <a:pt x="51" y="11"/>
                    <a:pt x="51" y="11"/>
                  </a:cubicBezTo>
                  <a:cubicBezTo>
                    <a:pt x="51" y="11"/>
                    <a:pt x="51" y="10"/>
                    <a:pt x="50" y="10"/>
                  </a:cubicBezTo>
                  <a:cubicBezTo>
                    <a:pt x="50" y="9"/>
                    <a:pt x="48" y="8"/>
                    <a:pt x="48" y="8"/>
                  </a:cubicBezTo>
                  <a:cubicBezTo>
                    <a:pt x="48" y="7"/>
                    <a:pt x="48" y="7"/>
                    <a:pt x="48" y="7"/>
                  </a:cubicBezTo>
                  <a:cubicBezTo>
                    <a:pt x="48" y="7"/>
                    <a:pt x="48" y="6"/>
                    <a:pt x="48" y="6"/>
                  </a:cubicBezTo>
                  <a:cubicBezTo>
                    <a:pt x="47" y="6"/>
                    <a:pt x="46" y="5"/>
                    <a:pt x="46" y="6"/>
                  </a:cubicBezTo>
                  <a:cubicBezTo>
                    <a:pt x="46" y="7"/>
                    <a:pt x="46" y="7"/>
                    <a:pt x="46" y="8"/>
                  </a:cubicBezTo>
                  <a:cubicBezTo>
                    <a:pt x="45" y="8"/>
                    <a:pt x="43" y="8"/>
                    <a:pt x="43" y="8"/>
                  </a:cubicBezTo>
                  <a:cubicBezTo>
                    <a:pt x="43" y="8"/>
                    <a:pt x="43" y="9"/>
                    <a:pt x="43" y="9"/>
                  </a:cubicBezTo>
                  <a:cubicBezTo>
                    <a:pt x="41" y="10"/>
                    <a:pt x="41" y="10"/>
                    <a:pt x="41" y="10"/>
                  </a:cubicBezTo>
                  <a:cubicBezTo>
                    <a:pt x="41" y="10"/>
                    <a:pt x="41" y="9"/>
                    <a:pt x="41" y="10"/>
                  </a:cubicBezTo>
                  <a:cubicBezTo>
                    <a:pt x="42" y="11"/>
                    <a:pt x="42" y="12"/>
                    <a:pt x="42" y="13"/>
                  </a:cubicBezTo>
                  <a:cubicBezTo>
                    <a:pt x="42" y="13"/>
                    <a:pt x="44" y="14"/>
                    <a:pt x="43" y="14"/>
                  </a:cubicBezTo>
                  <a:cubicBezTo>
                    <a:pt x="43" y="14"/>
                    <a:pt x="41" y="14"/>
                    <a:pt x="41" y="14"/>
                  </a:cubicBezTo>
                  <a:cubicBezTo>
                    <a:pt x="41" y="14"/>
                    <a:pt x="40" y="13"/>
                    <a:pt x="40" y="12"/>
                  </a:cubicBezTo>
                  <a:cubicBezTo>
                    <a:pt x="40" y="12"/>
                    <a:pt x="39" y="11"/>
                    <a:pt x="38" y="11"/>
                  </a:cubicBezTo>
                  <a:cubicBezTo>
                    <a:pt x="38" y="11"/>
                    <a:pt x="37" y="11"/>
                    <a:pt x="36" y="12"/>
                  </a:cubicBezTo>
                  <a:cubicBezTo>
                    <a:pt x="36" y="13"/>
                    <a:pt x="36" y="12"/>
                    <a:pt x="36" y="14"/>
                  </a:cubicBezTo>
                  <a:cubicBezTo>
                    <a:pt x="36" y="16"/>
                    <a:pt x="36" y="18"/>
                    <a:pt x="36" y="18"/>
                  </a:cubicBezTo>
                  <a:cubicBezTo>
                    <a:pt x="36" y="18"/>
                    <a:pt x="37" y="19"/>
                    <a:pt x="38" y="20"/>
                  </a:cubicBezTo>
                  <a:cubicBezTo>
                    <a:pt x="38" y="20"/>
                    <a:pt x="39" y="23"/>
                    <a:pt x="39" y="23"/>
                  </a:cubicBezTo>
                  <a:cubicBezTo>
                    <a:pt x="39" y="24"/>
                    <a:pt x="40" y="25"/>
                    <a:pt x="40" y="25"/>
                  </a:cubicBezTo>
                  <a:cubicBezTo>
                    <a:pt x="40" y="25"/>
                    <a:pt x="35" y="23"/>
                    <a:pt x="35" y="22"/>
                  </a:cubicBezTo>
                  <a:cubicBezTo>
                    <a:pt x="35" y="21"/>
                    <a:pt x="35" y="19"/>
                    <a:pt x="34" y="19"/>
                  </a:cubicBezTo>
                  <a:cubicBezTo>
                    <a:pt x="34" y="19"/>
                    <a:pt x="34" y="18"/>
                    <a:pt x="33" y="19"/>
                  </a:cubicBezTo>
                  <a:cubicBezTo>
                    <a:pt x="32" y="19"/>
                    <a:pt x="32" y="19"/>
                    <a:pt x="31" y="19"/>
                  </a:cubicBezTo>
                  <a:cubicBezTo>
                    <a:pt x="31" y="20"/>
                    <a:pt x="31" y="21"/>
                    <a:pt x="31" y="21"/>
                  </a:cubicBezTo>
                  <a:cubicBezTo>
                    <a:pt x="31" y="21"/>
                    <a:pt x="31" y="22"/>
                    <a:pt x="31" y="23"/>
                  </a:cubicBezTo>
                  <a:cubicBezTo>
                    <a:pt x="32" y="25"/>
                    <a:pt x="32" y="25"/>
                    <a:pt x="32" y="26"/>
                  </a:cubicBezTo>
                  <a:cubicBezTo>
                    <a:pt x="33" y="27"/>
                    <a:pt x="34" y="27"/>
                    <a:pt x="34" y="28"/>
                  </a:cubicBezTo>
                  <a:cubicBezTo>
                    <a:pt x="34" y="28"/>
                    <a:pt x="35" y="29"/>
                    <a:pt x="35" y="29"/>
                  </a:cubicBezTo>
                  <a:cubicBezTo>
                    <a:pt x="35" y="29"/>
                    <a:pt x="34" y="31"/>
                    <a:pt x="34" y="31"/>
                  </a:cubicBezTo>
                  <a:cubicBezTo>
                    <a:pt x="34" y="32"/>
                    <a:pt x="33" y="33"/>
                    <a:pt x="33" y="33"/>
                  </a:cubicBezTo>
                  <a:cubicBezTo>
                    <a:pt x="33" y="33"/>
                    <a:pt x="35" y="34"/>
                    <a:pt x="35" y="34"/>
                  </a:cubicBezTo>
                  <a:cubicBezTo>
                    <a:pt x="35" y="34"/>
                    <a:pt x="36" y="35"/>
                    <a:pt x="35" y="36"/>
                  </a:cubicBezTo>
                  <a:cubicBezTo>
                    <a:pt x="34" y="36"/>
                    <a:pt x="34" y="36"/>
                    <a:pt x="33" y="36"/>
                  </a:cubicBezTo>
                  <a:cubicBezTo>
                    <a:pt x="33" y="35"/>
                    <a:pt x="32" y="36"/>
                    <a:pt x="32" y="34"/>
                  </a:cubicBezTo>
                  <a:cubicBezTo>
                    <a:pt x="33" y="33"/>
                    <a:pt x="33" y="32"/>
                    <a:pt x="33" y="32"/>
                  </a:cubicBezTo>
                  <a:cubicBezTo>
                    <a:pt x="32" y="32"/>
                    <a:pt x="31" y="30"/>
                    <a:pt x="31" y="30"/>
                  </a:cubicBezTo>
                  <a:cubicBezTo>
                    <a:pt x="31" y="30"/>
                    <a:pt x="33" y="33"/>
                    <a:pt x="30" y="28"/>
                  </a:cubicBezTo>
                  <a:cubicBezTo>
                    <a:pt x="28" y="24"/>
                    <a:pt x="28" y="24"/>
                    <a:pt x="28" y="24"/>
                  </a:cubicBezTo>
                  <a:cubicBezTo>
                    <a:pt x="28" y="22"/>
                    <a:pt x="28" y="22"/>
                    <a:pt x="28" y="22"/>
                  </a:cubicBezTo>
                  <a:cubicBezTo>
                    <a:pt x="28" y="22"/>
                    <a:pt x="27" y="22"/>
                    <a:pt x="27" y="22"/>
                  </a:cubicBezTo>
                  <a:cubicBezTo>
                    <a:pt x="27" y="22"/>
                    <a:pt x="26" y="21"/>
                    <a:pt x="26" y="21"/>
                  </a:cubicBezTo>
                  <a:cubicBezTo>
                    <a:pt x="26" y="21"/>
                    <a:pt x="24" y="21"/>
                    <a:pt x="24" y="21"/>
                  </a:cubicBezTo>
                  <a:cubicBezTo>
                    <a:pt x="24" y="22"/>
                    <a:pt x="24" y="22"/>
                    <a:pt x="24" y="23"/>
                  </a:cubicBezTo>
                  <a:cubicBezTo>
                    <a:pt x="23" y="23"/>
                    <a:pt x="23" y="25"/>
                    <a:pt x="23" y="25"/>
                  </a:cubicBezTo>
                  <a:cubicBezTo>
                    <a:pt x="22" y="25"/>
                    <a:pt x="22" y="27"/>
                    <a:pt x="22" y="27"/>
                  </a:cubicBezTo>
                  <a:cubicBezTo>
                    <a:pt x="22" y="27"/>
                    <a:pt x="23" y="27"/>
                    <a:pt x="23" y="28"/>
                  </a:cubicBezTo>
                  <a:cubicBezTo>
                    <a:pt x="24" y="29"/>
                    <a:pt x="24" y="30"/>
                    <a:pt x="24" y="30"/>
                  </a:cubicBezTo>
                  <a:cubicBezTo>
                    <a:pt x="24" y="30"/>
                    <a:pt x="23" y="29"/>
                    <a:pt x="23" y="29"/>
                  </a:cubicBezTo>
                  <a:cubicBezTo>
                    <a:pt x="22" y="29"/>
                    <a:pt x="22" y="29"/>
                    <a:pt x="22" y="29"/>
                  </a:cubicBezTo>
                  <a:cubicBezTo>
                    <a:pt x="21" y="30"/>
                    <a:pt x="21" y="30"/>
                    <a:pt x="21" y="30"/>
                  </a:cubicBezTo>
                  <a:cubicBezTo>
                    <a:pt x="21" y="30"/>
                    <a:pt x="21" y="30"/>
                    <a:pt x="21" y="30"/>
                  </a:cubicBezTo>
                  <a:cubicBezTo>
                    <a:pt x="21" y="30"/>
                    <a:pt x="21" y="32"/>
                    <a:pt x="21" y="32"/>
                  </a:cubicBezTo>
                  <a:cubicBezTo>
                    <a:pt x="21" y="32"/>
                    <a:pt x="22" y="33"/>
                    <a:pt x="22" y="33"/>
                  </a:cubicBezTo>
                  <a:cubicBezTo>
                    <a:pt x="22" y="33"/>
                    <a:pt x="22" y="34"/>
                    <a:pt x="22" y="34"/>
                  </a:cubicBezTo>
                  <a:cubicBezTo>
                    <a:pt x="22" y="34"/>
                    <a:pt x="23" y="35"/>
                    <a:pt x="23" y="35"/>
                  </a:cubicBezTo>
                  <a:cubicBezTo>
                    <a:pt x="23" y="36"/>
                    <a:pt x="23" y="36"/>
                    <a:pt x="23" y="36"/>
                  </a:cubicBezTo>
                  <a:cubicBezTo>
                    <a:pt x="23" y="36"/>
                    <a:pt x="23" y="36"/>
                    <a:pt x="23" y="36"/>
                  </a:cubicBezTo>
                  <a:cubicBezTo>
                    <a:pt x="22" y="36"/>
                    <a:pt x="23" y="37"/>
                    <a:pt x="22" y="36"/>
                  </a:cubicBezTo>
                  <a:cubicBezTo>
                    <a:pt x="21" y="35"/>
                    <a:pt x="21" y="36"/>
                    <a:pt x="20" y="35"/>
                  </a:cubicBezTo>
                  <a:cubicBezTo>
                    <a:pt x="20" y="33"/>
                    <a:pt x="20" y="33"/>
                    <a:pt x="20" y="33"/>
                  </a:cubicBezTo>
                  <a:cubicBezTo>
                    <a:pt x="20" y="33"/>
                    <a:pt x="21" y="32"/>
                    <a:pt x="19" y="31"/>
                  </a:cubicBezTo>
                  <a:cubicBezTo>
                    <a:pt x="18" y="29"/>
                    <a:pt x="18" y="28"/>
                    <a:pt x="18" y="28"/>
                  </a:cubicBezTo>
                  <a:cubicBezTo>
                    <a:pt x="18" y="28"/>
                    <a:pt x="17" y="27"/>
                    <a:pt x="16" y="27"/>
                  </a:cubicBezTo>
                  <a:cubicBezTo>
                    <a:pt x="16" y="28"/>
                    <a:pt x="16" y="28"/>
                    <a:pt x="15" y="28"/>
                  </a:cubicBezTo>
                  <a:cubicBezTo>
                    <a:pt x="14" y="29"/>
                    <a:pt x="14" y="29"/>
                    <a:pt x="13" y="29"/>
                  </a:cubicBezTo>
                  <a:cubicBezTo>
                    <a:pt x="13" y="29"/>
                    <a:pt x="11" y="29"/>
                    <a:pt x="11" y="29"/>
                  </a:cubicBezTo>
                  <a:cubicBezTo>
                    <a:pt x="11" y="29"/>
                    <a:pt x="11" y="29"/>
                    <a:pt x="9" y="30"/>
                  </a:cubicBezTo>
                  <a:cubicBezTo>
                    <a:pt x="8" y="32"/>
                    <a:pt x="7" y="32"/>
                    <a:pt x="8" y="32"/>
                  </a:cubicBezTo>
                  <a:cubicBezTo>
                    <a:pt x="9" y="33"/>
                    <a:pt x="11" y="33"/>
                    <a:pt x="11" y="33"/>
                  </a:cubicBezTo>
                  <a:cubicBezTo>
                    <a:pt x="11" y="33"/>
                    <a:pt x="12" y="33"/>
                    <a:pt x="13" y="34"/>
                  </a:cubicBezTo>
                  <a:cubicBezTo>
                    <a:pt x="14" y="34"/>
                    <a:pt x="16" y="36"/>
                    <a:pt x="16" y="36"/>
                  </a:cubicBezTo>
                  <a:cubicBezTo>
                    <a:pt x="18" y="39"/>
                    <a:pt x="18" y="39"/>
                    <a:pt x="18" y="39"/>
                  </a:cubicBezTo>
                  <a:cubicBezTo>
                    <a:pt x="18" y="39"/>
                    <a:pt x="18" y="40"/>
                    <a:pt x="18" y="40"/>
                  </a:cubicBezTo>
                  <a:cubicBezTo>
                    <a:pt x="18" y="40"/>
                    <a:pt x="18" y="40"/>
                    <a:pt x="18" y="41"/>
                  </a:cubicBezTo>
                  <a:cubicBezTo>
                    <a:pt x="18" y="41"/>
                    <a:pt x="18" y="42"/>
                    <a:pt x="18" y="42"/>
                  </a:cubicBezTo>
                  <a:cubicBezTo>
                    <a:pt x="18" y="42"/>
                    <a:pt x="19" y="43"/>
                    <a:pt x="20" y="44"/>
                  </a:cubicBezTo>
                  <a:cubicBezTo>
                    <a:pt x="21" y="44"/>
                    <a:pt x="21" y="44"/>
                    <a:pt x="22" y="44"/>
                  </a:cubicBezTo>
                  <a:cubicBezTo>
                    <a:pt x="23" y="44"/>
                    <a:pt x="22" y="44"/>
                    <a:pt x="23" y="44"/>
                  </a:cubicBezTo>
                  <a:cubicBezTo>
                    <a:pt x="25" y="43"/>
                    <a:pt x="25" y="43"/>
                    <a:pt x="25" y="43"/>
                  </a:cubicBezTo>
                  <a:cubicBezTo>
                    <a:pt x="25" y="43"/>
                    <a:pt x="25" y="43"/>
                    <a:pt x="26" y="43"/>
                  </a:cubicBezTo>
                  <a:cubicBezTo>
                    <a:pt x="28" y="43"/>
                    <a:pt x="27" y="44"/>
                    <a:pt x="28" y="44"/>
                  </a:cubicBezTo>
                  <a:cubicBezTo>
                    <a:pt x="28" y="43"/>
                    <a:pt x="30" y="43"/>
                    <a:pt x="30" y="43"/>
                  </a:cubicBezTo>
                  <a:cubicBezTo>
                    <a:pt x="31" y="43"/>
                    <a:pt x="31" y="42"/>
                    <a:pt x="32" y="43"/>
                  </a:cubicBezTo>
                  <a:cubicBezTo>
                    <a:pt x="32" y="44"/>
                    <a:pt x="32" y="44"/>
                    <a:pt x="32" y="45"/>
                  </a:cubicBezTo>
                  <a:cubicBezTo>
                    <a:pt x="33" y="45"/>
                    <a:pt x="34" y="46"/>
                    <a:pt x="34" y="46"/>
                  </a:cubicBezTo>
                  <a:cubicBezTo>
                    <a:pt x="36" y="46"/>
                    <a:pt x="36" y="46"/>
                    <a:pt x="36" y="46"/>
                  </a:cubicBezTo>
                  <a:cubicBezTo>
                    <a:pt x="36" y="46"/>
                    <a:pt x="36" y="45"/>
                    <a:pt x="37" y="45"/>
                  </a:cubicBezTo>
                  <a:cubicBezTo>
                    <a:pt x="37" y="44"/>
                    <a:pt x="38" y="43"/>
                    <a:pt x="38" y="43"/>
                  </a:cubicBezTo>
                  <a:cubicBezTo>
                    <a:pt x="38" y="43"/>
                    <a:pt x="37" y="43"/>
                    <a:pt x="38" y="44"/>
                  </a:cubicBezTo>
                  <a:cubicBezTo>
                    <a:pt x="39" y="44"/>
                    <a:pt x="39" y="44"/>
                    <a:pt x="40" y="45"/>
                  </a:cubicBezTo>
                  <a:cubicBezTo>
                    <a:pt x="40" y="45"/>
                    <a:pt x="42" y="44"/>
                    <a:pt x="42" y="44"/>
                  </a:cubicBezTo>
                  <a:cubicBezTo>
                    <a:pt x="43" y="44"/>
                    <a:pt x="43" y="44"/>
                    <a:pt x="43" y="44"/>
                  </a:cubicBezTo>
                  <a:cubicBezTo>
                    <a:pt x="43" y="44"/>
                    <a:pt x="42" y="45"/>
                    <a:pt x="43" y="45"/>
                  </a:cubicBezTo>
                  <a:cubicBezTo>
                    <a:pt x="43" y="45"/>
                    <a:pt x="42" y="45"/>
                    <a:pt x="43" y="45"/>
                  </a:cubicBezTo>
                  <a:cubicBezTo>
                    <a:pt x="44" y="45"/>
                    <a:pt x="45" y="44"/>
                    <a:pt x="45" y="44"/>
                  </a:cubicBezTo>
                  <a:cubicBezTo>
                    <a:pt x="45" y="44"/>
                    <a:pt x="44" y="45"/>
                    <a:pt x="44" y="46"/>
                  </a:cubicBezTo>
                  <a:cubicBezTo>
                    <a:pt x="44" y="46"/>
                    <a:pt x="44" y="47"/>
                    <a:pt x="44" y="47"/>
                  </a:cubicBezTo>
                  <a:cubicBezTo>
                    <a:pt x="44" y="47"/>
                    <a:pt x="44" y="48"/>
                    <a:pt x="45" y="49"/>
                  </a:cubicBezTo>
                  <a:cubicBezTo>
                    <a:pt x="46" y="49"/>
                    <a:pt x="47" y="49"/>
                    <a:pt x="47" y="49"/>
                  </a:cubicBezTo>
                  <a:cubicBezTo>
                    <a:pt x="47" y="49"/>
                    <a:pt x="49" y="49"/>
                    <a:pt x="49" y="49"/>
                  </a:cubicBezTo>
                  <a:cubicBezTo>
                    <a:pt x="49" y="50"/>
                    <a:pt x="49" y="49"/>
                    <a:pt x="49" y="50"/>
                  </a:cubicBezTo>
                  <a:cubicBezTo>
                    <a:pt x="49" y="50"/>
                    <a:pt x="50" y="49"/>
                    <a:pt x="50" y="49"/>
                  </a:cubicBezTo>
                  <a:cubicBezTo>
                    <a:pt x="51" y="49"/>
                    <a:pt x="52" y="49"/>
                    <a:pt x="52" y="49"/>
                  </a:cubicBezTo>
                  <a:cubicBezTo>
                    <a:pt x="52" y="50"/>
                    <a:pt x="51" y="51"/>
                    <a:pt x="51" y="51"/>
                  </a:cubicBezTo>
                  <a:cubicBezTo>
                    <a:pt x="51" y="51"/>
                    <a:pt x="51" y="51"/>
                    <a:pt x="51" y="52"/>
                  </a:cubicBezTo>
                  <a:cubicBezTo>
                    <a:pt x="51" y="52"/>
                    <a:pt x="53" y="52"/>
                    <a:pt x="53" y="52"/>
                  </a:cubicBezTo>
                  <a:cubicBezTo>
                    <a:pt x="53" y="52"/>
                    <a:pt x="53" y="51"/>
                    <a:pt x="54" y="52"/>
                  </a:cubicBezTo>
                  <a:cubicBezTo>
                    <a:pt x="54" y="53"/>
                    <a:pt x="54" y="53"/>
                    <a:pt x="54" y="53"/>
                  </a:cubicBezTo>
                  <a:cubicBezTo>
                    <a:pt x="53" y="53"/>
                    <a:pt x="53" y="52"/>
                    <a:pt x="53" y="54"/>
                  </a:cubicBezTo>
                  <a:cubicBezTo>
                    <a:pt x="52" y="55"/>
                    <a:pt x="53" y="56"/>
                    <a:pt x="53" y="56"/>
                  </a:cubicBezTo>
                  <a:cubicBezTo>
                    <a:pt x="54" y="58"/>
                    <a:pt x="54" y="58"/>
                    <a:pt x="54" y="58"/>
                  </a:cubicBezTo>
                  <a:cubicBezTo>
                    <a:pt x="54" y="58"/>
                    <a:pt x="55" y="58"/>
                    <a:pt x="56" y="58"/>
                  </a:cubicBezTo>
                  <a:cubicBezTo>
                    <a:pt x="56" y="58"/>
                    <a:pt x="56" y="58"/>
                    <a:pt x="56" y="58"/>
                  </a:cubicBezTo>
                  <a:cubicBezTo>
                    <a:pt x="57" y="57"/>
                    <a:pt x="57" y="57"/>
                    <a:pt x="58" y="57"/>
                  </a:cubicBezTo>
                  <a:cubicBezTo>
                    <a:pt x="58" y="57"/>
                    <a:pt x="59" y="58"/>
                    <a:pt x="59" y="58"/>
                  </a:cubicBezTo>
                  <a:cubicBezTo>
                    <a:pt x="59" y="59"/>
                    <a:pt x="59" y="59"/>
                    <a:pt x="59" y="59"/>
                  </a:cubicBezTo>
                  <a:cubicBezTo>
                    <a:pt x="59" y="59"/>
                    <a:pt x="59" y="60"/>
                    <a:pt x="59" y="60"/>
                  </a:cubicBezTo>
                  <a:cubicBezTo>
                    <a:pt x="60" y="61"/>
                    <a:pt x="61" y="61"/>
                    <a:pt x="61" y="61"/>
                  </a:cubicBezTo>
                  <a:cubicBezTo>
                    <a:pt x="61" y="61"/>
                    <a:pt x="61" y="61"/>
                    <a:pt x="61" y="62"/>
                  </a:cubicBezTo>
                  <a:cubicBezTo>
                    <a:pt x="62" y="63"/>
                    <a:pt x="64" y="64"/>
                    <a:pt x="64" y="64"/>
                  </a:cubicBezTo>
                  <a:cubicBezTo>
                    <a:pt x="64" y="64"/>
                    <a:pt x="61" y="63"/>
                    <a:pt x="61" y="63"/>
                  </a:cubicBezTo>
                  <a:cubicBezTo>
                    <a:pt x="60" y="63"/>
                    <a:pt x="58" y="63"/>
                    <a:pt x="58" y="63"/>
                  </a:cubicBezTo>
                  <a:cubicBezTo>
                    <a:pt x="57" y="63"/>
                    <a:pt x="55" y="63"/>
                    <a:pt x="55" y="63"/>
                  </a:cubicBezTo>
                  <a:cubicBezTo>
                    <a:pt x="52" y="64"/>
                    <a:pt x="52" y="64"/>
                    <a:pt x="52" y="64"/>
                  </a:cubicBezTo>
                  <a:cubicBezTo>
                    <a:pt x="52" y="64"/>
                    <a:pt x="50" y="65"/>
                    <a:pt x="49" y="65"/>
                  </a:cubicBezTo>
                  <a:cubicBezTo>
                    <a:pt x="49" y="65"/>
                    <a:pt x="48" y="65"/>
                    <a:pt x="47" y="65"/>
                  </a:cubicBezTo>
                  <a:cubicBezTo>
                    <a:pt x="47" y="66"/>
                    <a:pt x="46" y="66"/>
                    <a:pt x="45" y="66"/>
                  </a:cubicBezTo>
                  <a:cubicBezTo>
                    <a:pt x="45" y="66"/>
                    <a:pt x="43" y="66"/>
                    <a:pt x="42" y="66"/>
                  </a:cubicBezTo>
                  <a:cubicBezTo>
                    <a:pt x="42" y="66"/>
                    <a:pt x="41" y="66"/>
                    <a:pt x="41" y="66"/>
                  </a:cubicBezTo>
                  <a:cubicBezTo>
                    <a:pt x="38" y="67"/>
                    <a:pt x="38" y="67"/>
                    <a:pt x="38" y="67"/>
                  </a:cubicBezTo>
                  <a:cubicBezTo>
                    <a:pt x="39" y="68"/>
                    <a:pt x="39" y="68"/>
                    <a:pt x="39" y="68"/>
                  </a:cubicBezTo>
                  <a:cubicBezTo>
                    <a:pt x="41" y="69"/>
                    <a:pt x="41" y="69"/>
                    <a:pt x="41" y="69"/>
                  </a:cubicBezTo>
                  <a:cubicBezTo>
                    <a:pt x="41" y="69"/>
                    <a:pt x="41" y="69"/>
                    <a:pt x="41" y="69"/>
                  </a:cubicBezTo>
                  <a:cubicBezTo>
                    <a:pt x="42" y="69"/>
                    <a:pt x="43" y="70"/>
                    <a:pt x="43" y="70"/>
                  </a:cubicBezTo>
                  <a:cubicBezTo>
                    <a:pt x="43" y="70"/>
                    <a:pt x="44" y="71"/>
                    <a:pt x="45" y="72"/>
                  </a:cubicBezTo>
                  <a:cubicBezTo>
                    <a:pt x="45" y="72"/>
                    <a:pt x="46" y="73"/>
                    <a:pt x="46" y="73"/>
                  </a:cubicBezTo>
                  <a:lnTo>
                    <a:pt x="48" y="74"/>
                  </a:lnTo>
                  <a:close/>
                </a:path>
              </a:pathLst>
            </a:custGeom>
            <a:solidFill>
              <a:srgbClr val="E6EFF1"/>
            </a:solidFill>
            <a:ln w="12700" cap="rnd" cmpd="sng">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Lato Light"/>
              </a:endParaRPr>
            </a:p>
          </p:txBody>
        </p:sp>
        <p:sp>
          <p:nvSpPr>
            <p:cNvPr id="229" name="Freeform 19">
              <a:extLst>
                <a:ext uri="{FF2B5EF4-FFF2-40B4-BE49-F238E27FC236}">
                  <a16:creationId xmlns:a16="http://schemas.microsoft.com/office/drawing/2014/main" id="{077273FC-D5D3-95B7-9B08-8D99583D0AAF}"/>
                </a:ext>
              </a:extLst>
            </p:cNvPr>
            <p:cNvSpPr>
              <a:spLocks/>
            </p:cNvSpPr>
            <p:nvPr/>
          </p:nvSpPr>
          <p:spPr bwMode="auto">
            <a:xfrm>
              <a:off x="4305820" y="3309730"/>
              <a:ext cx="1014121" cy="825454"/>
            </a:xfrm>
            <a:custGeom>
              <a:avLst/>
              <a:gdLst>
                <a:gd name="T0" fmla="*/ 194 w 352"/>
                <a:gd name="T1" fmla="*/ 16 h 295"/>
                <a:gd name="T2" fmla="*/ 260 w 352"/>
                <a:gd name="T3" fmla="*/ 5 h 295"/>
                <a:gd name="T4" fmla="*/ 289 w 352"/>
                <a:gd name="T5" fmla="*/ 13 h 295"/>
                <a:gd name="T6" fmla="*/ 314 w 352"/>
                <a:gd name="T7" fmla="*/ 60 h 295"/>
                <a:gd name="T8" fmla="*/ 314 w 352"/>
                <a:gd name="T9" fmla="*/ 90 h 295"/>
                <a:gd name="T10" fmla="*/ 303 w 352"/>
                <a:gd name="T11" fmla="*/ 114 h 295"/>
                <a:gd name="T12" fmla="*/ 318 w 352"/>
                <a:gd name="T13" fmla="*/ 139 h 295"/>
                <a:gd name="T14" fmla="*/ 326 w 352"/>
                <a:gd name="T15" fmla="*/ 158 h 295"/>
                <a:gd name="T16" fmla="*/ 344 w 352"/>
                <a:gd name="T17" fmla="*/ 175 h 295"/>
                <a:gd name="T18" fmla="*/ 346 w 352"/>
                <a:gd name="T19" fmla="*/ 189 h 295"/>
                <a:gd name="T20" fmla="*/ 344 w 352"/>
                <a:gd name="T21" fmla="*/ 210 h 295"/>
                <a:gd name="T22" fmla="*/ 327 w 352"/>
                <a:gd name="T23" fmla="*/ 235 h 295"/>
                <a:gd name="T24" fmla="*/ 317 w 352"/>
                <a:gd name="T25" fmla="*/ 269 h 295"/>
                <a:gd name="T26" fmla="*/ 322 w 352"/>
                <a:gd name="T27" fmla="*/ 280 h 295"/>
                <a:gd name="T28" fmla="*/ 315 w 352"/>
                <a:gd name="T29" fmla="*/ 285 h 295"/>
                <a:gd name="T30" fmla="*/ 309 w 352"/>
                <a:gd name="T31" fmla="*/ 283 h 295"/>
                <a:gd name="T32" fmla="*/ 302 w 352"/>
                <a:gd name="T33" fmla="*/ 282 h 295"/>
                <a:gd name="T34" fmla="*/ 296 w 352"/>
                <a:gd name="T35" fmla="*/ 280 h 295"/>
                <a:gd name="T36" fmla="*/ 290 w 352"/>
                <a:gd name="T37" fmla="*/ 275 h 295"/>
                <a:gd name="T38" fmla="*/ 283 w 352"/>
                <a:gd name="T39" fmla="*/ 272 h 295"/>
                <a:gd name="T40" fmla="*/ 276 w 352"/>
                <a:gd name="T41" fmla="*/ 271 h 295"/>
                <a:gd name="T42" fmla="*/ 267 w 352"/>
                <a:gd name="T43" fmla="*/ 273 h 295"/>
                <a:gd name="T44" fmla="*/ 262 w 352"/>
                <a:gd name="T45" fmla="*/ 275 h 295"/>
                <a:gd name="T46" fmla="*/ 256 w 352"/>
                <a:gd name="T47" fmla="*/ 279 h 295"/>
                <a:gd name="T48" fmla="*/ 250 w 352"/>
                <a:gd name="T49" fmla="*/ 282 h 295"/>
                <a:gd name="T50" fmla="*/ 245 w 352"/>
                <a:gd name="T51" fmla="*/ 277 h 295"/>
                <a:gd name="T52" fmla="*/ 240 w 352"/>
                <a:gd name="T53" fmla="*/ 280 h 295"/>
                <a:gd name="T54" fmla="*/ 235 w 352"/>
                <a:gd name="T55" fmla="*/ 281 h 295"/>
                <a:gd name="T56" fmla="*/ 230 w 352"/>
                <a:gd name="T57" fmla="*/ 284 h 295"/>
                <a:gd name="T58" fmla="*/ 225 w 352"/>
                <a:gd name="T59" fmla="*/ 289 h 295"/>
                <a:gd name="T60" fmla="*/ 223 w 352"/>
                <a:gd name="T61" fmla="*/ 294 h 295"/>
                <a:gd name="T62" fmla="*/ 216 w 352"/>
                <a:gd name="T63" fmla="*/ 295 h 295"/>
                <a:gd name="T64" fmla="*/ 215 w 352"/>
                <a:gd name="T65" fmla="*/ 288 h 295"/>
                <a:gd name="T66" fmla="*/ 207 w 352"/>
                <a:gd name="T67" fmla="*/ 283 h 295"/>
                <a:gd name="T68" fmla="*/ 195 w 352"/>
                <a:gd name="T69" fmla="*/ 279 h 295"/>
                <a:gd name="T70" fmla="*/ 185 w 352"/>
                <a:gd name="T71" fmla="*/ 289 h 295"/>
                <a:gd name="T72" fmla="*/ 181 w 352"/>
                <a:gd name="T73" fmla="*/ 283 h 295"/>
                <a:gd name="T74" fmla="*/ 169 w 352"/>
                <a:gd name="T75" fmla="*/ 270 h 295"/>
                <a:gd name="T76" fmla="*/ 147 w 352"/>
                <a:gd name="T77" fmla="*/ 262 h 295"/>
                <a:gd name="T78" fmla="*/ 137 w 352"/>
                <a:gd name="T79" fmla="*/ 251 h 295"/>
                <a:gd name="T80" fmla="*/ 117 w 352"/>
                <a:gd name="T81" fmla="*/ 244 h 295"/>
                <a:gd name="T82" fmla="*/ 106 w 352"/>
                <a:gd name="T83" fmla="*/ 255 h 295"/>
                <a:gd name="T84" fmla="*/ 92 w 352"/>
                <a:gd name="T85" fmla="*/ 252 h 295"/>
                <a:gd name="T86" fmla="*/ 87 w 352"/>
                <a:gd name="T87" fmla="*/ 241 h 295"/>
                <a:gd name="T88" fmla="*/ 77 w 352"/>
                <a:gd name="T89" fmla="*/ 236 h 295"/>
                <a:gd name="T90" fmla="*/ 66 w 352"/>
                <a:gd name="T91" fmla="*/ 231 h 295"/>
                <a:gd name="T92" fmla="*/ 51 w 352"/>
                <a:gd name="T93" fmla="*/ 226 h 295"/>
                <a:gd name="T94" fmla="*/ 40 w 352"/>
                <a:gd name="T95" fmla="*/ 222 h 295"/>
                <a:gd name="T96" fmla="*/ 38 w 352"/>
                <a:gd name="T97" fmla="*/ 218 h 295"/>
                <a:gd name="T98" fmla="*/ 35 w 352"/>
                <a:gd name="T99" fmla="*/ 198 h 295"/>
                <a:gd name="T100" fmla="*/ 28 w 352"/>
                <a:gd name="T101" fmla="*/ 184 h 295"/>
                <a:gd name="T102" fmla="*/ 24 w 352"/>
                <a:gd name="T103" fmla="*/ 164 h 295"/>
                <a:gd name="T104" fmla="*/ 20 w 352"/>
                <a:gd name="T105" fmla="*/ 139 h 295"/>
                <a:gd name="T106" fmla="*/ 4 w 352"/>
                <a:gd name="T107" fmla="*/ 113 h 295"/>
                <a:gd name="T108" fmla="*/ 4 w 352"/>
                <a:gd name="T109" fmla="*/ 80 h 295"/>
                <a:gd name="T110" fmla="*/ 6 w 352"/>
                <a:gd name="T111" fmla="*/ 63 h 295"/>
                <a:gd name="T112" fmla="*/ 45 w 352"/>
                <a:gd name="T113" fmla="*/ 45 h 295"/>
                <a:gd name="T114" fmla="*/ 64 w 352"/>
                <a:gd name="T115" fmla="*/ 32 h 295"/>
                <a:gd name="T116" fmla="*/ 89 w 352"/>
                <a:gd name="T117" fmla="*/ 12 h 295"/>
                <a:gd name="T118" fmla="*/ 121 w 352"/>
                <a:gd name="T119" fmla="*/ 2 h 295"/>
                <a:gd name="T120" fmla="*/ 132 w 352"/>
                <a:gd name="T121" fmla="*/ 14 h 295"/>
                <a:gd name="T122" fmla="*/ 151 w 352"/>
                <a:gd name="T123" fmla="*/ 24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52" h="295">
                  <a:moveTo>
                    <a:pt x="155" y="23"/>
                  </a:moveTo>
                  <a:cubicBezTo>
                    <a:pt x="157" y="23"/>
                    <a:pt x="166" y="16"/>
                    <a:pt x="166" y="16"/>
                  </a:cubicBezTo>
                  <a:cubicBezTo>
                    <a:pt x="166" y="16"/>
                    <a:pt x="171" y="18"/>
                    <a:pt x="174" y="17"/>
                  </a:cubicBezTo>
                  <a:cubicBezTo>
                    <a:pt x="177" y="17"/>
                    <a:pt x="187" y="16"/>
                    <a:pt x="187" y="16"/>
                  </a:cubicBezTo>
                  <a:cubicBezTo>
                    <a:pt x="187" y="16"/>
                    <a:pt x="192" y="16"/>
                    <a:pt x="194" y="16"/>
                  </a:cubicBezTo>
                  <a:cubicBezTo>
                    <a:pt x="196" y="16"/>
                    <a:pt x="205" y="15"/>
                    <a:pt x="207" y="15"/>
                  </a:cubicBezTo>
                  <a:cubicBezTo>
                    <a:pt x="209" y="15"/>
                    <a:pt x="215" y="14"/>
                    <a:pt x="216" y="13"/>
                  </a:cubicBezTo>
                  <a:cubicBezTo>
                    <a:pt x="218" y="13"/>
                    <a:pt x="230" y="12"/>
                    <a:pt x="231" y="12"/>
                  </a:cubicBezTo>
                  <a:cubicBezTo>
                    <a:pt x="233" y="12"/>
                    <a:pt x="252" y="10"/>
                    <a:pt x="252" y="10"/>
                  </a:cubicBezTo>
                  <a:cubicBezTo>
                    <a:pt x="260" y="5"/>
                    <a:pt x="260" y="5"/>
                    <a:pt x="260" y="5"/>
                  </a:cubicBezTo>
                  <a:cubicBezTo>
                    <a:pt x="269" y="3"/>
                    <a:pt x="269" y="3"/>
                    <a:pt x="269" y="3"/>
                  </a:cubicBezTo>
                  <a:cubicBezTo>
                    <a:pt x="269" y="3"/>
                    <a:pt x="272" y="0"/>
                    <a:pt x="272" y="1"/>
                  </a:cubicBezTo>
                  <a:cubicBezTo>
                    <a:pt x="273" y="3"/>
                    <a:pt x="275" y="6"/>
                    <a:pt x="275" y="6"/>
                  </a:cubicBezTo>
                  <a:cubicBezTo>
                    <a:pt x="275" y="6"/>
                    <a:pt x="286" y="6"/>
                    <a:pt x="286" y="6"/>
                  </a:cubicBezTo>
                  <a:cubicBezTo>
                    <a:pt x="286" y="7"/>
                    <a:pt x="289" y="13"/>
                    <a:pt x="289" y="13"/>
                  </a:cubicBezTo>
                  <a:cubicBezTo>
                    <a:pt x="292" y="16"/>
                    <a:pt x="292" y="16"/>
                    <a:pt x="292" y="16"/>
                  </a:cubicBezTo>
                  <a:cubicBezTo>
                    <a:pt x="292" y="16"/>
                    <a:pt x="293" y="21"/>
                    <a:pt x="293" y="24"/>
                  </a:cubicBezTo>
                  <a:cubicBezTo>
                    <a:pt x="294" y="26"/>
                    <a:pt x="301" y="38"/>
                    <a:pt x="301" y="38"/>
                  </a:cubicBezTo>
                  <a:cubicBezTo>
                    <a:pt x="306" y="49"/>
                    <a:pt x="306" y="49"/>
                    <a:pt x="306" y="49"/>
                  </a:cubicBezTo>
                  <a:cubicBezTo>
                    <a:pt x="314" y="60"/>
                    <a:pt x="314" y="60"/>
                    <a:pt x="314" y="60"/>
                  </a:cubicBezTo>
                  <a:cubicBezTo>
                    <a:pt x="315" y="68"/>
                    <a:pt x="315" y="68"/>
                    <a:pt x="315" y="68"/>
                  </a:cubicBezTo>
                  <a:cubicBezTo>
                    <a:pt x="315" y="68"/>
                    <a:pt x="318" y="71"/>
                    <a:pt x="318" y="73"/>
                  </a:cubicBezTo>
                  <a:cubicBezTo>
                    <a:pt x="318" y="74"/>
                    <a:pt x="318" y="77"/>
                    <a:pt x="318" y="78"/>
                  </a:cubicBezTo>
                  <a:cubicBezTo>
                    <a:pt x="319" y="78"/>
                    <a:pt x="320" y="83"/>
                    <a:pt x="319" y="83"/>
                  </a:cubicBezTo>
                  <a:cubicBezTo>
                    <a:pt x="318" y="84"/>
                    <a:pt x="314" y="90"/>
                    <a:pt x="314" y="90"/>
                  </a:cubicBezTo>
                  <a:cubicBezTo>
                    <a:pt x="310" y="92"/>
                    <a:pt x="310" y="92"/>
                    <a:pt x="310" y="92"/>
                  </a:cubicBezTo>
                  <a:cubicBezTo>
                    <a:pt x="305" y="99"/>
                    <a:pt x="305" y="99"/>
                    <a:pt x="305" y="99"/>
                  </a:cubicBezTo>
                  <a:cubicBezTo>
                    <a:pt x="302" y="108"/>
                    <a:pt x="302" y="108"/>
                    <a:pt x="302" y="108"/>
                  </a:cubicBezTo>
                  <a:cubicBezTo>
                    <a:pt x="301" y="111"/>
                    <a:pt x="301" y="111"/>
                    <a:pt x="301" y="111"/>
                  </a:cubicBezTo>
                  <a:cubicBezTo>
                    <a:pt x="301" y="111"/>
                    <a:pt x="302" y="114"/>
                    <a:pt x="303" y="114"/>
                  </a:cubicBezTo>
                  <a:cubicBezTo>
                    <a:pt x="305" y="114"/>
                    <a:pt x="312" y="115"/>
                    <a:pt x="312" y="115"/>
                  </a:cubicBezTo>
                  <a:cubicBezTo>
                    <a:pt x="318" y="119"/>
                    <a:pt x="318" y="119"/>
                    <a:pt x="318" y="119"/>
                  </a:cubicBezTo>
                  <a:cubicBezTo>
                    <a:pt x="318" y="123"/>
                    <a:pt x="318" y="123"/>
                    <a:pt x="318" y="123"/>
                  </a:cubicBezTo>
                  <a:cubicBezTo>
                    <a:pt x="318" y="123"/>
                    <a:pt x="319" y="131"/>
                    <a:pt x="319" y="132"/>
                  </a:cubicBezTo>
                  <a:cubicBezTo>
                    <a:pt x="319" y="132"/>
                    <a:pt x="318" y="139"/>
                    <a:pt x="318" y="139"/>
                  </a:cubicBezTo>
                  <a:cubicBezTo>
                    <a:pt x="318" y="139"/>
                    <a:pt x="320" y="143"/>
                    <a:pt x="320" y="144"/>
                  </a:cubicBezTo>
                  <a:cubicBezTo>
                    <a:pt x="321" y="145"/>
                    <a:pt x="323" y="147"/>
                    <a:pt x="323" y="148"/>
                  </a:cubicBezTo>
                  <a:cubicBezTo>
                    <a:pt x="324" y="148"/>
                    <a:pt x="324" y="149"/>
                    <a:pt x="324" y="149"/>
                  </a:cubicBezTo>
                  <a:cubicBezTo>
                    <a:pt x="326" y="154"/>
                    <a:pt x="326" y="154"/>
                    <a:pt x="326" y="154"/>
                  </a:cubicBezTo>
                  <a:cubicBezTo>
                    <a:pt x="326" y="158"/>
                    <a:pt x="326" y="158"/>
                    <a:pt x="326" y="158"/>
                  </a:cubicBezTo>
                  <a:cubicBezTo>
                    <a:pt x="326" y="158"/>
                    <a:pt x="326" y="161"/>
                    <a:pt x="328" y="161"/>
                  </a:cubicBezTo>
                  <a:cubicBezTo>
                    <a:pt x="330" y="161"/>
                    <a:pt x="331" y="162"/>
                    <a:pt x="331" y="164"/>
                  </a:cubicBezTo>
                  <a:cubicBezTo>
                    <a:pt x="331" y="166"/>
                    <a:pt x="336" y="168"/>
                    <a:pt x="336" y="168"/>
                  </a:cubicBezTo>
                  <a:cubicBezTo>
                    <a:pt x="336" y="168"/>
                    <a:pt x="336" y="172"/>
                    <a:pt x="337" y="173"/>
                  </a:cubicBezTo>
                  <a:cubicBezTo>
                    <a:pt x="339" y="174"/>
                    <a:pt x="341" y="175"/>
                    <a:pt x="344" y="175"/>
                  </a:cubicBezTo>
                  <a:cubicBezTo>
                    <a:pt x="347" y="176"/>
                    <a:pt x="346" y="180"/>
                    <a:pt x="348" y="181"/>
                  </a:cubicBezTo>
                  <a:cubicBezTo>
                    <a:pt x="350" y="182"/>
                    <a:pt x="352" y="184"/>
                    <a:pt x="350" y="184"/>
                  </a:cubicBezTo>
                  <a:cubicBezTo>
                    <a:pt x="349" y="185"/>
                    <a:pt x="346" y="185"/>
                    <a:pt x="346" y="185"/>
                  </a:cubicBezTo>
                  <a:cubicBezTo>
                    <a:pt x="346" y="185"/>
                    <a:pt x="345" y="186"/>
                    <a:pt x="345" y="188"/>
                  </a:cubicBezTo>
                  <a:cubicBezTo>
                    <a:pt x="346" y="189"/>
                    <a:pt x="346" y="189"/>
                    <a:pt x="346" y="189"/>
                  </a:cubicBezTo>
                  <a:cubicBezTo>
                    <a:pt x="350" y="194"/>
                    <a:pt x="350" y="194"/>
                    <a:pt x="350" y="194"/>
                  </a:cubicBezTo>
                  <a:cubicBezTo>
                    <a:pt x="350" y="200"/>
                    <a:pt x="350" y="200"/>
                    <a:pt x="350" y="200"/>
                  </a:cubicBezTo>
                  <a:cubicBezTo>
                    <a:pt x="350" y="200"/>
                    <a:pt x="350" y="202"/>
                    <a:pt x="350" y="204"/>
                  </a:cubicBezTo>
                  <a:cubicBezTo>
                    <a:pt x="350" y="205"/>
                    <a:pt x="349" y="207"/>
                    <a:pt x="347" y="207"/>
                  </a:cubicBezTo>
                  <a:cubicBezTo>
                    <a:pt x="345" y="207"/>
                    <a:pt x="345" y="210"/>
                    <a:pt x="344" y="210"/>
                  </a:cubicBezTo>
                  <a:cubicBezTo>
                    <a:pt x="343" y="211"/>
                    <a:pt x="341" y="208"/>
                    <a:pt x="340" y="211"/>
                  </a:cubicBezTo>
                  <a:cubicBezTo>
                    <a:pt x="339" y="215"/>
                    <a:pt x="337" y="218"/>
                    <a:pt x="337" y="219"/>
                  </a:cubicBezTo>
                  <a:cubicBezTo>
                    <a:pt x="336" y="220"/>
                    <a:pt x="333" y="221"/>
                    <a:pt x="333" y="223"/>
                  </a:cubicBezTo>
                  <a:cubicBezTo>
                    <a:pt x="332" y="225"/>
                    <a:pt x="332" y="223"/>
                    <a:pt x="330" y="228"/>
                  </a:cubicBezTo>
                  <a:cubicBezTo>
                    <a:pt x="328" y="233"/>
                    <a:pt x="327" y="235"/>
                    <a:pt x="327" y="235"/>
                  </a:cubicBezTo>
                  <a:cubicBezTo>
                    <a:pt x="318" y="247"/>
                    <a:pt x="318" y="247"/>
                    <a:pt x="318" y="247"/>
                  </a:cubicBezTo>
                  <a:cubicBezTo>
                    <a:pt x="318" y="247"/>
                    <a:pt x="313" y="255"/>
                    <a:pt x="313" y="256"/>
                  </a:cubicBezTo>
                  <a:cubicBezTo>
                    <a:pt x="313" y="257"/>
                    <a:pt x="313" y="261"/>
                    <a:pt x="313" y="261"/>
                  </a:cubicBezTo>
                  <a:cubicBezTo>
                    <a:pt x="317" y="265"/>
                    <a:pt x="317" y="265"/>
                    <a:pt x="317" y="265"/>
                  </a:cubicBezTo>
                  <a:cubicBezTo>
                    <a:pt x="317" y="269"/>
                    <a:pt x="317" y="269"/>
                    <a:pt x="317" y="269"/>
                  </a:cubicBezTo>
                  <a:cubicBezTo>
                    <a:pt x="317" y="269"/>
                    <a:pt x="317" y="272"/>
                    <a:pt x="318" y="273"/>
                  </a:cubicBezTo>
                  <a:cubicBezTo>
                    <a:pt x="319" y="273"/>
                    <a:pt x="319" y="273"/>
                    <a:pt x="319" y="273"/>
                  </a:cubicBezTo>
                  <a:cubicBezTo>
                    <a:pt x="318" y="276"/>
                    <a:pt x="318" y="276"/>
                    <a:pt x="318" y="276"/>
                  </a:cubicBezTo>
                  <a:cubicBezTo>
                    <a:pt x="318" y="276"/>
                    <a:pt x="319" y="279"/>
                    <a:pt x="320" y="279"/>
                  </a:cubicBezTo>
                  <a:cubicBezTo>
                    <a:pt x="320" y="279"/>
                    <a:pt x="322" y="280"/>
                    <a:pt x="322" y="280"/>
                  </a:cubicBezTo>
                  <a:cubicBezTo>
                    <a:pt x="322" y="280"/>
                    <a:pt x="324" y="282"/>
                    <a:pt x="324" y="282"/>
                  </a:cubicBezTo>
                  <a:cubicBezTo>
                    <a:pt x="325" y="283"/>
                    <a:pt x="324" y="285"/>
                    <a:pt x="324" y="285"/>
                  </a:cubicBezTo>
                  <a:cubicBezTo>
                    <a:pt x="324" y="285"/>
                    <a:pt x="324" y="286"/>
                    <a:pt x="323" y="286"/>
                  </a:cubicBezTo>
                  <a:cubicBezTo>
                    <a:pt x="322" y="286"/>
                    <a:pt x="322" y="286"/>
                    <a:pt x="320" y="286"/>
                  </a:cubicBezTo>
                  <a:cubicBezTo>
                    <a:pt x="319" y="285"/>
                    <a:pt x="316" y="285"/>
                    <a:pt x="315" y="285"/>
                  </a:cubicBezTo>
                  <a:cubicBezTo>
                    <a:pt x="314" y="285"/>
                    <a:pt x="314" y="285"/>
                    <a:pt x="314" y="285"/>
                  </a:cubicBezTo>
                  <a:cubicBezTo>
                    <a:pt x="313" y="285"/>
                    <a:pt x="313" y="285"/>
                    <a:pt x="312" y="286"/>
                  </a:cubicBezTo>
                  <a:cubicBezTo>
                    <a:pt x="312" y="285"/>
                    <a:pt x="312" y="285"/>
                    <a:pt x="312" y="285"/>
                  </a:cubicBezTo>
                  <a:cubicBezTo>
                    <a:pt x="312" y="284"/>
                    <a:pt x="312" y="283"/>
                    <a:pt x="312" y="283"/>
                  </a:cubicBezTo>
                  <a:cubicBezTo>
                    <a:pt x="312" y="283"/>
                    <a:pt x="309" y="283"/>
                    <a:pt x="309" y="283"/>
                  </a:cubicBezTo>
                  <a:cubicBezTo>
                    <a:pt x="308" y="283"/>
                    <a:pt x="307" y="283"/>
                    <a:pt x="307" y="283"/>
                  </a:cubicBezTo>
                  <a:cubicBezTo>
                    <a:pt x="307" y="283"/>
                    <a:pt x="305" y="282"/>
                    <a:pt x="305" y="282"/>
                  </a:cubicBezTo>
                  <a:cubicBezTo>
                    <a:pt x="305" y="282"/>
                    <a:pt x="304" y="282"/>
                    <a:pt x="304" y="282"/>
                  </a:cubicBezTo>
                  <a:cubicBezTo>
                    <a:pt x="304" y="281"/>
                    <a:pt x="303" y="282"/>
                    <a:pt x="303" y="282"/>
                  </a:cubicBezTo>
                  <a:cubicBezTo>
                    <a:pt x="302" y="282"/>
                    <a:pt x="302" y="282"/>
                    <a:pt x="302" y="282"/>
                  </a:cubicBezTo>
                  <a:cubicBezTo>
                    <a:pt x="300" y="282"/>
                    <a:pt x="300" y="282"/>
                    <a:pt x="300" y="282"/>
                  </a:cubicBezTo>
                  <a:cubicBezTo>
                    <a:pt x="300" y="282"/>
                    <a:pt x="300" y="281"/>
                    <a:pt x="300" y="281"/>
                  </a:cubicBezTo>
                  <a:cubicBezTo>
                    <a:pt x="300" y="280"/>
                    <a:pt x="299" y="281"/>
                    <a:pt x="299" y="281"/>
                  </a:cubicBezTo>
                  <a:cubicBezTo>
                    <a:pt x="299" y="281"/>
                    <a:pt x="297" y="281"/>
                    <a:pt x="297" y="281"/>
                  </a:cubicBezTo>
                  <a:cubicBezTo>
                    <a:pt x="297" y="280"/>
                    <a:pt x="296" y="280"/>
                    <a:pt x="296" y="280"/>
                  </a:cubicBezTo>
                  <a:cubicBezTo>
                    <a:pt x="296" y="280"/>
                    <a:pt x="293" y="280"/>
                    <a:pt x="292" y="280"/>
                  </a:cubicBezTo>
                  <a:cubicBezTo>
                    <a:pt x="292" y="279"/>
                    <a:pt x="292" y="279"/>
                    <a:pt x="292" y="279"/>
                  </a:cubicBezTo>
                  <a:cubicBezTo>
                    <a:pt x="292" y="279"/>
                    <a:pt x="292" y="278"/>
                    <a:pt x="292" y="277"/>
                  </a:cubicBezTo>
                  <a:cubicBezTo>
                    <a:pt x="292" y="277"/>
                    <a:pt x="291" y="277"/>
                    <a:pt x="291" y="276"/>
                  </a:cubicBezTo>
                  <a:cubicBezTo>
                    <a:pt x="291" y="276"/>
                    <a:pt x="290" y="275"/>
                    <a:pt x="290" y="275"/>
                  </a:cubicBezTo>
                  <a:cubicBezTo>
                    <a:pt x="290" y="274"/>
                    <a:pt x="289" y="274"/>
                    <a:pt x="289" y="273"/>
                  </a:cubicBezTo>
                  <a:cubicBezTo>
                    <a:pt x="289" y="273"/>
                    <a:pt x="288" y="274"/>
                    <a:pt x="288" y="274"/>
                  </a:cubicBezTo>
                  <a:cubicBezTo>
                    <a:pt x="287" y="274"/>
                    <a:pt x="286" y="273"/>
                    <a:pt x="286" y="273"/>
                  </a:cubicBezTo>
                  <a:cubicBezTo>
                    <a:pt x="285" y="272"/>
                    <a:pt x="285" y="272"/>
                    <a:pt x="285" y="272"/>
                  </a:cubicBezTo>
                  <a:cubicBezTo>
                    <a:pt x="285" y="272"/>
                    <a:pt x="284" y="272"/>
                    <a:pt x="283" y="272"/>
                  </a:cubicBezTo>
                  <a:cubicBezTo>
                    <a:pt x="283" y="272"/>
                    <a:pt x="283" y="274"/>
                    <a:pt x="283" y="274"/>
                  </a:cubicBezTo>
                  <a:cubicBezTo>
                    <a:pt x="283" y="274"/>
                    <a:pt x="282" y="274"/>
                    <a:pt x="281" y="273"/>
                  </a:cubicBezTo>
                  <a:cubicBezTo>
                    <a:pt x="281" y="273"/>
                    <a:pt x="280" y="272"/>
                    <a:pt x="279" y="272"/>
                  </a:cubicBezTo>
                  <a:cubicBezTo>
                    <a:pt x="279" y="272"/>
                    <a:pt x="278" y="272"/>
                    <a:pt x="277" y="271"/>
                  </a:cubicBezTo>
                  <a:cubicBezTo>
                    <a:pt x="277" y="271"/>
                    <a:pt x="276" y="271"/>
                    <a:pt x="276" y="271"/>
                  </a:cubicBezTo>
                  <a:cubicBezTo>
                    <a:pt x="276" y="271"/>
                    <a:pt x="272" y="272"/>
                    <a:pt x="272" y="272"/>
                  </a:cubicBezTo>
                  <a:cubicBezTo>
                    <a:pt x="272" y="272"/>
                    <a:pt x="272" y="273"/>
                    <a:pt x="271" y="273"/>
                  </a:cubicBezTo>
                  <a:cubicBezTo>
                    <a:pt x="271" y="274"/>
                    <a:pt x="270" y="273"/>
                    <a:pt x="270" y="273"/>
                  </a:cubicBezTo>
                  <a:cubicBezTo>
                    <a:pt x="270" y="273"/>
                    <a:pt x="269" y="273"/>
                    <a:pt x="268" y="273"/>
                  </a:cubicBezTo>
                  <a:cubicBezTo>
                    <a:pt x="268" y="273"/>
                    <a:pt x="267" y="273"/>
                    <a:pt x="267" y="273"/>
                  </a:cubicBezTo>
                  <a:cubicBezTo>
                    <a:pt x="267" y="273"/>
                    <a:pt x="266" y="272"/>
                    <a:pt x="265" y="272"/>
                  </a:cubicBezTo>
                  <a:cubicBezTo>
                    <a:pt x="265" y="272"/>
                    <a:pt x="264" y="272"/>
                    <a:pt x="264" y="272"/>
                  </a:cubicBezTo>
                  <a:cubicBezTo>
                    <a:pt x="264" y="272"/>
                    <a:pt x="263" y="273"/>
                    <a:pt x="263" y="273"/>
                  </a:cubicBezTo>
                  <a:cubicBezTo>
                    <a:pt x="262" y="274"/>
                    <a:pt x="262" y="274"/>
                    <a:pt x="262" y="274"/>
                  </a:cubicBezTo>
                  <a:cubicBezTo>
                    <a:pt x="262" y="275"/>
                    <a:pt x="262" y="275"/>
                    <a:pt x="262" y="275"/>
                  </a:cubicBezTo>
                  <a:cubicBezTo>
                    <a:pt x="260" y="274"/>
                    <a:pt x="260" y="274"/>
                    <a:pt x="260" y="274"/>
                  </a:cubicBezTo>
                  <a:cubicBezTo>
                    <a:pt x="260" y="274"/>
                    <a:pt x="259" y="274"/>
                    <a:pt x="258" y="274"/>
                  </a:cubicBezTo>
                  <a:cubicBezTo>
                    <a:pt x="256" y="275"/>
                    <a:pt x="257" y="276"/>
                    <a:pt x="257" y="276"/>
                  </a:cubicBezTo>
                  <a:cubicBezTo>
                    <a:pt x="258" y="276"/>
                    <a:pt x="259" y="278"/>
                    <a:pt x="259" y="278"/>
                  </a:cubicBezTo>
                  <a:cubicBezTo>
                    <a:pt x="259" y="278"/>
                    <a:pt x="256" y="279"/>
                    <a:pt x="256" y="279"/>
                  </a:cubicBezTo>
                  <a:cubicBezTo>
                    <a:pt x="255" y="280"/>
                    <a:pt x="255" y="280"/>
                    <a:pt x="255" y="281"/>
                  </a:cubicBezTo>
                  <a:cubicBezTo>
                    <a:pt x="255" y="281"/>
                    <a:pt x="254" y="282"/>
                    <a:pt x="254" y="283"/>
                  </a:cubicBezTo>
                  <a:cubicBezTo>
                    <a:pt x="254" y="283"/>
                    <a:pt x="253" y="282"/>
                    <a:pt x="252" y="282"/>
                  </a:cubicBezTo>
                  <a:cubicBezTo>
                    <a:pt x="251" y="282"/>
                    <a:pt x="251" y="281"/>
                    <a:pt x="251" y="281"/>
                  </a:cubicBezTo>
                  <a:cubicBezTo>
                    <a:pt x="250" y="282"/>
                    <a:pt x="250" y="282"/>
                    <a:pt x="250" y="282"/>
                  </a:cubicBezTo>
                  <a:cubicBezTo>
                    <a:pt x="249" y="282"/>
                    <a:pt x="249" y="282"/>
                    <a:pt x="249" y="282"/>
                  </a:cubicBezTo>
                  <a:cubicBezTo>
                    <a:pt x="249" y="282"/>
                    <a:pt x="248" y="281"/>
                    <a:pt x="248" y="280"/>
                  </a:cubicBezTo>
                  <a:cubicBezTo>
                    <a:pt x="248" y="280"/>
                    <a:pt x="248" y="280"/>
                    <a:pt x="248" y="280"/>
                  </a:cubicBezTo>
                  <a:cubicBezTo>
                    <a:pt x="247" y="280"/>
                    <a:pt x="246" y="280"/>
                    <a:pt x="246" y="279"/>
                  </a:cubicBezTo>
                  <a:cubicBezTo>
                    <a:pt x="245" y="277"/>
                    <a:pt x="245" y="277"/>
                    <a:pt x="245" y="277"/>
                  </a:cubicBezTo>
                  <a:cubicBezTo>
                    <a:pt x="245" y="277"/>
                    <a:pt x="243" y="278"/>
                    <a:pt x="243" y="279"/>
                  </a:cubicBezTo>
                  <a:cubicBezTo>
                    <a:pt x="242" y="279"/>
                    <a:pt x="243" y="279"/>
                    <a:pt x="242" y="278"/>
                  </a:cubicBezTo>
                  <a:cubicBezTo>
                    <a:pt x="241" y="278"/>
                    <a:pt x="241" y="279"/>
                    <a:pt x="241" y="279"/>
                  </a:cubicBezTo>
                  <a:cubicBezTo>
                    <a:pt x="241" y="279"/>
                    <a:pt x="241" y="279"/>
                    <a:pt x="241" y="279"/>
                  </a:cubicBezTo>
                  <a:cubicBezTo>
                    <a:pt x="241" y="280"/>
                    <a:pt x="240" y="280"/>
                    <a:pt x="240" y="280"/>
                  </a:cubicBezTo>
                  <a:cubicBezTo>
                    <a:pt x="240" y="281"/>
                    <a:pt x="239" y="280"/>
                    <a:pt x="239" y="280"/>
                  </a:cubicBezTo>
                  <a:cubicBezTo>
                    <a:pt x="238" y="280"/>
                    <a:pt x="237" y="280"/>
                    <a:pt x="237" y="280"/>
                  </a:cubicBezTo>
                  <a:cubicBezTo>
                    <a:pt x="237" y="280"/>
                    <a:pt x="237" y="279"/>
                    <a:pt x="237" y="279"/>
                  </a:cubicBezTo>
                  <a:cubicBezTo>
                    <a:pt x="235" y="280"/>
                    <a:pt x="235" y="280"/>
                    <a:pt x="235" y="280"/>
                  </a:cubicBezTo>
                  <a:cubicBezTo>
                    <a:pt x="235" y="280"/>
                    <a:pt x="235" y="281"/>
                    <a:pt x="235" y="281"/>
                  </a:cubicBezTo>
                  <a:cubicBezTo>
                    <a:pt x="235" y="281"/>
                    <a:pt x="234" y="281"/>
                    <a:pt x="233" y="282"/>
                  </a:cubicBezTo>
                  <a:cubicBezTo>
                    <a:pt x="231" y="282"/>
                    <a:pt x="232" y="281"/>
                    <a:pt x="231" y="282"/>
                  </a:cubicBezTo>
                  <a:cubicBezTo>
                    <a:pt x="231" y="282"/>
                    <a:pt x="231" y="282"/>
                    <a:pt x="231" y="283"/>
                  </a:cubicBezTo>
                  <a:cubicBezTo>
                    <a:pt x="231" y="283"/>
                    <a:pt x="232" y="283"/>
                    <a:pt x="231" y="284"/>
                  </a:cubicBezTo>
                  <a:cubicBezTo>
                    <a:pt x="230" y="285"/>
                    <a:pt x="230" y="284"/>
                    <a:pt x="230" y="284"/>
                  </a:cubicBezTo>
                  <a:cubicBezTo>
                    <a:pt x="229" y="284"/>
                    <a:pt x="228" y="285"/>
                    <a:pt x="228" y="285"/>
                  </a:cubicBezTo>
                  <a:cubicBezTo>
                    <a:pt x="228" y="285"/>
                    <a:pt x="228" y="286"/>
                    <a:pt x="228" y="286"/>
                  </a:cubicBezTo>
                  <a:cubicBezTo>
                    <a:pt x="228" y="286"/>
                    <a:pt x="227" y="286"/>
                    <a:pt x="226" y="286"/>
                  </a:cubicBezTo>
                  <a:cubicBezTo>
                    <a:pt x="225" y="286"/>
                    <a:pt x="226" y="287"/>
                    <a:pt x="226" y="287"/>
                  </a:cubicBezTo>
                  <a:cubicBezTo>
                    <a:pt x="226" y="287"/>
                    <a:pt x="226" y="288"/>
                    <a:pt x="225" y="289"/>
                  </a:cubicBezTo>
                  <a:cubicBezTo>
                    <a:pt x="225" y="289"/>
                    <a:pt x="225" y="290"/>
                    <a:pt x="225" y="291"/>
                  </a:cubicBezTo>
                  <a:cubicBezTo>
                    <a:pt x="225" y="291"/>
                    <a:pt x="225" y="291"/>
                    <a:pt x="225" y="293"/>
                  </a:cubicBezTo>
                  <a:cubicBezTo>
                    <a:pt x="225" y="294"/>
                    <a:pt x="225" y="294"/>
                    <a:pt x="225" y="294"/>
                  </a:cubicBezTo>
                  <a:cubicBezTo>
                    <a:pt x="225" y="294"/>
                    <a:pt x="224" y="294"/>
                    <a:pt x="224" y="294"/>
                  </a:cubicBezTo>
                  <a:cubicBezTo>
                    <a:pt x="224" y="293"/>
                    <a:pt x="223" y="294"/>
                    <a:pt x="223" y="294"/>
                  </a:cubicBezTo>
                  <a:cubicBezTo>
                    <a:pt x="223" y="294"/>
                    <a:pt x="222" y="293"/>
                    <a:pt x="222" y="292"/>
                  </a:cubicBezTo>
                  <a:cubicBezTo>
                    <a:pt x="222" y="292"/>
                    <a:pt x="221" y="292"/>
                    <a:pt x="221" y="292"/>
                  </a:cubicBezTo>
                  <a:cubicBezTo>
                    <a:pt x="221" y="292"/>
                    <a:pt x="219" y="293"/>
                    <a:pt x="219" y="293"/>
                  </a:cubicBezTo>
                  <a:cubicBezTo>
                    <a:pt x="219" y="293"/>
                    <a:pt x="219" y="294"/>
                    <a:pt x="219" y="294"/>
                  </a:cubicBezTo>
                  <a:cubicBezTo>
                    <a:pt x="218" y="294"/>
                    <a:pt x="216" y="295"/>
                    <a:pt x="216" y="295"/>
                  </a:cubicBezTo>
                  <a:cubicBezTo>
                    <a:pt x="216" y="295"/>
                    <a:pt x="215" y="295"/>
                    <a:pt x="215" y="295"/>
                  </a:cubicBezTo>
                  <a:cubicBezTo>
                    <a:pt x="214" y="294"/>
                    <a:pt x="214" y="294"/>
                    <a:pt x="214" y="294"/>
                  </a:cubicBezTo>
                  <a:cubicBezTo>
                    <a:pt x="214" y="293"/>
                    <a:pt x="214" y="293"/>
                    <a:pt x="214" y="293"/>
                  </a:cubicBezTo>
                  <a:cubicBezTo>
                    <a:pt x="216" y="291"/>
                    <a:pt x="216" y="291"/>
                    <a:pt x="216" y="291"/>
                  </a:cubicBezTo>
                  <a:cubicBezTo>
                    <a:pt x="215" y="288"/>
                    <a:pt x="215" y="288"/>
                    <a:pt x="215" y="288"/>
                  </a:cubicBezTo>
                  <a:cubicBezTo>
                    <a:pt x="213" y="286"/>
                    <a:pt x="213" y="286"/>
                    <a:pt x="213" y="286"/>
                  </a:cubicBezTo>
                  <a:cubicBezTo>
                    <a:pt x="213" y="285"/>
                    <a:pt x="213" y="285"/>
                    <a:pt x="213" y="285"/>
                  </a:cubicBezTo>
                  <a:cubicBezTo>
                    <a:pt x="210" y="285"/>
                    <a:pt x="210" y="285"/>
                    <a:pt x="210" y="285"/>
                  </a:cubicBezTo>
                  <a:cubicBezTo>
                    <a:pt x="208" y="284"/>
                    <a:pt x="208" y="284"/>
                    <a:pt x="208" y="284"/>
                  </a:cubicBezTo>
                  <a:cubicBezTo>
                    <a:pt x="207" y="283"/>
                    <a:pt x="207" y="283"/>
                    <a:pt x="207" y="283"/>
                  </a:cubicBezTo>
                  <a:cubicBezTo>
                    <a:pt x="204" y="281"/>
                    <a:pt x="204" y="281"/>
                    <a:pt x="204" y="281"/>
                  </a:cubicBezTo>
                  <a:cubicBezTo>
                    <a:pt x="202" y="275"/>
                    <a:pt x="202" y="275"/>
                    <a:pt x="202" y="275"/>
                  </a:cubicBezTo>
                  <a:cubicBezTo>
                    <a:pt x="199" y="275"/>
                    <a:pt x="199" y="275"/>
                    <a:pt x="199" y="275"/>
                  </a:cubicBezTo>
                  <a:cubicBezTo>
                    <a:pt x="199" y="275"/>
                    <a:pt x="197" y="277"/>
                    <a:pt x="197" y="278"/>
                  </a:cubicBezTo>
                  <a:cubicBezTo>
                    <a:pt x="197" y="279"/>
                    <a:pt x="195" y="279"/>
                    <a:pt x="195" y="279"/>
                  </a:cubicBezTo>
                  <a:cubicBezTo>
                    <a:pt x="193" y="282"/>
                    <a:pt x="193" y="282"/>
                    <a:pt x="193" y="282"/>
                  </a:cubicBezTo>
                  <a:cubicBezTo>
                    <a:pt x="193" y="282"/>
                    <a:pt x="193" y="286"/>
                    <a:pt x="193" y="287"/>
                  </a:cubicBezTo>
                  <a:cubicBezTo>
                    <a:pt x="193" y="288"/>
                    <a:pt x="191" y="286"/>
                    <a:pt x="191" y="286"/>
                  </a:cubicBezTo>
                  <a:cubicBezTo>
                    <a:pt x="191" y="286"/>
                    <a:pt x="189" y="287"/>
                    <a:pt x="188" y="288"/>
                  </a:cubicBezTo>
                  <a:cubicBezTo>
                    <a:pt x="187" y="289"/>
                    <a:pt x="185" y="289"/>
                    <a:pt x="185" y="289"/>
                  </a:cubicBezTo>
                  <a:cubicBezTo>
                    <a:pt x="185" y="289"/>
                    <a:pt x="184" y="287"/>
                    <a:pt x="183" y="286"/>
                  </a:cubicBezTo>
                  <a:cubicBezTo>
                    <a:pt x="183" y="286"/>
                    <a:pt x="183" y="285"/>
                    <a:pt x="183" y="283"/>
                  </a:cubicBezTo>
                  <a:cubicBezTo>
                    <a:pt x="183" y="282"/>
                    <a:pt x="181" y="284"/>
                    <a:pt x="181" y="284"/>
                  </a:cubicBezTo>
                  <a:cubicBezTo>
                    <a:pt x="181" y="284"/>
                    <a:pt x="181" y="284"/>
                    <a:pt x="181" y="284"/>
                  </a:cubicBezTo>
                  <a:cubicBezTo>
                    <a:pt x="181" y="283"/>
                    <a:pt x="181" y="283"/>
                    <a:pt x="181" y="283"/>
                  </a:cubicBezTo>
                  <a:cubicBezTo>
                    <a:pt x="180" y="281"/>
                    <a:pt x="179" y="280"/>
                    <a:pt x="179" y="280"/>
                  </a:cubicBezTo>
                  <a:cubicBezTo>
                    <a:pt x="179" y="280"/>
                    <a:pt x="178" y="278"/>
                    <a:pt x="178" y="276"/>
                  </a:cubicBezTo>
                  <a:cubicBezTo>
                    <a:pt x="178" y="275"/>
                    <a:pt x="174" y="273"/>
                    <a:pt x="174" y="273"/>
                  </a:cubicBezTo>
                  <a:cubicBezTo>
                    <a:pt x="174" y="273"/>
                    <a:pt x="175" y="275"/>
                    <a:pt x="173" y="273"/>
                  </a:cubicBezTo>
                  <a:cubicBezTo>
                    <a:pt x="171" y="270"/>
                    <a:pt x="169" y="270"/>
                    <a:pt x="169" y="270"/>
                  </a:cubicBezTo>
                  <a:cubicBezTo>
                    <a:pt x="168" y="262"/>
                    <a:pt x="168" y="262"/>
                    <a:pt x="168" y="262"/>
                  </a:cubicBezTo>
                  <a:cubicBezTo>
                    <a:pt x="160" y="264"/>
                    <a:pt x="160" y="264"/>
                    <a:pt x="160" y="264"/>
                  </a:cubicBezTo>
                  <a:cubicBezTo>
                    <a:pt x="160" y="264"/>
                    <a:pt x="155" y="262"/>
                    <a:pt x="154" y="261"/>
                  </a:cubicBezTo>
                  <a:cubicBezTo>
                    <a:pt x="153" y="260"/>
                    <a:pt x="150" y="259"/>
                    <a:pt x="150" y="259"/>
                  </a:cubicBezTo>
                  <a:cubicBezTo>
                    <a:pt x="147" y="262"/>
                    <a:pt x="147" y="262"/>
                    <a:pt x="147" y="262"/>
                  </a:cubicBezTo>
                  <a:cubicBezTo>
                    <a:pt x="144" y="262"/>
                    <a:pt x="144" y="262"/>
                    <a:pt x="144" y="262"/>
                  </a:cubicBezTo>
                  <a:cubicBezTo>
                    <a:pt x="144" y="262"/>
                    <a:pt x="140" y="261"/>
                    <a:pt x="139" y="260"/>
                  </a:cubicBezTo>
                  <a:cubicBezTo>
                    <a:pt x="137" y="258"/>
                    <a:pt x="138" y="257"/>
                    <a:pt x="137" y="257"/>
                  </a:cubicBezTo>
                  <a:cubicBezTo>
                    <a:pt x="135" y="257"/>
                    <a:pt x="134" y="255"/>
                    <a:pt x="134" y="255"/>
                  </a:cubicBezTo>
                  <a:cubicBezTo>
                    <a:pt x="134" y="255"/>
                    <a:pt x="136" y="252"/>
                    <a:pt x="137" y="251"/>
                  </a:cubicBezTo>
                  <a:cubicBezTo>
                    <a:pt x="137" y="250"/>
                    <a:pt x="139" y="251"/>
                    <a:pt x="138" y="248"/>
                  </a:cubicBezTo>
                  <a:cubicBezTo>
                    <a:pt x="136" y="246"/>
                    <a:pt x="135" y="245"/>
                    <a:pt x="135" y="245"/>
                  </a:cubicBezTo>
                  <a:cubicBezTo>
                    <a:pt x="135" y="245"/>
                    <a:pt x="135" y="247"/>
                    <a:pt x="133" y="248"/>
                  </a:cubicBezTo>
                  <a:cubicBezTo>
                    <a:pt x="131" y="248"/>
                    <a:pt x="128" y="249"/>
                    <a:pt x="128" y="249"/>
                  </a:cubicBezTo>
                  <a:cubicBezTo>
                    <a:pt x="117" y="244"/>
                    <a:pt x="117" y="244"/>
                    <a:pt x="117" y="244"/>
                  </a:cubicBezTo>
                  <a:cubicBezTo>
                    <a:pt x="117" y="244"/>
                    <a:pt x="114" y="243"/>
                    <a:pt x="113" y="243"/>
                  </a:cubicBezTo>
                  <a:cubicBezTo>
                    <a:pt x="112" y="244"/>
                    <a:pt x="108" y="243"/>
                    <a:pt x="108" y="243"/>
                  </a:cubicBezTo>
                  <a:cubicBezTo>
                    <a:pt x="110" y="247"/>
                    <a:pt x="110" y="247"/>
                    <a:pt x="110" y="247"/>
                  </a:cubicBezTo>
                  <a:cubicBezTo>
                    <a:pt x="112" y="253"/>
                    <a:pt x="112" y="253"/>
                    <a:pt x="112" y="253"/>
                  </a:cubicBezTo>
                  <a:cubicBezTo>
                    <a:pt x="106" y="255"/>
                    <a:pt x="106" y="255"/>
                    <a:pt x="106" y="255"/>
                  </a:cubicBezTo>
                  <a:cubicBezTo>
                    <a:pt x="105" y="260"/>
                    <a:pt x="105" y="260"/>
                    <a:pt x="105" y="260"/>
                  </a:cubicBezTo>
                  <a:cubicBezTo>
                    <a:pt x="105" y="260"/>
                    <a:pt x="99" y="264"/>
                    <a:pt x="99" y="262"/>
                  </a:cubicBezTo>
                  <a:cubicBezTo>
                    <a:pt x="98" y="261"/>
                    <a:pt x="97" y="257"/>
                    <a:pt x="97" y="257"/>
                  </a:cubicBezTo>
                  <a:cubicBezTo>
                    <a:pt x="97" y="257"/>
                    <a:pt x="96" y="255"/>
                    <a:pt x="95" y="254"/>
                  </a:cubicBezTo>
                  <a:cubicBezTo>
                    <a:pt x="93" y="253"/>
                    <a:pt x="92" y="252"/>
                    <a:pt x="92" y="252"/>
                  </a:cubicBezTo>
                  <a:cubicBezTo>
                    <a:pt x="89" y="251"/>
                    <a:pt x="89" y="251"/>
                    <a:pt x="89" y="251"/>
                  </a:cubicBezTo>
                  <a:cubicBezTo>
                    <a:pt x="89" y="251"/>
                    <a:pt x="88" y="247"/>
                    <a:pt x="87" y="247"/>
                  </a:cubicBezTo>
                  <a:cubicBezTo>
                    <a:pt x="86" y="247"/>
                    <a:pt x="85" y="247"/>
                    <a:pt x="85" y="247"/>
                  </a:cubicBezTo>
                  <a:cubicBezTo>
                    <a:pt x="85" y="244"/>
                    <a:pt x="85" y="244"/>
                    <a:pt x="85" y="244"/>
                  </a:cubicBezTo>
                  <a:cubicBezTo>
                    <a:pt x="87" y="241"/>
                    <a:pt x="87" y="241"/>
                    <a:pt x="87" y="241"/>
                  </a:cubicBezTo>
                  <a:cubicBezTo>
                    <a:pt x="87" y="241"/>
                    <a:pt x="88" y="242"/>
                    <a:pt x="88" y="238"/>
                  </a:cubicBezTo>
                  <a:cubicBezTo>
                    <a:pt x="89" y="233"/>
                    <a:pt x="86" y="233"/>
                    <a:pt x="86" y="233"/>
                  </a:cubicBezTo>
                  <a:cubicBezTo>
                    <a:pt x="83" y="234"/>
                    <a:pt x="83" y="234"/>
                    <a:pt x="83" y="234"/>
                  </a:cubicBezTo>
                  <a:cubicBezTo>
                    <a:pt x="79" y="236"/>
                    <a:pt x="79" y="236"/>
                    <a:pt x="79" y="236"/>
                  </a:cubicBezTo>
                  <a:cubicBezTo>
                    <a:pt x="77" y="236"/>
                    <a:pt x="77" y="236"/>
                    <a:pt x="77" y="236"/>
                  </a:cubicBezTo>
                  <a:cubicBezTo>
                    <a:pt x="76" y="236"/>
                    <a:pt x="74" y="233"/>
                    <a:pt x="74" y="233"/>
                  </a:cubicBezTo>
                  <a:cubicBezTo>
                    <a:pt x="74" y="233"/>
                    <a:pt x="76" y="230"/>
                    <a:pt x="73" y="233"/>
                  </a:cubicBezTo>
                  <a:cubicBezTo>
                    <a:pt x="70" y="236"/>
                    <a:pt x="68" y="232"/>
                    <a:pt x="68" y="232"/>
                  </a:cubicBezTo>
                  <a:cubicBezTo>
                    <a:pt x="67" y="231"/>
                    <a:pt x="67" y="231"/>
                    <a:pt x="67" y="231"/>
                  </a:cubicBezTo>
                  <a:cubicBezTo>
                    <a:pt x="67" y="231"/>
                    <a:pt x="67" y="231"/>
                    <a:pt x="66" y="231"/>
                  </a:cubicBezTo>
                  <a:cubicBezTo>
                    <a:pt x="65" y="232"/>
                    <a:pt x="62" y="232"/>
                    <a:pt x="62" y="231"/>
                  </a:cubicBezTo>
                  <a:cubicBezTo>
                    <a:pt x="61" y="229"/>
                    <a:pt x="59" y="228"/>
                    <a:pt x="59" y="228"/>
                  </a:cubicBezTo>
                  <a:cubicBezTo>
                    <a:pt x="56" y="229"/>
                    <a:pt x="56" y="229"/>
                    <a:pt x="56" y="229"/>
                  </a:cubicBezTo>
                  <a:cubicBezTo>
                    <a:pt x="56" y="229"/>
                    <a:pt x="54" y="229"/>
                    <a:pt x="53" y="229"/>
                  </a:cubicBezTo>
                  <a:cubicBezTo>
                    <a:pt x="53" y="228"/>
                    <a:pt x="53" y="227"/>
                    <a:pt x="51" y="226"/>
                  </a:cubicBezTo>
                  <a:cubicBezTo>
                    <a:pt x="49" y="225"/>
                    <a:pt x="48" y="222"/>
                    <a:pt x="48" y="222"/>
                  </a:cubicBezTo>
                  <a:cubicBezTo>
                    <a:pt x="48" y="222"/>
                    <a:pt x="49" y="220"/>
                    <a:pt x="47" y="220"/>
                  </a:cubicBezTo>
                  <a:cubicBezTo>
                    <a:pt x="46" y="220"/>
                    <a:pt x="44" y="219"/>
                    <a:pt x="44" y="219"/>
                  </a:cubicBezTo>
                  <a:cubicBezTo>
                    <a:pt x="44" y="219"/>
                    <a:pt x="41" y="217"/>
                    <a:pt x="41" y="218"/>
                  </a:cubicBezTo>
                  <a:cubicBezTo>
                    <a:pt x="40" y="219"/>
                    <a:pt x="40" y="221"/>
                    <a:pt x="40" y="222"/>
                  </a:cubicBezTo>
                  <a:cubicBezTo>
                    <a:pt x="40" y="222"/>
                    <a:pt x="41" y="225"/>
                    <a:pt x="41" y="225"/>
                  </a:cubicBezTo>
                  <a:cubicBezTo>
                    <a:pt x="41" y="225"/>
                    <a:pt x="37" y="227"/>
                    <a:pt x="36" y="227"/>
                  </a:cubicBezTo>
                  <a:cubicBezTo>
                    <a:pt x="35" y="227"/>
                    <a:pt x="34" y="228"/>
                    <a:pt x="34" y="226"/>
                  </a:cubicBezTo>
                  <a:cubicBezTo>
                    <a:pt x="34" y="225"/>
                    <a:pt x="36" y="220"/>
                    <a:pt x="36" y="220"/>
                  </a:cubicBezTo>
                  <a:cubicBezTo>
                    <a:pt x="37" y="219"/>
                    <a:pt x="38" y="218"/>
                    <a:pt x="38" y="218"/>
                  </a:cubicBezTo>
                  <a:cubicBezTo>
                    <a:pt x="38" y="218"/>
                    <a:pt x="37" y="216"/>
                    <a:pt x="37" y="215"/>
                  </a:cubicBezTo>
                  <a:cubicBezTo>
                    <a:pt x="37" y="214"/>
                    <a:pt x="36" y="214"/>
                    <a:pt x="38" y="211"/>
                  </a:cubicBezTo>
                  <a:cubicBezTo>
                    <a:pt x="41" y="208"/>
                    <a:pt x="41" y="206"/>
                    <a:pt x="41" y="206"/>
                  </a:cubicBezTo>
                  <a:cubicBezTo>
                    <a:pt x="41" y="206"/>
                    <a:pt x="39" y="203"/>
                    <a:pt x="38" y="202"/>
                  </a:cubicBezTo>
                  <a:cubicBezTo>
                    <a:pt x="38" y="202"/>
                    <a:pt x="35" y="198"/>
                    <a:pt x="35" y="198"/>
                  </a:cubicBezTo>
                  <a:cubicBezTo>
                    <a:pt x="35" y="197"/>
                    <a:pt x="35" y="195"/>
                    <a:pt x="35" y="195"/>
                  </a:cubicBezTo>
                  <a:cubicBezTo>
                    <a:pt x="35" y="195"/>
                    <a:pt x="33" y="193"/>
                    <a:pt x="32" y="193"/>
                  </a:cubicBezTo>
                  <a:cubicBezTo>
                    <a:pt x="31" y="193"/>
                    <a:pt x="28" y="192"/>
                    <a:pt x="28" y="192"/>
                  </a:cubicBezTo>
                  <a:cubicBezTo>
                    <a:pt x="28" y="189"/>
                    <a:pt x="28" y="189"/>
                    <a:pt x="28" y="189"/>
                  </a:cubicBezTo>
                  <a:cubicBezTo>
                    <a:pt x="28" y="184"/>
                    <a:pt x="28" y="184"/>
                    <a:pt x="28" y="184"/>
                  </a:cubicBezTo>
                  <a:cubicBezTo>
                    <a:pt x="24" y="179"/>
                    <a:pt x="24" y="179"/>
                    <a:pt x="24" y="179"/>
                  </a:cubicBezTo>
                  <a:cubicBezTo>
                    <a:pt x="23" y="176"/>
                    <a:pt x="23" y="176"/>
                    <a:pt x="23" y="176"/>
                  </a:cubicBezTo>
                  <a:cubicBezTo>
                    <a:pt x="23" y="176"/>
                    <a:pt x="24" y="174"/>
                    <a:pt x="24" y="172"/>
                  </a:cubicBezTo>
                  <a:cubicBezTo>
                    <a:pt x="25" y="171"/>
                    <a:pt x="26" y="168"/>
                    <a:pt x="26" y="168"/>
                  </a:cubicBezTo>
                  <a:cubicBezTo>
                    <a:pt x="24" y="164"/>
                    <a:pt x="24" y="164"/>
                    <a:pt x="24" y="164"/>
                  </a:cubicBezTo>
                  <a:cubicBezTo>
                    <a:pt x="24" y="164"/>
                    <a:pt x="23" y="163"/>
                    <a:pt x="24" y="162"/>
                  </a:cubicBezTo>
                  <a:cubicBezTo>
                    <a:pt x="24" y="161"/>
                    <a:pt x="23" y="155"/>
                    <a:pt x="23" y="155"/>
                  </a:cubicBezTo>
                  <a:cubicBezTo>
                    <a:pt x="23" y="155"/>
                    <a:pt x="22" y="149"/>
                    <a:pt x="21" y="150"/>
                  </a:cubicBezTo>
                  <a:cubicBezTo>
                    <a:pt x="19" y="150"/>
                    <a:pt x="18" y="146"/>
                    <a:pt x="18" y="146"/>
                  </a:cubicBezTo>
                  <a:cubicBezTo>
                    <a:pt x="20" y="139"/>
                    <a:pt x="20" y="139"/>
                    <a:pt x="20" y="139"/>
                  </a:cubicBezTo>
                  <a:cubicBezTo>
                    <a:pt x="20" y="139"/>
                    <a:pt x="21" y="134"/>
                    <a:pt x="18" y="132"/>
                  </a:cubicBezTo>
                  <a:cubicBezTo>
                    <a:pt x="15" y="131"/>
                    <a:pt x="9" y="128"/>
                    <a:pt x="8" y="127"/>
                  </a:cubicBezTo>
                  <a:cubicBezTo>
                    <a:pt x="8" y="127"/>
                    <a:pt x="5" y="124"/>
                    <a:pt x="4" y="123"/>
                  </a:cubicBezTo>
                  <a:cubicBezTo>
                    <a:pt x="3" y="123"/>
                    <a:pt x="2" y="122"/>
                    <a:pt x="2" y="122"/>
                  </a:cubicBezTo>
                  <a:cubicBezTo>
                    <a:pt x="4" y="113"/>
                    <a:pt x="4" y="113"/>
                    <a:pt x="4" y="113"/>
                  </a:cubicBezTo>
                  <a:cubicBezTo>
                    <a:pt x="9" y="109"/>
                    <a:pt x="9" y="109"/>
                    <a:pt x="9" y="109"/>
                  </a:cubicBezTo>
                  <a:cubicBezTo>
                    <a:pt x="9" y="101"/>
                    <a:pt x="9" y="101"/>
                    <a:pt x="9" y="101"/>
                  </a:cubicBezTo>
                  <a:cubicBezTo>
                    <a:pt x="9" y="92"/>
                    <a:pt x="9" y="92"/>
                    <a:pt x="9" y="92"/>
                  </a:cubicBezTo>
                  <a:cubicBezTo>
                    <a:pt x="9" y="92"/>
                    <a:pt x="10" y="91"/>
                    <a:pt x="7" y="87"/>
                  </a:cubicBezTo>
                  <a:cubicBezTo>
                    <a:pt x="5" y="84"/>
                    <a:pt x="4" y="80"/>
                    <a:pt x="4" y="80"/>
                  </a:cubicBezTo>
                  <a:cubicBezTo>
                    <a:pt x="4" y="79"/>
                    <a:pt x="3" y="75"/>
                    <a:pt x="2" y="74"/>
                  </a:cubicBezTo>
                  <a:cubicBezTo>
                    <a:pt x="2" y="73"/>
                    <a:pt x="2" y="72"/>
                    <a:pt x="2" y="70"/>
                  </a:cubicBezTo>
                  <a:cubicBezTo>
                    <a:pt x="3" y="69"/>
                    <a:pt x="0" y="66"/>
                    <a:pt x="0" y="66"/>
                  </a:cubicBezTo>
                  <a:cubicBezTo>
                    <a:pt x="0" y="66"/>
                    <a:pt x="1" y="64"/>
                    <a:pt x="2" y="64"/>
                  </a:cubicBezTo>
                  <a:cubicBezTo>
                    <a:pt x="3" y="64"/>
                    <a:pt x="4" y="63"/>
                    <a:pt x="6" y="63"/>
                  </a:cubicBezTo>
                  <a:cubicBezTo>
                    <a:pt x="8" y="63"/>
                    <a:pt x="9" y="61"/>
                    <a:pt x="11" y="61"/>
                  </a:cubicBezTo>
                  <a:cubicBezTo>
                    <a:pt x="12" y="60"/>
                    <a:pt x="12" y="58"/>
                    <a:pt x="13" y="58"/>
                  </a:cubicBezTo>
                  <a:cubicBezTo>
                    <a:pt x="15" y="57"/>
                    <a:pt x="17" y="58"/>
                    <a:pt x="20" y="56"/>
                  </a:cubicBezTo>
                  <a:cubicBezTo>
                    <a:pt x="23" y="55"/>
                    <a:pt x="23" y="54"/>
                    <a:pt x="25" y="52"/>
                  </a:cubicBezTo>
                  <a:cubicBezTo>
                    <a:pt x="26" y="51"/>
                    <a:pt x="45" y="45"/>
                    <a:pt x="45" y="45"/>
                  </a:cubicBezTo>
                  <a:cubicBezTo>
                    <a:pt x="45" y="45"/>
                    <a:pt x="50" y="42"/>
                    <a:pt x="52" y="42"/>
                  </a:cubicBezTo>
                  <a:cubicBezTo>
                    <a:pt x="53" y="41"/>
                    <a:pt x="53" y="40"/>
                    <a:pt x="55" y="40"/>
                  </a:cubicBezTo>
                  <a:cubicBezTo>
                    <a:pt x="56" y="41"/>
                    <a:pt x="60" y="41"/>
                    <a:pt x="60" y="41"/>
                  </a:cubicBezTo>
                  <a:cubicBezTo>
                    <a:pt x="60" y="41"/>
                    <a:pt x="61" y="38"/>
                    <a:pt x="62" y="37"/>
                  </a:cubicBezTo>
                  <a:cubicBezTo>
                    <a:pt x="63" y="35"/>
                    <a:pt x="64" y="33"/>
                    <a:pt x="64" y="32"/>
                  </a:cubicBezTo>
                  <a:cubicBezTo>
                    <a:pt x="65" y="30"/>
                    <a:pt x="66" y="29"/>
                    <a:pt x="67" y="28"/>
                  </a:cubicBezTo>
                  <a:cubicBezTo>
                    <a:pt x="68" y="26"/>
                    <a:pt x="69" y="25"/>
                    <a:pt x="69" y="25"/>
                  </a:cubicBezTo>
                  <a:cubicBezTo>
                    <a:pt x="70" y="25"/>
                    <a:pt x="76" y="22"/>
                    <a:pt x="77" y="22"/>
                  </a:cubicBezTo>
                  <a:cubicBezTo>
                    <a:pt x="78" y="21"/>
                    <a:pt x="86" y="18"/>
                    <a:pt x="86" y="17"/>
                  </a:cubicBezTo>
                  <a:cubicBezTo>
                    <a:pt x="86" y="17"/>
                    <a:pt x="89" y="13"/>
                    <a:pt x="89" y="12"/>
                  </a:cubicBezTo>
                  <a:cubicBezTo>
                    <a:pt x="89" y="11"/>
                    <a:pt x="93" y="10"/>
                    <a:pt x="93" y="10"/>
                  </a:cubicBezTo>
                  <a:cubicBezTo>
                    <a:pt x="94" y="10"/>
                    <a:pt x="94" y="10"/>
                    <a:pt x="95" y="9"/>
                  </a:cubicBezTo>
                  <a:cubicBezTo>
                    <a:pt x="97" y="9"/>
                    <a:pt x="106" y="5"/>
                    <a:pt x="106" y="5"/>
                  </a:cubicBezTo>
                  <a:cubicBezTo>
                    <a:pt x="106" y="5"/>
                    <a:pt x="114" y="2"/>
                    <a:pt x="114" y="2"/>
                  </a:cubicBezTo>
                  <a:cubicBezTo>
                    <a:pt x="115" y="3"/>
                    <a:pt x="120" y="2"/>
                    <a:pt x="121" y="2"/>
                  </a:cubicBezTo>
                  <a:cubicBezTo>
                    <a:pt x="121" y="3"/>
                    <a:pt x="127" y="2"/>
                    <a:pt x="127" y="2"/>
                  </a:cubicBezTo>
                  <a:cubicBezTo>
                    <a:pt x="127" y="2"/>
                    <a:pt x="129" y="3"/>
                    <a:pt x="129" y="4"/>
                  </a:cubicBezTo>
                  <a:cubicBezTo>
                    <a:pt x="129" y="5"/>
                    <a:pt x="127" y="6"/>
                    <a:pt x="128" y="7"/>
                  </a:cubicBezTo>
                  <a:cubicBezTo>
                    <a:pt x="129" y="8"/>
                    <a:pt x="133" y="11"/>
                    <a:pt x="133" y="11"/>
                  </a:cubicBezTo>
                  <a:cubicBezTo>
                    <a:pt x="133" y="11"/>
                    <a:pt x="132" y="14"/>
                    <a:pt x="132" y="14"/>
                  </a:cubicBezTo>
                  <a:cubicBezTo>
                    <a:pt x="132" y="15"/>
                    <a:pt x="133" y="16"/>
                    <a:pt x="134" y="18"/>
                  </a:cubicBezTo>
                  <a:cubicBezTo>
                    <a:pt x="135" y="19"/>
                    <a:pt x="137" y="21"/>
                    <a:pt x="137" y="21"/>
                  </a:cubicBezTo>
                  <a:cubicBezTo>
                    <a:pt x="137" y="21"/>
                    <a:pt x="136" y="22"/>
                    <a:pt x="140" y="24"/>
                  </a:cubicBezTo>
                  <a:cubicBezTo>
                    <a:pt x="144" y="26"/>
                    <a:pt x="147" y="24"/>
                    <a:pt x="147" y="24"/>
                  </a:cubicBezTo>
                  <a:cubicBezTo>
                    <a:pt x="147" y="24"/>
                    <a:pt x="150" y="24"/>
                    <a:pt x="151" y="24"/>
                  </a:cubicBezTo>
                  <a:cubicBezTo>
                    <a:pt x="152" y="24"/>
                    <a:pt x="155" y="23"/>
                    <a:pt x="155" y="23"/>
                  </a:cubicBezTo>
                  <a:close/>
                </a:path>
              </a:pathLst>
            </a:custGeom>
            <a:solidFill>
              <a:srgbClr val="E6EFF1"/>
            </a:solidFill>
            <a:ln w="12700" cap="rnd" cmpd="sng">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Lato Light"/>
              </a:endParaRPr>
            </a:p>
          </p:txBody>
        </p:sp>
        <p:sp>
          <p:nvSpPr>
            <p:cNvPr id="230" name="Freeform 39">
              <a:extLst>
                <a:ext uri="{FF2B5EF4-FFF2-40B4-BE49-F238E27FC236}">
                  <a16:creationId xmlns:a16="http://schemas.microsoft.com/office/drawing/2014/main" id="{24E7714A-F678-87E6-0B14-2126225005BB}"/>
                </a:ext>
              </a:extLst>
            </p:cNvPr>
            <p:cNvSpPr>
              <a:spLocks/>
            </p:cNvSpPr>
            <p:nvPr/>
          </p:nvSpPr>
          <p:spPr bwMode="auto">
            <a:xfrm>
              <a:off x="1980289" y="3109090"/>
              <a:ext cx="477887" cy="525166"/>
            </a:xfrm>
            <a:custGeom>
              <a:avLst/>
              <a:gdLst>
                <a:gd name="T0" fmla="*/ 115 w 166"/>
                <a:gd name="T1" fmla="*/ 170 h 188"/>
                <a:gd name="T2" fmla="*/ 92 w 166"/>
                <a:gd name="T3" fmla="*/ 176 h 188"/>
                <a:gd name="T4" fmla="*/ 71 w 166"/>
                <a:gd name="T5" fmla="*/ 177 h 188"/>
                <a:gd name="T6" fmla="*/ 50 w 166"/>
                <a:gd name="T7" fmla="*/ 188 h 188"/>
                <a:gd name="T8" fmla="*/ 19 w 166"/>
                <a:gd name="T9" fmla="*/ 183 h 188"/>
                <a:gd name="T10" fmla="*/ 18 w 166"/>
                <a:gd name="T11" fmla="*/ 180 h 188"/>
                <a:gd name="T12" fmla="*/ 22 w 166"/>
                <a:gd name="T13" fmla="*/ 175 h 188"/>
                <a:gd name="T14" fmla="*/ 9 w 166"/>
                <a:gd name="T15" fmla="*/ 171 h 188"/>
                <a:gd name="T16" fmla="*/ 21 w 166"/>
                <a:gd name="T17" fmla="*/ 165 h 188"/>
                <a:gd name="T18" fmla="*/ 7 w 166"/>
                <a:gd name="T19" fmla="*/ 161 h 188"/>
                <a:gd name="T20" fmla="*/ 5 w 166"/>
                <a:gd name="T21" fmla="*/ 157 h 188"/>
                <a:gd name="T22" fmla="*/ 18 w 166"/>
                <a:gd name="T23" fmla="*/ 152 h 188"/>
                <a:gd name="T24" fmla="*/ 20 w 166"/>
                <a:gd name="T25" fmla="*/ 148 h 188"/>
                <a:gd name="T26" fmla="*/ 3 w 166"/>
                <a:gd name="T27" fmla="*/ 144 h 188"/>
                <a:gd name="T28" fmla="*/ 15 w 166"/>
                <a:gd name="T29" fmla="*/ 138 h 188"/>
                <a:gd name="T30" fmla="*/ 23 w 166"/>
                <a:gd name="T31" fmla="*/ 144 h 188"/>
                <a:gd name="T32" fmla="*/ 27 w 166"/>
                <a:gd name="T33" fmla="*/ 134 h 188"/>
                <a:gd name="T34" fmla="*/ 40 w 166"/>
                <a:gd name="T35" fmla="*/ 130 h 188"/>
                <a:gd name="T36" fmla="*/ 56 w 166"/>
                <a:gd name="T37" fmla="*/ 131 h 188"/>
                <a:gd name="T38" fmla="*/ 54 w 166"/>
                <a:gd name="T39" fmla="*/ 129 h 188"/>
                <a:gd name="T40" fmla="*/ 38 w 166"/>
                <a:gd name="T41" fmla="*/ 127 h 188"/>
                <a:gd name="T42" fmla="*/ 36 w 166"/>
                <a:gd name="T43" fmla="*/ 123 h 188"/>
                <a:gd name="T44" fmla="*/ 49 w 166"/>
                <a:gd name="T45" fmla="*/ 112 h 188"/>
                <a:gd name="T46" fmla="*/ 62 w 166"/>
                <a:gd name="T47" fmla="*/ 104 h 188"/>
                <a:gd name="T48" fmla="*/ 64 w 166"/>
                <a:gd name="T49" fmla="*/ 97 h 188"/>
                <a:gd name="T50" fmla="*/ 44 w 166"/>
                <a:gd name="T51" fmla="*/ 94 h 188"/>
                <a:gd name="T52" fmla="*/ 45 w 166"/>
                <a:gd name="T53" fmla="*/ 89 h 188"/>
                <a:gd name="T54" fmla="*/ 38 w 166"/>
                <a:gd name="T55" fmla="*/ 84 h 188"/>
                <a:gd name="T56" fmla="*/ 36 w 166"/>
                <a:gd name="T57" fmla="*/ 78 h 188"/>
                <a:gd name="T58" fmla="*/ 39 w 166"/>
                <a:gd name="T59" fmla="*/ 71 h 188"/>
                <a:gd name="T60" fmla="*/ 48 w 166"/>
                <a:gd name="T61" fmla="*/ 64 h 188"/>
                <a:gd name="T62" fmla="*/ 48 w 166"/>
                <a:gd name="T63" fmla="*/ 59 h 188"/>
                <a:gd name="T64" fmla="*/ 39 w 166"/>
                <a:gd name="T65" fmla="*/ 49 h 188"/>
                <a:gd name="T66" fmla="*/ 49 w 166"/>
                <a:gd name="T67" fmla="*/ 45 h 188"/>
                <a:gd name="T68" fmla="*/ 45 w 166"/>
                <a:gd name="T69" fmla="*/ 45 h 188"/>
                <a:gd name="T70" fmla="*/ 56 w 166"/>
                <a:gd name="T71" fmla="*/ 38 h 188"/>
                <a:gd name="T72" fmla="*/ 70 w 166"/>
                <a:gd name="T73" fmla="*/ 40 h 188"/>
                <a:gd name="T74" fmla="*/ 81 w 166"/>
                <a:gd name="T75" fmla="*/ 45 h 188"/>
                <a:gd name="T76" fmla="*/ 92 w 166"/>
                <a:gd name="T77" fmla="*/ 48 h 188"/>
                <a:gd name="T78" fmla="*/ 107 w 166"/>
                <a:gd name="T79" fmla="*/ 39 h 188"/>
                <a:gd name="T80" fmla="*/ 98 w 166"/>
                <a:gd name="T81" fmla="*/ 31 h 188"/>
                <a:gd name="T82" fmla="*/ 102 w 166"/>
                <a:gd name="T83" fmla="*/ 20 h 188"/>
                <a:gd name="T84" fmla="*/ 107 w 166"/>
                <a:gd name="T85" fmla="*/ 12 h 188"/>
                <a:gd name="T86" fmla="*/ 121 w 166"/>
                <a:gd name="T87" fmla="*/ 6 h 188"/>
                <a:gd name="T88" fmla="*/ 135 w 166"/>
                <a:gd name="T89" fmla="*/ 4 h 188"/>
                <a:gd name="T90" fmla="*/ 134 w 166"/>
                <a:gd name="T91" fmla="*/ 16 h 188"/>
                <a:gd name="T92" fmla="*/ 137 w 166"/>
                <a:gd name="T93" fmla="*/ 7 h 188"/>
                <a:gd name="T94" fmla="*/ 144 w 166"/>
                <a:gd name="T95" fmla="*/ 3 h 188"/>
                <a:gd name="T96" fmla="*/ 156 w 166"/>
                <a:gd name="T97" fmla="*/ 11 h 188"/>
                <a:gd name="T98" fmla="*/ 137 w 166"/>
                <a:gd name="T99" fmla="*/ 27 h 188"/>
                <a:gd name="T100" fmla="*/ 115 w 166"/>
                <a:gd name="T101" fmla="*/ 42 h 188"/>
                <a:gd name="T102" fmla="*/ 135 w 166"/>
                <a:gd name="T103" fmla="*/ 64 h 188"/>
                <a:gd name="T104" fmla="*/ 161 w 166"/>
                <a:gd name="T105" fmla="*/ 76 h 188"/>
                <a:gd name="T106" fmla="*/ 157 w 166"/>
                <a:gd name="T107" fmla="*/ 86 h 188"/>
                <a:gd name="T108" fmla="*/ 158 w 166"/>
                <a:gd name="T109" fmla="*/ 112 h 188"/>
                <a:gd name="T110" fmla="*/ 157 w 166"/>
                <a:gd name="T111" fmla="*/ 129 h 188"/>
                <a:gd name="T112" fmla="*/ 146 w 166"/>
                <a:gd name="T113" fmla="*/ 151 h 188"/>
                <a:gd name="T114" fmla="*/ 134 w 166"/>
                <a:gd name="T115" fmla="*/ 165 h 188"/>
                <a:gd name="T116" fmla="*/ 132 w 166"/>
                <a:gd name="T117" fmla="*/ 174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66" h="188">
                  <a:moveTo>
                    <a:pt x="132" y="174"/>
                  </a:moveTo>
                  <a:cubicBezTo>
                    <a:pt x="128" y="174"/>
                    <a:pt x="128" y="174"/>
                    <a:pt x="128" y="174"/>
                  </a:cubicBezTo>
                  <a:cubicBezTo>
                    <a:pt x="128" y="174"/>
                    <a:pt x="126" y="171"/>
                    <a:pt x="125" y="171"/>
                  </a:cubicBezTo>
                  <a:cubicBezTo>
                    <a:pt x="124" y="171"/>
                    <a:pt x="122" y="170"/>
                    <a:pt x="122" y="170"/>
                  </a:cubicBezTo>
                  <a:cubicBezTo>
                    <a:pt x="121" y="172"/>
                    <a:pt x="121" y="172"/>
                    <a:pt x="121" y="172"/>
                  </a:cubicBezTo>
                  <a:cubicBezTo>
                    <a:pt x="121" y="172"/>
                    <a:pt x="120" y="173"/>
                    <a:pt x="119" y="173"/>
                  </a:cubicBezTo>
                  <a:cubicBezTo>
                    <a:pt x="119" y="173"/>
                    <a:pt x="118" y="172"/>
                    <a:pt x="118" y="172"/>
                  </a:cubicBezTo>
                  <a:cubicBezTo>
                    <a:pt x="118" y="170"/>
                    <a:pt x="118" y="170"/>
                    <a:pt x="118" y="170"/>
                  </a:cubicBezTo>
                  <a:cubicBezTo>
                    <a:pt x="115" y="170"/>
                    <a:pt x="115" y="170"/>
                    <a:pt x="115" y="170"/>
                  </a:cubicBezTo>
                  <a:cubicBezTo>
                    <a:pt x="115" y="170"/>
                    <a:pt x="115" y="173"/>
                    <a:pt x="114" y="173"/>
                  </a:cubicBezTo>
                  <a:cubicBezTo>
                    <a:pt x="113" y="172"/>
                    <a:pt x="112" y="172"/>
                    <a:pt x="110" y="172"/>
                  </a:cubicBezTo>
                  <a:cubicBezTo>
                    <a:pt x="108" y="171"/>
                    <a:pt x="104" y="172"/>
                    <a:pt x="104" y="172"/>
                  </a:cubicBezTo>
                  <a:cubicBezTo>
                    <a:pt x="102" y="171"/>
                    <a:pt x="102" y="171"/>
                    <a:pt x="102" y="171"/>
                  </a:cubicBezTo>
                  <a:cubicBezTo>
                    <a:pt x="99" y="171"/>
                    <a:pt x="99" y="171"/>
                    <a:pt x="99" y="171"/>
                  </a:cubicBezTo>
                  <a:cubicBezTo>
                    <a:pt x="95" y="171"/>
                    <a:pt x="95" y="171"/>
                    <a:pt x="95" y="171"/>
                  </a:cubicBezTo>
                  <a:cubicBezTo>
                    <a:pt x="94" y="173"/>
                    <a:pt x="94" y="173"/>
                    <a:pt x="94" y="173"/>
                  </a:cubicBezTo>
                  <a:cubicBezTo>
                    <a:pt x="95" y="174"/>
                    <a:pt x="95" y="174"/>
                    <a:pt x="95" y="174"/>
                  </a:cubicBezTo>
                  <a:cubicBezTo>
                    <a:pt x="92" y="176"/>
                    <a:pt x="92" y="176"/>
                    <a:pt x="92" y="176"/>
                  </a:cubicBezTo>
                  <a:cubicBezTo>
                    <a:pt x="88" y="175"/>
                    <a:pt x="88" y="175"/>
                    <a:pt x="88" y="175"/>
                  </a:cubicBezTo>
                  <a:cubicBezTo>
                    <a:pt x="86" y="177"/>
                    <a:pt x="86" y="177"/>
                    <a:pt x="86" y="177"/>
                  </a:cubicBezTo>
                  <a:cubicBezTo>
                    <a:pt x="85" y="175"/>
                    <a:pt x="85" y="175"/>
                    <a:pt x="85" y="175"/>
                  </a:cubicBezTo>
                  <a:cubicBezTo>
                    <a:pt x="79" y="179"/>
                    <a:pt x="79" y="179"/>
                    <a:pt x="79" y="179"/>
                  </a:cubicBezTo>
                  <a:cubicBezTo>
                    <a:pt x="80" y="181"/>
                    <a:pt x="80" y="181"/>
                    <a:pt x="80" y="181"/>
                  </a:cubicBezTo>
                  <a:cubicBezTo>
                    <a:pt x="75" y="182"/>
                    <a:pt x="75" y="182"/>
                    <a:pt x="75" y="182"/>
                  </a:cubicBezTo>
                  <a:cubicBezTo>
                    <a:pt x="72" y="181"/>
                    <a:pt x="72" y="181"/>
                    <a:pt x="72" y="181"/>
                  </a:cubicBezTo>
                  <a:cubicBezTo>
                    <a:pt x="72" y="181"/>
                    <a:pt x="70" y="180"/>
                    <a:pt x="70" y="179"/>
                  </a:cubicBezTo>
                  <a:cubicBezTo>
                    <a:pt x="71" y="178"/>
                    <a:pt x="71" y="177"/>
                    <a:pt x="71" y="177"/>
                  </a:cubicBezTo>
                  <a:cubicBezTo>
                    <a:pt x="71" y="177"/>
                    <a:pt x="69" y="176"/>
                    <a:pt x="69" y="177"/>
                  </a:cubicBezTo>
                  <a:cubicBezTo>
                    <a:pt x="69" y="179"/>
                    <a:pt x="68" y="181"/>
                    <a:pt x="68" y="181"/>
                  </a:cubicBezTo>
                  <a:cubicBezTo>
                    <a:pt x="65" y="183"/>
                    <a:pt x="65" y="183"/>
                    <a:pt x="65" y="183"/>
                  </a:cubicBezTo>
                  <a:cubicBezTo>
                    <a:pt x="61" y="184"/>
                    <a:pt x="61" y="184"/>
                    <a:pt x="61" y="184"/>
                  </a:cubicBezTo>
                  <a:cubicBezTo>
                    <a:pt x="60" y="183"/>
                    <a:pt x="60" y="183"/>
                    <a:pt x="60" y="183"/>
                  </a:cubicBezTo>
                  <a:cubicBezTo>
                    <a:pt x="60" y="186"/>
                    <a:pt x="60" y="186"/>
                    <a:pt x="60" y="186"/>
                  </a:cubicBezTo>
                  <a:cubicBezTo>
                    <a:pt x="55" y="186"/>
                    <a:pt x="55" y="186"/>
                    <a:pt x="55" y="186"/>
                  </a:cubicBezTo>
                  <a:cubicBezTo>
                    <a:pt x="52" y="186"/>
                    <a:pt x="52" y="186"/>
                    <a:pt x="52" y="186"/>
                  </a:cubicBezTo>
                  <a:cubicBezTo>
                    <a:pt x="50" y="188"/>
                    <a:pt x="50" y="188"/>
                    <a:pt x="50" y="188"/>
                  </a:cubicBezTo>
                  <a:cubicBezTo>
                    <a:pt x="47" y="187"/>
                    <a:pt x="47" y="187"/>
                    <a:pt x="47" y="187"/>
                  </a:cubicBezTo>
                  <a:cubicBezTo>
                    <a:pt x="42" y="188"/>
                    <a:pt x="42" y="188"/>
                    <a:pt x="42" y="188"/>
                  </a:cubicBezTo>
                  <a:cubicBezTo>
                    <a:pt x="41" y="186"/>
                    <a:pt x="41" y="186"/>
                    <a:pt x="41" y="186"/>
                  </a:cubicBezTo>
                  <a:cubicBezTo>
                    <a:pt x="34" y="186"/>
                    <a:pt x="34" y="186"/>
                    <a:pt x="34" y="186"/>
                  </a:cubicBezTo>
                  <a:cubicBezTo>
                    <a:pt x="31" y="187"/>
                    <a:pt x="31" y="187"/>
                    <a:pt x="31" y="187"/>
                  </a:cubicBezTo>
                  <a:cubicBezTo>
                    <a:pt x="30" y="185"/>
                    <a:pt x="30" y="185"/>
                    <a:pt x="30" y="185"/>
                  </a:cubicBezTo>
                  <a:cubicBezTo>
                    <a:pt x="29" y="185"/>
                    <a:pt x="29" y="185"/>
                    <a:pt x="29" y="185"/>
                  </a:cubicBezTo>
                  <a:cubicBezTo>
                    <a:pt x="29" y="185"/>
                    <a:pt x="27" y="185"/>
                    <a:pt x="26" y="185"/>
                  </a:cubicBezTo>
                  <a:cubicBezTo>
                    <a:pt x="25" y="185"/>
                    <a:pt x="19" y="183"/>
                    <a:pt x="19" y="183"/>
                  </a:cubicBezTo>
                  <a:cubicBezTo>
                    <a:pt x="17" y="185"/>
                    <a:pt x="17" y="185"/>
                    <a:pt x="17" y="185"/>
                  </a:cubicBezTo>
                  <a:cubicBezTo>
                    <a:pt x="17" y="185"/>
                    <a:pt x="14" y="185"/>
                    <a:pt x="14" y="184"/>
                  </a:cubicBezTo>
                  <a:cubicBezTo>
                    <a:pt x="14" y="184"/>
                    <a:pt x="14" y="183"/>
                    <a:pt x="15" y="182"/>
                  </a:cubicBezTo>
                  <a:cubicBezTo>
                    <a:pt x="16" y="182"/>
                    <a:pt x="17" y="182"/>
                    <a:pt x="19" y="181"/>
                  </a:cubicBezTo>
                  <a:cubicBezTo>
                    <a:pt x="21" y="181"/>
                    <a:pt x="22" y="181"/>
                    <a:pt x="22" y="181"/>
                  </a:cubicBezTo>
                  <a:cubicBezTo>
                    <a:pt x="23" y="180"/>
                    <a:pt x="23" y="180"/>
                    <a:pt x="23" y="180"/>
                  </a:cubicBezTo>
                  <a:cubicBezTo>
                    <a:pt x="23" y="179"/>
                    <a:pt x="24" y="178"/>
                    <a:pt x="22" y="179"/>
                  </a:cubicBezTo>
                  <a:cubicBezTo>
                    <a:pt x="21" y="179"/>
                    <a:pt x="21" y="179"/>
                    <a:pt x="21" y="179"/>
                  </a:cubicBezTo>
                  <a:cubicBezTo>
                    <a:pt x="20" y="180"/>
                    <a:pt x="19" y="180"/>
                    <a:pt x="18" y="180"/>
                  </a:cubicBezTo>
                  <a:cubicBezTo>
                    <a:pt x="18" y="180"/>
                    <a:pt x="16" y="180"/>
                    <a:pt x="16" y="180"/>
                  </a:cubicBezTo>
                  <a:cubicBezTo>
                    <a:pt x="16" y="180"/>
                    <a:pt x="15" y="179"/>
                    <a:pt x="16" y="179"/>
                  </a:cubicBezTo>
                  <a:cubicBezTo>
                    <a:pt x="17" y="178"/>
                    <a:pt x="17" y="178"/>
                    <a:pt x="18" y="178"/>
                  </a:cubicBezTo>
                  <a:cubicBezTo>
                    <a:pt x="20" y="178"/>
                    <a:pt x="21" y="177"/>
                    <a:pt x="23" y="177"/>
                  </a:cubicBezTo>
                  <a:cubicBezTo>
                    <a:pt x="25" y="177"/>
                    <a:pt x="26" y="177"/>
                    <a:pt x="26" y="177"/>
                  </a:cubicBezTo>
                  <a:cubicBezTo>
                    <a:pt x="27" y="176"/>
                    <a:pt x="28" y="176"/>
                    <a:pt x="28" y="175"/>
                  </a:cubicBezTo>
                  <a:cubicBezTo>
                    <a:pt x="28" y="174"/>
                    <a:pt x="27" y="173"/>
                    <a:pt x="27" y="173"/>
                  </a:cubicBezTo>
                  <a:cubicBezTo>
                    <a:pt x="27" y="173"/>
                    <a:pt x="26" y="173"/>
                    <a:pt x="25" y="174"/>
                  </a:cubicBezTo>
                  <a:cubicBezTo>
                    <a:pt x="24" y="174"/>
                    <a:pt x="23" y="175"/>
                    <a:pt x="22" y="175"/>
                  </a:cubicBezTo>
                  <a:cubicBezTo>
                    <a:pt x="22" y="175"/>
                    <a:pt x="22" y="175"/>
                    <a:pt x="21" y="175"/>
                  </a:cubicBezTo>
                  <a:cubicBezTo>
                    <a:pt x="20" y="175"/>
                    <a:pt x="18" y="174"/>
                    <a:pt x="18" y="174"/>
                  </a:cubicBezTo>
                  <a:cubicBezTo>
                    <a:pt x="17" y="174"/>
                    <a:pt x="16" y="174"/>
                    <a:pt x="15" y="174"/>
                  </a:cubicBezTo>
                  <a:cubicBezTo>
                    <a:pt x="14" y="174"/>
                    <a:pt x="15" y="174"/>
                    <a:pt x="13" y="174"/>
                  </a:cubicBezTo>
                  <a:cubicBezTo>
                    <a:pt x="11" y="175"/>
                    <a:pt x="12" y="175"/>
                    <a:pt x="9" y="175"/>
                  </a:cubicBezTo>
                  <a:cubicBezTo>
                    <a:pt x="7" y="175"/>
                    <a:pt x="4" y="174"/>
                    <a:pt x="4" y="174"/>
                  </a:cubicBezTo>
                  <a:cubicBezTo>
                    <a:pt x="4" y="174"/>
                    <a:pt x="2" y="175"/>
                    <a:pt x="3" y="174"/>
                  </a:cubicBezTo>
                  <a:cubicBezTo>
                    <a:pt x="5" y="173"/>
                    <a:pt x="7" y="173"/>
                    <a:pt x="8" y="172"/>
                  </a:cubicBezTo>
                  <a:cubicBezTo>
                    <a:pt x="9" y="172"/>
                    <a:pt x="10" y="172"/>
                    <a:pt x="9" y="171"/>
                  </a:cubicBezTo>
                  <a:cubicBezTo>
                    <a:pt x="9" y="171"/>
                    <a:pt x="9" y="171"/>
                    <a:pt x="9" y="171"/>
                  </a:cubicBezTo>
                  <a:cubicBezTo>
                    <a:pt x="10" y="171"/>
                    <a:pt x="12" y="170"/>
                    <a:pt x="12" y="170"/>
                  </a:cubicBezTo>
                  <a:cubicBezTo>
                    <a:pt x="14" y="169"/>
                    <a:pt x="14" y="169"/>
                    <a:pt x="14" y="169"/>
                  </a:cubicBezTo>
                  <a:cubicBezTo>
                    <a:pt x="14" y="169"/>
                    <a:pt x="14" y="168"/>
                    <a:pt x="16" y="168"/>
                  </a:cubicBezTo>
                  <a:cubicBezTo>
                    <a:pt x="18" y="168"/>
                    <a:pt x="18" y="168"/>
                    <a:pt x="18" y="167"/>
                  </a:cubicBezTo>
                  <a:cubicBezTo>
                    <a:pt x="19" y="167"/>
                    <a:pt x="18" y="167"/>
                    <a:pt x="19" y="167"/>
                  </a:cubicBezTo>
                  <a:cubicBezTo>
                    <a:pt x="21" y="167"/>
                    <a:pt x="21" y="166"/>
                    <a:pt x="22" y="166"/>
                  </a:cubicBezTo>
                  <a:cubicBezTo>
                    <a:pt x="24" y="166"/>
                    <a:pt x="25" y="165"/>
                    <a:pt x="24" y="165"/>
                  </a:cubicBezTo>
                  <a:cubicBezTo>
                    <a:pt x="23" y="165"/>
                    <a:pt x="23" y="165"/>
                    <a:pt x="21" y="165"/>
                  </a:cubicBezTo>
                  <a:cubicBezTo>
                    <a:pt x="20" y="166"/>
                    <a:pt x="19" y="165"/>
                    <a:pt x="19" y="166"/>
                  </a:cubicBezTo>
                  <a:cubicBezTo>
                    <a:pt x="18" y="166"/>
                    <a:pt x="16" y="166"/>
                    <a:pt x="16" y="166"/>
                  </a:cubicBezTo>
                  <a:cubicBezTo>
                    <a:pt x="15" y="165"/>
                    <a:pt x="15" y="165"/>
                    <a:pt x="14" y="166"/>
                  </a:cubicBezTo>
                  <a:cubicBezTo>
                    <a:pt x="13" y="166"/>
                    <a:pt x="14" y="167"/>
                    <a:pt x="12" y="167"/>
                  </a:cubicBezTo>
                  <a:cubicBezTo>
                    <a:pt x="11" y="167"/>
                    <a:pt x="10" y="166"/>
                    <a:pt x="10" y="166"/>
                  </a:cubicBezTo>
                  <a:cubicBezTo>
                    <a:pt x="10" y="166"/>
                    <a:pt x="7" y="166"/>
                    <a:pt x="7" y="165"/>
                  </a:cubicBezTo>
                  <a:cubicBezTo>
                    <a:pt x="7" y="165"/>
                    <a:pt x="7" y="163"/>
                    <a:pt x="7" y="163"/>
                  </a:cubicBezTo>
                  <a:cubicBezTo>
                    <a:pt x="7" y="162"/>
                    <a:pt x="8" y="162"/>
                    <a:pt x="8" y="162"/>
                  </a:cubicBezTo>
                  <a:cubicBezTo>
                    <a:pt x="7" y="161"/>
                    <a:pt x="7" y="161"/>
                    <a:pt x="7" y="161"/>
                  </a:cubicBezTo>
                  <a:cubicBezTo>
                    <a:pt x="7" y="161"/>
                    <a:pt x="7" y="161"/>
                    <a:pt x="6" y="161"/>
                  </a:cubicBezTo>
                  <a:cubicBezTo>
                    <a:pt x="6" y="161"/>
                    <a:pt x="4" y="162"/>
                    <a:pt x="4" y="162"/>
                  </a:cubicBezTo>
                  <a:cubicBezTo>
                    <a:pt x="4" y="162"/>
                    <a:pt x="4" y="162"/>
                    <a:pt x="3" y="162"/>
                  </a:cubicBezTo>
                  <a:cubicBezTo>
                    <a:pt x="3" y="162"/>
                    <a:pt x="2" y="162"/>
                    <a:pt x="2" y="162"/>
                  </a:cubicBezTo>
                  <a:cubicBezTo>
                    <a:pt x="2" y="162"/>
                    <a:pt x="2" y="161"/>
                    <a:pt x="2" y="160"/>
                  </a:cubicBezTo>
                  <a:cubicBezTo>
                    <a:pt x="2" y="160"/>
                    <a:pt x="2" y="159"/>
                    <a:pt x="2" y="159"/>
                  </a:cubicBezTo>
                  <a:cubicBezTo>
                    <a:pt x="2" y="159"/>
                    <a:pt x="2" y="159"/>
                    <a:pt x="2" y="159"/>
                  </a:cubicBezTo>
                  <a:cubicBezTo>
                    <a:pt x="2" y="158"/>
                    <a:pt x="0" y="158"/>
                    <a:pt x="2" y="157"/>
                  </a:cubicBezTo>
                  <a:cubicBezTo>
                    <a:pt x="4" y="157"/>
                    <a:pt x="4" y="157"/>
                    <a:pt x="5" y="157"/>
                  </a:cubicBezTo>
                  <a:cubicBezTo>
                    <a:pt x="5" y="157"/>
                    <a:pt x="6" y="157"/>
                    <a:pt x="6" y="157"/>
                  </a:cubicBezTo>
                  <a:cubicBezTo>
                    <a:pt x="6" y="157"/>
                    <a:pt x="7" y="156"/>
                    <a:pt x="7" y="156"/>
                  </a:cubicBezTo>
                  <a:cubicBezTo>
                    <a:pt x="6" y="155"/>
                    <a:pt x="6" y="155"/>
                    <a:pt x="6" y="155"/>
                  </a:cubicBezTo>
                  <a:cubicBezTo>
                    <a:pt x="6" y="154"/>
                    <a:pt x="6" y="154"/>
                    <a:pt x="7" y="154"/>
                  </a:cubicBezTo>
                  <a:cubicBezTo>
                    <a:pt x="8" y="154"/>
                    <a:pt x="8" y="153"/>
                    <a:pt x="9" y="153"/>
                  </a:cubicBezTo>
                  <a:cubicBezTo>
                    <a:pt x="9" y="153"/>
                    <a:pt x="10" y="153"/>
                    <a:pt x="11" y="153"/>
                  </a:cubicBezTo>
                  <a:cubicBezTo>
                    <a:pt x="11" y="153"/>
                    <a:pt x="11" y="152"/>
                    <a:pt x="13" y="152"/>
                  </a:cubicBezTo>
                  <a:cubicBezTo>
                    <a:pt x="14" y="152"/>
                    <a:pt x="15" y="152"/>
                    <a:pt x="16" y="152"/>
                  </a:cubicBezTo>
                  <a:cubicBezTo>
                    <a:pt x="16" y="152"/>
                    <a:pt x="18" y="152"/>
                    <a:pt x="18" y="152"/>
                  </a:cubicBezTo>
                  <a:cubicBezTo>
                    <a:pt x="18" y="152"/>
                    <a:pt x="20" y="151"/>
                    <a:pt x="20" y="151"/>
                  </a:cubicBezTo>
                  <a:cubicBezTo>
                    <a:pt x="21" y="150"/>
                    <a:pt x="21" y="150"/>
                    <a:pt x="21" y="150"/>
                  </a:cubicBezTo>
                  <a:cubicBezTo>
                    <a:pt x="21" y="150"/>
                    <a:pt x="21" y="150"/>
                    <a:pt x="22" y="150"/>
                  </a:cubicBezTo>
                  <a:cubicBezTo>
                    <a:pt x="23" y="150"/>
                    <a:pt x="23" y="150"/>
                    <a:pt x="24" y="150"/>
                  </a:cubicBezTo>
                  <a:cubicBezTo>
                    <a:pt x="24" y="150"/>
                    <a:pt x="25" y="150"/>
                    <a:pt x="25" y="150"/>
                  </a:cubicBezTo>
                  <a:cubicBezTo>
                    <a:pt x="25" y="149"/>
                    <a:pt x="25" y="149"/>
                    <a:pt x="25" y="148"/>
                  </a:cubicBezTo>
                  <a:cubicBezTo>
                    <a:pt x="24" y="148"/>
                    <a:pt x="24" y="148"/>
                    <a:pt x="23" y="148"/>
                  </a:cubicBezTo>
                  <a:cubicBezTo>
                    <a:pt x="22" y="149"/>
                    <a:pt x="21" y="149"/>
                    <a:pt x="21" y="148"/>
                  </a:cubicBezTo>
                  <a:cubicBezTo>
                    <a:pt x="21" y="148"/>
                    <a:pt x="21" y="148"/>
                    <a:pt x="20" y="148"/>
                  </a:cubicBezTo>
                  <a:cubicBezTo>
                    <a:pt x="19" y="148"/>
                    <a:pt x="18" y="148"/>
                    <a:pt x="18" y="148"/>
                  </a:cubicBezTo>
                  <a:cubicBezTo>
                    <a:pt x="18" y="148"/>
                    <a:pt x="17" y="148"/>
                    <a:pt x="16" y="148"/>
                  </a:cubicBezTo>
                  <a:cubicBezTo>
                    <a:pt x="14" y="147"/>
                    <a:pt x="14" y="147"/>
                    <a:pt x="13" y="147"/>
                  </a:cubicBezTo>
                  <a:cubicBezTo>
                    <a:pt x="12" y="147"/>
                    <a:pt x="11" y="147"/>
                    <a:pt x="11" y="147"/>
                  </a:cubicBezTo>
                  <a:cubicBezTo>
                    <a:pt x="11" y="147"/>
                    <a:pt x="13" y="147"/>
                    <a:pt x="10" y="146"/>
                  </a:cubicBezTo>
                  <a:cubicBezTo>
                    <a:pt x="7" y="145"/>
                    <a:pt x="7" y="145"/>
                    <a:pt x="7" y="145"/>
                  </a:cubicBezTo>
                  <a:cubicBezTo>
                    <a:pt x="6" y="145"/>
                    <a:pt x="6" y="145"/>
                    <a:pt x="6" y="145"/>
                  </a:cubicBezTo>
                  <a:cubicBezTo>
                    <a:pt x="5" y="145"/>
                    <a:pt x="5" y="146"/>
                    <a:pt x="4" y="145"/>
                  </a:cubicBezTo>
                  <a:cubicBezTo>
                    <a:pt x="4" y="145"/>
                    <a:pt x="3" y="144"/>
                    <a:pt x="3" y="144"/>
                  </a:cubicBezTo>
                  <a:cubicBezTo>
                    <a:pt x="3" y="143"/>
                    <a:pt x="3" y="143"/>
                    <a:pt x="4" y="142"/>
                  </a:cubicBezTo>
                  <a:cubicBezTo>
                    <a:pt x="4" y="142"/>
                    <a:pt x="6" y="141"/>
                    <a:pt x="6" y="141"/>
                  </a:cubicBezTo>
                  <a:cubicBezTo>
                    <a:pt x="6" y="142"/>
                    <a:pt x="6" y="142"/>
                    <a:pt x="6" y="142"/>
                  </a:cubicBezTo>
                  <a:cubicBezTo>
                    <a:pt x="6" y="142"/>
                    <a:pt x="6" y="143"/>
                    <a:pt x="7" y="142"/>
                  </a:cubicBezTo>
                  <a:cubicBezTo>
                    <a:pt x="7" y="142"/>
                    <a:pt x="8" y="140"/>
                    <a:pt x="8" y="140"/>
                  </a:cubicBezTo>
                  <a:cubicBezTo>
                    <a:pt x="8" y="140"/>
                    <a:pt x="7" y="140"/>
                    <a:pt x="8" y="139"/>
                  </a:cubicBezTo>
                  <a:cubicBezTo>
                    <a:pt x="9" y="139"/>
                    <a:pt x="9" y="139"/>
                    <a:pt x="10" y="139"/>
                  </a:cubicBezTo>
                  <a:cubicBezTo>
                    <a:pt x="10" y="139"/>
                    <a:pt x="12" y="139"/>
                    <a:pt x="13" y="139"/>
                  </a:cubicBezTo>
                  <a:cubicBezTo>
                    <a:pt x="13" y="138"/>
                    <a:pt x="15" y="138"/>
                    <a:pt x="15" y="138"/>
                  </a:cubicBezTo>
                  <a:cubicBezTo>
                    <a:pt x="15" y="138"/>
                    <a:pt x="16" y="139"/>
                    <a:pt x="15" y="140"/>
                  </a:cubicBezTo>
                  <a:cubicBezTo>
                    <a:pt x="15" y="140"/>
                    <a:pt x="14" y="140"/>
                    <a:pt x="15" y="141"/>
                  </a:cubicBezTo>
                  <a:cubicBezTo>
                    <a:pt x="16" y="141"/>
                    <a:pt x="17" y="141"/>
                    <a:pt x="17" y="141"/>
                  </a:cubicBezTo>
                  <a:cubicBezTo>
                    <a:pt x="17" y="141"/>
                    <a:pt x="18" y="140"/>
                    <a:pt x="18" y="140"/>
                  </a:cubicBezTo>
                  <a:cubicBezTo>
                    <a:pt x="19" y="140"/>
                    <a:pt x="18" y="139"/>
                    <a:pt x="19" y="139"/>
                  </a:cubicBezTo>
                  <a:cubicBezTo>
                    <a:pt x="20" y="140"/>
                    <a:pt x="20" y="141"/>
                    <a:pt x="20" y="141"/>
                  </a:cubicBezTo>
                  <a:cubicBezTo>
                    <a:pt x="20" y="141"/>
                    <a:pt x="20" y="141"/>
                    <a:pt x="20" y="142"/>
                  </a:cubicBezTo>
                  <a:cubicBezTo>
                    <a:pt x="21" y="142"/>
                    <a:pt x="22" y="142"/>
                    <a:pt x="22" y="143"/>
                  </a:cubicBezTo>
                  <a:cubicBezTo>
                    <a:pt x="22" y="143"/>
                    <a:pt x="21" y="143"/>
                    <a:pt x="23" y="144"/>
                  </a:cubicBezTo>
                  <a:cubicBezTo>
                    <a:pt x="24" y="144"/>
                    <a:pt x="25" y="144"/>
                    <a:pt x="25" y="144"/>
                  </a:cubicBezTo>
                  <a:cubicBezTo>
                    <a:pt x="25" y="144"/>
                    <a:pt x="26" y="144"/>
                    <a:pt x="26" y="143"/>
                  </a:cubicBezTo>
                  <a:cubicBezTo>
                    <a:pt x="25" y="142"/>
                    <a:pt x="25" y="141"/>
                    <a:pt x="25" y="141"/>
                  </a:cubicBezTo>
                  <a:cubicBezTo>
                    <a:pt x="25" y="141"/>
                    <a:pt x="26" y="140"/>
                    <a:pt x="26" y="140"/>
                  </a:cubicBezTo>
                  <a:cubicBezTo>
                    <a:pt x="26" y="139"/>
                    <a:pt x="26" y="137"/>
                    <a:pt x="26" y="137"/>
                  </a:cubicBezTo>
                  <a:cubicBezTo>
                    <a:pt x="26" y="137"/>
                    <a:pt x="27" y="136"/>
                    <a:pt x="26" y="136"/>
                  </a:cubicBezTo>
                  <a:cubicBezTo>
                    <a:pt x="25" y="136"/>
                    <a:pt x="25" y="135"/>
                    <a:pt x="25" y="135"/>
                  </a:cubicBezTo>
                  <a:cubicBezTo>
                    <a:pt x="24" y="135"/>
                    <a:pt x="24" y="134"/>
                    <a:pt x="24" y="134"/>
                  </a:cubicBezTo>
                  <a:cubicBezTo>
                    <a:pt x="27" y="134"/>
                    <a:pt x="27" y="134"/>
                    <a:pt x="27" y="134"/>
                  </a:cubicBezTo>
                  <a:cubicBezTo>
                    <a:pt x="29" y="134"/>
                    <a:pt x="29" y="134"/>
                    <a:pt x="29" y="134"/>
                  </a:cubicBezTo>
                  <a:cubicBezTo>
                    <a:pt x="31" y="133"/>
                    <a:pt x="31" y="133"/>
                    <a:pt x="31" y="133"/>
                  </a:cubicBezTo>
                  <a:cubicBezTo>
                    <a:pt x="31" y="133"/>
                    <a:pt x="32" y="134"/>
                    <a:pt x="32" y="133"/>
                  </a:cubicBezTo>
                  <a:cubicBezTo>
                    <a:pt x="32" y="133"/>
                    <a:pt x="33" y="132"/>
                    <a:pt x="33" y="132"/>
                  </a:cubicBezTo>
                  <a:cubicBezTo>
                    <a:pt x="35" y="132"/>
                    <a:pt x="35" y="132"/>
                    <a:pt x="35" y="132"/>
                  </a:cubicBezTo>
                  <a:cubicBezTo>
                    <a:pt x="35" y="132"/>
                    <a:pt x="34" y="131"/>
                    <a:pt x="34" y="131"/>
                  </a:cubicBezTo>
                  <a:cubicBezTo>
                    <a:pt x="35" y="131"/>
                    <a:pt x="35" y="129"/>
                    <a:pt x="35" y="129"/>
                  </a:cubicBezTo>
                  <a:cubicBezTo>
                    <a:pt x="35" y="129"/>
                    <a:pt x="36" y="128"/>
                    <a:pt x="37" y="129"/>
                  </a:cubicBezTo>
                  <a:cubicBezTo>
                    <a:pt x="37" y="129"/>
                    <a:pt x="39" y="129"/>
                    <a:pt x="40" y="130"/>
                  </a:cubicBezTo>
                  <a:cubicBezTo>
                    <a:pt x="40" y="130"/>
                    <a:pt x="41" y="130"/>
                    <a:pt x="41" y="130"/>
                  </a:cubicBezTo>
                  <a:cubicBezTo>
                    <a:pt x="43" y="130"/>
                    <a:pt x="43" y="130"/>
                    <a:pt x="43" y="130"/>
                  </a:cubicBezTo>
                  <a:cubicBezTo>
                    <a:pt x="43" y="130"/>
                    <a:pt x="45" y="131"/>
                    <a:pt x="45" y="131"/>
                  </a:cubicBezTo>
                  <a:cubicBezTo>
                    <a:pt x="45" y="131"/>
                    <a:pt x="47" y="132"/>
                    <a:pt x="48" y="132"/>
                  </a:cubicBezTo>
                  <a:cubicBezTo>
                    <a:pt x="48" y="132"/>
                    <a:pt x="49" y="131"/>
                    <a:pt x="49" y="131"/>
                  </a:cubicBezTo>
                  <a:cubicBezTo>
                    <a:pt x="49" y="131"/>
                    <a:pt x="49" y="130"/>
                    <a:pt x="50" y="131"/>
                  </a:cubicBezTo>
                  <a:cubicBezTo>
                    <a:pt x="51" y="131"/>
                    <a:pt x="52" y="131"/>
                    <a:pt x="53" y="131"/>
                  </a:cubicBezTo>
                  <a:cubicBezTo>
                    <a:pt x="53" y="130"/>
                    <a:pt x="53" y="130"/>
                    <a:pt x="54" y="130"/>
                  </a:cubicBezTo>
                  <a:cubicBezTo>
                    <a:pt x="55" y="131"/>
                    <a:pt x="56" y="131"/>
                    <a:pt x="56" y="131"/>
                  </a:cubicBezTo>
                  <a:cubicBezTo>
                    <a:pt x="57" y="131"/>
                    <a:pt x="59" y="130"/>
                    <a:pt x="59" y="130"/>
                  </a:cubicBezTo>
                  <a:cubicBezTo>
                    <a:pt x="59" y="130"/>
                    <a:pt x="58" y="129"/>
                    <a:pt x="59" y="130"/>
                  </a:cubicBezTo>
                  <a:cubicBezTo>
                    <a:pt x="60" y="130"/>
                    <a:pt x="61" y="129"/>
                    <a:pt x="61" y="129"/>
                  </a:cubicBezTo>
                  <a:cubicBezTo>
                    <a:pt x="59" y="128"/>
                    <a:pt x="59" y="128"/>
                    <a:pt x="59" y="128"/>
                  </a:cubicBezTo>
                  <a:cubicBezTo>
                    <a:pt x="59" y="128"/>
                    <a:pt x="60" y="126"/>
                    <a:pt x="60" y="126"/>
                  </a:cubicBezTo>
                  <a:cubicBezTo>
                    <a:pt x="60" y="126"/>
                    <a:pt x="59" y="125"/>
                    <a:pt x="59" y="125"/>
                  </a:cubicBezTo>
                  <a:cubicBezTo>
                    <a:pt x="59" y="125"/>
                    <a:pt x="58" y="125"/>
                    <a:pt x="58" y="126"/>
                  </a:cubicBezTo>
                  <a:cubicBezTo>
                    <a:pt x="58" y="127"/>
                    <a:pt x="57" y="128"/>
                    <a:pt x="56" y="128"/>
                  </a:cubicBezTo>
                  <a:cubicBezTo>
                    <a:pt x="56" y="128"/>
                    <a:pt x="55" y="129"/>
                    <a:pt x="54" y="129"/>
                  </a:cubicBezTo>
                  <a:cubicBezTo>
                    <a:pt x="54" y="129"/>
                    <a:pt x="53" y="130"/>
                    <a:pt x="53" y="130"/>
                  </a:cubicBezTo>
                  <a:cubicBezTo>
                    <a:pt x="53" y="130"/>
                    <a:pt x="53" y="131"/>
                    <a:pt x="51" y="130"/>
                  </a:cubicBezTo>
                  <a:cubicBezTo>
                    <a:pt x="50" y="129"/>
                    <a:pt x="49" y="129"/>
                    <a:pt x="49" y="129"/>
                  </a:cubicBezTo>
                  <a:cubicBezTo>
                    <a:pt x="49" y="129"/>
                    <a:pt x="49" y="128"/>
                    <a:pt x="48" y="129"/>
                  </a:cubicBezTo>
                  <a:cubicBezTo>
                    <a:pt x="46" y="129"/>
                    <a:pt x="47" y="130"/>
                    <a:pt x="46" y="129"/>
                  </a:cubicBezTo>
                  <a:cubicBezTo>
                    <a:pt x="45" y="129"/>
                    <a:pt x="42" y="129"/>
                    <a:pt x="42" y="128"/>
                  </a:cubicBezTo>
                  <a:cubicBezTo>
                    <a:pt x="42" y="128"/>
                    <a:pt x="41" y="127"/>
                    <a:pt x="41" y="127"/>
                  </a:cubicBezTo>
                  <a:cubicBezTo>
                    <a:pt x="41" y="127"/>
                    <a:pt x="41" y="125"/>
                    <a:pt x="41" y="125"/>
                  </a:cubicBezTo>
                  <a:cubicBezTo>
                    <a:pt x="40" y="126"/>
                    <a:pt x="39" y="127"/>
                    <a:pt x="38" y="127"/>
                  </a:cubicBezTo>
                  <a:cubicBezTo>
                    <a:pt x="38" y="127"/>
                    <a:pt x="36" y="127"/>
                    <a:pt x="35" y="127"/>
                  </a:cubicBezTo>
                  <a:cubicBezTo>
                    <a:pt x="35" y="127"/>
                    <a:pt x="35" y="127"/>
                    <a:pt x="34" y="127"/>
                  </a:cubicBezTo>
                  <a:cubicBezTo>
                    <a:pt x="33" y="127"/>
                    <a:pt x="32" y="128"/>
                    <a:pt x="31" y="128"/>
                  </a:cubicBezTo>
                  <a:cubicBezTo>
                    <a:pt x="30" y="128"/>
                    <a:pt x="30" y="127"/>
                    <a:pt x="29" y="127"/>
                  </a:cubicBezTo>
                  <a:cubicBezTo>
                    <a:pt x="28" y="127"/>
                    <a:pt x="28" y="127"/>
                    <a:pt x="28" y="127"/>
                  </a:cubicBezTo>
                  <a:cubicBezTo>
                    <a:pt x="28" y="127"/>
                    <a:pt x="28" y="127"/>
                    <a:pt x="28" y="127"/>
                  </a:cubicBezTo>
                  <a:cubicBezTo>
                    <a:pt x="28" y="127"/>
                    <a:pt x="28" y="125"/>
                    <a:pt x="30" y="125"/>
                  </a:cubicBezTo>
                  <a:cubicBezTo>
                    <a:pt x="31" y="124"/>
                    <a:pt x="30" y="124"/>
                    <a:pt x="32" y="124"/>
                  </a:cubicBezTo>
                  <a:cubicBezTo>
                    <a:pt x="34" y="124"/>
                    <a:pt x="35" y="124"/>
                    <a:pt x="36" y="123"/>
                  </a:cubicBezTo>
                  <a:cubicBezTo>
                    <a:pt x="37" y="122"/>
                    <a:pt x="37" y="121"/>
                    <a:pt x="38" y="121"/>
                  </a:cubicBezTo>
                  <a:cubicBezTo>
                    <a:pt x="39" y="120"/>
                    <a:pt x="39" y="119"/>
                    <a:pt x="40" y="120"/>
                  </a:cubicBezTo>
                  <a:cubicBezTo>
                    <a:pt x="42" y="120"/>
                    <a:pt x="44" y="120"/>
                    <a:pt x="44" y="120"/>
                  </a:cubicBezTo>
                  <a:cubicBezTo>
                    <a:pt x="44" y="120"/>
                    <a:pt x="44" y="119"/>
                    <a:pt x="44" y="118"/>
                  </a:cubicBezTo>
                  <a:cubicBezTo>
                    <a:pt x="44" y="118"/>
                    <a:pt x="44" y="118"/>
                    <a:pt x="44" y="117"/>
                  </a:cubicBezTo>
                  <a:cubicBezTo>
                    <a:pt x="45" y="117"/>
                    <a:pt x="45" y="116"/>
                    <a:pt x="45" y="116"/>
                  </a:cubicBezTo>
                  <a:cubicBezTo>
                    <a:pt x="46" y="116"/>
                    <a:pt x="46" y="115"/>
                    <a:pt x="47" y="115"/>
                  </a:cubicBezTo>
                  <a:cubicBezTo>
                    <a:pt x="47" y="114"/>
                    <a:pt x="48" y="114"/>
                    <a:pt x="48" y="113"/>
                  </a:cubicBezTo>
                  <a:cubicBezTo>
                    <a:pt x="49" y="113"/>
                    <a:pt x="49" y="112"/>
                    <a:pt x="49" y="112"/>
                  </a:cubicBezTo>
                  <a:cubicBezTo>
                    <a:pt x="49" y="112"/>
                    <a:pt x="46" y="111"/>
                    <a:pt x="46" y="111"/>
                  </a:cubicBezTo>
                  <a:cubicBezTo>
                    <a:pt x="47" y="110"/>
                    <a:pt x="47" y="110"/>
                    <a:pt x="47" y="110"/>
                  </a:cubicBezTo>
                  <a:cubicBezTo>
                    <a:pt x="51" y="107"/>
                    <a:pt x="51" y="107"/>
                    <a:pt x="51" y="107"/>
                  </a:cubicBezTo>
                  <a:cubicBezTo>
                    <a:pt x="51" y="107"/>
                    <a:pt x="52" y="105"/>
                    <a:pt x="52" y="105"/>
                  </a:cubicBezTo>
                  <a:cubicBezTo>
                    <a:pt x="53" y="105"/>
                    <a:pt x="54" y="104"/>
                    <a:pt x="54" y="104"/>
                  </a:cubicBezTo>
                  <a:cubicBezTo>
                    <a:pt x="55" y="102"/>
                    <a:pt x="55" y="102"/>
                    <a:pt x="55" y="102"/>
                  </a:cubicBezTo>
                  <a:cubicBezTo>
                    <a:pt x="55" y="102"/>
                    <a:pt x="55" y="101"/>
                    <a:pt x="56" y="102"/>
                  </a:cubicBezTo>
                  <a:cubicBezTo>
                    <a:pt x="57" y="102"/>
                    <a:pt x="57" y="103"/>
                    <a:pt x="58" y="103"/>
                  </a:cubicBezTo>
                  <a:cubicBezTo>
                    <a:pt x="59" y="104"/>
                    <a:pt x="62" y="104"/>
                    <a:pt x="62" y="104"/>
                  </a:cubicBezTo>
                  <a:cubicBezTo>
                    <a:pt x="61" y="102"/>
                    <a:pt x="61" y="102"/>
                    <a:pt x="61" y="102"/>
                  </a:cubicBezTo>
                  <a:cubicBezTo>
                    <a:pt x="65" y="102"/>
                    <a:pt x="65" y="102"/>
                    <a:pt x="65" y="102"/>
                  </a:cubicBezTo>
                  <a:cubicBezTo>
                    <a:pt x="65" y="104"/>
                    <a:pt x="65" y="104"/>
                    <a:pt x="65" y="104"/>
                  </a:cubicBezTo>
                  <a:cubicBezTo>
                    <a:pt x="67" y="103"/>
                    <a:pt x="67" y="103"/>
                    <a:pt x="67" y="103"/>
                  </a:cubicBezTo>
                  <a:cubicBezTo>
                    <a:pt x="66" y="101"/>
                    <a:pt x="66" y="101"/>
                    <a:pt x="66" y="101"/>
                  </a:cubicBezTo>
                  <a:cubicBezTo>
                    <a:pt x="66" y="101"/>
                    <a:pt x="68" y="101"/>
                    <a:pt x="68" y="101"/>
                  </a:cubicBezTo>
                  <a:cubicBezTo>
                    <a:pt x="67" y="101"/>
                    <a:pt x="65" y="99"/>
                    <a:pt x="65" y="99"/>
                  </a:cubicBezTo>
                  <a:cubicBezTo>
                    <a:pt x="66" y="97"/>
                    <a:pt x="66" y="97"/>
                    <a:pt x="66" y="97"/>
                  </a:cubicBezTo>
                  <a:cubicBezTo>
                    <a:pt x="64" y="97"/>
                    <a:pt x="64" y="97"/>
                    <a:pt x="64" y="97"/>
                  </a:cubicBezTo>
                  <a:cubicBezTo>
                    <a:pt x="64" y="97"/>
                    <a:pt x="60" y="97"/>
                    <a:pt x="59" y="97"/>
                  </a:cubicBezTo>
                  <a:cubicBezTo>
                    <a:pt x="58" y="96"/>
                    <a:pt x="58" y="96"/>
                    <a:pt x="57" y="96"/>
                  </a:cubicBezTo>
                  <a:cubicBezTo>
                    <a:pt x="56" y="96"/>
                    <a:pt x="55" y="96"/>
                    <a:pt x="54" y="96"/>
                  </a:cubicBezTo>
                  <a:cubicBezTo>
                    <a:pt x="53" y="96"/>
                    <a:pt x="52" y="96"/>
                    <a:pt x="51" y="96"/>
                  </a:cubicBezTo>
                  <a:cubicBezTo>
                    <a:pt x="51" y="96"/>
                    <a:pt x="50" y="96"/>
                    <a:pt x="49" y="96"/>
                  </a:cubicBezTo>
                  <a:cubicBezTo>
                    <a:pt x="49" y="95"/>
                    <a:pt x="50" y="94"/>
                    <a:pt x="49" y="94"/>
                  </a:cubicBezTo>
                  <a:cubicBezTo>
                    <a:pt x="48" y="94"/>
                    <a:pt x="47" y="92"/>
                    <a:pt x="46" y="93"/>
                  </a:cubicBezTo>
                  <a:cubicBezTo>
                    <a:pt x="46" y="93"/>
                    <a:pt x="46" y="93"/>
                    <a:pt x="45" y="93"/>
                  </a:cubicBezTo>
                  <a:cubicBezTo>
                    <a:pt x="45" y="94"/>
                    <a:pt x="44" y="94"/>
                    <a:pt x="44" y="94"/>
                  </a:cubicBezTo>
                  <a:cubicBezTo>
                    <a:pt x="43" y="93"/>
                    <a:pt x="43" y="94"/>
                    <a:pt x="44" y="93"/>
                  </a:cubicBezTo>
                  <a:cubicBezTo>
                    <a:pt x="44" y="92"/>
                    <a:pt x="43" y="90"/>
                    <a:pt x="44" y="90"/>
                  </a:cubicBezTo>
                  <a:cubicBezTo>
                    <a:pt x="45" y="91"/>
                    <a:pt x="45" y="91"/>
                    <a:pt x="46" y="91"/>
                  </a:cubicBezTo>
                  <a:cubicBezTo>
                    <a:pt x="46" y="91"/>
                    <a:pt x="47" y="91"/>
                    <a:pt x="47" y="91"/>
                  </a:cubicBezTo>
                  <a:cubicBezTo>
                    <a:pt x="47" y="90"/>
                    <a:pt x="48" y="88"/>
                    <a:pt x="48" y="88"/>
                  </a:cubicBezTo>
                  <a:cubicBezTo>
                    <a:pt x="48" y="88"/>
                    <a:pt x="51" y="89"/>
                    <a:pt x="50" y="88"/>
                  </a:cubicBezTo>
                  <a:cubicBezTo>
                    <a:pt x="49" y="87"/>
                    <a:pt x="47" y="86"/>
                    <a:pt x="47" y="86"/>
                  </a:cubicBezTo>
                  <a:cubicBezTo>
                    <a:pt x="47" y="86"/>
                    <a:pt x="46" y="86"/>
                    <a:pt x="46" y="87"/>
                  </a:cubicBezTo>
                  <a:cubicBezTo>
                    <a:pt x="45" y="88"/>
                    <a:pt x="46" y="88"/>
                    <a:pt x="45" y="89"/>
                  </a:cubicBezTo>
                  <a:cubicBezTo>
                    <a:pt x="44" y="89"/>
                    <a:pt x="44" y="89"/>
                    <a:pt x="43" y="89"/>
                  </a:cubicBezTo>
                  <a:cubicBezTo>
                    <a:pt x="43" y="89"/>
                    <a:pt x="43" y="89"/>
                    <a:pt x="42" y="89"/>
                  </a:cubicBezTo>
                  <a:cubicBezTo>
                    <a:pt x="42" y="89"/>
                    <a:pt x="40" y="89"/>
                    <a:pt x="40" y="88"/>
                  </a:cubicBezTo>
                  <a:cubicBezTo>
                    <a:pt x="40" y="88"/>
                    <a:pt x="40" y="88"/>
                    <a:pt x="40" y="87"/>
                  </a:cubicBezTo>
                  <a:cubicBezTo>
                    <a:pt x="40" y="86"/>
                    <a:pt x="40" y="85"/>
                    <a:pt x="42" y="85"/>
                  </a:cubicBezTo>
                  <a:cubicBezTo>
                    <a:pt x="43" y="85"/>
                    <a:pt x="43" y="86"/>
                    <a:pt x="43" y="85"/>
                  </a:cubicBezTo>
                  <a:cubicBezTo>
                    <a:pt x="43" y="85"/>
                    <a:pt x="43" y="84"/>
                    <a:pt x="42" y="84"/>
                  </a:cubicBezTo>
                  <a:cubicBezTo>
                    <a:pt x="42" y="83"/>
                    <a:pt x="42" y="83"/>
                    <a:pt x="41" y="83"/>
                  </a:cubicBezTo>
                  <a:cubicBezTo>
                    <a:pt x="40" y="83"/>
                    <a:pt x="38" y="84"/>
                    <a:pt x="38" y="84"/>
                  </a:cubicBezTo>
                  <a:cubicBezTo>
                    <a:pt x="38" y="84"/>
                    <a:pt x="39" y="84"/>
                    <a:pt x="37" y="84"/>
                  </a:cubicBezTo>
                  <a:cubicBezTo>
                    <a:pt x="36" y="83"/>
                    <a:pt x="37" y="83"/>
                    <a:pt x="36" y="82"/>
                  </a:cubicBezTo>
                  <a:cubicBezTo>
                    <a:pt x="36" y="81"/>
                    <a:pt x="36" y="81"/>
                    <a:pt x="35" y="81"/>
                  </a:cubicBezTo>
                  <a:cubicBezTo>
                    <a:pt x="35" y="81"/>
                    <a:pt x="35" y="81"/>
                    <a:pt x="34" y="81"/>
                  </a:cubicBezTo>
                  <a:cubicBezTo>
                    <a:pt x="33" y="80"/>
                    <a:pt x="32" y="80"/>
                    <a:pt x="32" y="79"/>
                  </a:cubicBezTo>
                  <a:cubicBezTo>
                    <a:pt x="32" y="78"/>
                    <a:pt x="32" y="77"/>
                    <a:pt x="33" y="78"/>
                  </a:cubicBezTo>
                  <a:cubicBezTo>
                    <a:pt x="34" y="78"/>
                    <a:pt x="33" y="77"/>
                    <a:pt x="34" y="78"/>
                  </a:cubicBezTo>
                  <a:cubicBezTo>
                    <a:pt x="36" y="79"/>
                    <a:pt x="36" y="79"/>
                    <a:pt x="36" y="79"/>
                  </a:cubicBezTo>
                  <a:cubicBezTo>
                    <a:pt x="36" y="79"/>
                    <a:pt x="37" y="79"/>
                    <a:pt x="36" y="78"/>
                  </a:cubicBezTo>
                  <a:cubicBezTo>
                    <a:pt x="36" y="77"/>
                    <a:pt x="35" y="76"/>
                    <a:pt x="35" y="76"/>
                  </a:cubicBezTo>
                  <a:cubicBezTo>
                    <a:pt x="35" y="76"/>
                    <a:pt x="34" y="76"/>
                    <a:pt x="34" y="75"/>
                  </a:cubicBezTo>
                  <a:cubicBezTo>
                    <a:pt x="34" y="74"/>
                    <a:pt x="34" y="74"/>
                    <a:pt x="33" y="73"/>
                  </a:cubicBezTo>
                  <a:cubicBezTo>
                    <a:pt x="33" y="73"/>
                    <a:pt x="34" y="73"/>
                    <a:pt x="34" y="73"/>
                  </a:cubicBezTo>
                  <a:cubicBezTo>
                    <a:pt x="35" y="73"/>
                    <a:pt x="34" y="73"/>
                    <a:pt x="35" y="73"/>
                  </a:cubicBezTo>
                  <a:cubicBezTo>
                    <a:pt x="37" y="73"/>
                    <a:pt x="36" y="73"/>
                    <a:pt x="37" y="73"/>
                  </a:cubicBezTo>
                  <a:cubicBezTo>
                    <a:pt x="37" y="73"/>
                    <a:pt x="38" y="73"/>
                    <a:pt x="38" y="73"/>
                  </a:cubicBezTo>
                  <a:cubicBezTo>
                    <a:pt x="38" y="74"/>
                    <a:pt x="39" y="72"/>
                    <a:pt x="39" y="72"/>
                  </a:cubicBezTo>
                  <a:cubicBezTo>
                    <a:pt x="39" y="72"/>
                    <a:pt x="38" y="71"/>
                    <a:pt x="39" y="71"/>
                  </a:cubicBezTo>
                  <a:cubicBezTo>
                    <a:pt x="40" y="71"/>
                    <a:pt x="40" y="72"/>
                    <a:pt x="41" y="72"/>
                  </a:cubicBezTo>
                  <a:cubicBezTo>
                    <a:pt x="43" y="72"/>
                    <a:pt x="43" y="73"/>
                    <a:pt x="44" y="73"/>
                  </a:cubicBezTo>
                  <a:cubicBezTo>
                    <a:pt x="44" y="72"/>
                    <a:pt x="45" y="73"/>
                    <a:pt x="45" y="72"/>
                  </a:cubicBezTo>
                  <a:cubicBezTo>
                    <a:pt x="44" y="71"/>
                    <a:pt x="44" y="72"/>
                    <a:pt x="44" y="71"/>
                  </a:cubicBezTo>
                  <a:cubicBezTo>
                    <a:pt x="43" y="70"/>
                    <a:pt x="43" y="71"/>
                    <a:pt x="43" y="69"/>
                  </a:cubicBezTo>
                  <a:cubicBezTo>
                    <a:pt x="44" y="68"/>
                    <a:pt x="44" y="67"/>
                    <a:pt x="44" y="67"/>
                  </a:cubicBezTo>
                  <a:cubicBezTo>
                    <a:pt x="44" y="66"/>
                    <a:pt x="44" y="66"/>
                    <a:pt x="44" y="66"/>
                  </a:cubicBezTo>
                  <a:cubicBezTo>
                    <a:pt x="46" y="64"/>
                    <a:pt x="46" y="64"/>
                    <a:pt x="46" y="64"/>
                  </a:cubicBezTo>
                  <a:cubicBezTo>
                    <a:pt x="46" y="64"/>
                    <a:pt x="47" y="64"/>
                    <a:pt x="48" y="64"/>
                  </a:cubicBezTo>
                  <a:cubicBezTo>
                    <a:pt x="50" y="64"/>
                    <a:pt x="51" y="65"/>
                    <a:pt x="52" y="65"/>
                  </a:cubicBezTo>
                  <a:cubicBezTo>
                    <a:pt x="54" y="65"/>
                    <a:pt x="55" y="65"/>
                    <a:pt x="55" y="65"/>
                  </a:cubicBezTo>
                  <a:cubicBezTo>
                    <a:pt x="54" y="64"/>
                    <a:pt x="54" y="64"/>
                    <a:pt x="54" y="64"/>
                  </a:cubicBezTo>
                  <a:cubicBezTo>
                    <a:pt x="54" y="64"/>
                    <a:pt x="54" y="64"/>
                    <a:pt x="54" y="63"/>
                  </a:cubicBezTo>
                  <a:cubicBezTo>
                    <a:pt x="55" y="63"/>
                    <a:pt x="55" y="63"/>
                    <a:pt x="56" y="63"/>
                  </a:cubicBezTo>
                  <a:cubicBezTo>
                    <a:pt x="56" y="63"/>
                    <a:pt x="57" y="61"/>
                    <a:pt x="57" y="61"/>
                  </a:cubicBezTo>
                  <a:cubicBezTo>
                    <a:pt x="56" y="60"/>
                    <a:pt x="56" y="60"/>
                    <a:pt x="55" y="59"/>
                  </a:cubicBezTo>
                  <a:cubicBezTo>
                    <a:pt x="53" y="59"/>
                    <a:pt x="50" y="59"/>
                    <a:pt x="50" y="59"/>
                  </a:cubicBezTo>
                  <a:cubicBezTo>
                    <a:pt x="50" y="59"/>
                    <a:pt x="49" y="59"/>
                    <a:pt x="48" y="59"/>
                  </a:cubicBezTo>
                  <a:cubicBezTo>
                    <a:pt x="47" y="59"/>
                    <a:pt x="45" y="59"/>
                    <a:pt x="45" y="58"/>
                  </a:cubicBezTo>
                  <a:cubicBezTo>
                    <a:pt x="44" y="58"/>
                    <a:pt x="44" y="58"/>
                    <a:pt x="44" y="56"/>
                  </a:cubicBezTo>
                  <a:cubicBezTo>
                    <a:pt x="44" y="55"/>
                    <a:pt x="43" y="55"/>
                    <a:pt x="43" y="55"/>
                  </a:cubicBezTo>
                  <a:cubicBezTo>
                    <a:pt x="44" y="53"/>
                    <a:pt x="44" y="53"/>
                    <a:pt x="44" y="53"/>
                  </a:cubicBezTo>
                  <a:cubicBezTo>
                    <a:pt x="44" y="53"/>
                    <a:pt x="43" y="52"/>
                    <a:pt x="43" y="52"/>
                  </a:cubicBezTo>
                  <a:cubicBezTo>
                    <a:pt x="42" y="52"/>
                    <a:pt x="42" y="52"/>
                    <a:pt x="42" y="52"/>
                  </a:cubicBezTo>
                  <a:cubicBezTo>
                    <a:pt x="41" y="52"/>
                    <a:pt x="42" y="52"/>
                    <a:pt x="40" y="51"/>
                  </a:cubicBezTo>
                  <a:cubicBezTo>
                    <a:pt x="38" y="51"/>
                    <a:pt x="37" y="50"/>
                    <a:pt x="37" y="50"/>
                  </a:cubicBezTo>
                  <a:cubicBezTo>
                    <a:pt x="37" y="49"/>
                    <a:pt x="37" y="49"/>
                    <a:pt x="39" y="49"/>
                  </a:cubicBezTo>
                  <a:cubicBezTo>
                    <a:pt x="40" y="49"/>
                    <a:pt x="41" y="49"/>
                    <a:pt x="42" y="49"/>
                  </a:cubicBezTo>
                  <a:cubicBezTo>
                    <a:pt x="43" y="50"/>
                    <a:pt x="45" y="49"/>
                    <a:pt x="45" y="49"/>
                  </a:cubicBezTo>
                  <a:cubicBezTo>
                    <a:pt x="45" y="49"/>
                    <a:pt x="44" y="49"/>
                    <a:pt x="46" y="50"/>
                  </a:cubicBezTo>
                  <a:cubicBezTo>
                    <a:pt x="48" y="51"/>
                    <a:pt x="47" y="51"/>
                    <a:pt x="48" y="51"/>
                  </a:cubicBezTo>
                  <a:cubicBezTo>
                    <a:pt x="49" y="51"/>
                    <a:pt x="50" y="50"/>
                    <a:pt x="49" y="50"/>
                  </a:cubicBezTo>
                  <a:cubicBezTo>
                    <a:pt x="49" y="49"/>
                    <a:pt x="50" y="49"/>
                    <a:pt x="49" y="49"/>
                  </a:cubicBezTo>
                  <a:cubicBezTo>
                    <a:pt x="48" y="48"/>
                    <a:pt x="48" y="48"/>
                    <a:pt x="48" y="48"/>
                  </a:cubicBezTo>
                  <a:cubicBezTo>
                    <a:pt x="48" y="48"/>
                    <a:pt x="48" y="48"/>
                    <a:pt x="48" y="47"/>
                  </a:cubicBezTo>
                  <a:cubicBezTo>
                    <a:pt x="48" y="46"/>
                    <a:pt x="49" y="45"/>
                    <a:pt x="49" y="45"/>
                  </a:cubicBezTo>
                  <a:cubicBezTo>
                    <a:pt x="50" y="45"/>
                    <a:pt x="50" y="45"/>
                    <a:pt x="50" y="44"/>
                  </a:cubicBezTo>
                  <a:cubicBezTo>
                    <a:pt x="50" y="44"/>
                    <a:pt x="50" y="43"/>
                    <a:pt x="50" y="43"/>
                  </a:cubicBezTo>
                  <a:cubicBezTo>
                    <a:pt x="50" y="42"/>
                    <a:pt x="51" y="41"/>
                    <a:pt x="51" y="41"/>
                  </a:cubicBezTo>
                  <a:cubicBezTo>
                    <a:pt x="51" y="41"/>
                    <a:pt x="50" y="40"/>
                    <a:pt x="50" y="40"/>
                  </a:cubicBezTo>
                  <a:cubicBezTo>
                    <a:pt x="50" y="40"/>
                    <a:pt x="48" y="40"/>
                    <a:pt x="48" y="41"/>
                  </a:cubicBezTo>
                  <a:cubicBezTo>
                    <a:pt x="48" y="41"/>
                    <a:pt x="48" y="41"/>
                    <a:pt x="48" y="42"/>
                  </a:cubicBezTo>
                  <a:cubicBezTo>
                    <a:pt x="47" y="42"/>
                    <a:pt x="47" y="42"/>
                    <a:pt x="46" y="42"/>
                  </a:cubicBezTo>
                  <a:cubicBezTo>
                    <a:pt x="46" y="43"/>
                    <a:pt x="46" y="43"/>
                    <a:pt x="46" y="43"/>
                  </a:cubicBezTo>
                  <a:cubicBezTo>
                    <a:pt x="46" y="44"/>
                    <a:pt x="45" y="45"/>
                    <a:pt x="45" y="45"/>
                  </a:cubicBezTo>
                  <a:cubicBezTo>
                    <a:pt x="45" y="45"/>
                    <a:pt x="44" y="43"/>
                    <a:pt x="44" y="42"/>
                  </a:cubicBezTo>
                  <a:cubicBezTo>
                    <a:pt x="44" y="42"/>
                    <a:pt x="45" y="41"/>
                    <a:pt x="46" y="41"/>
                  </a:cubicBezTo>
                  <a:cubicBezTo>
                    <a:pt x="47" y="41"/>
                    <a:pt x="47" y="41"/>
                    <a:pt x="47" y="40"/>
                  </a:cubicBezTo>
                  <a:cubicBezTo>
                    <a:pt x="47" y="40"/>
                    <a:pt x="47" y="40"/>
                    <a:pt x="47" y="39"/>
                  </a:cubicBezTo>
                  <a:cubicBezTo>
                    <a:pt x="47" y="38"/>
                    <a:pt x="47" y="38"/>
                    <a:pt x="47" y="38"/>
                  </a:cubicBezTo>
                  <a:cubicBezTo>
                    <a:pt x="48" y="37"/>
                    <a:pt x="49" y="36"/>
                    <a:pt x="50" y="36"/>
                  </a:cubicBezTo>
                  <a:cubicBezTo>
                    <a:pt x="50" y="36"/>
                    <a:pt x="49" y="34"/>
                    <a:pt x="51" y="36"/>
                  </a:cubicBezTo>
                  <a:cubicBezTo>
                    <a:pt x="52" y="37"/>
                    <a:pt x="52" y="37"/>
                    <a:pt x="53" y="38"/>
                  </a:cubicBezTo>
                  <a:cubicBezTo>
                    <a:pt x="54" y="38"/>
                    <a:pt x="56" y="39"/>
                    <a:pt x="56" y="38"/>
                  </a:cubicBezTo>
                  <a:cubicBezTo>
                    <a:pt x="56" y="38"/>
                    <a:pt x="56" y="37"/>
                    <a:pt x="56" y="36"/>
                  </a:cubicBezTo>
                  <a:cubicBezTo>
                    <a:pt x="56" y="36"/>
                    <a:pt x="55" y="36"/>
                    <a:pt x="56" y="35"/>
                  </a:cubicBezTo>
                  <a:cubicBezTo>
                    <a:pt x="56" y="35"/>
                    <a:pt x="56" y="35"/>
                    <a:pt x="57" y="35"/>
                  </a:cubicBezTo>
                  <a:cubicBezTo>
                    <a:pt x="59" y="36"/>
                    <a:pt x="58" y="36"/>
                    <a:pt x="59" y="37"/>
                  </a:cubicBezTo>
                  <a:cubicBezTo>
                    <a:pt x="61" y="38"/>
                    <a:pt x="61" y="38"/>
                    <a:pt x="61" y="38"/>
                  </a:cubicBezTo>
                  <a:cubicBezTo>
                    <a:pt x="62" y="38"/>
                    <a:pt x="62" y="38"/>
                    <a:pt x="63" y="38"/>
                  </a:cubicBezTo>
                  <a:cubicBezTo>
                    <a:pt x="64" y="38"/>
                    <a:pt x="63" y="37"/>
                    <a:pt x="65" y="39"/>
                  </a:cubicBezTo>
                  <a:cubicBezTo>
                    <a:pt x="66" y="40"/>
                    <a:pt x="66" y="40"/>
                    <a:pt x="67" y="40"/>
                  </a:cubicBezTo>
                  <a:cubicBezTo>
                    <a:pt x="68" y="41"/>
                    <a:pt x="70" y="40"/>
                    <a:pt x="70" y="40"/>
                  </a:cubicBezTo>
                  <a:cubicBezTo>
                    <a:pt x="70" y="40"/>
                    <a:pt x="70" y="39"/>
                    <a:pt x="71" y="41"/>
                  </a:cubicBezTo>
                  <a:cubicBezTo>
                    <a:pt x="72" y="43"/>
                    <a:pt x="73" y="43"/>
                    <a:pt x="73" y="43"/>
                  </a:cubicBezTo>
                  <a:cubicBezTo>
                    <a:pt x="73" y="44"/>
                    <a:pt x="74" y="45"/>
                    <a:pt x="74" y="45"/>
                  </a:cubicBezTo>
                  <a:cubicBezTo>
                    <a:pt x="74" y="45"/>
                    <a:pt x="74" y="45"/>
                    <a:pt x="74" y="46"/>
                  </a:cubicBezTo>
                  <a:cubicBezTo>
                    <a:pt x="74" y="46"/>
                    <a:pt x="74" y="47"/>
                    <a:pt x="75" y="47"/>
                  </a:cubicBezTo>
                  <a:cubicBezTo>
                    <a:pt x="75" y="47"/>
                    <a:pt x="76" y="47"/>
                    <a:pt x="76" y="47"/>
                  </a:cubicBezTo>
                  <a:cubicBezTo>
                    <a:pt x="76" y="47"/>
                    <a:pt x="77" y="46"/>
                    <a:pt x="77" y="46"/>
                  </a:cubicBezTo>
                  <a:cubicBezTo>
                    <a:pt x="77" y="46"/>
                    <a:pt x="79" y="45"/>
                    <a:pt x="79" y="45"/>
                  </a:cubicBezTo>
                  <a:cubicBezTo>
                    <a:pt x="79" y="45"/>
                    <a:pt x="79" y="44"/>
                    <a:pt x="81" y="45"/>
                  </a:cubicBezTo>
                  <a:cubicBezTo>
                    <a:pt x="82" y="45"/>
                    <a:pt x="84" y="46"/>
                    <a:pt x="84" y="46"/>
                  </a:cubicBezTo>
                  <a:cubicBezTo>
                    <a:pt x="84" y="46"/>
                    <a:pt x="84" y="47"/>
                    <a:pt x="84" y="47"/>
                  </a:cubicBezTo>
                  <a:cubicBezTo>
                    <a:pt x="85" y="47"/>
                    <a:pt x="88" y="47"/>
                    <a:pt x="88" y="47"/>
                  </a:cubicBezTo>
                  <a:cubicBezTo>
                    <a:pt x="89" y="48"/>
                    <a:pt x="89" y="48"/>
                    <a:pt x="89" y="48"/>
                  </a:cubicBezTo>
                  <a:cubicBezTo>
                    <a:pt x="89" y="48"/>
                    <a:pt x="90" y="49"/>
                    <a:pt x="90" y="49"/>
                  </a:cubicBezTo>
                  <a:cubicBezTo>
                    <a:pt x="90" y="50"/>
                    <a:pt x="91" y="52"/>
                    <a:pt x="91" y="52"/>
                  </a:cubicBezTo>
                  <a:cubicBezTo>
                    <a:pt x="94" y="53"/>
                    <a:pt x="94" y="53"/>
                    <a:pt x="94" y="53"/>
                  </a:cubicBezTo>
                  <a:cubicBezTo>
                    <a:pt x="92" y="50"/>
                    <a:pt x="92" y="50"/>
                    <a:pt x="92" y="50"/>
                  </a:cubicBezTo>
                  <a:cubicBezTo>
                    <a:pt x="92" y="50"/>
                    <a:pt x="90" y="48"/>
                    <a:pt x="92" y="48"/>
                  </a:cubicBezTo>
                  <a:cubicBezTo>
                    <a:pt x="94" y="48"/>
                    <a:pt x="95" y="47"/>
                    <a:pt x="95" y="47"/>
                  </a:cubicBezTo>
                  <a:cubicBezTo>
                    <a:pt x="95" y="46"/>
                    <a:pt x="95" y="46"/>
                    <a:pt x="95" y="46"/>
                  </a:cubicBezTo>
                  <a:cubicBezTo>
                    <a:pt x="92" y="46"/>
                    <a:pt x="92" y="46"/>
                    <a:pt x="92" y="46"/>
                  </a:cubicBezTo>
                  <a:cubicBezTo>
                    <a:pt x="92" y="46"/>
                    <a:pt x="92" y="44"/>
                    <a:pt x="92" y="44"/>
                  </a:cubicBezTo>
                  <a:cubicBezTo>
                    <a:pt x="93" y="44"/>
                    <a:pt x="94" y="42"/>
                    <a:pt x="96" y="42"/>
                  </a:cubicBezTo>
                  <a:cubicBezTo>
                    <a:pt x="98" y="42"/>
                    <a:pt x="100" y="41"/>
                    <a:pt x="100" y="41"/>
                  </a:cubicBezTo>
                  <a:cubicBezTo>
                    <a:pt x="100" y="41"/>
                    <a:pt x="100" y="40"/>
                    <a:pt x="102" y="40"/>
                  </a:cubicBezTo>
                  <a:cubicBezTo>
                    <a:pt x="104" y="40"/>
                    <a:pt x="105" y="40"/>
                    <a:pt x="106" y="40"/>
                  </a:cubicBezTo>
                  <a:cubicBezTo>
                    <a:pt x="107" y="40"/>
                    <a:pt x="107" y="40"/>
                    <a:pt x="107" y="39"/>
                  </a:cubicBezTo>
                  <a:cubicBezTo>
                    <a:pt x="107" y="38"/>
                    <a:pt x="106" y="38"/>
                    <a:pt x="108" y="37"/>
                  </a:cubicBezTo>
                  <a:cubicBezTo>
                    <a:pt x="109" y="37"/>
                    <a:pt x="110" y="36"/>
                    <a:pt x="110" y="36"/>
                  </a:cubicBezTo>
                  <a:cubicBezTo>
                    <a:pt x="111" y="32"/>
                    <a:pt x="111" y="32"/>
                    <a:pt x="111" y="32"/>
                  </a:cubicBezTo>
                  <a:cubicBezTo>
                    <a:pt x="107" y="34"/>
                    <a:pt x="107" y="34"/>
                    <a:pt x="107" y="34"/>
                  </a:cubicBezTo>
                  <a:cubicBezTo>
                    <a:pt x="107" y="34"/>
                    <a:pt x="107" y="32"/>
                    <a:pt x="106" y="32"/>
                  </a:cubicBezTo>
                  <a:cubicBezTo>
                    <a:pt x="105" y="32"/>
                    <a:pt x="102" y="34"/>
                    <a:pt x="102" y="34"/>
                  </a:cubicBezTo>
                  <a:cubicBezTo>
                    <a:pt x="102" y="34"/>
                    <a:pt x="102" y="33"/>
                    <a:pt x="101" y="33"/>
                  </a:cubicBezTo>
                  <a:cubicBezTo>
                    <a:pt x="101" y="32"/>
                    <a:pt x="101" y="32"/>
                    <a:pt x="100" y="32"/>
                  </a:cubicBezTo>
                  <a:cubicBezTo>
                    <a:pt x="99" y="32"/>
                    <a:pt x="100" y="32"/>
                    <a:pt x="98" y="31"/>
                  </a:cubicBezTo>
                  <a:cubicBezTo>
                    <a:pt x="96" y="30"/>
                    <a:pt x="95" y="28"/>
                    <a:pt x="95" y="28"/>
                  </a:cubicBezTo>
                  <a:cubicBezTo>
                    <a:pt x="95" y="28"/>
                    <a:pt x="96" y="28"/>
                    <a:pt x="94" y="28"/>
                  </a:cubicBezTo>
                  <a:cubicBezTo>
                    <a:pt x="93" y="27"/>
                    <a:pt x="93" y="27"/>
                    <a:pt x="93" y="27"/>
                  </a:cubicBezTo>
                  <a:cubicBezTo>
                    <a:pt x="92" y="26"/>
                    <a:pt x="92" y="26"/>
                    <a:pt x="94" y="25"/>
                  </a:cubicBezTo>
                  <a:cubicBezTo>
                    <a:pt x="95" y="24"/>
                    <a:pt x="94" y="24"/>
                    <a:pt x="96" y="23"/>
                  </a:cubicBezTo>
                  <a:cubicBezTo>
                    <a:pt x="97" y="22"/>
                    <a:pt x="96" y="21"/>
                    <a:pt x="98" y="22"/>
                  </a:cubicBezTo>
                  <a:cubicBezTo>
                    <a:pt x="101" y="23"/>
                    <a:pt x="101" y="23"/>
                    <a:pt x="102" y="24"/>
                  </a:cubicBezTo>
                  <a:cubicBezTo>
                    <a:pt x="103" y="24"/>
                    <a:pt x="107" y="24"/>
                    <a:pt x="105" y="23"/>
                  </a:cubicBezTo>
                  <a:cubicBezTo>
                    <a:pt x="104" y="22"/>
                    <a:pt x="102" y="21"/>
                    <a:pt x="102" y="20"/>
                  </a:cubicBezTo>
                  <a:cubicBezTo>
                    <a:pt x="102" y="20"/>
                    <a:pt x="100" y="20"/>
                    <a:pt x="102" y="20"/>
                  </a:cubicBezTo>
                  <a:cubicBezTo>
                    <a:pt x="103" y="20"/>
                    <a:pt x="104" y="19"/>
                    <a:pt x="105" y="20"/>
                  </a:cubicBezTo>
                  <a:cubicBezTo>
                    <a:pt x="105" y="20"/>
                    <a:pt x="103" y="20"/>
                    <a:pt x="106" y="20"/>
                  </a:cubicBezTo>
                  <a:cubicBezTo>
                    <a:pt x="109" y="20"/>
                    <a:pt x="110" y="20"/>
                    <a:pt x="108" y="19"/>
                  </a:cubicBezTo>
                  <a:cubicBezTo>
                    <a:pt x="107" y="18"/>
                    <a:pt x="107" y="18"/>
                    <a:pt x="106" y="17"/>
                  </a:cubicBezTo>
                  <a:cubicBezTo>
                    <a:pt x="106" y="16"/>
                    <a:pt x="105" y="16"/>
                    <a:pt x="106" y="16"/>
                  </a:cubicBezTo>
                  <a:cubicBezTo>
                    <a:pt x="106" y="15"/>
                    <a:pt x="106" y="16"/>
                    <a:pt x="107" y="15"/>
                  </a:cubicBezTo>
                  <a:cubicBezTo>
                    <a:pt x="107" y="14"/>
                    <a:pt x="107" y="13"/>
                    <a:pt x="107" y="13"/>
                  </a:cubicBezTo>
                  <a:cubicBezTo>
                    <a:pt x="107" y="13"/>
                    <a:pt x="106" y="13"/>
                    <a:pt x="107" y="12"/>
                  </a:cubicBezTo>
                  <a:cubicBezTo>
                    <a:pt x="109" y="10"/>
                    <a:pt x="109" y="10"/>
                    <a:pt x="110" y="10"/>
                  </a:cubicBezTo>
                  <a:cubicBezTo>
                    <a:pt x="110" y="10"/>
                    <a:pt x="111" y="9"/>
                    <a:pt x="112" y="9"/>
                  </a:cubicBezTo>
                  <a:cubicBezTo>
                    <a:pt x="112" y="8"/>
                    <a:pt x="113" y="6"/>
                    <a:pt x="113" y="6"/>
                  </a:cubicBezTo>
                  <a:cubicBezTo>
                    <a:pt x="116" y="6"/>
                    <a:pt x="116" y="6"/>
                    <a:pt x="116" y="6"/>
                  </a:cubicBezTo>
                  <a:cubicBezTo>
                    <a:pt x="116" y="6"/>
                    <a:pt x="117" y="6"/>
                    <a:pt x="117" y="6"/>
                  </a:cubicBezTo>
                  <a:cubicBezTo>
                    <a:pt x="117" y="7"/>
                    <a:pt x="117" y="5"/>
                    <a:pt x="117" y="5"/>
                  </a:cubicBezTo>
                  <a:cubicBezTo>
                    <a:pt x="117" y="5"/>
                    <a:pt x="118" y="5"/>
                    <a:pt x="118" y="5"/>
                  </a:cubicBezTo>
                  <a:cubicBezTo>
                    <a:pt x="119" y="6"/>
                    <a:pt x="119" y="6"/>
                    <a:pt x="119" y="6"/>
                  </a:cubicBezTo>
                  <a:cubicBezTo>
                    <a:pt x="120" y="7"/>
                    <a:pt x="121" y="6"/>
                    <a:pt x="121" y="6"/>
                  </a:cubicBezTo>
                  <a:cubicBezTo>
                    <a:pt x="121" y="6"/>
                    <a:pt x="122" y="5"/>
                    <a:pt x="123" y="5"/>
                  </a:cubicBezTo>
                  <a:cubicBezTo>
                    <a:pt x="124" y="5"/>
                    <a:pt x="125" y="5"/>
                    <a:pt x="125" y="5"/>
                  </a:cubicBezTo>
                  <a:cubicBezTo>
                    <a:pt x="125" y="6"/>
                    <a:pt x="125" y="6"/>
                    <a:pt x="125" y="7"/>
                  </a:cubicBezTo>
                  <a:cubicBezTo>
                    <a:pt x="126" y="7"/>
                    <a:pt x="127" y="8"/>
                    <a:pt x="127" y="8"/>
                  </a:cubicBezTo>
                  <a:cubicBezTo>
                    <a:pt x="127" y="8"/>
                    <a:pt x="129" y="8"/>
                    <a:pt x="129" y="7"/>
                  </a:cubicBezTo>
                  <a:cubicBezTo>
                    <a:pt x="129" y="7"/>
                    <a:pt x="128" y="7"/>
                    <a:pt x="130" y="6"/>
                  </a:cubicBezTo>
                  <a:cubicBezTo>
                    <a:pt x="132" y="4"/>
                    <a:pt x="133" y="4"/>
                    <a:pt x="133" y="4"/>
                  </a:cubicBezTo>
                  <a:cubicBezTo>
                    <a:pt x="133" y="4"/>
                    <a:pt x="133" y="3"/>
                    <a:pt x="134" y="3"/>
                  </a:cubicBezTo>
                  <a:cubicBezTo>
                    <a:pt x="135" y="4"/>
                    <a:pt x="135" y="3"/>
                    <a:pt x="135" y="4"/>
                  </a:cubicBezTo>
                  <a:cubicBezTo>
                    <a:pt x="135" y="4"/>
                    <a:pt x="136" y="5"/>
                    <a:pt x="136" y="5"/>
                  </a:cubicBezTo>
                  <a:cubicBezTo>
                    <a:pt x="136" y="5"/>
                    <a:pt x="136" y="8"/>
                    <a:pt x="136" y="8"/>
                  </a:cubicBezTo>
                  <a:cubicBezTo>
                    <a:pt x="136" y="9"/>
                    <a:pt x="136" y="9"/>
                    <a:pt x="136" y="9"/>
                  </a:cubicBezTo>
                  <a:cubicBezTo>
                    <a:pt x="136" y="9"/>
                    <a:pt x="136" y="10"/>
                    <a:pt x="136" y="10"/>
                  </a:cubicBezTo>
                  <a:cubicBezTo>
                    <a:pt x="136" y="11"/>
                    <a:pt x="137" y="13"/>
                    <a:pt x="137" y="13"/>
                  </a:cubicBezTo>
                  <a:cubicBezTo>
                    <a:pt x="137" y="13"/>
                    <a:pt x="137" y="13"/>
                    <a:pt x="137" y="13"/>
                  </a:cubicBezTo>
                  <a:cubicBezTo>
                    <a:pt x="136" y="14"/>
                    <a:pt x="136" y="13"/>
                    <a:pt x="136" y="14"/>
                  </a:cubicBezTo>
                  <a:cubicBezTo>
                    <a:pt x="135" y="15"/>
                    <a:pt x="136" y="15"/>
                    <a:pt x="135" y="16"/>
                  </a:cubicBezTo>
                  <a:cubicBezTo>
                    <a:pt x="135" y="16"/>
                    <a:pt x="134" y="16"/>
                    <a:pt x="134" y="16"/>
                  </a:cubicBezTo>
                  <a:cubicBezTo>
                    <a:pt x="134" y="16"/>
                    <a:pt x="135" y="17"/>
                    <a:pt x="135" y="17"/>
                  </a:cubicBezTo>
                  <a:cubicBezTo>
                    <a:pt x="135" y="17"/>
                    <a:pt x="135" y="17"/>
                    <a:pt x="136" y="17"/>
                  </a:cubicBezTo>
                  <a:cubicBezTo>
                    <a:pt x="136" y="17"/>
                    <a:pt x="136" y="16"/>
                    <a:pt x="137" y="16"/>
                  </a:cubicBezTo>
                  <a:cubicBezTo>
                    <a:pt x="137" y="17"/>
                    <a:pt x="137" y="15"/>
                    <a:pt x="137" y="15"/>
                  </a:cubicBezTo>
                  <a:cubicBezTo>
                    <a:pt x="137" y="15"/>
                    <a:pt x="137" y="15"/>
                    <a:pt x="138" y="14"/>
                  </a:cubicBezTo>
                  <a:cubicBezTo>
                    <a:pt x="138" y="14"/>
                    <a:pt x="139" y="13"/>
                    <a:pt x="139" y="12"/>
                  </a:cubicBezTo>
                  <a:cubicBezTo>
                    <a:pt x="139" y="12"/>
                    <a:pt x="138" y="11"/>
                    <a:pt x="138" y="11"/>
                  </a:cubicBezTo>
                  <a:cubicBezTo>
                    <a:pt x="138" y="11"/>
                    <a:pt x="137" y="9"/>
                    <a:pt x="137" y="8"/>
                  </a:cubicBezTo>
                  <a:cubicBezTo>
                    <a:pt x="137" y="8"/>
                    <a:pt x="137" y="8"/>
                    <a:pt x="137" y="7"/>
                  </a:cubicBezTo>
                  <a:cubicBezTo>
                    <a:pt x="138" y="7"/>
                    <a:pt x="138" y="6"/>
                    <a:pt x="138" y="6"/>
                  </a:cubicBezTo>
                  <a:cubicBezTo>
                    <a:pt x="139" y="5"/>
                    <a:pt x="140" y="4"/>
                    <a:pt x="140" y="4"/>
                  </a:cubicBezTo>
                  <a:cubicBezTo>
                    <a:pt x="140" y="4"/>
                    <a:pt x="142" y="4"/>
                    <a:pt x="143" y="4"/>
                  </a:cubicBezTo>
                  <a:cubicBezTo>
                    <a:pt x="143" y="4"/>
                    <a:pt x="142" y="3"/>
                    <a:pt x="144" y="4"/>
                  </a:cubicBezTo>
                  <a:cubicBezTo>
                    <a:pt x="145" y="5"/>
                    <a:pt x="145" y="5"/>
                    <a:pt x="145" y="5"/>
                  </a:cubicBezTo>
                  <a:cubicBezTo>
                    <a:pt x="145" y="6"/>
                    <a:pt x="144" y="6"/>
                    <a:pt x="146" y="6"/>
                  </a:cubicBezTo>
                  <a:cubicBezTo>
                    <a:pt x="147" y="6"/>
                    <a:pt x="148" y="6"/>
                    <a:pt x="147" y="6"/>
                  </a:cubicBezTo>
                  <a:cubicBezTo>
                    <a:pt x="146" y="5"/>
                    <a:pt x="146" y="4"/>
                    <a:pt x="145" y="4"/>
                  </a:cubicBezTo>
                  <a:cubicBezTo>
                    <a:pt x="145" y="4"/>
                    <a:pt x="144" y="3"/>
                    <a:pt x="144" y="3"/>
                  </a:cubicBezTo>
                  <a:cubicBezTo>
                    <a:pt x="144" y="2"/>
                    <a:pt x="144" y="0"/>
                    <a:pt x="145" y="1"/>
                  </a:cubicBezTo>
                  <a:cubicBezTo>
                    <a:pt x="146" y="1"/>
                    <a:pt x="145" y="0"/>
                    <a:pt x="146" y="1"/>
                  </a:cubicBezTo>
                  <a:cubicBezTo>
                    <a:pt x="148" y="3"/>
                    <a:pt x="149" y="4"/>
                    <a:pt x="149" y="4"/>
                  </a:cubicBezTo>
                  <a:cubicBezTo>
                    <a:pt x="149" y="5"/>
                    <a:pt x="150" y="5"/>
                    <a:pt x="150" y="5"/>
                  </a:cubicBezTo>
                  <a:cubicBezTo>
                    <a:pt x="150" y="6"/>
                    <a:pt x="150" y="6"/>
                    <a:pt x="150" y="6"/>
                  </a:cubicBezTo>
                  <a:cubicBezTo>
                    <a:pt x="151" y="7"/>
                    <a:pt x="152" y="8"/>
                    <a:pt x="152" y="8"/>
                  </a:cubicBezTo>
                  <a:cubicBezTo>
                    <a:pt x="152" y="8"/>
                    <a:pt x="152" y="8"/>
                    <a:pt x="153" y="8"/>
                  </a:cubicBezTo>
                  <a:cubicBezTo>
                    <a:pt x="153" y="9"/>
                    <a:pt x="155" y="10"/>
                    <a:pt x="155" y="10"/>
                  </a:cubicBezTo>
                  <a:cubicBezTo>
                    <a:pt x="155" y="10"/>
                    <a:pt x="156" y="11"/>
                    <a:pt x="156" y="11"/>
                  </a:cubicBezTo>
                  <a:cubicBezTo>
                    <a:pt x="155" y="12"/>
                    <a:pt x="155" y="13"/>
                    <a:pt x="155" y="13"/>
                  </a:cubicBezTo>
                  <a:cubicBezTo>
                    <a:pt x="153" y="16"/>
                    <a:pt x="153" y="16"/>
                    <a:pt x="153" y="16"/>
                  </a:cubicBezTo>
                  <a:cubicBezTo>
                    <a:pt x="152" y="18"/>
                    <a:pt x="152" y="18"/>
                    <a:pt x="152" y="18"/>
                  </a:cubicBezTo>
                  <a:cubicBezTo>
                    <a:pt x="152" y="19"/>
                    <a:pt x="152" y="19"/>
                    <a:pt x="152" y="19"/>
                  </a:cubicBezTo>
                  <a:cubicBezTo>
                    <a:pt x="151" y="20"/>
                    <a:pt x="151" y="21"/>
                    <a:pt x="151" y="21"/>
                  </a:cubicBezTo>
                  <a:cubicBezTo>
                    <a:pt x="151" y="21"/>
                    <a:pt x="150" y="22"/>
                    <a:pt x="148" y="22"/>
                  </a:cubicBezTo>
                  <a:cubicBezTo>
                    <a:pt x="146" y="21"/>
                    <a:pt x="144" y="23"/>
                    <a:pt x="144" y="23"/>
                  </a:cubicBezTo>
                  <a:cubicBezTo>
                    <a:pt x="144" y="23"/>
                    <a:pt x="139" y="22"/>
                    <a:pt x="138" y="22"/>
                  </a:cubicBezTo>
                  <a:cubicBezTo>
                    <a:pt x="137" y="22"/>
                    <a:pt x="137" y="26"/>
                    <a:pt x="137" y="27"/>
                  </a:cubicBezTo>
                  <a:cubicBezTo>
                    <a:pt x="137" y="28"/>
                    <a:pt x="135" y="29"/>
                    <a:pt x="132" y="29"/>
                  </a:cubicBezTo>
                  <a:cubicBezTo>
                    <a:pt x="129" y="30"/>
                    <a:pt x="131" y="30"/>
                    <a:pt x="130" y="33"/>
                  </a:cubicBezTo>
                  <a:cubicBezTo>
                    <a:pt x="129" y="37"/>
                    <a:pt x="128" y="34"/>
                    <a:pt x="126" y="33"/>
                  </a:cubicBezTo>
                  <a:cubicBezTo>
                    <a:pt x="124" y="33"/>
                    <a:pt x="124" y="33"/>
                    <a:pt x="121" y="33"/>
                  </a:cubicBezTo>
                  <a:cubicBezTo>
                    <a:pt x="118" y="34"/>
                    <a:pt x="120" y="36"/>
                    <a:pt x="120" y="36"/>
                  </a:cubicBezTo>
                  <a:cubicBezTo>
                    <a:pt x="120" y="36"/>
                    <a:pt x="122" y="38"/>
                    <a:pt x="123" y="38"/>
                  </a:cubicBezTo>
                  <a:cubicBezTo>
                    <a:pt x="125" y="39"/>
                    <a:pt x="123" y="41"/>
                    <a:pt x="123" y="41"/>
                  </a:cubicBezTo>
                  <a:cubicBezTo>
                    <a:pt x="123" y="41"/>
                    <a:pt x="122" y="43"/>
                    <a:pt x="121" y="43"/>
                  </a:cubicBezTo>
                  <a:cubicBezTo>
                    <a:pt x="120" y="42"/>
                    <a:pt x="115" y="42"/>
                    <a:pt x="115" y="42"/>
                  </a:cubicBezTo>
                  <a:cubicBezTo>
                    <a:pt x="110" y="45"/>
                    <a:pt x="110" y="45"/>
                    <a:pt x="110" y="45"/>
                  </a:cubicBezTo>
                  <a:cubicBezTo>
                    <a:pt x="110" y="45"/>
                    <a:pt x="111" y="49"/>
                    <a:pt x="114" y="53"/>
                  </a:cubicBezTo>
                  <a:cubicBezTo>
                    <a:pt x="117" y="57"/>
                    <a:pt x="114" y="54"/>
                    <a:pt x="114" y="54"/>
                  </a:cubicBezTo>
                  <a:cubicBezTo>
                    <a:pt x="114" y="54"/>
                    <a:pt x="115" y="57"/>
                    <a:pt x="115" y="59"/>
                  </a:cubicBezTo>
                  <a:cubicBezTo>
                    <a:pt x="115" y="61"/>
                    <a:pt x="115" y="60"/>
                    <a:pt x="116" y="60"/>
                  </a:cubicBezTo>
                  <a:cubicBezTo>
                    <a:pt x="117" y="60"/>
                    <a:pt x="119" y="60"/>
                    <a:pt x="119" y="60"/>
                  </a:cubicBezTo>
                  <a:cubicBezTo>
                    <a:pt x="119" y="60"/>
                    <a:pt x="123" y="66"/>
                    <a:pt x="123" y="66"/>
                  </a:cubicBezTo>
                  <a:cubicBezTo>
                    <a:pt x="124" y="66"/>
                    <a:pt x="129" y="65"/>
                    <a:pt x="129" y="65"/>
                  </a:cubicBezTo>
                  <a:cubicBezTo>
                    <a:pt x="129" y="65"/>
                    <a:pt x="133" y="64"/>
                    <a:pt x="135" y="64"/>
                  </a:cubicBezTo>
                  <a:cubicBezTo>
                    <a:pt x="137" y="63"/>
                    <a:pt x="135" y="61"/>
                    <a:pt x="135" y="61"/>
                  </a:cubicBezTo>
                  <a:cubicBezTo>
                    <a:pt x="137" y="56"/>
                    <a:pt x="137" y="56"/>
                    <a:pt x="137" y="56"/>
                  </a:cubicBezTo>
                  <a:cubicBezTo>
                    <a:pt x="143" y="55"/>
                    <a:pt x="143" y="55"/>
                    <a:pt x="143" y="55"/>
                  </a:cubicBezTo>
                  <a:cubicBezTo>
                    <a:pt x="146" y="61"/>
                    <a:pt x="146" y="61"/>
                    <a:pt x="146" y="61"/>
                  </a:cubicBezTo>
                  <a:cubicBezTo>
                    <a:pt x="145" y="65"/>
                    <a:pt x="145" y="65"/>
                    <a:pt x="145" y="65"/>
                  </a:cubicBezTo>
                  <a:cubicBezTo>
                    <a:pt x="150" y="70"/>
                    <a:pt x="150" y="70"/>
                    <a:pt x="150" y="70"/>
                  </a:cubicBezTo>
                  <a:cubicBezTo>
                    <a:pt x="151" y="75"/>
                    <a:pt x="151" y="75"/>
                    <a:pt x="151" y="75"/>
                  </a:cubicBezTo>
                  <a:cubicBezTo>
                    <a:pt x="151" y="75"/>
                    <a:pt x="156" y="76"/>
                    <a:pt x="157" y="77"/>
                  </a:cubicBezTo>
                  <a:cubicBezTo>
                    <a:pt x="158" y="77"/>
                    <a:pt x="161" y="76"/>
                    <a:pt x="161" y="76"/>
                  </a:cubicBezTo>
                  <a:cubicBezTo>
                    <a:pt x="165" y="81"/>
                    <a:pt x="165" y="81"/>
                    <a:pt x="165" y="81"/>
                  </a:cubicBezTo>
                  <a:cubicBezTo>
                    <a:pt x="166" y="80"/>
                    <a:pt x="166" y="80"/>
                    <a:pt x="166" y="80"/>
                  </a:cubicBezTo>
                  <a:cubicBezTo>
                    <a:pt x="166" y="81"/>
                    <a:pt x="166" y="81"/>
                    <a:pt x="166" y="81"/>
                  </a:cubicBezTo>
                  <a:cubicBezTo>
                    <a:pt x="166" y="81"/>
                    <a:pt x="166" y="83"/>
                    <a:pt x="165" y="83"/>
                  </a:cubicBezTo>
                  <a:cubicBezTo>
                    <a:pt x="163" y="82"/>
                    <a:pt x="162" y="82"/>
                    <a:pt x="162" y="82"/>
                  </a:cubicBezTo>
                  <a:cubicBezTo>
                    <a:pt x="159" y="80"/>
                    <a:pt x="159" y="80"/>
                    <a:pt x="159" y="80"/>
                  </a:cubicBezTo>
                  <a:cubicBezTo>
                    <a:pt x="158" y="81"/>
                    <a:pt x="158" y="81"/>
                    <a:pt x="158" y="81"/>
                  </a:cubicBezTo>
                  <a:cubicBezTo>
                    <a:pt x="155" y="85"/>
                    <a:pt x="155" y="85"/>
                    <a:pt x="155" y="85"/>
                  </a:cubicBezTo>
                  <a:cubicBezTo>
                    <a:pt x="157" y="86"/>
                    <a:pt x="157" y="86"/>
                    <a:pt x="157" y="86"/>
                  </a:cubicBezTo>
                  <a:cubicBezTo>
                    <a:pt x="159" y="88"/>
                    <a:pt x="159" y="88"/>
                    <a:pt x="159" y="88"/>
                  </a:cubicBezTo>
                  <a:cubicBezTo>
                    <a:pt x="159" y="91"/>
                    <a:pt x="159" y="91"/>
                    <a:pt x="159" y="91"/>
                  </a:cubicBezTo>
                  <a:cubicBezTo>
                    <a:pt x="159" y="95"/>
                    <a:pt x="159" y="95"/>
                    <a:pt x="159" y="95"/>
                  </a:cubicBezTo>
                  <a:cubicBezTo>
                    <a:pt x="157" y="98"/>
                    <a:pt x="157" y="98"/>
                    <a:pt x="157" y="98"/>
                  </a:cubicBezTo>
                  <a:cubicBezTo>
                    <a:pt x="157" y="98"/>
                    <a:pt x="158" y="100"/>
                    <a:pt x="158" y="101"/>
                  </a:cubicBezTo>
                  <a:cubicBezTo>
                    <a:pt x="158" y="101"/>
                    <a:pt x="160" y="103"/>
                    <a:pt x="160" y="103"/>
                  </a:cubicBezTo>
                  <a:cubicBezTo>
                    <a:pt x="162" y="105"/>
                    <a:pt x="162" y="105"/>
                    <a:pt x="162" y="105"/>
                  </a:cubicBezTo>
                  <a:cubicBezTo>
                    <a:pt x="160" y="110"/>
                    <a:pt x="160" y="110"/>
                    <a:pt x="160" y="110"/>
                  </a:cubicBezTo>
                  <a:cubicBezTo>
                    <a:pt x="158" y="112"/>
                    <a:pt x="158" y="112"/>
                    <a:pt x="158" y="112"/>
                  </a:cubicBezTo>
                  <a:cubicBezTo>
                    <a:pt x="158" y="114"/>
                    <a:pt x="158" y="114"/>
                    <a:pt x="158" y="114"/>
                  </a:cubicBezTo>
                  <a:cubicBezTo>
                    <a:pt x="158" y="114"/>
                    <a:pt x="160" y="115"/>
                    <a:pt x="159" y="115"/>
                  </a:cubicBezTo>
                  <a:cubicBezTo>
                    <a:pt x="158" y="115"/>
                    <a:pt x="156" y="115"/>
                    <a:pt x="156" y="115"/>
                  </a:cubicBezTo>
                  <a:cubicBezTo>
                    <a:pt x="156" y="115"/>
                    <a:pt x="156" y="116"/>
                    <a:pt x="156" y="117"/>
                  </a:cubicBezTo>
                  <a:cubicBezTo>
                    <a:pt x="156" y="117"/>
                    <a:pt x="157" y="119"/>
                    <a:pt x="157" y="119"/>
                  </a:cubicBezTo>
                  <a:cubicBezTo>
                    <a:pt x="157" y="119"/>
                    <a:pt x="158" y="119"/>
                    <a:pt x="158" y="120"/>
                  </a:cubicBezTo>
                  <a:cubicBezTo>
                    <a:pt x="158" y="121"/>
                    <a:pt x="157" y="123"/>
                    <a:pt x="157" y="123"/>
                  </a:cubicBezTo>
                  <a:cubicBezTo>
                    <a:pt x="157" y="123"/>
                    <a:pt x="156" y="127"/>
                    <a:pt x="156" y="127"/>
                  </a:cubicBezTo>
                  <a:cubicBezTo>
                    <a:pt x="157" y="127"/>
                    <a:pt x="157" y="129"/>
                    <a:pt x="157" y="129"/>
                  </a:cubicBezTo>
                  <a:cubicBezTo>
                    <a:pt x="157" y="133"/>
                    <a:pt x="157" y="133"/>
                    <a:pt x="157" y="133"/>
                  </a:cubicBezTo>
                  <a:cubicBezTo>
                    <a:pt x="156" y="136"/>
                    <a:pt x="156" y="136"/>
                    <a:pt x="156" y="136"/>
                  </a:cubicBezTo>
                  <a:cubicBezTo>
                    <a:pt x="157" y="138"/>
                    <a:pt x="157" y="138"/>
                    <a:pt x="157" y="138"/>
                  </a:cubicBezTo>
                  <a:cubicBezTo>
                    <a:pt x="154" y="140"/>
                    <a:pt x="154" y="140"/>
                    <a:pt x="154" y="140"/>
                  </a:cubicBezTo>
                  <a:cubicBezTo>
                    <a:pt x="153" y="142"/>
                    <a:pt x="153" y="142"/>
                    <a:pt x="153" y="142"/>
                  </a:cubicBezTo>
                  <a:cubicBezTo>
                    <a:pt x="153" y="142"/>
                    <a:pt x="151" y="143"/>
                    <a:pt x="151" y="144"/>
                  </a:cubicBezTo>
                  <a:cubicBezTo>
                    <a:pt x="151" y="144"/>
                    <a:pt x="150" y="145"/>
                    <a:pt x="150" y="146"/>
                  </a:cubicBezTo>
                  <a:cubicBezTo>
                    <a:pt x="150" y="147"/>
                    <a:pt x="149" y="148"/>
                    <a:pt x="149" y="148"/>
                  </a:cubicBezTo>
                  <a:cubicBezTo>
                    <a:pt x="148" y="149"/>
                    <a:pt x="146" y="151"/>
                    <a:pt x="146" y="151"/>
                  </a:cubicBezTo>
                  <a:cubicBezTo>
                    <a:pt x="145" y="153"/>
                    <a:pt x="145" y="153"/>
                    <a:pt x="145" y="153"/>
                  </a:cubicBezTo>
                  <a:cubicBezTo>
                    <a:pt x="145" y="153"/>
                    <a:pt x="146" y="155"/>
                    <a:pt x="146" y="155"/>
                  </a:cubicBezTo>
                  <a:cubicBezTo>
                    <a:pt x="146" y="156"/>
                    <a:pt x="146" y="156"/>
                    <a:pt x="146" y="156"/>
                  </a:cubicBezTo>
                  <a:cubicBezTo>
                    <a:pt x="144" y="158"/>
                    <a:pt x="144" y="158"/>
                    <a:pt x="144" y="158"/>
                  </a:cubicBezTo>
                  <a:cubicBezTo>
                    <a:pt x="139" y="162"/>
                    <a:pt x="139" y="162"/>
                    <a:pt x="139" y="162"/>
                  </a:cubicBezTo>
                  <a:cubicBezTo>
                    <a:pt x="139" y="162"/>
                    <a:pt x="139" y="163"/>
                    <a:pt x="138" y="164"/>
                  </a:cubicBezTo>
                  <a:cubicBezTo>
                    <a:pt x="138" y="166"/>
                    <a:pt x="137" y="166"/>
                    <a:pt x="137" y="166"/>
                  </a:cubicBezTo>
                  <a:cubicBezTo>
                    <a:pt x="137" y="166"/>
                    <a:pt x="136" y="166"/>
                    <a:pt x="135" y="166"/>
                  </a:cubicBezTo>
                  <a:cubicBezTo>
                    <a:pt x="135" y="166"/>
                    <a:pt x="134" y="165"/>
                    <a:pt x="134" y="165"/>
                  </a:cubicBezTo>
                  <a:cubicBezTo>
                    <a:pt x="134" y="167"/>
                    <a:pt x="134" y="167"/>
                    <a:pt x="134" y="167"/>
                  </a:cubicBezTo>
                  <a:cubicBezTo>
                    <a:pt x="134" y="167"/>
                    <a:pt x="134" y="168"/>
                    <a:pt x="135" y="168"/>
                  </a:cubicBezTo>
                  <a:cubicBezTo>
                    <a:pt x="136" y="169"/>
                    <a:pt x="136" y="170"/>
                    <a:pt x="137" y="170"/>
                  </a:cubicBezTo>
                  <a:cubicBezTo>
                    <a:pt x="137" y="171"/>
                    <a:pt x="138" y="172"/>
                    <a:pt x="138" y="172"/>
                  </a:cubicBezTo>
                  <a:cubicBezTo>
                    <a:pt x="136" y="174"/>
                    <a:pt x="136" y="174"/>
                    <a:pt x="136" y="174"/>
                  </a:cubicBezTo>
                  <a:cubicBezTo>
                    <a:pt x="136" y="175"/>
                    <a:pt x="136" y="175"/>
                    <a:pt x="136" y="175"/>
                  </a:cubicBezTo>
                  <a:cubicBezTo>
                    <a:pt x="134" y="175"/>
                    <a:pt x="134" y="175"/>
                    <a:pt x="134" y="175"/>
                  </a:cubicBezTo>
                  <a:cubicBezTo>
                    <a:pt x="133" y="174"/>
                    <a:pt x="133" y="174"/>
                    <a:pt x="133" y="174"/>
                  </a:cubicBezTo>
                  <a:cubicBezTo>
                    <a:pt x="133" y="174"/>
                    <a:pt x="132" y="174"/>
                    <a:pt x="132" y="174"/>
                  </a:cubicBezTo>
                  <a:close/>
                </a:path>
              </a:pathLst>
            </a:custGeom>
            <a:solidFill>
              <a:srgbClr val="E6EFF1"/>
            </a:solidFill>
            <a:ln w="12700" cap="rnd" cmpd="sng">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Lato Light"/>
              </a:endParaRPr>
            </a:p>
          </p:txBody>
        </p:sp>
        <p:sp>
          <p:nvSpPr>
            <p:cNvPr id="231" name="Freeform 45">
              <a:extLst>
                <a:ext uri="{FF2B5EF4-FFF2-40B4-BE49-F238E27FC236}">
                  <a16:creationId xmlns:a16="http://schemas.microsoft.com/office/drawing/2014/main" id="{66EC6513-E31B-EA2F-F7AF-22AEF336C350}"/>
                </a:ext>
              </a:extLst>
            </p:cNvPr>
            <p:cNvSpPr>
              <a:spLocks/>
            </p:cNvSpPr>
            <p:nvPr/>
          </p:nvSpPr>
          <p:spPr bwMode="auto">
            <a:xfrm>
              <a:off x="1519072" y="5026621"/>
              <a:ext cx="512618" cy="775631"/>
            </a:xfrm>
            <a:custGeom>
              <a:avLst/>
              <a:gdLst>
                <a:gd name="T0" fmla="*/ 84 w 178"/>
                <a:gd name="T1" fmla="*/ 3 h 278"/>
                <a:gd name="T2" fmla="*/ 97 w 178"/>
                <a:gd name="T3" fmla="*/ 2 h 278"/>
                <a:gd name="T4" fmla="*/ 107 w 178"/>
                <a:gd name="T5" fmla="*/ 5 h 278"/>
                <a:gd name="T6" fmla="*/ 102 w 178"/>
                <a:gd name="T7" fmla="*/ 16 h 278"/>
                <a:gd name="T8" fmla="*/ 113 w 178"/>
                <a:gd name="T9" fmla="*/ 16 h 278"/>
                <a:gd name="T10" fmla="*/ 119 w 178"/>
                <a:gd name="T11" fmla="*/ 18 h 278"/>
                <a:gd name="T12" fmla="*/ 126 w 178"/>
                <a:gd name="T13" fmla="*/ 24 h 278"/>
                <a:gd name="T14" fmla="*/ 134 w 178"/>
                <a:gd name="T15" fmla="*/ 25 h 278"/>
                <a:gd name="T16" fmla="*/ 145 w 178"/>
                <a:gd name="T17" fmla="*/ 19 h 278"/>
                <a:gd name="T18" fmla="*/ 154 w 178"/>
                <a:gd name="T19" fmla="*/ 24 h 278"/>
                <a:gd name="T20" fmla="*/ 164 w 178"/>
                <a:gd name="T21" fmla="*/ 27 h 278"/>
                <a:gd name="T22" fmla="*/ 167 w 178"/>
                <a:gd name="T23" fmla="*/ 34 h 278"/>
                <a:gd name="T24" fmla="*/ 165 w 178"/>
                <a:gd name="T25" fmla="*/ 42 h 278"/>
                <a:gd name="T26" fmla="*/ 178 w 178"/>
                <a:gd name="T27" fmla="*/ 50 h 278"/>
                <a:gd name="T28" fmla="*/ 168 w 178"/>
                <a:gd name="T29" fmla="*/ 59 h 278"/>
                <a:gd name="T30" fmla="*/ 156 w 178"/>
                <a:gd name="T31" fmla="*/ 65 h 278"/>
                <a:gd name="T32" fmla="*/ 144 w 178"/>
                <a:gd name="T33" fmla="*/ 74 h 278"/>
                <a:gd name="T34" fmla="*/ 142 w 178"/>
                <a:gd name="T35" fmla="*/ 81 h 278"/>
                <a:gd name="T36" fmla="*/ 141 w 178"/>
                <a:gd name="T37" fmla="*/ 92 h 278"/>
                <a:gd name="T38" fmla="*/ 137 w 178"/>
                <a:gd name="T39" fmla="*/ 103 h 278"/>
                <a:gd name="T40" fmla="*/ 135 w 178"/>
                <a:gd name="T41" fmla="*/ 112 h 278"/>
                <a:gd name="T42" fmla="*/ 126 w 178"/>
                <a:gd name="T43" fmla="*/ 117 h 278"/>
                <a:gd name="T44" fmla="*/ 130 w 178"/>
                <a:gd name="T45" fmla="*/ 128 h 278"/>
                <a:gd name="T46" fmla="*/ 123 w 178"/>
                <a:gd name="T47" fmla="*/ 137 h 278"/>
                <a:gd name="T48" fmla="*/ 120 w 178"/>
                <a:gd name="T49" fmla="*/ 144 h 278"/>
                <a:gd name="T50" fmla="*/ 111 w 178"/>
                <a:gd name="T51" fmla="*/ 143 h 278"/>
                <a:gd name="T52" fmla="*/ 102 w 178"/>
                <a:gd name="T53" fmla="*/ 141 h 278"/>
                <a:gd name="T54" fmla="*/ 102 w 178"/>
                <a:gd name="T55" fmla="*/ 149 h 278"/>
                <a:gd name="T56" fmla="*/ 103 w 178"/>
                <a:gd name="T57" fmla="*/ 157 h 278"/>
                <a:gd name="T58" fmla="*/ 104 w 178"/>
                <a:gd name="T59" fmla="*/ 166 h 278"/>
                <a:gd name="T60" fmla="*/ 107 w 178"/>
                <a:gd name="T61" fmla="*/ 174 h 278"/>
                <a:gd name="T62" fmla="*/ 114 w 178"/>
                <a:gd name="T63" fmla="*/ 180 h 278"/>
                <a:gd name="T64" fmla="*/ 106 w 178"/>
                <a:gd name="T65" fmla="*/ 189 h 278"/>
                <a:gd name="T66" fmla="*/ 96 w 178"/>
                <a:gd name="T67" fmla="*/ 196 h 278"/>
                <a:gd name="T68" fmla="*/ 93 w 178"/>
                <a:gd name="T69" fmla="*/ 205 h 278"/>
                <a:gd name="T70" fmla="*/ 94 w 178"/>
                <a:gd name="T71" fmla="*/ 214 h 278"/>
                <a:gd name="T72" fmla="*/ 100 w 178"/>
                <a:gd name="T73" fmla="*/ 224 h 278"/>
                <a:gd name="T74" fmla="*/ 100 w 178"/>
                <a:gd name="T75" fmla="*/ 233 h 278"/>
                <a:gd name="T76" fmla="*/ 91 w 178"/>
                <a:gd name="T77" fmla="*/ 233 h 278"/>
                <a:gd name="T78" fmla="*/ 80 w 178"/>
                <a:gd name="T79" fmla="*/ 243 h 278"/>
                <a:gd name="T80" fmla="*/ 71 w 178"/>
                <a:gd name="T81" fmla="*/ 254 h 278"/>
                <a:gd name="T82" fmla="*/ 71 w 178"/>
                <a:gd name="T83" fmla="*/ 268 h 278"/>
                <a:gd name="T84" fmla="*/ 62 w 178"/>
                <a:gd name="T85" fmla="*/ 275 h 278"/>
                <a:gd name="T86" fmla="*/ 40 w 178"/>
                <a:gd name="T87" fmla="*/ 274 h 278"/>
                <a:gd name="T88" fmla="*/ 26 w 178"/>
                <a:gd name="T89" fmla="*/ 268 h 278"/>
                <a:gd name="T90" fmla="*/ 11 w 178"/>
                <a:gd name="T91" fmla="*/ 265 h 278"/>
                <a:gd name="T92" fmla="*/ 4 w 178"/>
                <a:gd name="T93" fmla="*/ 261 h 278"/>
                <a:gd name="T94" fmla="*/ 14 w 178"/>
                <a:gd name="T95" fmla="*/ 247 h 278"/>
                <a:gd name="T96" fmla="*/ 21 w 178"/>
                <a:gd name="T97" fmla="*/ 225 h 278"/>
                <a:gd name="T98" fmla="*/ 28 w 178"/>
                <a:gd name="T99" fmla="*/ 199 h 278"/>
                <a:gd name="T100" fmla="*/ 25 w 178"/>
                <a:gd name="T101" fmla="*/ 188 h 278"/>
                <a:gd name="T102" fmla="*/ 11 w 178"/>
                <a:gd name="T103" fmla="*/ 188 h 278"/>
                <a:gd name="T104" fmla="*/ 14 w 178"/>
                <a:gd name="T105" fmla="*/ 174 h 278"/>
                <a:gd name="T106" fmla="*/ 4 w 178"/>
                <a:gd name="T107" fmla="*/ 171 h 278"/>
                <a:gd name="T108" fmla="*/ 11 w 178"/>
                <a:gd name="T109" fmla="*/ 157 h 278"/>
                <a:gd name="T110" fmla="*/ 18 w 178"/>
                <a:gd name="T111" fmla="*/ 143 h 278"/>
                <a:gd name="T112" fmla="*/ 22 w 178"/>
                <a:gd name="T113" fmla="*/ 135 h 278"/>
                <a:gd name="T114" fmla="*/ 32 w 178"/>
                <a:gd name="T115" fmla="*/ 129 h 278"/>
                <a:gd name="T116" fmla="*/ 49 w 178"/>
                <a:gd name="T117" fmla="*/ 98 h 278"/>
                <a:gd name="T118" fmla="*/ 71 w 178"/>
                <a:gd name="T119" fmla="*/ 55 h 278"/>
                <a:gd name="T120" fmla="*/ 70 w 178"/>
                <a:gd name="T121" fmla="*/ 32 h 278"/>
                <a:gd name="T122" fmla="*/ 72 w 178"/>
                <a:gd name="T123" fmla="*/ 19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8" h="278">
                  <a:moveTo>
                    <a:pt x="74" y="9"/>
                  </a:moveTo>
                  <a:cubicBezTo>
                    <a:pt x="74" y="9"/>
                    <a:pt x="78" y="6"/>
                    <a:pt x="78" y="6"/>
                  </a:cubicBezTo>
                  <a:cubicBezTo>
                    <a:pt x="78" y="6"/>
                    <a:pt x="79" y="5"/>
                    <a:pt x="79" y="5"/>
                  </a:cubicBezTo>
                  <a:cubicBezTo>
                    <a:pt x="80" y="5"/>
                    <a:pt x="81" y="5"/>
                    <a:pt x="82" y="5"/>
                  </a:cubicBezTo>
                  <a:cubicBezTo>
                    <a:pt x="82" y="5"/>
                    <a:pt x="83" y="4"/>
                    <a:pt x="83" y="4"/>
                  </a:cubicBezTo>
                  <a:cubicBezTo>
                    <a:pt x="84" y="3"/>
                    <a:pt x="84" y="3"/>
                    <a:pt x="84" y="3"/>
                  </a:cubicBezTo>
                  <a:cubicBezTo>
                    <a:pt x="86" y="2"/>
                    <a:pt x="86" y="2"/>
                    <a:pt x="86" y="2"/>
                  </a:cubicBezTo>
                  <a:cubicBezTo>
                    <a:pt x="88" y="2"/>
                    <a:pt x="88" y="2"/>
                    <a:pt x="88" y="2"/>
                  </a:cubicBezTo>
                  <a:cubicBezTo>
                    <a:pt x="88" y="2"/>
                    <a:pt x="89" y="2"/>
                    <a:pt x="89" y="2"/>
                  </a:cubicBezTo>
                  <a:cubicBezTo>
                    <a:pt x="89" y="2"/>
                    <a:pt x="93" y="1"/>
                    <a:pt x="93" y="1"/>
                  </a:cubicBezTo>
                  <a:cubicBezTo>
                    <a:pt x="93" y="1"/>
                    <a:pt x="94" y="2"/>
                    <a:pt x="95" y="2"/>
                  </a:cubicBezTo>
                  <a:cubicBezTo>
                    <a:pt x="95" y="2"/>
                    <a:pt x="97" y="2"/>
                    <a:pt x="97" y="2"/>
                  </a:cubicBezTo>
                  <a:cubicBezTo>
                    <a:pt x="98" y="2"/>
                    <a:pt x="100" y="1"/>
                    <a:pt x="100" y="1"/>
                  </a:cubicBezTo>
                  <a:cubicBezTo>
                    <a:pt x="104" y="0"/>
                    <a:pt x="104" y="0"/>
                    <a:pt x="104" y="0"/>
                  </a:cubicBezTo>
                  <a:cubicBezTo>
                    <a:pt x="105" y="2"/>
                    <a:pt x="105" y="2"/>
                    <a:pt x="105" y="2"/>
                  </a:cubicBezTo>
                  <a:cubicBezTo>
                    <a:pt x="105" y="2"/>
                    <a:pt x="105" y="4"/>
                    <a:pt x="105" y="4"/>
                  </a:cubicBezTo>
                  <a:cubicBezTo>
                    <a:pt x="105" y="4"/>
                    <a:pt x="105" y="5"/>
                    <a:pt x="106" y="5"/>
                  </a:cubicBezTo>
                  <a:cubicBezTo>
                    <a:pt x="107" y="5"/>
                    <a:pt x="107" y="5"/>
                    <a:pt x="107" y="5"/>
                  </a:cubicBezTo>
                  <a:cubicBezTo>
                    <a:pt x="107" y="6"/>
                    <a:pt x="107" y="9"/>
                    <a:pt x="107" y="9"/>
                  </a:cubicBezTo>
                  <a:cubicBezTo>
                    <a:pt x="104" y="10"/>
                    <a:pt x="104" y="10"/>
                    <a:pt x="104" y="10"/>
                  </a:cubicBezTo>
                  <a:cubicBezTo>
                    <a:pt x="104" y="10"/>
                    <a:pt x="103" y="10"/>
                    <a:pt x="103" y="11"/>
                  </a:cubicBezTo>
                  <a:cubicBezTo>
                    <a:pt x="103" y="11"/>
                    <a:pt x="101" y="12"/>
                    <a:pt x="101" y="12"/>
                  </a:cubicBezTo>
                  <a:cubicBezTo>
                    <a:pt x="101" y="13"/>
                    <a:pt x="100" y="13"/>
                    <a:pt x="101" y="14"/>
                  </a:cubicBezTo>
                  <a:cubicBezTo>
                    <a:pt x="101" y="15"/>
                    <a:pt x="102" y="16"/>
                    <a:pt x="102" y="16"/>
                  </a:cubicBezTo>
                  <a:cubicBezTo>
                    <a:pt x="102" y="18"/>
                    <a:pt x="102" y="18"/>
                    <a:pt x="102" y="18"/>
                  </a:cubicBezTo>
                  <a:cubicBezTo>
                    <a:pt x="102" y="18"/>
                    <a:pt x="102" y="19"/>
                    <a:pt x="103" y="19"/>
                  </a:cubicBezTo>
                  <a:cubicBezTo>
                    <a:pt x="103" y="20"/>
                    <a:pt x="104" y="19"/>
                    <a:pt x="105" y="19"/>
                  </a:cubicBezTo>
                  <a:cubicBezTo>
                    <a:pt x="107" y="19"/>
                    <a:pt x="108" y="18"/>
                    <a:pt x="109" y="18"/>
                  </a:cubicBezTo>
                  <a:cubicBezTo>
                    <a:pt x="109" y="18"/>
                    <a:pt x="110" y="18"/>
                    <a:pt x="110" y="18"/>
                  </a:cubicBezTo>
                  <a:cubicBezTo>
                    <a:pt x="111" y="17"/>
                    <a:pt x="113" y="16"/>
                    <a:pt x="113" y="16"/>
                  </a:cubicBezTo>
                  <a:cubicBezTo>
                    <a:pt x="113" y="16"/>
                    <a:pt x="113" y="14"/>
                    <a:pt x="114" y="15"/>
                  </a:cubicBezTo>
                  <a:cubicBezTo>
                    <a:pt x="114" y="15"/>
                    <a:pt x="114" y="17"/>
                    <a:pt x="114" y="17"/>
                  </a:cubicBezTo>
                  <a:cubicBezTo>
                    <a:pt x="114" y="17"/>
                    <a:pt x="113" y="19"/>
                    <a:pt x="113" y="19"/>
                  </a:cubicBezTo>
                  <a:cubicBezTo>
                    <a:pt x="114" y="20"/>
                    <a:pt x="115" y="19"/>
                    <a:pt x="115" y="19"/>
                  </a:cubicBezTo>
                  <a:cubicBezTo>
                    <a:pt x="116" y="18"/>
                    <a:pt x="117" y="18"/>
                    <a:pt x="117" y="18"/>
                  </a:cubicBezTo>
                  <a:cubicBezTo>
                    <a:pt x="119" y="18"/>
                    <a:pt x="119" y="18"/>
                    <a:pt x="119" y="18"/>
                  </a:cubicBezTo>
                  <a:cubicBezTo>
                    <a:pt x="119" y="18"/>
                    <a:pt x="121" y="18"/>
                    <a:pt x="121" y="18"/>
                  </a:cubicBezTo>
                  <a:cubicBezTo>
                    <a:pt x="121" y="18"/>
                    <a:pt x="122" y="19"/>
                    <a:pt x="123" y="19"/>
                  </a:cubicBezTo>
                  <a:cubicBezTo>
                    <a:pt x="123" y="20"/>
                    <a:pt x="126" y="21"/>
                    <a:pt x="126" y="21"/>
                  </a:cubicBezTo>
                  <a:cubicBezTo>
                    <a:pt x="125" y="23"/>
                    <a:pt x="125" y="23"/>
                    <a:pt x="125" y="23"/>
                  </a:cubicBezTo>
                  <a:cubicBezTo>
                    <a:pt x="125" y="23"/>
                    <a:pt x="124" y="25"/>
                    <a:pt x="125" y="25"/>
                  </a:cubicBezTo>
                  <a:cubicBezTo>
                    <a:pt x="125" y="25"/>
                    <a:pt x="126" y="24"/>
                    <a:pt x="126" y="24"/>
                  </a:cubicBezTo>
                  <a:cubicBezTo>
                    <a:pt x="127" y="24"/>
                    <a:pt x="128" y="23"/>
                    <a:pt x="128" y="23"/>
                  </a:cubicBezTo>
                  <a:cubicBezTo>
                    <a:pt x="128" y="23"/>
                    <a:pt x="128" y="22"/>
                    <a:pt x="128" y="22"/>
                  </a:cubicBezTo>
                  <a:cubicBezTo>
                    <a:pt x="128" y="23"/>
                    <a:pt x="130" y="24"/>
                    <a:pt x="130" y="24"/>
                  </a:cubicBezTo>
                  <a:cubicBezTo>
                    <a:pt x="130" y="24"/>
                    <a:pt x="131" y="26"/>
                    <a:pt x="131" y="26"/>
                  </a:cubicBezTo>
                  <a:cubicBezTo>
                    <a:pt x="131" y="26"/>
                    <a:pt x="133" y="25"/>
                    <a:pt x="133" y="25"/>
                  </a:cubicBezTo>
                  <a:cubicBezTo>
                    <a:pt x="133" y="25"/>
                    <a:pt x="133" y="25"/>
                    <a:pt x="134" y="25"/>
                  </a:cubicBezTo>
                  <a:cubicBezTo>
                    <a:pt x="135" y="25"/>
                    <a:pt x="135" y="25"/>
                    <a:pt x="135" y="25"/>
                  </a:cubicBezTo>
                  <a:cubicBezTo>
                    <a:pt x="136" y="26"/>
                    <a:pt x="139" y="26"/>
                    <a:pt x="139" y="26"/>
                  </a:cubicBezTo>
                  <a:cubicBezTo>
                    <a:pt x="142" y="24"/>
                    <a:pt x="142" y="24"/>
                    <a:pt x="142" y="24"/>
                  </a:cubicBezTo>
                  <a:cubicBezTo>
                    <a:pt x="143" y="21"/>
                    <a:pt x="143" y="21"/>
                    <a:pt x="143" y="21"/>
                  </a:cubicBezTo>
                  <a:cubicBezTo>
                    <a:pt x="143" y="20"/>
                    <a:pt x="143" y="20"/>
                    <a:pt x="143" y="20"/>
                  </a:cubicBezTo>
                  <a:cubicBezTo>
                    <a:pt x="143" y="20"/>
                    <a:pt x="145" y="19"/>
                    <a:pt x="145" y="19"/>
                  </a:cubicBezTo>
                  <a:cubicBezTo>
                    <a:pt x="145" y="19"/>
                    <a:pt x="146" y="19"/>
                    <a:pt x="146" y="20"/>
                  </a:cubicBezTo>
                  <a:cubicBezTo>
                    <a:pt x="146" y="20"/>
                    <a:pt x="148" y="22"/>
                    <a:pt x="148" y="22"/>
                  </a:cubicBezTo>
                  <a:cubicBezTo>
                    <a:pt x="148" y="22"/>
                    <a:pt x="150" y="22"/>
                    <a:pt x="150" y="22"/>
                  </a:cubicBezTo>
                  <a:cubicBezTo>
                    <a:pt x="151" y="22"/>
                    <a:pt x="151" y="21"/>
                    <a:pt x="152" y="22"/>
                  </a:cubicBezTo>
                  <a:cubicBezTo>
                    <a:pt x="152" y="23"/>
                    <a:pt x="152" y="24"/>
                    <a:pt x="153" y="24"/>
                  </a:cubicBezTo>
                  <a:cubicBezTo>
                    <a:pt x="153" y="24"/>
                    <a:pt x="154" y="24"/>
                    <a:pt x="154" y="24"/>
                  </a:cubicBezTo>
                  <a:cubicBezTo>
                    <a:pt x="155" y="25"/>
                    <a:pt x="157" y="25"/>
                    <a:pt x="157" y="25"/>
                  </a:cubicBezTo>
                  <a:cubicBezTo>
                    <a:pt x="158" y="23"/>
                    <a:pt x="158" y="23"/>
                    <a:pt x="158" y="23"/>
                  </a:cubicBezTo>
                  <a:cubicBezTo>
                    <a:pt x="158" y="23"/>
                    <a:pt x="158" y="22"/>
                    <a:pt x="159" y="23"/>
                  </a:cubicBezTo>
                  <a:cubicBezTo>
                    <a:pt x="160" y="23"/>
                    <a:pt x="160" y="25"/>
                    <a:pt x="160" y="25"/>
                  </a:cubicBezTo>
                  <a:cubicBezTo>
                    <a:pt x="160" y="25"/>
                    <a:pt x="161" y="26"/>
                    <a:pt x="161" y="26"/>
                  </a:cubicBezTo>
                  <a:cubicBezTo>
                    <a:pt x="161" y="26"/>
                    <a:pt x="164" y="27"/>
                    <a:pt x="164" y="27"/>
                  </a:cubicBezTo>
                  <a:cubicBezTo>
                    <a:pt x="164" y="27"/>
                    <a:pt x="166" y="26"/>
                    <a:pt x="166" y="26"/>
                  </a:cubicBezTo>
                  <a:cubicBezTo>
                    <a:pt x="167" y="26"/>
                    <a:pt x="167" y="28"/>
                    <a:pt x="167" y="28"/>
                  </a:cubicBezTo>
                  <a:cubicBezTo>
                    <a:pt x="167" y="28"/>
                    <a:pt x="167" y="29"/>
                    <a:pt x="167" y="29"/>
                  </a:cubicBezTo>
                  <a:cubicBezTo>
                    <a:pt x="166" y="30"/>
                    <a:pt x="166" y="30"/>
                    <a:pt x="167" y="30"/>
                  </a:cubicBezTo>
                  <a:cubicBezTo>
                    <a:pt x="167" y="31"/>
                    <a:pt x="168" y="32"/>
                    <a:pt x="168" y="32"/>
                  </a:cubicBezTo>
                  <a:cubicBezTo>
                    <a:pt x="168" y="32"/>
                    <a:pt x="167" y="34"/>
                    <a:pt x="167" y="34"/>
                  </a:cubicBezTo>
                  <a:cubicBezTo>
                    <a:pt x="167" y="35"/>
                    <a:pt x="166" y="36"/>
                    <a:pt x="166" y="36"/>
                  </a:cubicBezTo>
                  <a:cubicBezTo>
                    <a:pt x="165" y="37"/>
                    <a:pt x="165" y="37"/>
                    <a:pt x="165" y="37"/>
                  </a:cubicBezTo>
                  <a:cubicBezTo>
                    <a:pt x="165" y="38"/>
                    <a:pt x="165" y="38"/>
                    <a:pt x="165" y="38"/>
                  </a:cubicBezTo>
                  <a:cubicBezTo>
                    <a:pt x="165" y="39"/>
                    <a:pt x="165" y="39"/>
                    <a:pt x="165" y="39"/>
                  </a:cubicBezTo>
                  <a:cubicBezTo>
                    <a:pt x="165" y="39"/>
                    <a:pt x="165" y="40"/>
                    <a:pt x="165" y="40"/>
                  </a:cubicBezTo>
                  <a:cubicBezTo>
                    <a:pt x="164" y="40"/>
                    <a:pt x="165" y="42"/>
                    <a:pt x="165" y="42"/>
                  </a:cubicBezTo>
                  <a:cubicBezTo>
                    <a:pt x="166" y="43"/>
                    <a:pt x="166" y="43"/>
                    <a:pt x="166" y="43"/>
                  </a:cubicBezTo>
                  <a:cubicBezTo>
                    <a:pt x="166" y="43"/>
                    <a:pt x="168" y="42"/>
                    <a:pt x="168" y="42"/>
                  </a:cubicBezTo>
                  <a:cubicBezTo>
                    <a:pt x="168" y="42"/>
                    <a:pt x="171" y="43"/>
                    <a:pt x="171" y="43"/>
                  </a:cubicBezTo>
                  <a:cubicBezTo>
                    <a:pt x="171" y="43"/>
                    <a:pt x="173" y="44"/>
                    <a:pt x="173" y="45"/>
                  </a:cubicBezTo>
                  <a:cubicBezTo>
                    <a:pt x="174" y="45"/>
                    <a:pt x="176" y="47"/>
                    <a:pt x="176" y="47"/>
                  </a:cubicBezTo>
                  <a:cubicBezTo>
                    <a:pt x="178" y="50"/>
                    <a:pt x="178" y="50"/>
                    <a:pt x="178" y="50"/>
                  </a:cubicBezTo>
                  <a:cubicBezTo>
                    <a:pt x="176" y="52"/>
                    <a:pt x="176" y="52"/>
                    <a:pt x="176" y="52"/>
                  </a:cubicBezTo>
                  <a:cubicBezTo>
                    <a:pt x="174" y="55"/>
                    <a:pt x="174" y="55"/>
                    <a:pt x="174" y="55"/>
                  </a:cubicBezTo>
                  <a:cubicBezTo>
                    <a:pt x="172" y="56"/>
                    <a:pt x="172" y="56"/>
                    <a:pt x="172" y="56"/>
                  </a:cubicBezTo>
                  <a:cubicBezTo>
                    <a:pt x="172" y="56"/>
                    <a:pt x="171" y="58"/>
                    <a:pt x="171" y="58"/>
                  </a:cubicBezTo>
                  <a:cubicBezTo>
                    <a:pt x="171" y="58"/>
                    <a:pt x="169" y="59"/>
                    <a:pt x="169" y="59"/>
                  </a:cubicBezTo>
                  <a:cubicBezTo>
                    <a:pt x="168" y="59"/>
                    <a:pt x="168" y="59"/>
                    <a:pt x="168" y="59"/>
                  </a:cubicBezTo>
                  <a:cubicBezTo>
                    <a:pt x="165" y="62"/>
                    <a:pt x="165" y="62"/>
                    <a:pt x="165" y="62"/>
                  </a:cubicBezTo>
                  <a:cubicBezTo>
                    <a:pt x="163" y="63"/>
                    <a:pt x="163" y="63"/>
                    <a:pt x="163" y="63"/>
                  </a:cubicBezTo>
                  <a:cubicBezTo>
                    <a:pt x="161" y="64"/>
                    <a:pt x="161" y="64"/>
                    <a:pt x="161" y="64"/>
                  </a:cubicBezTo>
                  <a:cubicBezTo>
                    <a:pt x="160" y="64"/>
                    <a:pt x="160" y="64"/>
                    <a:pt x="160" y="64"/>
                  </a:cubicBezTo>
                  <a:cubicBezTo>
                    <a:pt x="158" y="66"/>
                    <a:pt x="158" y="66"/>
                    <a:pt x="158" y="66"/>
                  </a:cubicBezTo>
                  <a:cubicBezTo>
                    <a:pt x="156" y="65"/>
                    <a:pt x="156" y="65"/>
                    <a:pt x="156" y="65"/>
                  </a:cubicBezTo>
                  <a:cubicBezTo>
                    <a:pt x="153" y="66"/>
                    <a:pt x="153" y="66"/>
                    <a:pt x="153" y="66"/>
                  </a:cubicBezTo>
                  <a:cubicBezTo>
                    <a:pt x="153" y="67"/>
                    <a:pt x="153" y="67"/>
                    <a:pt x="153" y="67"/>
                  </a:cubicBezTo>
                  <a:cubicBezTo>
                    <a:pt x="149" y="69"/>
                    <a:pt x="149" y="69"/>
                    <a:pt x="149" y="69"/>
                  </a:cubicBezTo>
                  <a:cubicBezTo>
                    <a:pt x="148" y="72"/>
                    <a:pt x="148" y="72"/>
                    <a:pt x="148" y="72"/>
                  </a:cubicBezTo>
                  <a:cubicBezTo>
                    <a:pt x="148" y="72"/>
                    <a:pt x="146" y="72"/>
                    <a:pt x="146" y="73"/>
                  </a:cubicBezTo>
                  <a:cubicBezTo>
                    <a:pt x="145" y="73"/>
                    <a:pt x="144" y="74"/>
                    <a:pt x="144" y="74"/>
                  </a:cubicBezTo>
                  <a:cubicBezTo>
                    <a:pt x="142" y="73"/>
                    <a:pt x="142" y="73"/>
                    <a:pt x="142" y="73"/>
                  </a:cubicBezTo>
                  <a:cubicBezTo>
                    <a:pt x="141" y="74"/>
                    <a:pt x="141" y="74"/>
                    <a:pt x="141" y="74"/>
                  </a:cubicBezTo>
                  <a:cubicBezTo>
                    <a:pt x="141" y="76"/>
                    <a:pt x="141" y="76"/>
                    <a:pt x="141" y="76"/>
                  </a:cubicBezTo>
                  <a:cubicBezTo>
                    <a:pt x="142" y="76"/>
                    <a:pt x="142" y="76"/>
                    <a:pt x="142" y="76"/>
                  </a:cubicBezTo>
                  <a:cubicBezTo>
                    <a:pt x="142" y="76"/>
                    <a:pt x="142" y="78"/>
                    <a:pt x="142" y="78"/>
                  </a:cubicBezTo>
                  <a:cubicBezTo>
                    <a:pt x="142" y="79"/>
                    <a:pt x="142" y="81"/>
                    <a:pt x="142" y="81"/>
                  </a:cubicBezTo>
                  <a:cubicBezTo>
                    <a:pt x="144" y="82"/>
                    <a:pt x="144" y="82"/>
                    <a:pt x="144" y="82"/>
                  </a:cubicBezTo>
                  <a:cubicBezTo>
                    <a:pt x="144" y="82"/>
                    <a:pt x="144" y="85"/>
                    <a:pt x="143" y="85"/>
                  </a:cubicBezTo>
                  <a:cubicBezTo>
                    <a:pt x="143" y="85"/>
                    <a:pt x="141" y="86"/>
                    <a:pt x="141" y="86"/>
                  </a:cubicBezTo>
                  <a:cubicBezTo>
                    <a:pt x="141" y="87"/>
                    <a:pt x="141" y="87"/>
                    <a:pt x="141" y="87"/>
                  </a:cubicBezTo>
                  <a:cubicBezTo>
                    <a:pt x="142" y="89"/>
                    <a:pt x="142" y="89"/>
                    <a:pt x="142" y="89"/>
                  </a:cubicBezTo>
                  <a:cubicBezTo>
                    <a:pt x="142" y="89"/>
                    <a:pt x="142" y="92"/>
                    <a:pt x="141" y="92"/>
                  </a:cubicBezTo>
                  <a:cubicBezTo>
                    <a:pt x="141" y="93"/>
                    <a:pt x="140" y="95"/>
                    <a:pt x="140" y="95"/>
                  </a:cubicBezTo>
                  <a:cubicBezTo>
                    <a:pt x="139" y="96"/>
                    <a:pt x="139" y="96"/>
                    <a:pt x="139" y="96"/>
                  </a:cubicBezTo>
                  <a:cubicBezTo>
                    <a:pt x="138" y="98"/>
                    <a:pt x="138" y="98"/>
                    <a:pt x="138" y="98"/>
                  </a:cubicBezTo>
                  <a:cubicBezTo>
                    <a:pt x="139" y="99"/>
                    <a:pt x="139" y="99"/>
                    <a:pt x="139" y="99"/>
                  </a:cubicBezTo>
                  <a:cubicBezTo>
                    <a:pt x="139" y="102"/>
                    <a:pt x="139" y="102"/>
                    <a:pt x="139" y="102"/>
                  </a:cubicBezTo>
                  <a:cubicBezTo>
                    <a:pt x="137" y="103"/>
                    <a:pt x="137" y="103"/>
                    <a:pt x="137" y="103"/>
                  </a:cubicBezTo>
                  <a:cubicBezTo>
                    <a:pt x="136" y="106"/>
                    <a:pt x="136" y="106"/>
                    <a:pt x="136" y="106"/>
                  </a:cubicBezTo>
                  <a:cubicBezTo>
                    <a:pt x="137" y="107"/>
                    <a:pt x="137" y="107"/>
                    <a:pt x="137" y="107"/>
                  </a:cubicBezTo>
                  <a:cubicBezTo>
                    <a:pt x="138" y="109"/>
                    <a:pt x="138" y="109"/>
                    <a:pt x="138" y="109"/>
                  </a:cubicBezTo>
                  <a:cubicBezTo>
                    <a:pt x="137" y="111"/>
                    <a:pt x="137" y="111"/>
                    <a:pt x="137" y="111"/>
                  </a:cubicBezTo>
                  <a:cubicBezTo>
                    <a:pt x="136" y="112"/>
                    <a:pt x="136" y="112"/>
                    <a:pt x="136" y="112"/>
                  </a:cubicBezTo>
                  <a:cubicBezTo>
                    <a:pt x="135" y="112"/>
                    <a:pt x="135" y="112"/>
                    <a:pt x="135" y="112"/>
                  </a:cubicBezTo>
                  <a:cubicBezTo>
                    <a:pt x="133" y="114"/>
                    <a:pt x="133" y="114"/>
                    <a:pt x="133" y="114"/>
                  </a:cubicBezTo>
                  <a:cubicBezTo>
                    <a:pt x="131" y="114"/>
                    <a:pt x="131" y="114"/>
                    <a:pt x="131" y="114"/>
                  </a:cubicBezTo>
                  <a:cubicBezTo>
                    <a:pt x="130" y="114"/>
                    <a:pt x="130" y="114"/>
                    <a:pt x="130" y="114"/>
                  </a:cubicBezTo>
                  <a:cubicBezTo>
                    <a:pt x="128" y="116"/>
                    <a:pt x="128" y="116"/>
                    <a:pt x="128" y="116"/>
                  </a:cubicBezTo>
                  <a:cubicBezTo>
                    <a:pt x="127" y="116"/>
                    <a:pt x="127" y="116"/>
                    <a:pt x="127" y="116"/>
                  </a:cubicBezTo>
                  <a:cubicBezTo>
                    <a:pt x="126" y="117"/>
                    <a:pt x="126" y="117"/>
                    <a:pt x="126" y="117"/>
                  </a:cubicBezTo>
                  <a:cubicBezTo>
                    <a:pt x="126" y="119"/>
                    <a:pt x="126" y="119"/>
                    <a:pt x="126" y="119"/>
                  </a:cubicBezTo>
                  <a:cubicBezTo>
                    <a:pt x="126" y="119"/>
                    <a:pt x="126" y="120"/>
                    <a:pt x="126" y="120"/>
                  </a:cubicBezTo>
                  <a:cubicBezTo>
                    <a:pt x="127" y="120"/>
                    <a:pt x="127" y="121"/>
                    <a:pt x="127" y="121"/>
                  </a:cubicBezTo>
                  <a:cubicBezTo>
                    <a:pt x="128" y="123"/>
                    <a:pt x="128" y="123"/>
                    <a:pt x="128" y="123"/>
                  </a:cubicBezTo>
                  <a:cubicBezTo>
                    <a:pt x="129" y="125"/>
                    <a:pt x="129" y="125"/>
                    <a:pt x="129" y="125"/>
                  </a:cubicBezTo>
                  <a:cubicBezTo>
                    <a:pt x="130" y="128"/>
                    <a:pt x="130" y="128"/>
                    <a:pt x="130" y="128"/>
                  </a:cubicBezTo>
                  <a:cubicBezTo>
                    <a:pt x="130" y="128"/>
                    <a:pt x="129" y="130"/>
                    <a:pt x="129" y="130"/>
                  </a:cubicBezTo>
                  <a:cubicBezTo>
                    <a:pt x="129" y="130"/>
                    <a:pt x="128" y="132"/>
                    <a:pt x="128" y="132"/>
                  </a:cubicBezTo>
                  <a:cubicBezTo>
                    <a:pt x="127" y="134"/>
                    <a:pt x="127" y="134"/>
                    <a:pt x="127" y="134"/>
                  </a:cubicBezTo>
                  <a:cubicBezTo>
                    <a:pt x="126" y="136"/>
                    <a:pt x="126" y="136"/>
                    <a:pt x="126" y="136"/>
                  </a:cubicBezTo>
                  <a:cubicBezTo>
                    <a:pt x="125" y="137"/>
                    <a:pt x="125" y="137"/>
                    <a:pt x="125" y="137"/>
                  </a:cubicBezTo>
                  <a:cubicBezTo>
                    <a:pt x="123" y="137"/>
                    <a:pt x="123" y="137"/>
                    <a:pt x="123" y="137"/>
                  </a:cubicBezTo>
                  <a:cubicBezTo>
                    <a:pt x="123" y="138"/>
                    <a:pt x="123" y="138"/>
                    <a:pt x="123" y="138"/>
                  </a:cubicBezTo>
                  <a:cubicBezTo>
                    <a:pt x="122" y="140"/>
                    <a:pt x="122" y="140"/>
                    <a:pt x="122" y="140"/>
                  </a:cubicBezTo>
                  <a:cubicBezTo>
                    <a:pt x="122" y="141"/>
                    <a:pt x="122" y="141"/>
                    <a:pt x="122" y="141"/>
                  </a:cubicBezTo>
                  <a:cubicBezTo>
                    <a:pt x="121" y="141"/>
                    <a:pt x="121" y="141"/>
                    <a:pt x="121" y="141"/>
                  </a:cubicBezTo>
                  <a:cubicBezTo>
                    <a:pt x="121" y="143"/>
                    <a:pt x="121" y="143"/>
                    <a:pt x="121" y="143"/>
                  </a:cubicBezTo>
                  <a:cubicBezTo>
                    <a:pt x="120" y="144"/>
                    <a:pt x="120" y="144"/>
                    <a:pt x="120" y="144"/>
                  </a:cubicBezTo>
                  <a:cubicBezTo>
                    <a:pt x="120" y="144"/>
                    <a:pt x="119" y="144"/>
                    <a:pt x="119" y="144"/>
                  </a:cubicBezTo>
                  <a:cubicBezTo>
                    <a:pt x="118" y="144"/>
                    <a:pt x="117" y="145"/>
                    <a:pt x="117" y="145"/>
                  </a:cubicBezTo>
                  <a:cubicBezTo>
                    <a:pt x="117" y="145"/>
                    <a:pt x="115" y="145"/>
                    <a:pt x="115" y="144"/>
                  </a:cubicBezTo>
                  <a:cubicBezTo>
                    <a:pt x="115" y="144"/>
                    <a:pt x="114" y="145"/>
                    <a:pt x="113" y="144"/>
                  </a:cubicBezTo>
                  <a:cubicBezTo>
                    <a:pt x="113" y="144"/>
                    <a:pt x="112" y="143"/>
                    <a:pt x="112" y="143"/>
                  </a:cubicBezTo>
                  <a:cubicBezTo>
                    <a:pt x="111" y="143"/>
                    <a:pt x="111" y="143"/>
                    <a:pt x="111" y="143"/>
                  </a:cubicBezTo>
                  <a:cubicBezTo>
                    <a:pt x="109" y="143"/>
                    <a:pt x="109" y="143"/>
                    <a:pt x="109" y="143"/>
                  </a:cubicBezTo>
                  <a:cubicBezTo>
                    <a:pt x="106" y="143"/>
                    <a:pt x="106" y="143"/>
                    <a:pt x="106" y="143"/>
                  </a:cubicBezTo>
                  <a:cubicBezTo>
                    <a:pt x="104" y="143"/>
                    <a:pt x="104" y="143"/>
                    <a:pt x="104" y="143"/>
                  </a:cubicBezTo>
                  <a:cubicBezTo>
                    <a:pt x="104" y="142"/>
                    <a:pt x="104" y="142"/>
                    <a:pt x="104" y="142"/>
                  </a:cubicBezTo>
                  <a:cubicBezTo>
                    <a:pt x="103" y="143"/>
                    <a:pt x="103" y="143"/>
                    <a:pt x="103" y="143"/>
                  </a:cubicBezTo>
                  <a:cubicBezTo>
                    <a:pt x="102" y="141"/>
                    <a:pt x="102" y="141"/>
                    <a:pt x="102" y="141"/>
                  </a:cubicBezTo>
                  <a:cubicBezTo>
                    <a:pt x="100" y="141"/>
                    <a:pt x="100" y="141"/>
                    <a:pt x="100" y="141"/>
                  </a:cubicBezTo>
                  <a:cubicBezTo>
                    <a:pt x="98" y="141"/>
                    <a:pt x="98" y="141"/>
                    <a:pt x="98" y="141"/>
                  </a:cubicBezTo>
                  <a:cubicBezTo>
                    <a:pt x="98" y="141"/>
                    <a:pt x="98" y="142"/>
                    <a:pt x="99" y="143"/>
                  </a:cubicBezTo>
                  <a:cubicBezTo>
                    <a:pt x="99" y="143"/>
                    <a:pt x="100" y="145"/>
                    <a:pt x="100" y="145"/>
                  </a:cubicBezTo>
                  <a:cubicBezTo>
                    <a:pt x="100" y="145"/>
                    <a:pt x="100" y="147"/>
                    <a:pt x="100" y="147"/>
                  </a:cubicBezTo>
                  <a:cubicBezTo>
                    <a:pt x="100" y="147"/>
                    <a:pt x="102" y="149"/>
                    <a:pt x="102" y="149"/>
                  </a:cubicBezTo>
                  <a:cubicBezTo>
                    <a:pt x="102" y="150"/>
                    <a:pt x="102" y="150"/>
                    <a:pt x="102" y="150"/>
                  </a:cubicBezTo>
                  <a:cubicBezTo>
                    <a:pt x="102" y="150"/>
                    <a:pt x="103" y="152"/>
                    <a:pt x="103" y="152"/>
                  </a:cubicBezTo>
                  <a:cubicBezTo>
                    <a:pt x="103" y="152"/>
                    <a:pt x="105" y="153"/>
                    <a:pt x="105" y="153"/>
                  </a:cubicBezTo>
                  <a:cubicBezTo>
                    <a:pt x="105" y="155"/>
                    <a:pt x="105" y="155"/>
                    <a:pt x="105" y="155"/>
                  </a:cubicBezTo>
                  <a:cubicBezTo>
                    <a:pt x="104" y="156"/>
                    <a:pt x="104" y="156"/>
                    <a:pt x="104" y="156"/>
                  </a:cubicBezTo>
                  <a:cubicBezTo>
                    <a:pt x="103" y="157"/>
                    <a:pt x="103" y="157"/>
                    <a:pt x="103" y="157"/>
                  </a:cubicBezTo>
                  <a:cubicBezTo>
                    <a:pt x="104" y="159"/>
                    <a:pt x="104" y="159"/>
                    <a:pt x="104" y="159"/>
                  </a:cubicBezTo>
                  <a:cubicBezTo>
                    <a:pt x="104" y="161"/>
                    <a:pt x="104" y="161"/>
                    <a:pt x="104" y="161"/>
                  </a:cubicBezTo>
                  <a:cubicBezTo>
                    <a:pt x="105" y="162"/>
                    <a:pt x="105" y="162"/>
                    <a:pt x="105" y="162"/>
                  </a:cubicBezTo>
                  <a:cubicBezTo>
                    <a:pt x="105" y="163"/>
                    <a:pt x="105" y="163"/>
                    <a:pt x="105" y="163"/>
                  </a:cubicBezTo>
                  <a:cubicBezTo>
                    <a:pt x="104" y="164"/>
                    <a:pt x="104" y="164"/>
                    <a:pt x="104" y="164"/>
                  </a:cubicBezTo>
                  <a:cubicBezTo>
                    <a:pt x="104" y="166"/>
                    <a:pt x="104" y="166"/>
                    <a:pt x="104" y="166"/>
                  </a:cubicBezTo>
                  <a:cubicBezTo>
                    <a:pt x="105" y="168"/>
                    <a:pt x="105" y="168"/>
                    <a:pt x="105" y="168"/>
                  </a:cubicBezTo>
                  <a:cubicBezTo>
                    <a:pt x="106" y="170"/>
                    <a:pt x="106" y="170"/>
                    <a:pt x="106" y="170"/>
                  </a:cubicBezTo>
                  <a:cubicBezTo>
                    <a:pt x="108" y="170"/>
                    <a:pt x="108" y="170"/>
                    <a:pt x="108" y="170"/>
                  </a:cubicBezTo>
                  <a:cubicBezTo>
                    <a:pt x="108" y="172"/>
                    <a:pt x="108" y="172"/>
                    <a:pt x="108" y="172"/>
                  </a:cubicBezTo>
                  <a:cubicBezTo>
                    <a:pt x="107" y="173"/>
                    <a:pt x="107" y="173"/>
                    <a:pt x="107" y="173"/>
                  </a:cubicBezTo>
                  <a:cubicBezTo>
                    <a:pt x="107" y="173"/>
                    <a:pt x="107" y="174"/>
                    <a:pt x="107" y="174"/>
                  </a:cubicBezTo>
                  <a:cubicBezTo>
                    <a:pt x="108" y="174"/>
                    <a:pt x="109" y="175"/>
                    <a:pt x="109" y="175"/>
                  </a:cubicBezTo>
                  <a:cubicBezTo>
                    <a:pt x="111" y="174"/>
                    <a:pt x="111" y="174"/>
                    <a:pt x="111" y="174"/>
                  </a:cubicBezTo>
                  <a:cubicBezTo>
                    <a:pt x="111" y="174"/>
                    <a:pt x="112" y="174"/>
                    <a:pt x="112" y="174"/>
                  </a:cubicBezTo>
                  <a:cubicBezTo>
                    <a:pt x="112" y="175"/>
                    <a:pt x="113" y="177"/>
                    <a:pt x="113" y="177"/>
                  </a:cubicBezTo>
                  <a:cubicBezTo>
                    <a:pt x="114" y="178"/>
                    <a:pt x="114" y="178"/>
                    <a:pt x="114" y="178"/>
                  </a:cubicBezTo>
                  <a:cubicBezTo>
                    <a:pt x="114" y="180"/>
                    <a:pt x="114" y="180"/>
                    <a:pt x="114" y="180"/>
                  </a:cubicBezTo>
                  <a:cubicBezTo>
                    <a:pt x="112" y="182"/>
                    <a:pt x="112" y="182"/>
                    <a:pt x="112" y="182"/>
                  </a:cubicBezTo>
                  <a:cubicBezTo>
                    <a:pt x="110" y="184"/>
                    <a:pt x="110" y="184"/>
                    <a:pt x="110" y="184"/>
                  </a:cubicBezTo>
                  <a:cubicBezTo>
                    <a:pt x="109" y="185"/>
                    <a:pt x="109" y="185"/>
                    <a:pt x="109" y="185"/>
                  </a:cubicBezTo>
                  <a:cubicBezTo>
                    <a:pt x="109" y="187"/>
                    <a:pt x="109" y="187"/>
                    <a:pt x="109" y="187"/>
                  </a:cubicBezTo>
                  <a:cubicBezTo>
                    <a:pt x="108" y="188"/>
                    <a:pt x="108" y="188"/>
                    <a:pt x="108" y="188"/>
                  </a:cubicBezTo>
                  <a:cubicBezTo>
                    <a:pt x="106" y="189"/>
                    <a:pt x="106" y="189"/>
                    <a:pt x="106" y="189"/>
                  </a:cubicBezTo>
                  <a:cubicBezTo>
                    <a:pt x="104" y="190"/>
                    <a:pt x="104" y="190"/>
                    <a:pt x="104" y="190"/>
                  </a:cubicBezTo>
                  <a:cubicBezTo>
                    <a:pt x="103" y="190"/>
                    <a:pt x="103" y="190"/>
                    <a:pt x="103" y="190"/>
                  </a:cubicBezTo>
                  <a:cubicBezTo>
                    <a:pt x="102" y="191"/>
                    <a:pt x="102" y="191"/>
                    <a:pt x="102" y="191"/>
                  </a:cubicBezTo>
                  <a:cubicBezTo>
                    <a:pt x="99" y="192"/>
                    <a:pt x="99" y="192"/>
                    <a:pt x="99" y="192"/>
                  </a:cubicBezTo>
                  <a:cubicBezTo>
                    <a:pt x="98" y="192"/>
                    <a:pt x="98" y="192"/>
                    <a:pt x="98" y="192"/>
                  </a:cubicBezTo>
                  <a:cubicBezTo>
                    <a:pt x="96" y="196"/>
                    <a:pt x="96" y="196"/>
                    <a:pt x="96" y="196"/>
                  </a:cubicBezTo>
                  <a:cubicBezTo>
                    <a:pt x="96" y="196"/>
                    <a:pt x="96" y="198"/>
                    <a:pt x="96" y="198"/>
                  </a:cubicBezTo>
                  <a:cubicBezTo>
                    <a:pt x="96" y="198"/>
                    <a:pt x="97" y="199"/>
                    <a:pt x="97" y="199"/>
                  </a:cubicBezTo>
                  <a:cubicBezTo>
                    <a:pt x="97" y="199"/>
                    <a:pt x="95" y="201"/>
                    <a:pt x="95" y="201"/>
                  </a:cubicBezTo>
                  <a:cubicBezTo>
                    <a:pt x="95" y="201"/>
                    <a:pt x="93" y="202"/>
                    <a:pt x="93" y="202"/>
                  </a:cubicBezTo>
                  <a:cubicBezTo>
                    <a:pt x="92" y="204"/>
                    <a:pt x="92" y="204"/>
                    <a:pt x="92" y="204"/>
                  </a:cubicBezTo>
                  <a:cubicBezTo>
                    <a:pt x="93" y="205"/>
                    <a:pt x="93" y="205"/>
                    <a:pt x="93" y="205"/>
                  </a:cubicBezTo>
                  <a:cubicBezTo>
                    <a:pt x="91" y="205"/>
                    <a:pt x="91" y="205"/>
                    <a:pt x="91" y="205"/>
                  </a:cubicBezTo>
                  <a:cubicBezTo>
                    <a:pt x="92" y="207"/>
                    <a:pt x="92" y="207"/>
                    <a:pt x="92" y="207"/>
                  </a:cubicBezTo>
                  <a:cubicBezTo>
                    <a:pt x="91" y="208"/>
                    <a:pt x="91" y="208"/>
                    <a:pt x="91" y="208"/>
                  </a:cubicBezTo>
                  <a:cubicBezTo>
                    <a:pt x="92" y="209"/>
                    <a:pt x="92" y="209"/>
                    <a:pt x="92" y="209"/>
                  </a:cubicBezTo>
                  <a:cubicBezTo>
                    <a:pt x="92" y="209"/>
                    <a:pt x="93" y="212"/>
                    <a:pt x="93" y="212"/>
                  </a:cubicBezTo>
                  <a:cubicBezTo>
                    <a:pt x="93" y="213"/>
                    <a:pt x="94" y="214"/>
                    <a:pt x="94" y="214"/>
                  </a:cubicBezTo>
                  <a:cubicBezTo>
                    <a:pt x="94" y="214"/>
                    <a:pt x="95" y="215"/>
                    <a:pt x="95" y="215"/>
                  </a:cubicBezTo>
                  <a:cubicBezTo>
                    <a:pt x="95" y="216"/>
                    <a:pt x="95" y="217"/>
                    <a:pt x="95" y="218"/>
                  </a:cubicBezTo>
                  <a:cubicBezTo>
                    <a:pt x="95" y="219"/>
                    <a:pt x="96" y="221"/>
                    <a:pt x="96" y="221"/>
                  </a:cubicBezTo>
                  <a:cubicBezTo>
                    <a:pt x="97" y="223"/>
                    <a:pt x="97" y="223"/>
                    <a:pt x="97" y="223"/>
                  </a:cubicBezTo>
                  <a:cubicBezTo>
                    <a:pt x="97" y="223"/>
                    <a:pt x="97" y="224"/>
                    <a:pt x="97" y="224"/>
                  </a:cubicBezTo>
                  <a:cubicBezTo>
                    <a:pt x="98" y="224"/>
                    <a:pt x="100" y="224"/>
                    <a:pt x="100" y="224"/>
                  </a:cubicBezTo>
                  <a:cubicBezTo>
                    <a:pt x="100" y="224"/>
                    <a:pt x="102" y="224"/>
                    <a:pt x="102" y="224"/>
                  </a:cubicBezTo>
                  <a:cubicBezTo>
                    <a:pt x="102" y="224"/>
                    <a:pt x="103" y="223"/>
                    <a:pt x="104" y="224"/>
                  </a:cubicBezTo>
                  <a:cubicBezTo>
                    <a:pt x="104" y="224"/>
                    <a:pt x="104" y="225"/>
                    <a:pt x="104" y="225"/>
                  </a:cubicBezTo>
                  <a:cubicBezTo>
                    <a:pt x="104" y="225"/>
                    <a:pt x="104" y="226"/>
                    <a:pt x="104" y="226"/>
                  </a:cubicBezTo>
                  <a:cubicBezTo>
                    <a:pt x="100" y="230"/>
                    <a:pt x="100" y="230"/>
                    <a:pt x="100" y="230"/>
                  </a:cubicBezTo>
                  <a:cubicBezTo>
                    <a:pt x="100" y="233"/>
                    <a:pt x="100" y="233"/>
                    <a:pt x="100" y="233"/>
                  </a:cubicBezTo>
                  <a:cubicBezTo>
                    <a:pt x="100" y="233"/>
                    <a:pt x="99" y="233"/>
                    <a:pt x="99" y="233"/>
                  </a:cubicBezTo>
                  <a:cubicBezTo>
                    <a:pt x="98" y="233"/>
                    <a:pt x="97" y="233"/>
                    <a:pt x="97" y="233"/>
                  </a:cubicBezTo>
                  <a:cubicBezTo>
                    <a:pt x="95" y="231"/>
                    <a:pt x="95" y="231"/>
                    <a:pt x="95" y="231"/>
                  </a:cubicBezTo>
                  <a:cubicBezTo>
                    <a:pt x="93" y="232"/>
                    <a:pt x="93" y="232"/>
                    <a:pt x="93" y="232"/>
                  </a:cubicBezTo>
                  <a:cubicBezTo>
                    <a:pt x="93" y="233"/>
                    <a:pt x="93" y="233"/>
                    <a:pt x="93" y="233"/>
                  </a:cubicBezTo>
                  <a:cubicBezTo>
                    <a:pt x="93" y="233"/>
                    <a:pt x="91" y="233"/>
                    <a:pt x="91" y="233"/>
                  </a:cubicBezTo>
                  <a:cubicBezTo>
                    <a:pt x="91" y="233"/>
                    <a:pt x="88" y="233"/>
                    <a:pt x="88" y="233"/>
                  </a:cubicBezTo>
                  <a:cubicBezTo>
                    <a:pt x="87" y="234"/>
                    <a:pt x="87" y="234"/>
                    <a:pt x="87" y="234"/>
                  </a:cubicBezTo>
                  <a:cubicBezTo>
                    <a:pt x="86" y="238"/>
                    <a:pt x="86" y="238"/>
                    <a:pt x="86" y="238"/>
                  </a:cubicBezTo>
                  <a:cubicBezTo>
                    <a:pt x="84" y="240"/>
                    <a:pt x="84" y="240"/>
                    <a:pt x="84" y="240"/>
                  </a:cubicBezTo>
                  <a:cubicBezTo>
                    <a:pt x="82" y="241"/>
                    <a:pt x="82" y="241"/>
                    <a:pt x="82" y="241"/>
                  </a:cubicBezTo>
                  <a:cubicBezTo>
                    <a:pt x="80" y="243"/>
                    <a:pt x="80" y="243"/>
                    <a:pt x="80" y="243"/>
                  </a:cubicBezTo>
                  <a:cubicBezTo>
                    <a:pt x="77" y="244"/>
                    <a:pt x="77" y="244"/>
                    <a:pt x="77" y="244"/>
                  </a:cubicBezTo>
                  <a:cubicBezTo>
                    <a:pt x="77" y="244"/>
                    <a:pt x="76" y="245"/>
                    <a:pt x="76" y="245"/>
                  </a:cubicBezTo>
                  <a:cubicBezTo>
                    <a:pt x="76" y="246"/>
                    <a:pt x="75" y="249"/>
                    <a:pt x="75" y="249"/>
                  </a:cubicBezTo>
                  <a:cubicBezTo>
                    <a:pt x="75" y="249"/>
                    <a:pt x="73" y="250"/>
                    <a:pt x="73" y="251"/>
                  </a:cubicBezTo>
                  <a:cubicBezTo>
                    <a:pt x="73" y="251"/>
                    <a:pt x="71" y="252"/>
                    <a:pt x="71" y="252"/>
                  </a:cubicBezTo>
                  <a:cubicBezTo>
                    <a:pt x="71" y="252"/>
                    <a:pt x="71" y="254"/>
                    <a:pt x="71" y="254"/>
                  </a:cubicBezTo>
                  <a:cubicBezTo>
                    <a:pt x="71" y="254"/>
                    <a:pt x="72" y="256"/>
                    <a:pt x="72" y="256"/>
                  </a:cubicBezTo>
                  <a:cubicBezTo>
                    <a:pt x="72" y="259"/>
                    <a:pt x="72" y="259"/>
                    <a:pt x="72" y="259"/>
                  </a:cubicBezTo>
                  <a:cubicBezTo>
                    <a:pt x="72" y="261"/>
                    <a:pt x="72" y="261"/>
                    <a:pt x="72" y="261"/>
                  </a:cubicBezTo>
                  <a:cubicBezTo>
                    <a:pt x="73" y="263"/>
                    <a:pt x="73" y="263"/>
                    <a:pt x="73" y="263"/>
                  </a:cubicBezTo>
                  <a:cubicBezTo>
                    <a:pt x="72" y="265"/>
                    <a:pt x="72" y="265"/>
                    <a:pt x="72" y="265"/>
                  </a:cubicBezTo>
                  <a:cubicBezTo>
                    <a:pt x="71" y="268"/>
                    <a:pt x="71" y="268"/>
                    <a:pt x="71" y="268"/>
                  </a:cubicBezTo>
                  <a:cubicBezTo>
                    <a:pt x="71" y="269"/>
                    <a:pt x="71" y="269"/>
                    <a:pt x="71" y="269"/>
                  </a:cubicBezTo>
                  <a:cubicBezTo>
                    <a:pt x="71" y="271"/>
                    <a:pt x="71" y="271"/>
                    <a:pt x="71" y="271"/>
                  </a:cubicBezTo>
                  <a:cubicBezTo>
                    <a:pt x="71" y="275"/>
                    <a:pt x="71" y="275"/>
                    <a:pt x="71" y="275"/>
                  </a:cubicBezTo>
                  <a:cubicBezTo>
                    <a:pt x="68" y="274"/>
                    <a:pt x="68" y="274"/>
                    <a:pt x="68" y="274"/>
                  </a:cubicBezTo>
                  <a:cubicBezTo>
                    <a:pt x="65" y="274"/>
                    <a:pt x="65" y="274"/>
                    <a:pt x="65" y="274"/>
                  </a:cubicBezTo>
                  <a:cubicBezTo>
                    <a:pt x="62" y="275"/>
                    <a:pt x="62" y="275"/>
                    <a:pt x="62" y="275"/>
                  </a:cubicBezTo>
                  <a:cubicBezTo>
                    <a:pt x="58" y="277"/>
                    <a:pt x="58" y="277"/>
                    <a:pt x="58" y="277"/>
                  </a:cubicBezTo>
                  <a:cubicBezTo>
                    <a:pt x="52" y="278"/>
                    <a:pt x="52" y="278"/>
                    <a:pt x="52" y="278"/>
                  </a:cubicBezTo>
                  <a:cubicBezTo>
                    <a:pt x="47" y="278"/>
                    <a:pt x="47" y="278"/>
                    <a:pt x="47" y="278"/>
                  </a:cubicBezTo>
                  <a:cubicBezTo>
                    <a:pt x="44" y="277"/>
                    <a:pt x="44" y="277"/>
                    <a:pt x="44" y="277"/>
                  </a:cubicBezTo>
                  <a:cubicBezTo>
                    <a:pt x="42" y="276"/>
                    <a:pt x="42" y="276"/>
                    <a:pt x="42" y="276"/>
                  </a:cubicBezTo>
                  <a:cubicBezTo>
                    <a:pt x="40" y="274"/>
                    <a:pt x="40" y="274"/>
                    <a:pt x="40" y="274"/>
                  </a:cubicBezTo>
                  <a:cubicBezTo>
                    <a:pt x="37" y="271"/>
                    <a:pt x="37" y="271"/>
                    <a:pt x="37" y="271"/>
                  </a:cubicBezTo>
                  <a:cubicBezTo>
                    <a:pt x="34" y="271"/>
                    <a:pt x="34" y="271"/>
                    <a:pt x="34" y="271"/>
                  </a:cubicBezTo>
                  <a:cubicBezTo>
                    <a:pt x="32" y="270"/>
                    <a:pt x="32" y="270"/>
                    <a:pt x="32" y="270"/>
                  </a:cubicBezTo>
                  <a:cubicBezTo>
                    <a:pt x="30" y="269"/>
                    <a:pt x="30" y="269"/>
                    <a:pt x="30" y="269"/>
                  </a:cubicBezTo>
                  <a:cubicBezTo>
                    <a:pt x="28" y="268"/>
                    <a:pt x="28" y="268"/>
                    <a:pt x="28" y="268"/>
                  </a:cubicBezTo>
                  <a:cubicBezTo>
                    <a:pt x="26" y="268"/>
                    <a:pt x="26" y="268"/>
                    <a:pt x="26" y="268"/>
                  </a:cubicBezTo>
                  <a:cubicBezTo>
                    <a:pt x="22" y="266"/>
                    <a:pt x="22" y="266"/>
                    <a:pt x="22" y="266"/>
                  </a:cubicBezTo>
                  <a:cubicBezTo>
                    <a:pt x="18" y="264"/>
                    <a:pt x="18" y="264"/>
                    <a:pt x="18" y="264"/>
                  </a:cubicBezTo>
                  <a:cubicBezTo>
                    <a:pt x="16" y="265"/>
                    <a:pt x="16" y="265"/>
                    <a:pt x="16" y="265"/>
                  </a:cubicBezTo>
                  <a:cubicBezTo>
                    <a:pt x="16" y="266"/>
                    <a:pt x="16" y="266"/>
                    <a:pt x="16" y="266"/>
                  </a:cubicBezTo>
                  <a:cubicBezTo>
                    <a:pt x="13" y="265"/>
                    <a:pt x="13" y="265"/>
                    <a:pt x="13" y="265"/>
                  </a:cubicBezTo>
                  <a:cubicBezTo>
                    <a:pt x="11" y="265"/>
                    <a:pt x="11" y="265"/>
                    <a:pt x="11" y="265"/>
                  </a:cubicBezTo>
                  <a:cubicBezTo>
                    <a:pt x="9" y="265"/>
                    <a:pt x="9" y="265"/>
                    <a:pt x="9" y="265"/>
                  </a:cubicBezTo>
                  <a:cubicBezTo>
                    <a:pt x="5" y="266"/>
                    <a:pt x="5" y="266"/>
                    <a:pt x="5" y="266"/>
                  </a:cubicBezTo>
                  <a:cubicBezTo>
                    <a:pt x="2" y="267"/>
                    <a:pt x="2" y="267"/>
                    <a:pt x="2" y="267"/>
                  </a:cubicBezTo>
                  <a:cubicBezTo>
                    <a:pt x="0" y="266"/>
                    <a:pt x="0" y="266"/>
                    <a:pt x="0" y="266"/>
                  </a:cubicBezTo>
                  <a:cubicBezTo>
                    <a:pt x="2" y="264"/>
                    <a:pt x="2" y="264"/>
                    <a:pt x="2" y="264"/>
                  </a:cubicBezTo>
                  <a:cubicBezTo>
                    <a:pt x="4" y="261"/>
                    <a:pt x="4" y="261"/>
                    <a:pt x="4" y="261"/>
                  </a:cubicBezTo>
                  <a:cubicBezTo>
                    <a:pt x="6" y="260"/>
                    <a:pt x="6" y="260"/>
                    <a:pt x="6" y="260"/>
                  </a:cubicBezTo>
                  <a:cubicBezTo>
                    <a:pt x="7" y="257"/>
                    <a:pt x="7" y="257"/>
                    <a:pt x="7" y="257"/>
                  </a:cubicBezTo>
                  <a:cubicBezTo>
                    <a:pt x="10" y="255"/>
                    <a:pt x="10" y="255"/>
                    <a:pt x="10" y="255"/>
                  </a:cubicBezTo>
                  <a:cubicBezTo>
                    <a:pt x="10" y="252"/>
                    <a:pt x="10" y="252"/>
                    <a:pt x="10" y="252"/>
                  </a:cubicBezTo>
                  <a:cubicBezTo>
                    <a:pt x="12" y="248"/>
                    <a:pt x="12" y="248"/>
                    <a:pt x="12" y="248"/>
                  </a:cubicBezTo>
                  <a:cubicBezTo>
                    <a:pt x="12" y="248"/>
                    <a:pt x="14" y="248"/>
                    <a:pt x="14" y="247"/>
                  </a:cubicBezTo>
                  <a:cubicBezTo>
                    <a:pt x="15" y="245"/>
                    <a:pt x="15" y="244"/>
                    <a:pt x="16" y="243"/>
                  </a:cubicBezTo>
                  <a:cubicBezTo>
                    <a:pt x="16" y="242"/>
                    <a:pt x="17" y="242"/>
                    <a:pt x="17" y="241"/>
                  </a:cubicBezTo>
                  <a:cubicBezTo>
                    <a:pt x="17" y="240"/>
                    <a:pt x="16" y="237"/>
                    <a:pt x="16" y="237"/>
                  </a:cubicBezTo>
                  <a:cubicBezTo>
                    <a:pt x="16" y="237"/>
                    <a:pt x="18" y="233"/>
                    <a:pt x="18" y="233"/>
                  </a:cubicBezTo>
                  <a:cubicBezTo>
                    <a:pt x="19" y="232"/>
                    <a:pt x="19" y="228"/>
                    <a:pt x="19" y="228"/>
                  </a:cubicBezTo>
                  <a:cubicBezTo>
                    <a:pt x="19" y="228"/>
                    <a:pt x="20" y="226"/>
                    <a:pt x="21" y="225"/>
                  </a:cubicBezTo>
                  <a:cubicBezTo>
                    <a:pt x="21" y="224"/>
                    <a:pt x="21" y="221"/>
                    <a:pt x="21" y="221"/>
                  </a:cubicBezTo>
                  <a:cubicBezTo>
                    <a:pt x="19" y="218"/>
                    <a:pt x="19" y="218"/>
                    <a:pt x="19" y="218"/>
                  </a:cubicBezTo>
                  <a:cubicBezTo>
                    <a:pt x="21" y="214"/>
                    <a:pt x="21" y="214"/>
                    <a:pt x="21" y="214"/>
                  </a:cubicBezTo>
                  <a:cubicBezTo>
                    <a:pt x="24" y="209"/>
                    <a:pt x="24" y="209"/>
                    <a:pt x="24" y="209"/>
                  </a:cubicBezTo>
                  <a:cubicBezTo>
                    <a:pt x="27" y="204"/>
                    <a:pt x="27" y="204"/>
                    <a:pt x="27" y="204"/>
                  </a:cubicBezTo>
                  <a:cubicBezTo>
                    <a:pt x="28" y="199"/>
                    <a:pt x="28" y="199"/>
                    <a:pt x="28" y="199"/>
                  </a:cubicBezTo>
                  <a:cubicBezTo>
                    <a:pt x="28" y="199"/>
                    <a:pt x="28" y="197"/>
                    <a:pt x="28" y="196"/>
                  </a:cubicBezTo>
                  <a:cubicBezTo>
                    <a:pt x="28" y="196"/>
                    <a:pt x="28" y="194"/>
                    <a:pt x="28" y="194"/>
                  </a:cubicBezTo>
                  <a:cubicBezTo>
                    <a:pt x="28" y="194"/>
                    <a:pt x="28" y="192"/>
                    <a:pt x="28" y="192"/>
                  </a:cubicBezTo>
                  <a:cubicBezTo>
                    <a:pt x="28" y="192"/>
                    <a:pt x="27" y="190"/>
                    <a:pt x="27" y="190"/>
                  </a:cubicBezTo>
                  <a:cubicBezTo>
                    <a:pt x="26" y="187"/>
                    <a:pt x="26" y="187"/>
                    <a:pt x="26" y="187"/>
                  </a:cubicBezTo>
                  <a:cubicBezTo>
                    <a:pt x="25" y="188"/>
                    <a:pt x="25" y="188"/>
                    <a:pt x="25" y="188"/>
                  </a:cubicBezTo>
                  <a:cubicBezTo>
                    <a:pt x="25" y="188"/>
                    <a:pt x="24" y="189"/>
                    <a:pt x="23" y="188"/>
                  </a:cubicBezTo>
                  <a:cubicBezTo>
                    <a:pt x="23" y="188"/>
                    <a:pt x="19" y="188"/>
                    <a:pt x="19" y="188"/>
                  </a:cubicBezTo>
                  <a:cubicBezTo>
                    <a:pt x="17" y="189"/>
                    <a:pt x="17" y="189"/>
                    <a:pt x="17" y="189"/>
                  </a:cubicBezTo>
                  <a:cubicBezTo>
                    <a:pt x="14" y="188"/>
                    <a:pt x="14" y="188"/>
                    <a:pt x="14" y="188"/>
                  </a:cubicBezTo>
                  <a:cubicBezTo>
                    <a:pt x="14" y="188"/>
                    <a:pt x="13" y="189"/>
                    <a:pt x="12" y="189"/>
                  </a:cubicBezTo>
                  <a:cubicBezTo>
                    <a:pt x="12" y="189"/>
                    <a:pt x="11" y="189"/>
                    <a:pt x="11" y="188"/>
                  </a:cubicBezTo>
                  <a:cubicBezTo>
                    <a:pt x="11" y="188"/>
                    <a:pt x="14" y="185"/>
                    <a:pt x="14" y="185"/>
                  </a:cubicBezTo>
                  <a:cubicBezTo>
                    <a:pt x="14" y="185"/>
                    <a:pt x="14" y="185"/>
                    <a:pt x="14" y="184"/>
                  </a:cubicBezTo>
                  <a:cubicBezTo>
                    <a:pt x="14" y="183"/>
                    <a:pt x="14" y="181"/>
                    <a:pt x="14" y="181"/>
                  </a:cubicBezTo>
                  <a:cubicBezTo>
                    <a:pt x="14" y="180"/>
                    <a:pt x="13" y="177"/>
                    <a:pt x="13" y="177"/>
                  </a:cubicBezTo>
                  <a:cubicBezTo>
                    <a:pt x="13" y="177"/>
                    <a:pt x="12" y="176"/>
                    <a:pt x="13" y="175"/>
                  </a:cubicBezTo>
                  <a:cubicBezTo>
                    <a:pt x="13" y="174"/>
                    <a:pt x="14" y="174"/>
                    <a:pt x="14" y="174"/>
                  </a:cubicBezTo>
                  <a:cubicBezTo>
                    <a:pt x="12" y="173"/>
                    <a:pt x="12" y="173"/>
                    <a:pt x="12" y="173"/>
                  </a:cubicBezTo>
                  <a:cubicBezTo>
                    <a:pt x="12" y="173"/>
                    <a:pt x="12" y="173"/>
                    <a:pt x="11" y="173"/>
                  </a:cubicBezTo>
                  <a:cubicBezTo>
                    <a:pt x="10" y="174"/>
                    <a:pt x="9" y="174"/>
                    <a:pt x="9" y="174"/>
                  </a:cubicBezTo>
                  <a:cubicBezTo>
                    <a:pt x="8" y="172"/>
                    <a:pt x="8" y="172"/>
                    <a:pt x="8" y="172"/>
                  </a:cubicBezTo>
                  <a:cubicBezTo>
                    <a:pt x="8" y="172"/>
                    <a:pt x="7" y="173"/>
                    <a:pt x="7" y="172"/>
                  </a:cubicBezTo>
                  <a:cubicBezTo>
                    <a:pt x="6" y="172"/>
                    <a:pt x="4" y="171"/>
                    <a:pt x="4" y="171"/>
                  </a:cubicBezTo>
                  <a:cubicBezTo>
                    <a:pt x="4" y="171"/>
                    <a:pt x="4" y="169"/>
                    <a:pt x="4" y="169"/>
                  </a:cubicBezTo>
                  <a:cubicBezTo>
                    <a:pt x="5" y="168"/>
                    <a:pt x="5" y="168"/>
                    <a:pt x="5" y="167"/>
                  </a:cubicBezTo>
                  <a:cubicBezTo>
                    <a:pt x="5" y="166"/>
                    <a:pt x="5" y="165"/>
                    <a:pt x="6" y="164"/>
                  </a:cubicBezTo>
                  <a:cubicBezTo>
                    <a:pt x="6" y="163"/>
                    <a:pt x="7" y="162"/>
                    <a:pt x="8" y="162"/>
                  </a:cubicBezTo>
                  <a:cubicBezTo>
                    <a:pt x="9" y="161"/>
                    <a:pt x="9" y="161"/>
                    <a:pt x="9" y="161"/>
                  </a:cubicBezTo>
                  <a:cubicBezTo>
                    <a:pt x="11" y="157"/>
                    <a:pt x="11" y="157"/>
                    <a:pt x="11" y="157"/>
                  </a:cubicBezTo>
                  <a:cubicBezTo>
                    <a:pt x="11" y="157"/>
                    <a:pt x="11" y="155"/>
                    <a:pt x="11" y="155"/>
                  </a:cubicBezTo>
                  <a:cubicBezTo>
                    <a:pt x="11" y="155"/>
                    <a:pt x="12" y="153"/>
                    <a:pt x="12" y="152"/>
                  </a:cubicBezTo>
                  <a:cubicBezTo>
                    <a:pt x="12" y="152"/>
                    <a:pt x="13" y="150"/>
                    <a:pt x="13" y="150"/>
                  </a:cubicBezTo>
                  <a:cubicBezTo>
                    <a:pt x="13" y="150"/>
                    <a:pt x="14" y="149"/>
                    <a:pt x="14" y="148"/>
                  </a:cubicBezTo>
                  <a:cubicBezTo>
                    <a:pt x="15" y="148"/>
                    <a:pt x="17" y="146"/>
                    <a:pt x="17" y="146"/>
                  </a:cubicBezTo>
                  <a:cubicBezTo>
                    <a:pt x="17" y="146"/>
                    <a:pt x="18" y="143"/>
                    <a:pt x="18" y="143"/>
                  </a:cubicBezTo>
                  <a:cubicBezTo>
                    <a:pt x="18" y="143"/>
                    <a:pt x="19" y="140"/>
                    <a:pt x="19" y="140"/>
                  </a:cubicBezTo>
                  <a:cubicBezTo>
                    <a:pt x="18" y="138"/>
                    <a:pt x="18" y="138"/>
                    <a:pt x="18" y="138"/>
                  </a:cubicBezTo>
                  <a:cubicBezTo>
                    <a:pt x="17" y="137"/>
                    <a:pt x="17" y="137"/>
                    <a:pt x="17" y="137"/>
                  </a:cubicBezTo>
                  <a:cubicBezTo>
                    <a:pt x="19" y="136"/>
                    <a:pt x="19" y="136"/>
                    <a:pt x="19" y="136"/>
                  </a:cubicBezTo>
                  <a:cubicBezTo>
                    <a:pt x="19" y="136"/>
                    <a:pt x="19" y="136"/>
                    <a:pt x="20" y="136"/>
                  </a:cubicBezTo>
                  <a:cubicBezTo>
                    <a:pt x="21" y="136"/>
                    <a:pt x="22" y="135"/>
                    <a:pt x="22" y="135"/>
                  </a:cubicBezTo>
                  <a:cubicBezTo>
                    <a:pt x="23" y="135"/>
                    <a:pt x="25" y="134"/>
                    <a:pt x="25" y="134"/>
                  </a:cubicBezTo>
                  <a:cubicBezTo>
                    <a:pt x="25" y="133"/>
                    <a:pt x="26" y="133"/>
                    <a:pt x="26" y="133"/>
                  </a:cubicBezTo>
                  <a:cubicBezTo>
                    <a:pt x="27" y="133"/>
                    <a:pt x="29" y="132"/>
                    <a:pt x="29" y="132"/>
                  </a:cubicBezTo>
                  <a:cubicBezTo>
                    <a:pt x="29" y="132"/>
                    <a:pt x="30" y="131"/>
                    <a:pt x="30" y="131"/>
                  </a:cubicBezTo>
                  <a:cubicBezTo>
                    <a:pt x="30" y="130"/>
                    <a:pt x="30" y="130"/>
                    <a:pt x="30" y="130"/>
                  </a:cubicBezTo>
                  <a:cubicBezTo>
                    <a:pt x="32" y="129"/>
                    <a:pt x="32" y="129"/>
                    <a:pt x="32" y="129"/>
                  </a:cubicBezTo>
                  <a:cubicBezTo>
                    <a:pt x="32" y="129"/>
                    <a:pt x="33" y="128"/>
                    <a:pt x="33" y="127"/>
                  </a:cubicBezTo>
                  <a:cubicBezTo>
                    <a:pt x="33" y="127"/>
                    <a:pt x="34" y="125"/>
                    <a:pt x="34" y="125"/>
                  </a:cubicBezTo>
                  <a:cubicBezTo>
                    <a:pt x="34" y="124"/>
                    <a:pt x="37" y="121"/>
                    <a:pt x="37" y="121"/>
                  </a:cubicBezTo>
                  <a:cubicBezTo>
                    <a:pt x="41" y="114"/>
                    <a:pt x="41" y="114"/>
                    <a:pt x="41" y="114"/>
                  </a:cubicBezTo>
                  <a:cubicBezTo>
                    <a:pt x="50" y="100"/>
                    <a:pt x="50" y="100"/>
                    <a:pt x="50" y="100"/>
                  </a:cubicBezTo>
                  <a:cubicBezTo>
                    <a:pt x="49" y="98"/>
                    <a:pt x="49" y="98"/>
                    <a:pt x="49" y="98"/>
                  </a:cubicBezTo>
                  <a:cubicBezTo>
                    <a:pt x="52" y="93"/>
                    <a:pt x="52" y="93"/>
                    <a:pt x="52" y="93"/>
                  </a:cubicBezTo>
                  <a:cubicBezTo>
                    <a:pt x="57" y="85"/>
                    <a:pt x="57" y="85"/>
                    <a:pt x="57" y="85"/>
                  </a:cubicBezTo>
                  <a:cubicBezTo>
                    <a:pt x="62" y="74"/>
                    <a:pt x="62" y="74"/>
                    <a:pt x="62" y="74"/>
                  </a:cubicBezTo>
                  <a:cubicBezTo>
                    <a:pt x="65" y="68"/>
                    <a:pt x="65" y="68"/>
                    <a:pt x="65" y="68"/>
                  </a:cubicBezTo>
                  <a:cubicBezTo>
                    <a:pt x="69" y="61"/>
                    <a:pt x="69" y="61"/>
                    <a:pt x="69" y="61"/>
                  </a:cubicBezTo>
                  <a:cubicBezTo>
                    <a:pt x="71" y="55"/>
                    <a:pt x="71" y="55"/>
                    <a:pt x="71" y="55"/>
                  </a:cubicBezTo>
                  <a:cubicBezTo>
                    <a:pt x="71" y="48"/>
                    <a:pt x="71" y="48"/>
                    <a:pt x="71" y="48"/>
                  </a:cubicBezTo>
                  <a:cubicBezTo>
                    <a:pt x="71" y="43"/>
                    <a:pt x="71" y="43"/>
                    <a:pt x="71" y="43"/>
                  </a:cubicBezTo>
                  <a:cubicBezTo>
                    <a:pt x="71" y="39"/>
                    <a:pt x="71" y="39"/>
                    <a:pt x="71" y="39"/>
                  </a:cubicBezTo>
                  <a:cubicBezTo>
                    <a:pt x="71" y="37"/>
                    <a:pt x="71" y="37"/>
                    <a:pt x="71" y="37"/>
                  </a:cubicBezTo>
                  <a:cubicBezTo>
                    <a:pt x="71" y="35"/>
                    <a:pt x="71" y="35"/>
                    <a:pt x="71" y="35"/>
                  </a:cubicBezTo>
                  <a:cubicBezTo>
                    <a:pt x="70" y="32"/>
                    <a:pt x="70" y="32"/>
                    <a:pt x="70" y="32"/>
                  </a:cubicBezTo>
                  <a:cubicBezTo>
                    <a:pt x="72" y="30"/>
                    <a:pt x="72" y="30"/>
                    <a:pt x="72" y="30"/>
                  </a:cubicBezTo>
                  <a:cubicBezTo>
                    <a:pt x="72" y="28"/>
                    <a:pt x="72" y="28"/>
                    <a:pt x="72" y="28"/>
                  </a:cubicBezTo>
                  <a:cubicBezTo>
                    <a:pt x="72" y="26"/>
                    <a:pt x="72" y="26"/>
                    <a:pt x="72" y="26"/>
                  </a:cubicBezTo>
                  <a:cubicBezTo>
                    <a:pt x="72" y="24"/>
                    <a:pt x="72" y="24"/>
                    <a:pt x="72" y="24"/>
                  </a:cubicBezTo>
                  <a:cubicBezTo>
                    <a:pt x="73" y="22"/>
                    <a:pt x="73" y="22"/>
                    <a:pt x="73" y="22"/>
                  </a:cubicBezTo>
                  <a:cubicBezTo>
                    <a:pt x="72" y="19"/>
                    <a:pt x="72" y="19"/>
                    <a:pt x="72" y="19"/>
                  </a:cubicBezTo>
                  <a:cubicBezTo>
                    <a:pt x="73" y="17"/>
                    <a:pt x="73" y="17"/>
                    <a:pt x="73" y="17"/>
                  </a:cubicBezTo>
                  <a:cubicBezTo>
                    <a:pt x="72" y="16"/>
                    <a:pt x="72" y="16"/>
                    <a:pt x="72" y="16"/>
                  </a:cubicBezTo>
                  <a:cubicBezTo>
                    <a:pt x="73" y="13"/>
                    <a:pt x="73" y="13"/>
                    <a:pt x="73" y="13"/>
                  </a:cubicBezTo>
                  <a:cubicBezTo>
                    <a:pt x="73" y="11"/>
                    <a:pt x="73" y="11"/>
                    <a:pt x="73" y="11"/>
                  </a:cubicBezTo>
                  <a:lnTo>
                    <a:pt x="74" y="9"/>
                  </a:lnTo>
                  <a:close/>
                </a:path>
              </a:pathLst>
            </a:custGeom>
            <a:solidFill>
              <a:srgbClr val="E6EFF1"/>
            </a:solidFill>
            <a:ln w="12700" cap="rnd" cmpd="sng">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Lato Light"/>
              </a:endParaRPr>
            </a:p>
          </p:txBody>
        </p:sp>
        <p:sp>
          <p:nvSpPr>
            <p:cNvPr id="232" name="Freeform 78">
              <a:extLst>
                <a:ext uri="{FF2B5EF4-FFF2-40B4-BE49-F238E27FC236}">
                  <a16:creationId xmlns:a16="http://schemas.microsoft.com/office/drawing/2014/main" id="{9DD476C8-9D2C-F594-75D8-292F798A2EAF}"/>
                </a:ext>
              </a:extLst>
            </p:cNvPr>
            <p:cNvSpPr>
              <a:spLocks noEditPoints="1"/>
            </p:cNvSpPr>
            <p:nvPr/>
          </p:nvSpPr>
          <p:spPr bwMode="auto">
            <a:xfrm>
              <a:off x="3522308" y="3350129"/>
              <a:ext cx="898816" cy="1154019"/>
            </a:xfrm>
            <a:custGeom>
              <a:avLst/>
              <a:gdLst>
                <a:gd name="T0" fmla="*/ 264 w 312"/>
                <a:gd name="T1" fmla="*/ 340 h 413"/>
                <a:gd name="T2" fmla="*/ 240 w 312"/>
                <a:gd name="T3" fmla="*/ 363 h 413"/>
                <a:gd name="T4" fmla="*/ 252 w 312"/>
                <a:gd name="T5" fmla="*/ 385 h 413"/>
                <a:gd name="T6" fmla="*/ 237 w 312"/>
                <a:gd name="T7" fmla="*/ 387 h 413"/>
                <a:gd name="T8" fmla="*/ 211 w 312"/>
                <a:gd name="T9" fmla="*/ 393 h 413"/>
                <a:gd name="T10" fmla="*/ 177 w 312"/>
                <a:gd name="T11" fmla="*/ 404 h 413"/>
                <a:gd name="T12" fmla="*/ 157 w 312"/>
                <a:gd name="T13" fmla="*/ 404 h 413"/>
                <a:gd name="T14" fmla="*/ 142 w 312"/>
                <a:gd name="T15" fmla="*/ 400 h 413"/>
                <a:gd name="T16" fmla="*/ 121 w 312"/>
                <a:gd name="T17" fmla="*/ 394 h 413"/>
                <a:gd name="T18" fmla="*/ 101 w 312"/>
                <a:gd name="T19" fmla="*/ 391 h 413"/>
                <a:gd name="T20" fmla="*/ 94 w 312"/>
                <a:gd name="T21" fmla="*/ 388 h 413"/>
                <a:gd name="T22" fmla="*/ 89 w 312"/>
                <a:gd name="T23" fmla="*/ 383 h 413"/>
                <a:gd name="T24" fmla="*/ 90 w 312"/>
                <a:gd name="T25" fmla="*/ 393 h 413"/>
                <a:gd name="T26" fmla="*/ 73 w 312"/>
                <a:gd name="T27" fmla="*/ 396 h 413"/>
                <a:gd name="T28" fmla="*/ 57 w 312"/>
                <a:gd name="T29" fmla="*/ 396 h 413"/>
                <a:gd name="T30" fmla="*/ 53 w 312"/>
                <a:gd name="T31" fmla="*/ 368 h 413"/>
                <a:gd name="T32" fmla="*/ 50 w 312"/>
                <a:gd name="T33" fmla="*/ 308 h 413"/>
                <a:gd name="T34" fmla="*/ 13 w 312"/>
                <a:gd name="T35" fmla="*/ 292 h 413"/>
                <a:gd name="T36" fmla="*/ 6 w 312"/>
                <a:gd name="T37" fmla="*/ 262 h 413"/>
                <a:gd name="T38" fmla="*/ 12 w 312"/>
                <a:gd name="T39" fmla="*/ 245 h 413"/>
                <a:gd name="T40" fmla="*/ 11 w 312"/>
                <a:gd name="T41" fmla="*/ 228 h 413"/>
                <a:gd name="T42" fmla="*/ 5 w 312"/>
                <a:gd name="T43" fmla="*/ 217 h 413"/>
                <a:gd name="T44" fmla="*/ 1 w 312"/>
                <a:gd name="T45" fmla="*/ 207 h 413"/>
                <a:gd name="T46" fmla="*/ 7 w 312"/>
                <a:gd name="T47" fmla="*/ 198 h 413"/>
                <a:gd name="T48" fmla="*/ 9 w 312"/>
                <a:gd name="T49" fmla="*/ 175 h 413"/>
                <a:gd name="T50" fmla="*/ 12 w 312"/>
                <a:gd name="T51" fmla="*/ 161 h 413"/>
                <a:gd name="T52" fmla="*/ 32 w 312"/>
                <a:gd name="T53" fmla="*/ 160 h 413"/>
                <a:gd name="T54" fmla="*/ 41 w 312"/>
                <a:gd name="T55" fmla="*/ 146 h 413"/>
                <a:gd name="T56" fmla="*/ 33 w 312"/>
                <a:gd name="T57" fmla="*/ 128 h 413"/>
                <a:gd name="T58" fmla="*/ 47 w 312"/>
                <a:gd name="T59" fmla="*/ 94 h 413"/>
                <a:gd name="T60" fmla="*/ 49 w 312"/>
                <a:gd name="T61" fmla="*/ 65 h 413"/>
                <a:gd name="T62" fmla="*/ 78 w 312"/>
                <a:gd name="T63" fmla="*/ 80 h 413"/>
                <a:gd name="T64" fmla="*/ 93 w 312"/>
                <a:gd name="T65" fmla="*/ 74 h 413"/>
                <a:gd name="T66" fmla="*/ 114 w 312"/>
                <a:gd name="T67" fmla="*/ 57 h 413"/>
                <a:gd name="T68" fmla="*/ 102 w 312"/>
                <a:gd name="T69" fmla="*/ 41 h 413"/>
                <a:gd name="T70" fmla="*/ 104 w 312"/>
                <a:gd name="T71" fmla="*/ 25 h 413"/>
                <a:gd name="T72" fmla="*/ 95 w 312"/>
                <a:gd name="T73" fmla="*/ 12 h 413"/>
                <a:gd name="T74" fmla="*/ 119 w 312"/>
                <a:gd name="T75" fmla="*/ 5 h 413"/>
                <a:gd name="T76" fmla="*/ 136 w 312"/>
                <a:gd name="T77" fmla="*/ 25 h 413"/>
                <a:gd name="T78" fmla="*/ 163 w 312"/>
                <a:gd name="T79" fmla="*/ 35 h 413"/>
                <a:gd name="T80" fmla="*/ 176 w 312"/>
                <a:gd name="T81" fmla="*/ 25 h 413"/>
                <a:gd name="T82" fmla="*/ 162 w 312"/>
                <a:gd name="T83" fmla="*/ 46 h 413"/>
                <a:gd name="T84" fmla="*/ 182 w 312"/>
                <a:gd name="T85" fmla="*/ 53 h 413"/>
                <a:gd name="T86" fmla="*/ 212 w 312"/>
                <a:gd name="T87" fmla="*/ 30 h 413"/>
                <a:gd name="T88" fmla="*/ 221 w 312"/>
                <a:gd name="T89" fmla="*/ 28 h 413"/>
                <a:gd name="T90" fmla="*/ 236 w 312"/>
                <a:gd name="T91" fmla="*/ 18 h 413"/>
                <a:gd name="T92" fmla="*/ 242 w 312"/>
                <a:gd name="T93" fmla="*/ 21 h 413"/>
                <a:gd name="T94" fmla="*/ 253 w 312"/>
                <a:gd name="T95" fmla="*/ 29 h 413"/>
                <a:gd name="T96" fmla="*/ 262 w 312"/>
                <a:gd name="T97" fmla="*/ 42 h 413"/>
                <a:gd name="T98" fmla="*/ 273 w 312"/>
                <a:gd name="T99" fmla="*/ 58 h 413"/>
                <a:gd name="T100" fmla="*/ 279 w 312"/>
                <a:gd name="T101" fmla="*/ 113 h 413"/>
                <a:gd name="T102" fmla="*/ 294 w 312"/>
                <a:gd name="T103" fmla="*/ 162 h 413"/>
                <a:gd name="T104" fmla="*/ 309 w 312"/>
                <a:gd name="T105" fmla="*/ 197 h 413"/>
                <a:gd name="T106" fmla="*/ 297 w 312"/>
                <a:gd name="T107" fmla="*/ 205 h 413"/>
                <a:gd name="T108" fmla="*/ 262 w 312"/>
                <a:gd name="T109" fmla="*/ 224 h 413"/>
                <a:gd name="T110" fmla="*/ 219 w 312"/>
                <a:gd name="T111" fmla="*/ 253 h 413"/>
                <a:gd name="T112" fmla="*/ 226 w 312"/>
                <a:gd name="T113" fmla="*/ 277 h 413"/>
                <a:gd name="T114" fmla="*/ 257 w 312"/>
                <a:gd name="T115" fmla="*/ 309 h 413"/>
                <a:gd name="T116" fmla="*/ 55 w 312"/>
                <a:gd name="T117" fmla="*/ 394 h 413"/>
                <a:gd name="T118" fmla="*/ 312 w 312"/>
                <a:gd name="T119" fmla="*/ 204 h 4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12" h="413">
                  <a:moveTo>
                    <a:pt x="275" y="325"/>
                  </a:moveTo>
                  <a:cubicBezTo>
                    <a:pt x="275" y="325"/>
                    <a:pt x="275" y="325"/>
                    <a:pt x="275" y="325"/>
                  </a:cubicBezTo>
                  <a:cubicBezTo>
                    <a:pt x="275" y="328"/>
                    <a:pt x="275" y="328"/>
                    <a:pt x="275" y="328"/>
                  </a:cubicBezTo>
                  <a:cubicBezTo>
                    <a:pt x="276" y="333"/>
                    <a:pt x="276" y="333"/>
                    <a:pt x="276" y="333"/>
                  </a:cubicBezTo>
                  <a:cubicBezTo>
                    <a:pt x="276" y="336"/>
                    <a:pt x="276" y="336"/>
                    <a:pt x="276" y="336"/>
                  </a:cubicBezTo>
                  <a:cubicBezTo>
                    <a:pt x="276" y="336"/>
                    <a:pt x="275" y="338"/>
                    <a:pt x="274" y="338"/>
                  </a:cubicBezTo>
                  <a:cubicBezTo>
                    <a:pt x="274" y="338"/>
                    <a:pt x="273" y="339"/>
                    <a:pt x="272" y="339"/>
                  </a:cubicBezTo>
                  <a:cubicBezTo>
                    <a:pt x="271" y="338"/>
                    <a:pt x="270" y="337"/>
                    <a:pt x="270" y="337"/>
                  </a:cubicBezTo>
                  <a:cubicBezTo>
                    <a:pt x="264" y="337"/>
                    <a:pt x="264" y="337"/>
                    <a:pt x="264" y="337"/>
                  </a:cubicBezTo>
                  <a:cubicBezTo>
                    <a:pt x="264" y="337"/>
                    <a:pt x="264" y="339"/>
                    <a:pt x="264" y="340"/>
                  </a:cubicBezTo>
                  <a:cubicBezTo>
                    <a:pt x="263" y="342"/>
                    <a:pt x="263" y="342"/>
                    <a:pt x="263" y="342"/>
                  </a:cubicBezTo>
                  <a:cubicBezTo>
                    <a:pt x="263" y="347"/>
                    <a:pt x="263" y="347"/>
                    <a:pt x="263" y="347"/>
                  </a:cubicBezTo>
                  <a:cubicBezTo>
                    <a:pt x="258" y="352"/>
                    <a:pt x="258" y="352"/>
                    <a:pt x="258" y="352"/>
                  </a:cubicBezTo>
                  <a:cubicBezTo>
                    <a:pt x="257" y="352"/>
                    <a:pt x="257" y="352"/>
                    <a:pt x="257" y="352"/>
                  </a:cubicBezTo>
                  <a:cubicBezTo>
                    <a:pt x="257" y="352"/>
                    <a:pt x="256" y="353"/>
                    <a:pt x="256" y="353"/>
                  </a:cubicBezTo>
                  <a:cubicBezTo>
                    <a:pt x="256" y="353"/>
                    <a:pt x="251" y="355"/>
                    <a:pt x="251" y="355"/>
                  </a:cubicBezTo>
                  <a:cubicBezTo>
                    <a:pt x="249" y="357"/>
                    <a:pt x="249" y="357"/>
                    <a:pt x="249" y="357"/>
                  </a:cubicBezTo>
                  <a:cubicBezTo>
                    <a:pt x="248" y="357"/>
                    <a:pt x="248" y="357"/>
                    <a:pt x="248" y="357"/>
                  </a:cubicBezTo>
                  <a:cubicBezTo>
                    <a:pt x="248" y="357"/>
                    <a:pt x="245" y="359"/>
                    <a:pt x="243" y="361"/>
                  </a:cubicBezTo>
                  <a:cubicBezTo>
                    <a:pt x="240" y="363"/>
                    <a:pt x="240" y="363"/>
                    <a:pt x="240" y="363"/>
                  </a:cubicBezTo>
                  <a:cubicBezTo>
                    <a:pt x="240" y="363"/>
                    <a:pt x="240" y="363"/>
                    <a:pt x="240" y="363"/>
                  </a:cubicBezTo>
                  <a:cubicBezTo>
                    <a:pt x="240" y="363"/>
                    <a:pt x="240" y="363"/>
                    <a:pt x="240" y="363"/>
                  </a:cubicBezTo>
                  <a:cubicBezTo>
                    <a:pt x="242" y="368"/>
                    <a:pt x="242" y="368"/>
                    <a:pt x="242" y="368"/>
                  </a:cubicBezTo>
                  <a:cubicBezTo>
                    <a:pt x="245" y="371"/>
                    <a:pt x="245" y="371"/>
                    <a:pt x="245" y="371"/>
                  </a:cubicBezTo>
                  <a:cubicBezTo>
                    <a:pt x="248" y="376"/>
                    <a:pt x="248" y="376"/>
                    <a:pt x="248" y="376"/>
                  </a:cubicBezTo>
                  <a:cubicBezTo>
                    <a:pt x="248" y="379"/>
                    <a:pt x="248" y="379"/>
                    <a:pt x="248" y="379"/>
                  </a:cubicBezTo>
                  <a:cubicBezTo>
                    <a:pt x="248" y="379"/>
                    <a:pt x="246" y="381"/>
                    <a:pt x="246" y="381"/>
                  </a:cubicBezTo>
                  <a:cubicBezTo>
                    <a:pt x="246" y="382"/>
                    <a:pt x="245" y="384"/>
                    <a:pt x="246" y="384"/>
                  </a:cubicBezTo>
                  <a:cubicBezTo>
                    <a:pt x="247" y="384"/>
                    <a:pt x="251" y="385"/>
                    <a:pt x="251" y="385"/>
                  </a:cubicBezTo>
                  <a:cubicBezTo>
                    <a:pt x="251" y="385"/>
                    <a:pt x="252" y="385"/>
                    <a:pt x="252" y="385"/>
                  </a:cubicBezTo>
                  <a:cubicBezTo>
                    <a:pt x="253" y="385"/>
                    <a:pt x="253" y="386"/>
                    <a:pt x="253" y="386"/>
                  </a:cubicBezTo>
                  <a:cubicBezTo>
                    <a:pt x="253" y="390"/>
                    <a:pt x="253" y="390"/>
                    <a:pt x="253" y="390"/>
                  </a:cubicBezTo>
                  <a:cubicBezTo>
                    <a:pt x="253" y="390"/>
                    <a:pt x="253" y="391"/>
                    <a:pt x="253" y="395"/>
                  </a:cubicBezTo>
                  <a:cubicBezTo>
                    <a:pt x="253" y="399"/>
                    <a:pt x="252" y="398"/>
                    <a:pt x="252" y="398"/>
                  </a:cubicBezTo>
                  <a:cubicBezTo>
                    <a:pt x="252" y="398"/>
                    <a:pt x="247" y="396"/>
                    <a:pt x="247" y="396"/>
                  </a:cubicBezTo>
                  <a:cubicBezTo>
                    <a:pt x="247" y="396"/>
                    <a:pt x="245" y="394"/>
                    <a:pt x="245" y="394"/>
                  </a:cubicBezTo>
                  <a:cubicBezTo>
                    <a:pt x="244" y="393"/>
                    <a:pt x="244" y="392"/>
                    <a:pt x="244" y="391"/>
                  </a:cubicBezTo>
                  <a:cubicBezTo>
                    <a:pt x="244" y="390"/>
                    <a:pt x="245" y="388"/>
                    <a:pt x="245" y="388"/>
                  </a:cubicBezTo>
                  <a:cubicBezTo>
                    <a:pt x="245" y="388"/>
                    <a:pt x="241" y="387"/>
                    <a:pt x="241" y="387"/>
                  </a:cubicBezTo>
                  <a:cubicBezTo>
                    <a:pt x="241" y="387"/>
                    <a:pt x="238" y="387"/>
                    <a:pt x="237" y="387"/>
                  </a:cubicBezTo>
                  <a:cubicBezTo>
                    <a:pt x="236" y="387"/>
                    <a:pt x="235" y="389"/>
                    <a:pt x="235" y="389"/>
                  </a:cubicBezTo>
                  <a:cubicBezTo>
                    <a:pt x="234" y="390"/>
                    <a:pt x="233" y="389"/>
                    <a:pt x="232" y="389"/>
                  </a:cubicBezTo>
                  <a:cubicBezTo>
                    <a:pt x="232" y="389"/>
                    <a:pt x="231" y="387"/>
                    <a:pt x="231" y="387"/>
                  </a:cubicBezTo>
                  <a:cubicBezTo>
                    <a:pt x="230" y="387"/>
                    <a:pt x="226" y="386"/>
                    <a:pt x="225" y="386"/>
                  </a:cubicBezTo>
                  <a:cubicBezTo>
                    <a:pt x="225" y="386"/>
                    <a:pt x="223" y="386"/>
                    <a:pt x="221" y="386"/>
                  </a:cubicBezTo>
                  <a:cubicBezTo>
                    <a:pt x="220" y="387"/>
                    <a:pt x="221" y="387"/>
                    <a:pt x="222" y="390"/>
                  </a:cubicBezTo>
                  <a:cubicBezTo>
                    <a:pt x="222" y="393"/>
                    <a:pt x="221" y="391"/>
                    <a:pt x="220" y="391"/>
                  </a:cubicBezTo>
                  <a:cubicBezTo>
                    <a:pt x="219" y="391"/>
                    <a:pt x="219" y="391"/>
                    <a:pt x="217" y="391"/>
                  </a:cubicBezTo>
                  <a:cubicBezTo>
                    <a:pt x="215" y="391"/>
                    <a:pt x="214" y="391"/>
                    <a:pt x="212" y="391"/>
                  </a:cubicBezTo>
                  <a:cubicBezTo>
                    <a:pt x="211" y="392"/>
                    <a:pt x="211" y="392"/>
                    <a:pt x="211" y="393"/>
                  </a:cubicBezTo>
                  <a:cubicBezTo>
                    <a:pt x="210" y="394"/>
                    <a:pt x="208" y="394"/>
                    <a:pt x="207" y="394"/>
                  </a:cubicBezTo>
                  <a:cubicBezTo>
                    <a:pt x="206" y="394"/>
                    <a:pt x="202" y="394"/>
                    <a:pt x="202" y="394"/>
                  </a:cubicBezTo>
                  <a:cubicBezTo>
                    <a:pt x="201" y="394"/>
                    <a:pt x="200" y="396"/>
                    <a:pt x="199" y="397"/>
                  </a:cubicBezTo>
                  <a:cubicBezTo>
                    <a:pt x="199" y="397"/>
                    <a:pt x="195" y="397"/>
                    <a:pt x="195" y="397"/>
                  </a:cubicBezTo>
                  <a:cubicBezTo>
                    <a:pt x="194" y="398"/>
                    <a:pt x="194" y="398"/>
                    <a:pt x="193" y="399"/>
                  </a:cubicBezTo>
                  <a:cubicBezTo>
                    <a:pt x="191" y="400"/>
                    <a:pt x="191" y="400"/>
                    <a:pt x="190" y="402"/>
                  </a:cubicBezTo>
                  <a:cubicBezTo>
                    <a:pt x="188" y="404"/>
                    <a:pt x="189" y="403"/>
                    <a:pt x="185" y="402"/>
                  </a:cubicBezTo>
                  <a:cubicBezTo>
                    <a:pt x="182" y="402"/>
                    <a:pt x="184" y="403"/>
                    <a:pt x="183" y="403"/>
                  </a:cubicBezTo>
                  <a:cubicBezTo>
                    <a:pt x="182" y="403"/>
                    <a:pt x="181" y="404"/>
                    <a:pt x="180" y="405"/>
                  </a:cubicBezTo>
                  <a:cubicBezTo>
                    <a:pt x="180" y="406"/>
                    <a:pt x="178" y="404"/>
                    <a:pt x="177" y="404"/>
                  </a:cubicBezTo>
                  <a:cubicBezTo>
                    <a:pt x="176" y="405"/>
                    <a:pt x="176" y="403"/>
                    <a:pt x="176" y="400"/>
                  </a:cubicBezTo>
                  <a:cubicBezTo>
                    <a:pt x="175" y="398"/>
                    <a:pt x="173" y="398"/>
                    <a:pt x="173" y="398"/>
                  </a:cubicBezTo>
                  <a:cubicBezTo>
                    <a:pt x="173" y="398"/>
                    <a:pt x="171" y="398"/>
                    <a:pt x="171" y="397"/>
                  </a:cubicBezTo>
                  <a:cubicBezTo>
                    <a:pt x="171" y="396"/>
                    <a:pt x="167" y="396"/>
                    <a:pt x="166" y="396"/>
                  </a:cubicBezTo>
                  <a:cubicBezTo>
                    <a:pt x="166" y="396"/>
                    <a:pt x="163" y="396"/>
                    <a:pt x="163" y="396"/>
                  </a:cubicBezTo>
                  <a:cubicBezTo>
                    <a:pt x="163" y="396"/>
                    <a:pt x="160" y="396"/>
                    <a:pt x="160" y="397"/>
                  </a:cubicBezTo>
                  <a:cubicBezTo>
                    <a:pt x="160" y="397"/>
                    <a:pt x="159" y="397"/>
                    <a:pt x="157" y="398"/>
                  </a:cubicBezTo>
                  <a:cubicBezTo>
                    <a:pt x="154" y="399"/>
                    <a:pt x="156" y="398"/>
                    <a:pt x="156" y="400"/>
                  </a:cubicBezTo>
                  <a:cubicBezTo>
                    <a:pt x="157" y="401"/>
                    <a:pt x="157" y="402"/>
                    <a:pt x="157" y="402"/>
                  </a:cubicBezTo>
                  <a:cubicBezTo>
                    <a:pt x="158" y="403"/>
                    <a:pt x="157" y="402"/>
                    <a:pt x="157" y="404"/>
                  </a:cubicBezTo>
                  <a:cubicBezTo>
                    <a:pt x="156" y="406"/>
                    <a:pt x="156" y="405"/>
                    <a:pt x="156" y="407"/>
                  </a:cubicBezTo>
                  <a:cubicBezTo>
                    <a:pt x="155" y="408"/>
                    <a:pt x="155" y="407"/>
                    <a:pt x="154" y="410"/>
                  </a:cubicBezTo>
                  <a:cubicBezTo>
                    <a:pt x="153" y="412"/>
                    <a:pt x="154" y="410"/>
                    <a:pt x="153" y="412"/>
                  </a:cubicBezTo>
                  <a:cubicBezTo>
                    <a:pt x="152" y="413"/>
                    <a:pt x="150" y="412"/>
                    <a:pt x="148" y="411"/>
                  </a:cubicBezTo>
                  <a:cubicBezTo>
                    <a:pt x="147" y="411"/>
                    <a:pt x="148" y="410"/>
                    <a:pt x="148" y="408"/>
                  </a:cubicBezTo>
                  <a:cubicBezTo>
                    <a:pt x="149" y="406"/>
                    <a:pt x="148" y="407"/>
                    <a:pt x="148" y="406"/>
                  </a:cubicBezTo>
                  <a:cubicBezTo>
                    <a:pt x="148" y="405"/>
                    <a:pt x="147" y="406"/>
                    <a:pt x="145" y="407"/>
                  </a:cubicBezTo>
                  <a:cubicBezTo>
                    <a:pt x="144" y="407"/>
                    <a:pt x="144" y="405"/>
                    <a:pt x="145" y="403"/>
                  </a:cubicBezTo>
                  <a:cubicBezTo>
                    <a:pt x="145" y="401"/>
                    <a:pt x="144" y="402"/>
                    <a:pt x="144" y="401"/>
                  </a:cubicBezTo>
                  <a:cubicBezTo>
                    <a:pt x="144" y="401"/>
                    <a:pt x="143" y="400"/>
                    <a:pt x="142" y="400"/>
                  </a:cubicBezTo>
                  <a:cubicBezTo>
                    <a:pt x="141" y="400"/>
                    <a:pt x="140" y="399"/>
                    <a:pt x="140" y="399"/>
                  </a:cubicBezTo>
                  <a:cubicBezTo>
                    <a:pt x="139" y="398"/>
                    <a:pt x="137" y="396"/>
                    <a:pt x="136" y="395"/>
                  </a:cubicBezTo>
                  <a:cubicBezTo>
                    <a:pt x="134" y="394"/>
                    <a:pt x="132" y="395"/>
                    <a:pt x="132" y="395"/>
                  </a:cubicBezTo>
                  <a:cubicBezTo>
                    <a:pt x="132" y="395"/>
                    <a:pt x="130" y="397"/>
                    <a:pt x="128" y="399"/>
                  </a:cubicBezTo>
                  <a:cubicBezTo>
                    <a:pt x="128" y="399"/>
                    <a:pt x="128" y="400"/>
                    <a:pt x="128" y="400"/>
                  </a:cubicBezTo>
                  <a:cubicBezTo>
                    <a:pt x="127" y="400"/>
                    <a:pt x="127" y="400"/>
                    <a:pt x="127" y="399"/>
                  </a:cubicBezTo>
                  <a:cubicBezTo>
                    <a:pt x="127" y="399"/>
                    <a:pt x="126" y="398"/>
                    <a:pt x="126" y="398"/>
                  </a:cubicBezTo>
                  <a:cubicBezTo>
                    <a:pt x="126" y="398"/>
                    <a:pt x="126" y="396"/>
                    <a:pt x="125" y="396"/>
                  </a:cubicBezTo>
                  <a:cubicBezTo>
                    <a:pt x="125" y="396"/>
                    <a:pt x="124" y="396"/>
                    <a:pt x="123" y="395"/>
                  </a:cubicBezTo>
                  <a:cubicBezTo>
                    <a:pt x="122" y="395"/>
                    <a:pt x="121" y="394"/>
                    <a:pt x="121" y="394"/>
                  </a:cubicBezTo>
                  <a:cubicBezTo>
                    <a:pt x="120" y="394"/>
                    <a:pt x="118" y="392"/>
                    <a:pt x="118" y="392"/>
                  </a:cubicBezTo>
                  <a:cubicBezTo>
                    <a:pt x="118" y="392"/>
                    <a:pt x="118" y="392"/>
                    <a:pt x="117" y="392"/>
                  </a:cubicBezTo>
                  <a:cubicBezTo>
                    <a:pt x="117" y="392"/>
                    <a:pt x="116" y="391"/>
                    <a:pt x="116" y="391"/>
                  </a:cubicBezTo>
                  <a:cubicBezTo>
                    <a:pt x="115" y="391"/>
                    <a:pt x="115" y="391"/>
                    <a:pt x="115" y="391"/>
                  </a:cubicBezTo>
                  <a:cubicBezTo>
                    <a:pt x="115" y="391"/>
                    <a:pt x="115" y="391"/>
                    <a:pt x="115" y="391"/>
                  </a:cubicBezTo>
                  <a:cubicBezTo>
                    <a:pt x="114" y="391"/>
                    <a:pt x="114" y="391"/>
                    <a:pt x="113" y="390"/>
                  </a:cubicBezTo>
                  <a:cubicBezTo>
                    <a:pt x="111" y="390"/>
                    <a:pt x="112" y="390"/>
                    <a:pt x="110" y="390"/>
                  </a:cubicBezTo>
                  <a:cubicBezTo>
                    <a:pt x="109" y="390"/>
                    <a:pt x="108" y="390"/>
                    <a:pt x="108" y="390"/>
                  </a:cubicBezTo>
                  <a:cubicBezTo>
                    <a:pt x="108" y="390"/>
                    <a:pt x="107" y="389"/>
                    <a:pt x="105" y="389"/>
                  </a:cubicBezTo>
                  <a:cubicBezTo>
                    <a:pt x="104" y="390"/>
                    <a:pt x="102" y="391"/>
                    <a:pt x="101" y="391"/>
                  </a:cubicBezTo>
                  <a:cubicBezTo>
                    <a:pt x="101" y="391"/>
                    <a:pt x="100" y="390"/>
                    <a:pt x="100" y="390"/>
                  </a:cubicBezTo>
                  <a:cubicBezTo>
                    <a:pt x="100" y="390"/>
                    <a:pt x="100" y="389"/>
                    <a:pt x="100" y="389"/>
                  </a:cubicBezTo>
                  <a:cubicBezTo>
                    <a:pt x="100" y="389"/>
                    <a:pt x="99" y="388"/>
                    <a:pt x="98" y="387"/>
                  </a:cubicBezTo>
                  <a:cubicBezTo>
                    <a:pt x="98" y="387"/>
                    <a:pt x="97" y="387"/>
                    <a:pt x="97" y="387"/>
                  </a:cubicBezTo>
                  <a:cubicBezTo>
                    <a:pt x="97" y="387"/>
                    <a:pt x="97" y="387"/>
                    <a:pt x="97" y="388"/>
                  </a:cubicBezTo>
                  <a:cubicBezTo>
                    <a:pt x="97" y="389"/>
                    <a:pt x="99" y="389"/>
                    <a:pt x="97" y="389"/>
                  </a:cubicBezTo>
                  <a:cubicBezTo>
                    <a:pt x="96" y="388"/>
                    <a:pt x="95" y="388"/>
                    <a:pt x="95" y="388"/>
                  </a:cubicBezTo>
                  <a:cubicBezTo>
                    <a:pt x="92" y="389"/>
                    <a:pt x="92" y="389"/>
                    <a:pt x="92" y="389"/>
                  </a:cubicBezTo>
                  <a:cubicBezTo>
                    <a:pt x="93" y="388"/>
                    <a:pt x="93" y="388"/>
                    <a:pt x="93" y="388"/>
                  </a:cubicBezTo>
                  <a:cubicBezTo>
                    <a:pt x="93" y="388"/>
                    <a:pt x="94" y="388"/>
                    <a:pt x="94" y="388"/>
                  </a:cubicBezTo>
                  <a:cubicBezTo>
                    <a:pt x="94" y="387"/>
                    <a:pt x="94" y="387"/>
                    <a:pt x="94" y="387"/>
                  </a:cubicBezTo>
                  <a:cubicBezTo>
                    <a:pt x="94" y="387"/>
                    <a:pt x="94" y="386"/>
                    <a:pt x="94" y="386"/>
                  </a:cubicBezTo>
                  <a:cubicBezTo>
                    <a:pt x="95" y="386"/>
                    <a:pt x="96" y="385"/>
                    <a:pt x="95" y="385"/>
                  </a:cubicBezTo>
                  <a:cubicBezTo>
                    <a:pt x="94" y="385"/>
                    <a:pt x="93" y="385"/>
                    <a:pt x="93" y="385"/>
                  </a:cubicBezTo>
                  <a:cubicBezTo>
                    <a:pt x="93" y="384"/>
                    <a:pt x="93" y="384"/>
                    <a:pt x="93" y="384"/>
                  </a:cubicBezTo>
                  <a:cubicBezTo>
                    <a:pt x="93" y="384"/>
                    <a:pt x="92" y="383"/>
                    <a:pt x="92" y="383"/>
                  </a:cubicBezTo>
                  <a:cubicBezTo>
                    <a:pt x="92" y="384"/>
                    <a:pt x="92" y="385"/>
                    <a:pt x="92" y="385"/>
                  </a:cubicBezTo>
                  <a:cubicBezTo>
                    <a:pt x="91" y="385"/>
                    <a:pt x="91" y="385"/>
                    <a:pt x="91" y="384"/>
                  </a:cubicBezTo>
                  <a:cubicBezTo>
                    <a:pt x="91" y="383"/>
                    <a:pt x="91" y="383"/>
                    <a:pt x="91" y="383"/>
                  </a:cubicBezTo>
                  <a:cubicBezTo>
                    <a:pt x="90" y="383"/>
                    <a:pt x="89" y="383"/>
                    <a:pt x="89" y="383"/>
                  </a:cubicBezTo>
                  <a:cubicBezTo>
                    <a:pt x="89" y="383"/>
                    <a:pt x="90" y="384"/>
                    <a:pt x="88" y="384"/>
                  </a:cubicBezTo>
                  <a:cubicBezTo>
                    <a:pt x="87" y="384"/>
                    <a:pt x="86" y="385"/>
                    <a:pt x="85" y="385"/>
                  </a:cubicBezTo>
                  <a:cubicBezTo>
                    <a:pt x="84" y="386"/>
                    <a:pt x="84" y="387"/>
                    <a:pt x="84" y="387"/>
                  </a:cubicBezTo>
                  <a:cubicBezTo>
                    <a:pt x="84" y="388"/>
                    <a:pt x="82" y="388"/>
                    <a:pt x="82" y="389"/>
                  </a:cubicBezTo>
                  <a:cubicBezTo>
                    <a:pt x="83" y="389"/>
                    <a:pt x="82" y="389"/>
                    <a:pt x="84" y="390"/>
                  </a:cubicBezTo>
                  <a:cubicBezTo>
                    <a:pt x="85" y="390"/>
                    <a:pt x="85" y="390"/>
                    <a:pt x="86" y="390"/>
                  </a:cubicBezTo>
                  <a:cubicBezTo>
                    <a:pt x="87" y="391"/>
                    <a:pt x="88" y="390"/>
                    <a:pt x="88" y="390"/>
                  </a:cubicBezTo>
                  <a:cubicBezTo>
                    <a:pt x="88" y="390"/>
                    <a:pt x="88" y="390"/>
                    <a:pt x="89" y="391"/>
                  </a:cubicBezTo>
                  <a:cubicBezTo>
                    <a:pt x="89" y="391"/>
                    <a:pt x="90" y="390"/>
                    <a:pt x="90" y="391"/>
                  </a:cubicBezTo>
                  <a:cubicBezTo>
                    <a:pt x="90" y="392"/>
                    <a:pt x="91" y="393"/>
                    <a:pt x="90" y="393"/>
                  </a:cubicBezTo>
                  <a:cubicBezTo>
                    <a:pt x="89" y="393"/>
                    <a:pt x="88" y="394"/>
                    <a:pt x="88" y="393"/>
                  </a:cubicBezTo>
                  <a:cubicBezTo>
                    <a:pt x="88" y="393"/>
                    <a:pt x="88" y="392"/>
                    <a:pt x="87" y="392"/>
                  </a:cubicBezTo>
                  <a:cubicBezTo>
                    <a:pt x="87" y="392"/>
                    <a:pt x="86" y="392"/>
                    <a:pt x="86" y="392"/>
                  </a:cubicBezTo>
                  <a:cubicBezTo>
                    <a:pt x="85" y="394"/>
                    <a:pt x="85" y="394"/>
                    <a:pt x="85" y="394"/>
                  </a:cubicBezTo>
                  <a:cubicBezTo>
                    <a:pt x="85" y="394"/>
                    <a:pt x="85" y="395"/>
                    <a:pt x="84" y="395"/>
                  </a:cubicBezTo>
                  <a:cubicBezTo>
                    <a:pt x="83" y="395"/>
                    <a:pt x="84" y="395"/>
                    <a:pt x="82" y="395"/>
                  </a:cubicBezTo>
                  <a:cubicBezTo>
                    <a:pt x="80" y="395"/>
                    <a:pt x="80" y="394"/>
                    <a:pt x="79" y="394"/>
                  </a:cubicBezTo>
                  <a:cubicBezTo>
                    <a:pt x="79" y="394"/>
                    <a:pt x="79" y="394"/>
                    <a:pt x="78" y="394"/>
                  </a:cubicBezTo>
                  <a:cubicBezTo>
                    <a:pt x="78" y="394"/>
                    <a:pt x="76" y="392"/>
                    <a:pt x="75" y="394"/>
                  </a:cubicBezTo>
                  <a:cubicBezTo>
                    <a:pt x="74" y="395"/>
                    <a:pt x="73" y="396"/>
                    <a:pt x="73" y="396"/>
                  </a:cubicBezTo>
                  <a:cubicBezTo>
                    <a:pt x="70" y="396"/>
                    <a:pt x="70" y="396"/>
                    <a:pt x="70" y="396"/>
                  </a:cubicBezTo>
                  <a:cubicBezTo>
                    <a:pt x="70" y="396"/>
                    <a:pt x="69" y="396"/>
                    <a:pt x="68" y="396"/>
                  </a:cubicBezTo>
                  <a:cubicBezTo>
                    <a:pt x="67" y="396"/>
                    <a:pt x="66" y="396"/>
                    <a:pt x="66" y="396"/>
                  </a:cubicBezTo>
                  <a:cubicBezTo>
                    <a:pt x="65" y="397"/>
                    <a:pt x="64" y="394"/>
                    <a:pt x="64" y="394"/>
                  </a:cubicBezTo>
                  <a:cubicBezTo>
                    <a:pt x="64" y="394"/>
                    <a:pt x="65" y="392"/>
                    <a:pt x="62" y="394"/>
                  </a:cubicBezTo>
                  <a:cubicBezTo>
                    <a:pt x="59" y="396"/>
                    <a:pt x="58" y="396"/>
                    <a:pt x="58" y="396"/>
                  </a:cubicBezTo>
                  <a:cubicBezTo>
                    <a:pt x="58" y="396"/>
                    <a:pt x="57" y="396"/>
                    <a:pt x="57" y="397"/>
                  </a:cubicBezTo>
                  <a:cubicBezTo>
                    <a:pt x="57" y="396"/>
                    <a:pt x="57" y="396"/>
                    <a:pt x="57" y="396"/>
                  </a:cubicBezTo>
                  <a:cubicBezTo>
                    <a:pt x="57" y="396"/>
                    <a:pt x="57" y="396"/>
                    <a:pt x="57" y="396"/>
                  </a:cubicBezTo>
                  <a:cubicBezTo>
                    <a:pt x="57" y="396"/>
                    <a:pt x="57" y="396"/>
                    <a:pt x="57" y="396"/>
                  </a:cubicBezTo>
                  <a:cubicBezTo>
                    <a:pt x="57" y="396"/>
                    <a:pt x="57" y="396"/>
                    <a:pt x="57" y="396"/>
                  </a:cubicBezTo>
                  <a:cubicBezTo>
                    <a:pt x="57" y="396"/>
                    <a:pt x="57" y="396"/>
                    <a:pt x="57" y="396"/>
                  </a:cubicBezTo>
                  <a:cubicBezTo>
                    <a:pt x="57" y="396"/>
                    <a:pt x="57" y="396"/>
                    <a:pt x="57" y="396"/>
                  </a:cubicBezTo>
                  <a:cubicBezTo>
                    <a:pt x="56" y="396"/>
                    <a:pt x="56" y="396"/>
                    <a:pt x="56" y="395"/>
                  </a:cubicBezTo>
                  <a:cubicBezTo>
                    <a:pt x="56" y="395"/>
                    <a:pt x="56" y="395"/>
                    <a:pt x="56" y="395"/>
                  </a:cubicBezTo>
                  <a:cubicBezTo>
                    <a:pt x="56" y="395"/>
                    <a:pt x="55" y="395"/>
                    <a:pt x="55" y="394"/>
                  </a:cubicBezTo>
                  <a:cubicBezTo>
                    <a:pt x="53" y="392"/>
                    <a:pt x="50" y="388"/>
                    <a:pt x="50" y="388"/>
                  </a:cubicBezTo>
                  <a:cubicBezTo>
                    <a:pt x="52" y="384"/>
                    <a:pt x="52" y="384"/>
                    <a:pt x="52" y="384"/>
                  </a:cubicBezTo>
                  <a:cubicBezTo>
                    <a:pt x="52" y="384"/>
                    <a:pt x="53" y="377"/>
                    <a:pt x="53" y="375"/>
                  </a:cubicBezTo>
                  <a:cubicBezTo>
                    <a:pt x="53" y="374"/>
                    <a:pt x="53" y="368"/>
                    <a:pt x="53" y="368"/>
                  </a:cubicBezTo>
                  <a:cubicBezTo>
                    <a:pt x="53" y="368"/>
                    <a:pt x="49" y="367"/>
                    <a:pt x="52" y="364"/>
                  </a:cubicBezTo>
                  <a:cubicBezTo>
                    <a:pt x="55" y="360"/>
                    <a:pt x="58" y="355"/>
                    <a:pt x="58" y="355"/>
                  </a:cubicBezTo>
                  <a:cubicBezTo>
                    <a:pt x="58" y="345"/>
                    <a:pt x="58" y="345"/>
                    <a:pt x="58" y="345"/>
                  </a:cubicBezTo>
                  <a:cubicBezTo>
                    <a:pt x="58" y="345"/>
                    <a:pt x="55" y="342"/>
                    <a:pt x="59" y="340"/>
                  </a:cubicBezTo>
                  <a:cubicBezTo>
                    <a:pt x="63" y="337"/>
                    <a:pt x="70" y="328"/>
                    <a:pt x="70" y="328"/>
                  </a:cubicBezTo>
                  <a:cubicBezTo>
                    <a:pt x="77" y="320"/>
                    <a:pt x="77" y="320"/>
                    <a:pt x="77" y="320"/>
                  </a:cubicBezTo>
                  <a:cubicBezTo>
                    <a:pt x="65" y="317"/>
                    <a:pt x="65" y="317"/>
                    <a:pt x="65" y="317"/>
                  </a:cubicBezTo>
                  <a:cubicBezTo>
                    <a:pt x="58" y="316"/>
                    <a:pt x="58" y="316"/>
                    <a:pt x="58" y="316"/>
                  </a:cubicBezTo>
                  <a:cubicBezTo>
                    <a:pt x="53" y="313"/>
                    <a:pt x="53" y="313"/>
                    <a:pt x="53" y="313"/>
                  </a:cubicBezTo>
                  <a:cubicBezTo>
                    <a:pt x="50" y="308"/>
                    <a:pt x="50" y="308"/>
                    <a:pt x="50" y="308"/>
                  </a:cubicBezTo>
                  <a:cubicBezTo>
                    <a:pt x="47" y="310"/>
                    <a:pt x="47" y="310"/>
                    <a:pt x="47" y="310"/>
                  </a:cubicBezTo>
                  <a:cubicBezTo>
                    <a:pt x="44" y="312"/>
                    <a:pt x="44" y="312"/>
                    <a:pt x="44" y="312"/>
                  </a:cubicBezTo>
                  <a:cubicBezTo>
                    <a:pt x="37" y="311"/>
                    <a:pt x="37" y="311"/>
                    <a:pt x="37" y="311"/>
                  </a:cubicBezTo>
                  <a:cubicBezTo>
                    <a:pt x="32" y="306"/>
                    <a:pt x="32" y="306"/>
                    <a:pt x="32" y="306"/>
                  </a:cubicBezTo>
                  <a:cubicBezTo>
                    <a:pt x="28" y="309"/>
                    <a:pt x="28" y="309"/>
                    <a:pt x="28" y="309"/>
                  </a:cubicBezTo>
                  <a:cubicBezTo>
                    <a:pt x="24" y="306"/>
                    <a:pt x="24" y="306"/>
                    <a:pt x="24" y="306"/>
                  </a:cubicBezTo>
                  <a:cubicBezTo>
                    <a:pt x="21" y="301"/>
                    <a:pt x="21" y="301"/>
                    <a:pt x="21" y="301"/>
                  </a:cubicBezTo>
                  <a:cubicBezTo>
                    <a:pt x="20" y="297"/>
                    <a:pt x="20" y="297"/>
                    <a:pt x="20" y="297"/>
                  </a:cubicBezTo>
                  <a:cubicBezTo>
                    <a:pt x="15" y="292"/>
                    <a:pt x="15" y="292"/>
                    <a:pt x="15" y="292"/>
                  </a:cubicBezTo>
                  <a:cubicBezTo>
                    <a:pt x="13" y="292"/>
                    <a:pt x="13" y="292"/>
                    <a:pt x="13" y="292"/>
                  </a:cubicBezTo>
                  <a:cubicBezTo>
                    <a:pt x="13" y="291"/>
                    <a:pt x="13" y="291"/>
                    <a:pt x="13" y="291"/>
                  </a:cubicBezTo>
                  <a:cubicBezTo>
                    <a:pt x="12" y="285"/>
                    <a:pt x="12" y="285"/>
                    <a:pt x="12" y="285"/>
                  </a:cubicBezTo>
                  <a:cubicBezTo>
                    <a:pt x="15" y="283"/>
                    <a:pt x="15" y="283"/>
                    <a:pt x="15" y="283"/>
                  </a:cubicBezTo>
                  <a:cubicBezTo>
                    <a:pt x="17" y="280"/>
                    <a:pt x="17" y="280"/>
                    <a:pt x="17" y="280"/>
                  </a:cubicBezTo>
                  <a:cubicBezTo>
                    <a:pt x="19" y="277"/>
                    <a:pt x="19" y="277"/>
                    <a:pt x="19" y="277"/>
                  </a:cubicBezTo>
                  <a:cubicBezTo>
                    <a:pt x="18" y="273"/>
                    <a:pt x="18" y="273"/>
                    <a:pt x="18" y="273"/>
                  </a:cubicBezTo>
                  <a:cubicBezTo>
                    <a:pt x="18" y="273"/>
                    <a:pt x="14" y="273"/>
                    <a:pt x="13" y="272"/>
                  </a:cubicBezTo>
                  <a:cubicBezTo>
                    <a:pt x="12" y="272"/>
                    <a:pt x="9" y="270"/>
                    <a:pt x="9" y="270"/>
                  </a:cubicBezTo>
                  <a:cubicBezTo>
                    <a:pt x="8" y="265"/>
                    <a:pt x="8" y="265"/>
                    <a:pt x="8" y="265"/>
                  </a:cubicBezTo>
                  <a:cubicBezTo>
                    <a:pt x="6" y="262"/>
                    <a:pt x="6" y="262"/>
                    <a:pt x="6" y="262"/>
                  </a:cubicBezTo>
                  <a:cubicBezTo>
                    <a:pt x="5" y="257"/>
                    <a:pt x="5" y="257"/>
                    <a:pt x="5" y="257"/>
                  </a:cubicBezTo>
                  <a:cubicBezTo>
                    <a:pt x="6" y="252"/>
                    <a:pt x="6" y="252"/>
                    <a:pt x="6" y="252"/>
                  </a:cubicBezTo>
                  <a:cubicBezTo>
                    <a:pt x="6" y="252"/>
                    <a:pt x="6" y="252"/>
                    <a:pt x="6" y="252"/>
                  </a:cubicBezTo>
                  <a:cubicBezTo>
                    <a:pt x="6" y="252"/>
                    <a:pt x="6" y="252"/>
                    <a:pt x="6" y="252"/>
                  </a:cubicBezTo>
                  <a:cubicBezTo>
                    <a:pt x="7" y="252"/>
                    <a:pt x="7" y="252"/>
                    <a:pt x="7" y="252"/>
                  </a:cubicBezTo>
                  <a:cubicBezTo>
                    <a:pt x="8" y="250"/>
                    <a:pt x="8" y="250"/>
                    <a:pt x="8" y="250"/>
                  </a:cubicBezTo>
                  <a:cubicBezTo>
                    <a:pt x="8" y="249"/>
                    <a:pt x="8" y="249"/>
                    <a:pt x="8" y="249"/>
                  </a:cubicBezTo>
                  <a:cubicBezTo>
                    <a:pt x="8" y="249"/>
                    <a:pt x="9" y="248"/>
                    <a:pt x="10" y="248"/>
                  </a:cubicBezTo>
                  <a:cubicBezTo>
                    <a:pt x="10" y="248"/>
                    <a:pt x="11" y="248"/>
                    <a:pt x="11" y="248"/>
                  </a:cubicBezTo>
                  <a:cubicBezTo>
                    <a:pt x="12" y="248"/>
                    <a:pt x="12" y="245"/>
                    <a:pt x="12" y="245"/>
                  </a:cubicBezTo>
                  <a:cubicBezTo>
                    <a:pt x="14" y="245"/>
                    <a:pt x="14" y="245"/>
                    <a:pt x="14" y="245"/>
                  </a:cubicBezTo>
                  <a:cubicBezTo>
                    <a:pt x="14" y="245"/>
                    <a:pt x="15" y="244"/>
                    <a:pt x="15" y="244"/>
                  </a:cubicBezTo>
                  <a:cubicBezTo>
                    <a:pt x="15" y="243"/>
                    <a:pt x="15" y="242"/>
                    <a:pt x="15" y="242"/>
                  </a:cubicBezTo>
                  <a:cubicBezTo>
                    <a:pt x="15" y="242"/>
                    <a:pt x="16" y="240"/>
                    <a:pt x="16" y="239"/>
                  </a:cubicBezTo>
                  <a:cubicBezTo>
                    <a:pt x="16" y="238"/>
                    <a:pt x="15" y="237"/>
                    <a:pt x="15" y="237"/>
                  </a:cubicBezTo>
                  <a:cubicBezTo>
                    <a:pt x="15" y="237"/>
                    <a:pt x="14" y="235"/>
                    <a:pt x="13" y="235"/>
                  </a:cubicBezTo>
                  <a:cubicBezTo>
                    <a:pt x="13" y="235"/>
                    <a:pt x="11" y="235"/>
                    <a:pt x="11" y="235"/>
                  </a:cubicBezTo>
                  <a:cubicBezTo>
                    <a:pt x="10" y="235"/>
                    <a:pt x="9" y="233"/>
                    <a:pt x="9" y="233"/>
                  </a:cubicBezTo>
                  <a:cubicBezTo>
                    <a:pt x="9" y="233"/>
                    <a:pt x="10" y="232"/>
                    <a:pt x="10" y="231"/>
                  </a:cubicBezTo>
                  <a:cubicBezTo>
                    <a:pt x="11" y="231"/>
                    <a:pt x="11" y="228"/>
                    <a:pt x="11" y="228"/>
                  </a:cubicBezTo>
                  <a:cubicBezTo>
                    <a:pt x="11" y="228"/>
                    <a:pt x="10" y="227"/>
                    <a:pt x="9" y="227"/>
                  </a:cubicBezTo>
                  <a:cubicBezTo>
                    <a:pt x="9" y="227"/>
                    <a:pt x="7" y="227"/>
                    <a:pt x="7" y="227"/>
                  </a:cubicBezTo>
                  <a:cubicBezTo>
                    <a:pt x="7" y="224"/>
                    <a:pt x="7" y="224"/>
                    <a:pt x="7" y="224"/>
                  </a:cubicBezTo>
                  <a:cubicBezTo>
                    <a:pt x="7" y="224"/>
                    <a:pt x="5" y="223"/>
                    <a:pt x="4" y="223"/>
                  </a:cubicBezTo>
                  <a:cubicBezTo>
                    <a:pt x="4" y="223"/>
                    <a:pt x="4" y="222"/>
                    <a:pt x="3" y="222"/>
                  </a:cubicBezTo>
                  <a:cubicBezTo>
                    <a:pt x="4" y="222"/>
                    <a:pt x="4" y="222"/>
                    <a:pt x="4" y="222"/>
                  </a:cubicBezTo>
                  <a:cubicBezTo>
                    <a:pt x="4" y="222"/>
                    <a:pt x="4" y="222"/>
                    <a:pt x="4" y="222"/>
                  </a:cubicBezTo>
                  <a:cubicBezTo>
                    <a:pt x="4" y="221"/>
                    <a:pt x="3" y="220"/>
                    <a:pt x="3" y="219"/>
                  </a:cubicBezTo>
                  <a:cubicBezTo>
                    <a:pt x="3" y="219"/>
                    <a:pt x="4" y="219"/>
                    <a:pt x="4" y="219"/>
                  </a:cubicBezTo>
                  <a:cubicBezTo>
                    <a:pt x="4" y="219"/>
                    <a:pt x="4" y="218"/>
                    <a:pt x="5" y="217"/>
                  </a:cubicBezTo>
                  <a:cubicBezTo>
                    <a:pt x="5" y="217"/>
                    <a:pt x="5" y="217"/>
                    <a:pt x="6" y="217"/>
                  </a:cubicBezTo>
                  <a:cubicBezTo>
                    <a:pt x="6" y="217"/>
                    <a:pt x="6" y="216"/>
                    <a:pt x="7" y="216"/>
                  </a:cubicBezTo>
                  <a:cubicBezTo>
                    <a:pt x="7" y="215"/>
                    <a:pt x="7" y="213"/>
                    <a:pt x="7" y="213"/>
                  </a:cubicBezTo>
                  <a:cubicBezTo>
                    <a:pt x="7" y="213"/>
                    <a:pt x="7" y="213"/>
                    <a:pt x="6" y="212"/>
                  </a:cubicBezTo>
                  <a:cubicBezTo>
                    <a:pt x="5" y="212"/>
                    <a:pt x="5" y="212"/>
                    <a:pt x="5" y="211"/>
                  </a:cubicBezTo>
                  <a:cubicBezTo>
                    <a:pt x="4" y="211"/>
                    <a:pt x="5" y="210"/>
                    <a:pt x="5" y="210"/>
                  </a:cubicBezTo>
                  <a:cubicBezTo>
                    <a:pt x="5" y="210"/>
                    <a:pt x="3" y="209"/>
                    <a:pt x="3" y="209"/>
                  </a:cubicBezTo>
                  <a:cubicBezTo>
                    <a:pt x="3" y="209"/>
                    <a:pt x="1" y="209"/>
                    <a:pt x="1" y="209"/>
                  </a:cubicBezTo>
                  <a:cubicBezTo>
                    <a:pt x="1" y="209"/>
                    <a:pt x="1" y="209"/>
                    <a:pt x="1" y="209"/>
                  </a:cubicBezTo>
                  <a:cubicBezTo>
                    <a:pt x="1" y="207"/>
                    <a:pt x="1" y="207"/>
                    <a:pt x="1" y="207"/>
                  </a:cubicBezTo>
                  <a:cubicBezTo>
                    <a:pt x="0" y="205"/>
                    <a:pt x="0" y="205"/>
                    <a:pt x="0" y="205"/>
                  </a:cubicBezTo>
                  <a:cubicBezTo>
                    <a:pt x="1" y="204"/>
                    <a:pt x="1" y="204"/>
                    <a:pt x="1" y="204"/>
                  </a:cubicBezTo>
                  <a:cubicBezTo>
                    <a:pt x="3" y="206"/>
                    <a:pt x="3" y="206"/>
                    <a:pt x="3" y="206"/>
                  </a:cubicBezTo>
                  <a:cubicBezTo>
                    <a:pt x="3" y="206"/>
                    <a:pt x="3" y="205"/>
                    <a:pt x="3" y="204"/>
                  </a:cubicBezTo>
                  <a:cubicBezTo>
                    <a:pt x="4" y="204"/>
                    <a:pt x="5" y="202"/>
                    <a:pt x="5" y="202"/>
                  </a:cubicBezTo>
                  <a:cubicBezTo>
                    <a:pt x="7" y="202"/>
                    <a:pt x="7" y="202"/>
                    <a:pt x="7" y="202"/>
                  </a:cubicBezTo>
                  <a:cubicBezTo>
                    <a:pt x="7" y="202"/>
                    <a:pt x="11" y="202"/>
                    <a:pt x="11" y="202"/>
                  </a:cubicBezTo>
                  <a:cubicBezTo>
                    <a:pt x="12" y="201"/>
                    <a:pt x="10" y="199"/>
                    <a:pt x="10" y="199"/>
                  </a:cubicBezTo>
                  <a:cubicBezTo>
                    <a:pt x="10" y="199"/>
                    <a:pt x="8" y="201"/>
                    <a:pt x="8" y="201"/>
                  </a:cubicBezTo>
                  <a:cubicBezTo>
                    <a:pt x="7" y="201"/>
                    <a:pt x="7" y="198"/>
                    <a:pt x="7" y="198"/>
                  </a:cubicBezTo>
                  <a:cubicBezTo>
                    <a:pt x="7" y="196"/>
                    <a:pt x="7" y="196"/>
                    <a:pt x="7" y="196"/>
                  </a:cubicBezTo>
                  <a:cubicBezTo>
                    <a:pt x="9" y="195"/>
                    <a:pt x="9" y="195"/>
                    <a:pt x="9" y="195"/>
                  </a:cubicBezTo>
                  <a:cubicBezTo>
                    <a:pt x="10" y="193"/>
                    <a:pt x="10" y="193"/>
                    <a:pt x="10" y="193"/>
                  </a:cubicBezTo>
                  <a:cubicBezTo>
                    <a:pt x="10" y="193"/>
                    <a:pt x="12" y="191"/>
                    <a:pt x="12" y="191"/>
                  </a:cubicBezTo>
                  <a:cubicBezTo>
                    <a:pt x="13" y="190"/>
                    <a:pt x="12" y="188"/>
                    <a:pt x="12" y="188"/>
                  </a:cubicBezTo>
                  <a:cubicBezTo>
                    <a:pt x="13" y="185"/>
                    <a:pt x="13" y="185"/>
                    <a:pt x="13" y="185"/>
                  </a:cubicBezTo>
                  <a:cubicBezTo>
                    <a:pt x="11" y="182"/>
                    <a:pt x="11" y="182"/>
                    <a:pt x="11" y="182"/>
                  </a:cubicBezTo>
                  <a:cubicBezTo>
                    <a:pt x="11" y="179"/>
                    <a:pt x="11" y="179"/>
                    <a:pt x="11" y="179"/>
                  </a:cubicBezTo>
                  <a:cubicBezTo>
                    <a:pt x="9" y="176"/>
                    <a:pt x="9" y="176"/>
                    <a:pt x="9" y="176"/>
                  </a:cubicBezTo>
                  <a:cubicBezTo>
                    <a:pt x="9" y="175"/>
                    <a:pt x="9" y="175"/>
                    <a:pt x="9" y="175"/>
                  </a:cubicBezTo>
                  <a:cubicBezTo>
                    <a:pt x="8" y="173"/>
                    <a:pt x="8" y="173"/>
                    <a:pt x="8" y="173"/>
                  </a:cubicBezTo>
                  <a:cubicBezTo>
                    <a:pt x="8" y="171"/>
                    <a:pt x="8" y="171"/>
                    <a:pt x="8" y="171"/>
                  </a:cubicBezTo>
                  <a:cubicBezTo>
                    <a:pt x="8" y="171"/>
                    <a:pt x="6" y="169"/>
                    <a:pt x="5" y="169"/>
                  </a:cubicBezTo>
                  <a:cubicBezTo>
                    <a:pt x="4" y="169"/>
                    <a:pt x="5" y="168"/>
                    <a:pt x="5" y="168"/>
                  </a:cubicBezTo>
                  <a:cubicBezTo>
                    <a:pt x="5" y="166"/>
                    <a:pt x="5" y="166"/>
                    <a:pt x="5" y="166"/>
                  </a:cubicBezTo>
                  <a:cubicBezTo>
                    <a:pt x="5" y="163"/>
                    <a:pt x="5" y="163"/>
                    <a:pt x="5" y="163"/>
                  </a:cubicBezTo>
                  <a:cubicBezTo>
                    <a:pt x="10" y="164"/>
                    <a:pt x="10" y="164"/>
                    <a:pt x="10" y="164"/>
                  </a:cubicBezTo>
                  <a:cubicBezTo>
                    <a:pt x="12" y="164"/>
                    <a:pt x="12" y="164"/>
                    <a:pt x="12" y="164"/>
                  </a:cubicBezTo>
                  <a:cubicBezTo>
                    <a:pt x="9" y="162"/>
                    <a:pt x="9" y="162"/>
                    <a:pt x="9" y="162"/>
                  </a:cubicBezTo>
                  <a:cubicBezTo>
                    <a:pt x="12" y="161"/>
                    <a:pt x="12" y="161"/>
                    <a:pt x="12" y="161"/>
                  </a:cubicBezTo>
                  <a:cubicBezTo>
                    <a:pt x="14" y="163"/>
                    <a:pt x="14" y="163"/>
                    <a:pt x="14" y="163"/>
                  </a:cubicBezTo>
                  <a:cubicBezTo>
                    <a:pt x="17" y="164"/>
                    <a:pt x="17" y="164"/>
                    <a:pt x="17" y="164"/>
                  </a:cubicBezTo>
                  <a:cubicBezTo>
                    <a:pt x="18" y="166"/>
                    <a:pt x="18" y="166"/>
                    <a:pt x="18" y="166"/>
                  </a:cubicBezTo>
                  <a:cubicBezTo>
                    <a:pt x="19" y="164"/>
                    <a:pt x="19" y="164"/>
                    <a:pt x="19" y="164"/>
                  </a:cubicBezTo>
                  <a:cubicBezTo>
                    <a:pt x="22" y="164"/>
                    <a:pt x="22" y="164"/>
                    <a:pt x="22" y="164"/>
                  </a:cubicBezTo>
                  <a:cubicBezTo>
                    <a:pt x="23" y="164"/>
                    <a:pt x="23" y="164"/>
                    <a:pt x="23" y="164"/>
                  </a:cubicBezTo>
                  <a:cubicBezTo>
                    <a:pt x="26" y="163"/>
                    <a:pt x="26" y="163"/>
                    <a:pt x="26" y="163"/>
                  </a:cubicBezTo>
                  <a:cubicBezTo>
                    <a:pt x="29" y="163"/>
                    <a:pt x="29" y="163"/>
                    <a:pt x="29" y="163"/>
                  </a:cubicBezTo>
                  <a:cubicBezTo>
                    <a:pt x="30" y="161"/>
                    <a:pt x="30" y="161"/>
                    <a:pt x="30" y="161"/>
                  </a:cubicBezTo>
                  <a:cubicBezTo>
                    <a:pt x="32" y="160"/>
                    <a:pt x="32" y="160"/>
                    <a:pt x="32" y="160"/>
                  </a:cubicBezTo>
                  <a:cubicBezTo>
                    <a:pt x="33" y="159"/>
                    <a:pt x="33" y="159"/>
                    <a:pt x="33" y="159"/>
                  </a:cubicBezTo>
                  <a:cubicBezTo>
                    <a:pt x="30" y="157"/>
                    <a:pt x="30" y="157"/>
                    <a:pt x="30" y="157"/>
                  </a:cubicBezTo>
                  <a:cubicBezTo>
                    <a:pt x="28" y="154"/>
                    <a:pt x="28" y="154"/>
                    <a:pt x="28" y="154"/>
                  </a:cubicBezTo>
                  <a:cubicBezTo>
                    <a:pt x="30" y="154"/>
                    <a:pt x="30" y="154"/>
                    <a:pt x="30" y="154"/>
                  </a:cubicBezTo>
                  <a:cubicBezTo>
                    <a:pt x="30" y="151"/>
                    <a:pt x="30" y="151"/>
                    <a:pt x="30" y="151"/>
                  </a:cubicBezTo>
                  <a:cubicBezTo>
                    <a:pt x="30" y="151"/>
                    <a:pt x="34" y="152"/>
                    <a:pt x="34" y="152"/>
                  </a:cubicBezTo>
                  <a:cubicBezTo>
                    <a:pt x="34" y="151"/>
                    <a:pt x="34" y="151"/>
                    <a:pt x="35" y="150"/>
                  </a:cubicBezTo>
                  <a:cubicBezTo>
                    <a:pt x="36" y="150"/>
                    <a:pt x="38" y="149"/>
                    <a:pt x="38" y="149"/>
                  </a:cubicBezTo>
                  <a:cubicBezTo>
                    <a:pt x="39" y="147"/>
                    <a:pt x="39" y="147"/>
                    <a:pt x="39" y="147"/>
                  </a:cubicBezTo>
                  <a:cubicBezTo>
                    <a:pt x="39" y="147"/>
                    <a:pt x="41" y="146"/>
                    <a:pt x="41" y="146"/>
                  </a:cubicBezTo>
                  <a:cubicBezTo>
                    <a:pt x="42" y="146"/>
                    <a:pt x="41" y="145"/>
                    <a:pt x="41" y="144"/>
                  </a:cubicBezTo>
                  <a:cubicBezTo>
                    <a:pt x="41" y="143"/>
                    <a:pt x="41" y="141"/>
                    <a:pt x="41" y="141"/>
                  </a:cubicBezTo>
                  <a:cubicBezTo>
                    <a:pt x="42" y="139"/>
                    <a:pt x="42" y="139"/>
                    <a:pt x="42" y="139"/>
                  </a:cubicBezTo>
                  <a:cubicBezTo>
                    <a:pt x="40" y="135"/>
                    <a:pt x="40" y="135"/>
                    <a:pt x="40" y="135"/>
                  </a:cubicBezTo>
                  <a:cubicBezTo>
                    <a:pt x="37" y="136"/>
                    <a:pt x="37" y="136"/>
                    <a:pt x="37" y="136"/>
                  </a:cubicBezTo>
                  <a:cubicBezTo>
                    <a:pt x="35" y="134"/>
                    <a:pt x="35" y="134"/>
                    <a:pt x="35" y="134"/>
                  </a:cubicBezTo>
                  <a:cubicBezTo>
                    <a:pt x="35" y="134"/>
                    <a:pt x="32" y="134"/>
                    <a:pt x="32" y="133"/>
                  </a:cubicBezTo>
                  <a:cubicBezTo>
                    <a:pt x="31" y="132"/>
                    <a:pt x="30" y="130"/>
                    <a:pt x="30" y="130"/>
                  </a:cubicBezTo>
                  <a:cubicBezTo>
                    <a:pt x="30" y="128"/>
                    <a:pt x="30" y="128"/>
                    <a:pt x="30" y="128"/>
                  </a:cubicBezTo>
                  <a:cubicBezTo>
                    <a:pt x="33" y="128"/>
                    <a:pt x="33" y="128"/>
                    <a:pt x="33" y="128"/>
                  </a:cubicBezTo>
                  <a:cubicBezTo>
                    <a:pt x="31" y="127"/>
                    <a:pt x="31" y="127"/>
                    <a:pt x="31" y="127"/>
                  </a:cubicBezTo>
                  <a:cubicBezTo>
                    <a:pt x="31" y="124"/>
                    <a:pt x="31" y="124"/>
                    <a:pt x="31" y="124"/>
                  </a:cubicBezTo>
                  <a:cubicBezTo>
                    <a:pt x="35" y="123"/>
                    <a:pt x="35" y="123"/>
                    <a:pt x="35" y="123"/>
                  </a:cubicBezTo>
                  <a:cubicBezTo>
                    <a:pt x="35" y="123"/>
                    <a:pt x="40" y="125"/>
                    <a:pt x="41" y="125"/>
                  </a:cubicBezTo>
                  <a:cubicBezTo>
                    <a:pt x="42" y="126"/>
                    <a:pt x="42" y="122"/>
                    <a:pt x="42" y="122"/>
                  </a:cubicBezTo>
                  <a:cubicBezTo>
                    <a:pt x="43" y="117"/>
                    <a:pt x="43" y="117"/>
                    <a:pt x="43" y="117"/>
                  </a:cubicBezTo>
                  <a:cubicBezTo>
                    <a:pt x="43" y="117"/>
                    <a:pt x="42" y="113"/>
                    <a:pt x="43" y="112"/>
                  </a:cubicBezTo>
                  <a:cubicBezTo>
                    <a:pt x="44" y="112"/>
                    <a:pt x="47" y="106"/>
                    <a:pt x="47" y="106"/>
                  </a:cubicBezTo>
                  <a:cubicBezTo>
                    <a:pt x="47" y="106"/>
                    <a:pt x="47" y="100"/>
                    <a:pt x="47" y="99"/>
                  </a:cubicBezTo>
                  <a:cubicBezTo>
                    <a:pt x="47" y="98"/>
                    <a:pt x="47" y="94"/>
                    <a:pt x="47" y="94"/>
                  </a:cubicBezTo>
                  <a:cubicBezTo>
                    <a:pt x="47" y="93"/>
                    <a:pt x="47" y="93"/>
                    <a:pt x="47" y="93"/>
                  </a:cubicBezTo>
                  <a:cubicBezTo>
                    <a:pt x="47" y="93"/>
                    <a:pt x="44" y="92"/>
                    <a:pt x="43" y="92"/>
                  </a:cubicBezTo>
                  <a:cubicBezTo>
                    <a:pt x="43" y="91"/>
                    <a:pt x="44" y="89"/>
                    <a:pt x="44" y="89"/>
                  </a:cubicBezTo>
                  <a:cubicBezTo>
                    <a:pt x="39" y="88"/>
                    <a:pt x="39" y="88"/>
                    <a:pt x="39" y="88"/>
                  </a:cubicBezTo>
                  <a:cubicBezTo>
                    <a:pt x="40" y="85"/>
                    <a:pt x="41" y="80"/>
                    <a:pt x="42" y="80"/>
                  </a:cubicBezTo>
                  <a:cubicBezTo>
                    <a:pt x="43" y="79"/>
                    <a:pt x="45" y="77"/>
                    <a:pt x="45" y="77"/>
                  </a:cubicBezTo>
                  <a:cubicBezTo>
                    <a:pt x="45" y="73"/>
                    <a:pt x="45" y="73"/>
                    <a:pt x="45" y="73"/>
                  </a:cubicBezTo>
                  <a:cubicBezTo>
                    <a:pt x="43" y="70"/>
                    <a:pt x="43" y="70"/>
                    <a:pt x="43" y="70"/>
                  </a:cubicBezTo>
                  <a:cubicBezTo>
                    <a:pt x="45" y="67"/>
                    <a:pt x="45" y="67"/>
                    <a:pt x="45" y="67"/>
                  </a:cubicBezTo>
                  <a:cubicBezTo>
                    <a:pt x="45" y="67"/>
                    <a:pt x="49" y="65"/>
                    <a:pt x="49" y="65"/>
                  </a:cubicBezTo>
                  <a:cubicBezTo>
                    <a:pt x="50" y="65"/>
                    <a:pt x="56" y="65"/>
                    <a:pt x="56" y="65"/>
                  </a:cubicBezTo>
                  <a:cubicBezTo>
                    <a:pt x="60" y="63"/>
                    <a:pt x="60" y="63"/>
                    <a:pt x="60" y="63"/>
                  </a:cubicBezTo>
                  <a:cubicBezTo>
                    <a:pt x="66" y="63"/>
                    <a:pt x="66" y="63"/>
                    <a:pt x="66" y="63"/>
                  </a:cubicBezTo>
                  <a:cubicBezTo>
                    <a:pt x="70" y="62"/>
                    <a:pt x="70" y="62"/>
                    <a:pt x="70" y="62"/>
                  </a:cubicBezTo>
                  <a:cubicBezTo>
                    <a:pt x="73" y="64"/>
                    <a:pt x="73" y="64"/>
                    <a:pt x="73" y="64"/>
                  </a:cubicBezTo>
                  <a:cubicBezTo>
                    <a:pt x="73" y="64"/>
                    <a:pt x="75" y="66"/>
                    <a:pt x="75" y="67"/>
                  </a:cubicBezTo>
                  <a:cubicBezTo>
                    <a:pt x="75" y="67"/>
                    <a:pt x="77" y="69"/>
                    <a:pt x="77" y="70"/>
                  </a:cubicBezTo>
                  <a:cubicBezTo>
                    <a:pt x="76" y="70"/>
                    <a:pt x="78" y="73"/>
                    <a:pt x="78" y="73"/>
                  </a:cubicBezTo>
                  <a:cubicBezTo>
                    <a:pt x="78" y="73"/>
                    <a:pt x="77" y="75"/>
                    <a:pt x="77" y="76"/>
                  </a:cubicBezTo>
                  <a:cubicBezTo>
                    <a:pt x="77" y="76"/>
                    <a:pt x="78" y="80"/>
                    <a:pt x="78" y="80"/>
                  </a:cubicBezTo>
                  <a:cubicBezTo>
                    <a:pt x="78" y="81"/>
                    <a:pt x="80" y="82"/>
                    <a:pt x="80" y="82"/>
                  </a:cubicBezTo>
                  <a:cubicBezTo>
                    <a:pt x="82" y="81"/>
                    <a:pt x="82" y="81"/>
                    <a:pt x="82" y="81"/>
                  </a:cubicBezTo>
                  <a:cubicBezTo>
                    <a:pt x="83" y="79"/>
                    <a:pt x="83" y="79"/>
                    <a:pt x="83" y="79"/>
                  </a:cubicBezTo>
                  <a:cubicBezTo>
                    <a:pt x="81" y="76"/>
                    <a:pt x="81" y="76"/>
                    <a:pt x="81" y="76"/>
                  </a:cubicBezTo>
                  <a:cubicBezTo>
                    <a:pt x="80" y="76"/>
                    <a:pt x="80" y="76"/>
                    <a:pt x="80" y="76"/>
                  </a:cubicBezTo>
                  <a:cubicBezTo>
                    <a:pt x="81" y="72"/>
                    <a:pt x="81" y="72"/>
                    <a:pt x="81" y="72"/>
                  </a:cubicBezTo>
                  <a:cubicBezTo>
                    <a:pt x="81" y="72"/>
                    <a:pt x="83" y="71"/>
                    <a:pt x="84" y="72"/>
                  </a:cubicBezTo>
                  <a:cubicBezTo>
                    <a:pt x="85" y="72"/>
                    <a:pt x="88" y="75"/>
                    <a:pt x="88" y="75"/>
                  </a:cubicBezTo>
                  <a:cubicBezTo>
                    <a:pt x="90" y="76"/>
                    <a:pt x="90" y="76"/>
                    <a:pt x="90" y="76"/>
                  </a:cubicBezTo>
                  <a:cubicBezTo>
                    <a:pt x="90" y="76"/>
                    <a:pt x="93" y="74"/>
                    <a:pt x="93" y="74"/>
                  </a:cubicBezTo>
                  <a:cubicBezTo>
                    <a:pt x="93" y="74"/>
                    <a:pt x="90" y="70"/>
                    <a:pt x="90" y="70"/>
                  </a:cubicBezTo>
                  <a:cubicBezTo>
                    <a:pt x="91" y="65"/>
                    <a:pt x="91" y="65"/>
                    <a:pt x="91" y="65"/>
                  </a:cubicBezTo>
                  <a:cubicBezTo>
                    <a:pt x="92" y="61"/>
                    <a:pt x="92" y="61"/>
                    <a:pt x="92" y="61"/>
                  </a:cubicBezTo>
                  <a:cubicBezTo>
                    <a:pt x="96" y="58"/>
                    <a:pt x="96" y="58"/>
                    <a:pt x="96" y="58"/>
                  </a:cubicBezTo>
                  <a:cubicBezTo>
                    <a:pt x="99" y="60"/>
                    <a:pt x="99" y="60"/>
                    <a:pt x="99" y="60"/>
                  </a:cubicBezTo>
                  <a:cubicBezTo>
                    <a:pt x="104" y="60"/>
                    <a:pt x="104" y="60"/>
                    <a:pt x="104" y="60"/>
                  </a:cubicBezTo>
                  <a:cubicBezTo>
                    <a:pt x="109" y="60"/>
                    <a:pt x="109" y="60"/>
                    <a:pt x="109" y="60"/>
                  </a:cubicBezTo>
                  <a:cubicBezTo>
                    <a:pt x="112" y="59"/>
                    <a:pt x="112" y="59"/>
                    <a:pt x="112" y="59"/>
                  </a:cubicBezTo>
                  <a:cubicBezTo>
                    <a:pt x="116" y="59"/>
                    <a:pt x="116" y="59"/>
                    <a:pt x="116" y="59"/>
                  </a:cubicBezTo>
                  <a:cubicBezTo>
                    <a:pt x="116" y="59"/>
                    <a:pt x="114" y="57"/>
                    <a:pt x="114" y="57"/>
                  </a:cubicBezTo>
                  <a:cubicBezTo>
                    <a:pt x="113" y="57"/>
                    <a:pt x="111" y="55"/>
                    <a:pt x="111" y="55"/>
                  </a:cubicBezTo>
                  <a:cubicBezTo>
                    <a:pt x="111" y="55"/>
                    <a:pt x="110" y="57"/>
                    <a:pt x="110" y="57"/>
                  </a:cubicBezTo>
                  <a:cubicBezTo>
                    <a:pt x="109" y="58"/>
                    <a:pt x="106" y="58"/>
                    <a:pt x="106" y="57"/>
                  </a:cubicBezTo>
                  <a:cubicBezTo>
                    <a:pt x="105" y="57"/>
                    <a:pt x="104" y="54"/>
                    <a:pt x="104" y="54"/>
                  </a:cubicBezTo>
                  <a:cubicBezTo>
                    <a:pt x="104" y="51"/>
                    <a:pt x="104" y="51"/>
                    <a:pt x="104" y="51"/>
                  </a:cubicBezTo>
                  <a:cubicBezTo>
                    <a:pt x="106" y="50"/>
                    <a:pt x="106" y="50"/>
                    <a:pt x="106" y="50"/>
                  </a:cubicBezTo>
                  <a:cubicBezTo>
                    <a:pt x="103" y="47"/>
                    <a:pt x="103" y="47"/>
                    <a:pt x="103" y="47"/>
                  </a:cubicBezTo>
                  <a:cubicBezTo>
                    <a:pt x="103" y="47"/>
                    <a:pt x="103" y="44"/>
                    <a:pt x="104" y="43"/>
                  </a:cubicBezTo>
                  <a:cubicBezTo>
                    <a:pt x="105" y="43"/>
                    <a:pt x="105" y="41"/>
                    <a:pt x="105" y="41"/>
                  </a:cubicBezTo>
                  <a:cubicBezTo>
                    <a:pt x="102" y="41"/>
                    <a:pt x="102" y="41"/>
                    <a:pt x="102" y="41"/>
                  </a:cubicBezTo>
                  <a:cubicBezTo>
                    <a:pt x="102" y="41"/>
                    <a:pt x="101" y="41"/>
                    <a:pt x="101" y="39"/>
                  </a:cubicBezTo>
                  <a:cubicBezTo>
                    <a:pt x="102" y="37"/>
                    <a:pt x="102" y="36"/>
                    <a:pt x="102" y="36"/>
                  </a:cubicBezTo>
                  <a:cubicBezTo>
                    <a:pt x="98" y="36"/>
                    <a:pt x="98" y="36"/>
                    <a:pt x="98" y="36"/>
                  </a:cubicBezTo>
                  <a:cubicBezTo>
                    <a:pt x="96" y="36"/>
                    <a:pt x="96" y="36"/>
                    <a:pt x="96" y="36"/>
                  </a:cubicBezTo>
                  <a:cubicBezTo>
                    <a:pt x="93" y="33"/>
                    <a:pt x="93" y="33"/>
                    <a:pt x="93" y="33"/>
                  </a:cubicBezTo>
                  <a:cubicBezTo>
                    <a:pt x="94" y="30"/>
                    <a:pt x="94" y="30"/>
                    <a:pt x="94" y="30"/>
                  </a:cubicBezTo>
                  <a:cubicBezTo>
                    <a:pt x="100" y="29"/>
                    <a:pt x="100" y="29"/>
                    <a:pt x="100" y="29"/>
                  </a:cubicBezTo>
                  <a:cubicBezTo>
                    <a:pt x="107" y="26"/>
                    <a:pt x="107" y="26"/>
                    <a:pt x="107" y="26"/>
                  </a:cubicBezTo>
                  <a:cubicBezTo>
                    <a:pt x="106" y="24"/>
                    <a:pt x="106" y="24"/>
                    <a:pt x="106" y="24"/>
                  </a:cubicBezTo>
                  <a:cubicBezTo>
                    <a:pt x="104" y="25"/>
                    <a:pt x="104" y="25"/>
                    <a:pt x="104" y="25"/>
                  </a:cubicBezTo>
                  <a:cubicBezTo>
                    <a:pt x="104" y="25"/>
                    <a:pt x="103" y="26"/>
                    <a:pt x="103" y="26"/>
                  </a:cubicBezTo>
                  <a:cubicBezTo>
                    <a:pt x="102" y="26"/>
                    <a:pt x="100" y="26"/>
                    <a:pt x="100" y="26"/>
                  </a:cubicBezTo>
                  <a:cubicBezTo>
                    <a:pt x="100" y="24"/>
                    <a:pt x="100" y="24"/>
                    <a:pt x="100" y="24"/>
                  </a:cubicBezTo>
                  <a:cubicBezTo>
                    <a:pt x="103" y="24"/>
                    <a:pt x="103" y="24"/>
                    <a:pt x="103" y="24"/>
                  </a:cubicBezTo>
                  <a:cubicBezTo>
                    <a:pt x="105" y="23"/>
                    <a:pt x="105" y="23"/>
                    <a:pt x="105" y="23"/>
                  </a:cubicBezTo>
                  <a:cubicBezTo>
                    <a:pt x="103" y="22"/>
                    <a:pt x="103" y="22"/>
                    <a:pt x="103" y="22"/>
                  </a:cubicBezTo>
                  <a:cubicBezTo>
                    <a:pt x="100" y="18"/>
                    <a:pt x="100" y="18"/>
                    <a:pt x="100" y="18"/>
                  </a:cubicBezTo>
                  <a:cubicBezTo>
                    <a:pt x="99" y="15"/>
                    <a:pt x="99" y="15"/>
                    <a:pt x="99" y="15"/>
                  </a:cubicBezTo>
                  <a:cubicBezTo>
                    <a:pt x="97" y="14"/>
                    <a:pt x="97" y="14"/>
                    <a:pt x="97" y="14"/>
                  </a:cubicBezTo>
                  <a:cubicBezTo>
                    <a:pt x="95" y="12"/>
                    <a:pt x="95" y="12"/>
                    <a:pt x="95" y="12"/>
                  </a:cubicBezTo>
                  <a:cubicBezTo>
                    <a:pt x="95" y="9"/>
                    <a:pt x="95" y="9"/>
                    <a:pt x="95" y="9"/>
                  </a:cubicBezTo>
                  <a:cubicBezTo>
                    <a:pt x="94" y="1"/>
                    <a:pt x="94" y="1"/>
                    <a:pt x="94" y="1"/>
                  </a:cubicBezTo>
                  <a:cubicBezTo>
                    <a:pt x="97" y="1"/>
                    <a:pt x="97" y="1"/>
                    <a:pt x="97" y="1"/>
                  </a:cubicBezTo>
                  <a:cubicBezTo>
                    <a:pt x="99" y="0"/>
                    <a:pt x="99" y="0"/>
                    <a:pt x="99" y="0"/>
                  </a:cubicBezTo>
                  <a:cubicBezTo>
                    <a:pt x="99" y="0"/>
                    <a:pt x="104" y="2"/>
                    <a:pt x="105" y="2"/>
                  </a:cubicBezTo>
                  <a:cubicBezTo>
                    <a:pt x="106" y="2"/>
                    <a:pt x="108" y="3"/>
                    <a:pt x="108" y="3"/>
                  </a:cubicBezTo>
                  <a:cubicBezTo>
                    <a:pt x="112" y="5"/>
                    <a:pt x="112" y="5"/>
                    <a:pt x="112" y="5"/>
                  </a:cubicBezTo>
                  <a:cubicBezTo>
                    <a:pt x="115" y="6"/>
                    <a:pt x="115" y="6"/>
                    <a:pt x="115" y="6"/>
                  </a:cubicBezTo>
                  <a:cubicBezTo>
                    <a:pt x="115" y="6"/>
                    <a:pt x="116" y="6"/>
                    <a:pt x="116" y="6"/>
                  </a:cubicBezTo>
                  <a:cubicBezTo>
                    <a:pt x="117" y="6"/>
                    <a:pt x="119" y="5"/>
                    <a:pt x="119" y="5"/>
                  </a:cubicBezTo>
                  <a:cubicBezTo>
                    <a:pt x="119" y="5"/>
                    <a:pt x="122" y="3"/>
                    <a:pt x="123" y="3"/>
                  </a:cubicBezTo>
                  <a:cubicBezTo>
                    <a:pt x="123" y="2"/>
                    <a:pt x="124" y="2"/>
                    <a:pt x="124" y="2"/>
                  </a:cubicBezTo>
                  <a:cubicBezTo>
                    <a:pt x="126" y="6"/>
                    <a:pt x="126" y="6"/>
                    <a:pt x="126" y="6"/>
                  </a:cubicBezTo>
                  <a:cubicBezTo>
                    <a:pt x="128" y="4"/>
                    <a:pt x="128" y="4"/>
                    <a:pt x="128" y="4"/>
                  </a:cubicBezTo>
                  <a:cubicBezTo>
                    <a:pt x="129" y="2"/>
                    <a:pt x="129" y="2"/>
                    <a:pt x="129" y="2"/>
                  </a:cubicBezTo>
                  <a:cubicBezTo>
                    <a:pt x="137" y="11"/>
                    <a:pt x="137" y="11"/>
                    <a:pt x="137" y="11"/>
                  </a:cubicBezTo>
                  <a:cubicBezTo>
                    <a:pt x="138" y="15"/>
                    <a:pt x="138" y="15"/>
                    <a:pt x="138" y="15"/>
                  </a:cubicBezTo>
                  <a:cubicBezTo>
                    <a:pt x="138" y="15"/>
                    <a:pt x="138" y="18"/>
                    <a:pt x="138" y="18"/>
                  </a:cubicBezTo>
                  <a:cubicBezTo>
                    <a:pt x="137" y="18"/>
                    <a:pt x="136" y="22"/>
                    <a:pt x="136" y="22"/>
                  </a:cubicBezTo>
                  <a:cubicBezTo>
                    <a:pt x="136" y="25"/>
                    <a:pt x="136" y="25"/>
                    <a:pt x="136" y="25"/>
                  </a:cubicBezTo>
                  <a:cubicBezTo>
                    <a:pt x="138" y="26"/>
                    <a:pt x="138" y="26"/>
                    <a:pt x="138" y="26"/>
                  </a:cubicBezTo>
                  <a:cubicBezTo>
                    <a:pt x="141" y="26"/>
                    <a:pt x="141" y="26"/>
                    <a:pt x="141" y="26"/>
                  </a:cubicBezTo>
                  <a:cubicBezTo>
                    <a:pt x="143" y="28"/>
                    <a:pt x="143" y="28"/>
                    <a:pt x="143" y="28"/>
                  </a:cubicBezTo>
                  <a:cubicBezTo>
                    <a:pt x="144" y="29"/>
                    <a:pt x="144" y="29"/>
                    <a:pt x="144" y="29"/>
                  </a:cubicBezTo>
                  <a:cubicBezTo>
                    <a:pt x="147" y="29"/>
                    <a:pt x="147" y="29"/>
                    <a:pt x="147" y="29"/>
                  </a:cubicBezTo>
                  <a:cubicBezTo>
                    <a:pt x="148" y="28"/>
                    <a:pt x="148" y="28"/>
                    <a:pt x="148" y="28"/>
                  </a:cubicBezTo>
                  <a:cubicBezTo>
                    <a:pt x="152" y="29"/>
                    <a:pt x="152" y="29"/>
                    <a:pt x="152" y="29"/>
                  </a:cubicBezTo>
                  <a:cubicBezTo>
                    <a:pt x="155" y="31"/>
                    <a:pt x="155" y="31"/>
                    <a:pt x="155" y="31"/>
                  </a:cubicBezTo>
                  <a:cubicBezTo>
                    <a:pt x="158" y="33"/>
                    <a:pt x="158" y="33"/>
                    <a:pt x="158" y="33"/>
                  </a:cubicBezTo>
                  <a:cubicBezTo>
                    <a:pt x="163" y="35"/>
                    <a:pt x="163" y="35"/>
                    <a:pt x="163" y="35"/>
                  </a:cubicBezTo>
                  <a:cubicBezTo>
                    <a:pt x="164" y="32"/>
                    <a:pt x="164" y="32"/>
                    <a:pt x="164" y="32"/>
                  </a:cubicBezTo>
                  <a:cubicBezTo>
                    <a:pt x="165" y="31"/>
                    <a:pt x="165" y="31"/>
                    <a:pt x="165" y="31"/>
                  </a:cubicBezTo>
                  <a:cubicBezTo>
                    <a:pt x="168" y="31"/>
                    <a:pt x="168" y="31"/>
                    <a:pt x="168" y="31"/>
                  </a:cubicBezTo>
                  <a:cubicBezTo>
                    <a:pt x="170" y="30"/>
                    <a:pt x="170" y="30"/>
                    <a:pt x="170" y="30"/>
                  </a:cubicBezTo>
                  <a:cubicBezTo>
                    <a:pt x="171" y="29"/>
                    <a:pt x="171" y="29"/>
                    <a:pt x="171" y="29"/>
                  </a:cubicBezTo>
                  <a:cubicBezTo>
                    <a:pt x="168" y="26"/>
                    <a:pt x="168" y="26"/>
                    <a:pt x="168" y="26"/>
                  </a:cubicBezTo>
                  <a:cubicBezTo>
                    <a:pt x="168" y="23"/>
                    <a:pt x="168" y="23"/>
                    <a:pt x="168" y="23"/>
                  </a:cubicBezTo>
                  <a:cubicBezTo>
                    <a:pt x="168" y="23"/>
                    <a:pt x="170" y="21"/>
                    <a:pt x="170" y="21"/>
                  </a:cubicBezTo>
                  <a:cubicBezTo>
                    <a:pt x="171" y="21"/>
                    <a:pt x="175" y="22"/>
                    <a:pt x="175" y="22"/>
                  </a:cubicBezTo>
                  <a:cubicBezTo>
                    <a:pt x="176" y="25"/>
                    <a:pt x="176" y="25"/>
                    <a:pt x="176" y="25"/>
                  </a:cubicBezTo>
                  <a:cubicBezTo>
                    <a:pt x="177" y="28"/>
                    <a:pt x="177" y="28"/>
                    <a:pt x="177" y="28"/>
                  </a:cubicBezTo>
                  <a:cubicBezTo>
                    <a:pt x="173" y="29"/>
                    <a:pt x="173" y="29"/>
                    <a:pt x="173" y="29"/>
                  </a:cubicBezTo>
                  <a:cubicBezTo>
                    <a:pt x="172" y="31"/>
                    <a:pt x="172" y="31"/>
                    <a:pt x="172" y="31"/>
                  </a:cubicBezTo>
                  <a:cubicBezTo>
                    <a:pt x="172" y="35"/>
                    <a:pt x="172" y="35"/>
                    <a:pt x="172" y="35"/>
                  </a:cubicBezTo>
                  <a:cubicBezTo>
                    <a:pt x="172" y="39"/>
                    <a:pt x="172" y="39"/>
                    <a:pt x="172" y="39"/>
                  </a:cubicBezTo>
                  <a:cubicBezTo>
                    <a:pt x="172" y="39"/>
                    <a:pt x="172" y="41"/>
                    <a:pt x="171" y="41"/>
                  </a:cubicBezTo>
                  <a:cubicBezTo>
                    <a:pt x="170" y="42"/>
                    <a:pt x="168" y="42"/>
                    <a:pt x="168" y="42"/>
                  </a:cubicBezTo>
                  <a:cubicBezTo>
                    <a:pt x="168" y="44"/>
                    <a:pt x="168" y="44"/>
                    <a:pt x="168" y="44"/>
                  </a:cubicBezTo>
                  <a:cubicBezTo>
                    <a:pt x="165" y="46"/>
                    <a:pt x="165" y="46"/>
                    <a:pt x="165" y="46"/>
                  </a:cubicBezTo>
                  <a:cubicBezTo>
                    <a:pt x="162" y="46"/>
                    <a:pt x="162" y="46"/>
                    <a:pt x="162" y="46"/>
                  </a:cubicBezTo>
                  <a:cubicBezTo>
                    <a:pt x="161" y="47"/>
                    <a:pt x="161" y="47"/>
                    <a:pt x="161" y="47"/>
                  </a:cubicBezTo>
                  <a:cubicBezTo>
                    <a:pt x="162" y="50"/>
                    <a:pt x="162" y="50"/>
                    <a:pt x="162" y="50"/>
                  </a:cubicBezTo>
                  <a:cubicBezTo>
                    <a:pt x="164" y="52"/>
                    <a:pt x="164" y="52"/>
                    <a:pt x="164" y="52"/>
                  </a:cubicBezTo>
                  <a:cubicBezTo>
                    <a:pt x="167" y="53"/>
                    <a:pt x="167" y="53"/>
                    <a:pt x="167" y="53"/>
                  </a:cubicBezTo>
                  <a:cubicBezTo>
                    <a:pt x="169" y="52"/>
                    <a:pt x="169" y="52"/>
                    <a:pt x="169" y="52"/>
                  </a:cubicBezTo>
                  <a:cubicBezTo>
                    <a:pt x="170" y="50"/>
                    <a:pt x="170" y="50"/>
                    <a:pt x="170" y="50"/>
                  </a:cubicBezTo>
                  <a:cubicBezTo>
                    <a:pt x="173" y="49"/>
                    <a:pt x="173" y="49"/>
                    <a:pt x="173" y="49"/>
                  </a:cubicBezTo>
                  <a:cubicBezTo>
                    <a:pt x="177" y="51"/>
                    <a:pt x="177" y="51"/>
                    <a:pt x="177" y="51"/>
                  </a:cubicBezTo>
                  <a:cubicBezTo>
                    <a:pt x="178" y="53"/>
                    <a:pt x="178" y="53"/>
                    <a:pt x="178" y="53"/>
                  </a:cubicBezTo>
                  <a:cubicBezTo>
                    <a:pt x="178" y="53"/>
                    <a:pt x="182" y="53"/>
                    <a:pt x="182" y="53"/>
                  </a:cubicBezTo>
                  <a:cubicBezTo>
                    <a:pt x="182" y="53"/>
                    <a:pt x="183" y="50"/>
                    <a:pt x="183" y="50"/>
                  </a:cubicBezTo>
                  <a:cubicBezTo>
                    <a:pt x="183" y="50"/>
                    <a:pt x="184" y="48"/>
                    <a:pt x="185" y="48"/>
                  </a:cubicBezTo>
                  <a:cubicBezTo>
                    <a:pt x="186" y="48"/>
                    <a:pt x="187" y="46"/>
                    <a:pt x="188" y="46"/>
                  </a:cubicBezTo>
                  <a:cubicBezTo>
                    <a:pt x="188" y="45"/>
                    <a:pt x="189" y="43"/>
                    <a:pt x="189" y="43"/>
                  </a:cubicBezTo>
                  <a:cubicBezTo>
                    <a:pt x="189" y="43"/>
                    <a:pt x="191" y="42"/>
                    <a:pt x="192" y="42"/>
                  </a:cubicBezTo>
                  <a:cubicBezTo>
                    <a:pt x="193" y="42"/>
                    <a:pt x="199" y="41"/>
                    <a:pt x="199" y="41"/>
                  </a:cubicBezTo>
                  <a:cubicBezTo>
                    <a:pt x="199" y="41"/>
                    <a:pt x="203" y="40"/>
                    <a:pt x="204" y="39"/>
                  </a:cubicBezTo>
                  <a:cubicBezTo>
                    <a:pt x="204" y="39"/>
                    <a:pt x="208" y="36"/>
                    <a:pt x="208" y="36"/>
                  </a:cubicBezTo>
                  <a:cubicBezTo>
                    <a:pt x="209" y="33"/>
                    <a:pt x="209" y="33"/>
                    <a:pt x="209" y="33"/>
                  </a:cubicBezTo>
                  <a:cubicBezTo>
                    <a:pt x="212" y="30"/>
                    <a:pt x="212" y="30"/>
                    <a:pt x="212" y="30"/>
                  </a:cubicBezTo>
                  <a:cubicBezTo>
                    <a:pt x="212" y="30"/>
                    <a:pt x="213" y="30"/>
                    <a:pt x="213" y="29"/>
                  </a:cubicBezTo>
                  <a:cubicBezTo>
                    <a:pt x="213" y="28"/>
                    <a:pt x="214" y="25"/>
                    <a:pt x="214" y="25"/>
                  </a:cubicBezTo>
                  <a:cubicBezTo>
                    <a:pt x="216" y="24"/>
                    <a:pt x="216" y="24"/>
                    <a:pt x="216" y="24"/>
                  </a:cubicBezTo>
                  <a:cubicBezTo>
                    <a:pt x="216" y="24"/>
                    <a:pt x="218" y="25"/>
                    <a:pt x="218" y="26"/>
                  </a:cubicBezTo>
                  <a:cubicBezTo>
                    <a:pt x="218" y="26"/>
                    <a:pt x="217" y="28"/>
                    <a:pt x="217" y="28"/>
                  </a:cubicBezTo>
                  <a:cubicBezTo>
                    <a:pt x="217" y="28"/>
                    <a:pt x="215" y="29"/>
                    <a:pt x="214" y="30"/>
                  </a:cubicBezTo>
                  <a:cubicBezTo>
                    <a:pt x="214" y="30"/>
                    <a:pt x="214" y="32"/>
                    <a:pt x="214" y="32"/>
                  </a:cubicBezTo>
                  <a:cubicBezTo>
                    <a:pt x="216" y="30"/>
                    <a:pt x="216" y="30"/>
                    <a:pt x="216" y="30"/>
                  </a:cubicBezTo>
                  <a:cubicBezTo>
                    <a:pt x="216" y="30"/>
                    <a:pt x="217" y="29"/>
                    <a:pt x="217" y="29"/>
                  </a:cubicBezTo>
                  <a:cubicBezTo>
                    <a:pt x="217" y="29"/>
                    <a:pt x="221" y="28"/>
                    <a:pt x="221" y="28"/>
                  </a:cubicBezTo>
                  <a:cubicBezTo>
                    <a:pt x="221" y="28"/>
                    <a:pt x="223" y="29"/>
                    <a:pt x="223" y="29"/>
                  </a:cubicBezTo>
                  <a:cubicBezTo>
                    <a:pt x="223" y="29"/>
                    <a:pt x="225" y="30"/>
                    <a:pt x="225" y="30"/>
                  </a:cubicBezTo>
                  <a:cubicBezTo>
                    <a:pt x="229" y="29"/>
                    <a:pt x="229" y="29"/>
                    <a:pt x="229" y="29"/>
                  </a:cubicBezTo>
                  <a:cubicBezTo>
                    <a:pt x="229" y="27"/>
                    <a:pt x="229" y="27"/>
                    <a:pt x="229" y="27"/>
                  </a:cubicBezTo>
                  <a:cubicBezTo>
                    <a:pt x="229" y="27"/>
                    <a:pt x="229" y="26"/>
                    <a:pt x="230" y="26"/>
                  </a:cubicBezTo>
                  <a:cubicBezTo>
                    <a:pt x="231" y="25"/>
                    <a:pt x="233" y="24"/>
                    <a:pt x="233" y="24"/>
                  </a:cubicBezTo>
                  <a:cubicBezTo>
                    <a:pt x="233" y="24"/>
                    <a:pt x="233" y="22"/>
                    <a:pt x="233" y="21"/>
                  </a:cubicBezTo>
                  <a:cubicBezTo>
                    <a:pt x="233" y="21"/>
                    <a:pt x="234" y="19"/>
                    <a:pt x="234" y="19"/>
                  </a:cubicBezTo>
                  <a:cubicBezTo>
                    <a:pt x="234" y="19"/>
                    <a:pt x="234" y="19"/>
                    <a:pt x="234" y="19"/>
                  </a:cubicBezTo>
                  <a:cubicBezTo>
                    <a:pt x="234" y="19"/>
                    <a:pt x="236" y="18"/>
                    <a:pt x="236" y="18"/>
                  </a:cubicBezTo>
                  <a:cubicBezTo>
                    <a:pt x="236" y="18"/>
                    <a:pt x="237" y="15"/>
                    <a:pt x="237" y="15"/>
                  </a:cubicBezTo>
                  <a:cubicBezTo>
                    <a:pt x="237" y="15"/>
                    <a:pt x="237" y="14"/>
                    <a:pt x="238" y="14"/>
                  </a:cubicBezTo>
                  <a:cubicBezTo>
                    <a:pt x="238" y="14"/>
                    <a:pt x="240" y="12"/>
                    <a:pt x="240" y="12"/>
                  </a:cubicBezTo>
                  <a:cubicBezTo>
                    <a:pt x="241" y="11"/>
                    <a:pt x="241" y="11"/>
                    <a:pt x="242" y="11"/>
                  </a:cubicBezTo>
                  <a:cubicBezTo>
                    <a:pt x="242" y="11"/>
                    <a:pt x="243" y="13"/>
                    <a:pt x="243" y="13"/>
                  </a:cubicBezTo>
                  <a:cubicBezTo>
                    <a:pt x="243" y="13"/>
                    <a:pt x="243" y="14"/>
                    <a:pt x="242" y="15"/>
                  </a:cubicBezTo>
                  <a:cubicBezTo>
                    <a:pt x="241" y="15"/>
                    <a:pt x="240" y="16"/>
                    <a:pt x="240" y="16"/>
                  </a:cubicBezTo>
                  <a:cubicBezTo>
                    <a:pt x="240" y="16"/>
                    <a:pt x="242" y="18"/>
                    <a:pt x="242" y="18"/>
                  </a:cubicBezTo>
                  <a:cubicBezTo>
                    <a:pt x="242" y="18"/>
                    <a:pt x="243" y="19"/>
                    <a:pt x="243" y="19"/>
                  </a:cubicBezTo>
                  <a:cubicBezTo>
                    <a:pt x="243" y="20"/>
                    <a:pt x="242" y="21"/>
                    <a:pt x="242" y="21"/>
                  </a:cubicBezTo>
                  <a:cubicBezTo>
                    <a:pt x="243" y="21"/>
                    <a:pt x="246" y="20"/>
                    <a:pt x="246" y="20"/>
                  </a:cubicBezTo>
                  <a:cubicBezTo>
                    <a:pt x="246" y="20"/>
                    <a:pt x="246" y="18"/>
                    <a:pt x="246" y="18"/>
                  </a:cubicBezTo>
                  <a:cubicBezTo>
                    <a:pt x="246" y="18"/>
                    <a:pt x="248" y="16"/>
                    <a:pt x="248" y="16"/>
                  </a:cubicBezTo>
                  <a:cubicBezTo>
                    <a:pt x="249" y="16"/>
                    <a:pt x="251" y="17"/>
                    <a:pt x="251" y="17"/>
                  </a:cubicBezTo>
                  <a:cubicBezTo>
                    <a:pt x="251" y="17"/>
                    <a:pt x="251" y="18"/>
                    <a:pt x="251" y="19"/>
                  </a:cubicBezTo>
                  <a:cubicBezTo>
                    <a:pt x="250" y="19"/>
                    <a:pt x="248" y="21"/>
                    <a:pt x="248" y="21"/>
                  </a:cubicBezTo>
                  <a:cubicBezTo>
                    <a:pt x="248" y="22"/>
                    <a:pt x="247" y="22"/>
                    <a:pt x="248" y="22"/>
                  </a:cubicBezTo>
                  <a:cubicBezTo>
                    <a:pt x="248" y="23"/>
                    <a:pt x="250" y="25"/>
                    <a:pt x="250" y="25"/>
                  </a:cubicBezTo>
                  <a:cubicBezTo>
                    <a:pt x="253" y="27"/>
                    <a:pt x="253" y="27"/>
                    <a:pt x="253" y="27"/>
                  </a:cubicBezTo>
                  <a:cubicBezTo>
                    <a:pt x="253" y="27"/>
                    <a:pt x="253" y="28"/>
                    <a:pt x="253" y="29"/>
                  </a:cubicBezTo>
                  <a:cubicBezTo>
                    <a:pt x="253" y="29"/>
                    <a:pt x="248" y="29"/>
                    <a:pt x="248" y="29"/>
                  </a:cubicBezTo>
                  <a:cubicBezTo>
                    <a:pt x="248" y="29"/>
                    <a:pt x="248" y="29"/>
                    <a:pt x="247" y="30"/>
                  </a:cubicBezTo>
                  <a:cubicBezTo>
                    <a:pt x="247" y="30"/>
                    <a:pt x="246" y="31"/>
                    <a:pt x="244" y="32"/>
                  </a:cubicBezTo>
                  <a:cubicBezTo>
                    <a:pt x="242" y="32"/>
                    <a:pt x="242" y="32"/>
                    <a:pt x="242" y="33"/>
                  </a:cubicBezTo>
                  <a:cubicBezTo>
                    <a:pt x="242" y="34"/>
                    <a:pt x="241" y="35"/>
                    <a:pt x="242" y="36"/>
                  </a:cubicBezTo>
                  <a:cubicBezTo>
                    <a:pt x="243" y="37"/>
                    <a:pt x="245" y="38"/>
                    <a:pt x="245" y="38"/>
                  </a:cubicBezTo>
                  <a:cubicBezTo>
                    <a:pt x="245" y="38"/>
                    <a:pt x="250" y="40"/>
                    <a:pt x="250" y="39"/>
                  </a:cubicBezTo>
                  <a:cubicBezTo>
                    <a:pt x="250" y="39"/>
                    <a:pt x="257" y="39"/>
                    <a:pt x="257" y="39"/>
                  </a:cubicBezTo>
                  <a:cubicBezTo>
                    <a:pt x="260" y="39"/>
                    <a:pt x="260" y="39"/>
                    <a:pt x="260" y="39"/>
                  </a:cubicBezTo>
                  <a:cubicBezTo>
                    <a:pt x="260" y="39"/>
                    <a:pt x="261" y="41"/>
                    <a:pt x="262" y="42"/>
                  </a:cubicBezTo>
                  <a:cubicBezTo>
                    <a:pt x="262" y="42"/>
                    <a:pt x="266" y="45"/>
                    <a:pt x="266" y="45"/>
                  </a:cubicBezTo>
                  <a:cubicBezTo>
                    <a:pt x="268" y="45"/>
                    <a:pt x="268" y="45"/>
                    <a:pt x="268" y="45"/>
                  </a:cubicBezTo>
                  <a:cubicBezTo>
                    <a:pt x="269" y="49"/>
                    <a:pt x="269" y="49"/>
                    <a:pt x="269" y="49"/>
                  </a:cubicBezTo>
                  <a:cubicBezTo>
                    <a:pt x="268" y="52"/>
                    <a:pt x="268" y="52"/>
                    <a:pt x="268" y="52"/>
                  </a:cubicBezTo>
                  <a:cubicBezTo>
                    <a:pt x="265" y="53"/>
                    <a:pt x="265" y="53"/>
                    <a:pt x="265" y="53"/>
                  </a:cubicBezTo>
                  <a:cubicBezTo>
                    <a:pt x="261" y="56"/>
                    <a:pt x="261" y="56"/>
                    <a:pt x="261" y="56"/>
                  </a:cubicBezTo>
                  <a:cubicBezTo>
                    <a:pt x="259" y="55"/>
                    <a:pt x="259" y="55"/>
                    <a:pt x="259" y="55"/>
                  </a:cubicBezTo>
                  <a:cubicBezTo>
                    <a:pt x="259" y="55"/>
                    <a:pt x="261" y="57"/>
                    <a:pt x="262" y="57"/>
                  </a:cubicBezTo>
                  <a:cubicBezTo>
                    <a:pt x="263" y="57"/>
                    <a:pt x="264" y="58"/>
                    <a:pt x="264" y="58"/>
                  </a:cubicBezTo>
                  <a:cubicBezTo>
                    <a:pt x="265" y="58"/>
                    <a:pt x="269" y="58"/>
                    <a:pt x="273" y="58"/>
                  </a:cubicBezTo>
                  <a:cubicBezTo>
                    <a:pt x="273" y="59"/>
                    <a:pt x="273" y="59"/>
                    <a:pt x="273" y="60"/>
                  </a:cubicBezTo>
                  <a:cubicBezTo>
                    <a:pt x="274" y="61"/>
                    <a:pt x="275" y="65"/>
                    <a:pt x="275" y="66"/>
                  </a:cubicBezTo>
                  <a:cubicBezTo>
                    <a:pt x="275" y="66"/>
                    <a:pt x="276" y="70"/>
                    <a:pt x="278" y="73"/>
                  </a:cubicBezTo>
                  <a:cubicBezTo>
                    <a:pt x="281" y="77"/>
                    <a:pt x="280" y="78"/>
                    <a:pt x="280" y="78"/>
                  </a:cubicBezTo>
                  <a:cubicBezTo>
                    <a:pt x="280" y="87"/>
                    <a:pt x="280" y="87"/>
                    <a:pt x="280" y="87"/>
                  </a:cubicBezTo>
                  <a:cubicBezTo>
                    <a:pt x="280" y="95"/>
                    <a:pt x="280" y="95"/>
                    <a:pt x="280" y="95"/>
                  </a:cubicBezTo>
                  <a:cubicBezTo>
                    <a:pt x="275" y="99"/>
                    <a:pt x="275" y="99"/>
                    <a:pt x="275" y="99"/>
                  </a:cubicBezTo>
                  <a:cubicBezTo>
                    <a:pt x="273" y="108"/>
                    <a:pt x="273" y="108"/>
                    <a:pt x="273" y="108"/>
                  </a:cubicBezTo>
                  <a:cubicBezTo>
                    <a:pt x="273" y="108"/>
                    <a:pt x="274" y="109"/>
                    <a:pt x="275" y="109"/>
                  </a:cubicBezTo>
                  <a:cubicBezTo>
                    <a:pt x="276" y="110"/>
                    <a:pt x="279" y="113"/>
                    <a:pt x="279" y="113"/>
                  </a:cubicBezTo>
                  <a:cubicBezTo>
                    <a:pt x="280" y="114"/>
                    <a:pt x="286" y="117"/>
                    <a:pt x="289" y="118"/>
                  </a:cubicBezTo>
                  <a:cubicBezTo>
                    <a:pt x="292" y="120"/>
                    <a:pt x="291" y="125"/>
                    <a:pt x="291" y="125"/>
                  </a:cubicBezTo>
                  <a:cubicBezTo>
                    <a:pt x="289" y="132"/>
                    <a:pt x="289" y="132"/>
                    <a:pt x="289" y="132"/>
                  </a:cubicBezTo>
                  <a:cubicBezTo>
                    <a:pt x="289" y="132"/>
                    <a:pt x="290" y="136"/>
                    <a:pt x="292" y="136"/>
                  </a:cubicBezTo>
                  <a:cubicBezTo>
                    <a:pt x="293" y="135"/>
                    <a:pt x="294" y="141"/>
                    <a:pt x="294" y="141"/>
                  </a:cubicBezTo>
                  <a:cubicBezTo>
                    <a:pt x="294" y="141"/>
                    <a:pt x="295" y="147"/>
                    <a:pt x="295" y="148"/>
                  </a:cubicBezTo>
                  <a:cubicBezTo>
                    <a:pt x="294" y="149"/>
                    <a:pt x="295" y="150"/>
                    <a:pt x="295" y="150"/>
                  </a:cubicBezTo>
                  <a:cubicBezTo>
                    <a:pt x="297" y="154"/>
                    <a:pt x="297" y="154"/>
                    <a:pt x="297" y="154"/>
                  </a:cubicBezTo>
                  <a:cubicBezTo>
                    <a:pt x="297" y="154"/>
                    <a:pt x="296" y="157"/>
                    <a:pt x="295" y="158"/>
                  </a:cubicBezTo>
                  <a:cubicBezTo>
                    <a:pt x="295" y="160"/>
                    <a:pt x="294" y="162"/>
                    <a:pt x="294" y="162"/>
                  </a:cubicBezTo>
                  <a:cubicBezTo>
                    <a:pt x="295" y="165"/>
                    <a:pt x="295" y="165"/>
                    <a:pt x="295" y="165"/>
                  </a:cubicBezTo>
                  <a:cubicBezTo>
                    <a:pt x="299" y="170"/>
                    <a:pt x="299" y="170"/>
                    <a:pt x="299" y="170"/>
                  </a:cubicBezTo>
                  <a:cubicBezTo>
                    <a:pt x="299" y="175"/>
                    <a:pt x="299" y="175"/>
                    <a:pt x="299" y="175"/>
                  </a:cubicBezTo>
                  <a:cubicBezTo>
                    <a:pt x="299" y="178"/>
                    <a:pt x="299" y="178"/>
                    <a:pt x="299" y="178"/>
                  </a:cubicBezTo>
                  <a:cubicBezTo>
                    <a:pt x="299" y="178"/>
                    <a:pt x="302" y="179"/>
                    <a:pt x="303" y="179"/>
                  </a:cubicBezTo>
                  <a:cubicBezTo>
                    <a:pt x="304" y="179"/>
                    <a:pt x="306" y="181"/>
                    <a:pt x="306" y="181"/>
                  </a:cubicBezTo>
                  <a:cubicBezTo>
                    <a:pt x="306" y="181"/>
                    <a:pt x="306" y="183"/>
                    <a:pt x="306" y="184"/>
                  </a:cubicBezTo>
                  <a:cubicBezTo>
                    <a:pt x="306" y="184"/>
                    <a:pt x="309" y="188"/>
                    <a:pt x="309" y="188"/>
                  </a:cubicBezTo>
                  <a:cubicBezTo>
                    <a:pt x="310" y="189"/>
                    <a:pt x="312" y="192"/>
                    <a:pt x="312" y="192"/>
                  </a:cubicBezTo>
                  <a:cubicBezTo>
                    <a:pt x="312" y="192"/>
                    <a:pt x="312" y="194"/>
                    <a:pt x="309" y="197"/>
                  </a:cubicBezTo>
                  <a:cubicBezTo>
                    <a:pt x="307" y="200"/>
                    <a:pt x="308" y="200"/>
                    <a:pt x="308" y="201"/>
                  </a:cubicBezTo>
                  <a:cubicBezTo>
                    <a:pt x="308" y="202"/>
                    <a:pt x="309" y="204"/>
                    <a:pt x="309" y="204"/>
                  </a:cubicBezTo>
                  <a:cubicBezTo>
                    <a:pt x="309" y="204"/>
                    <a:pt x="308" y="205"/>
                    <a:pt x="307" y="206"/>
                  </a:cubicBezTo>
                  <a:cubicBezTo>
                    <a:pt x="307" y="206"/>
                    <a:pt x="306" y="208"/>
                    <a:pt x="306" y="210"/>
                  </a:cubicBezTo>
                  <a:cubicBezTo>
                    <a:pt x="302" y="213"/>
                    <a:pt x="302" y="213"/>
                    <a:pt x="302" y="213"/>
                  </a:cubicBezTo>
                  <a:cubicBezTo>
                    <a:pt x="302" y="213"/>
                    <a:pt x="302" y="213"/>
                    <a:pt x="301" y="214"/>
                  </a:cubicBezTo>
                  <a:cubicBezTo>
                    <a:pt x="301" y="213"/>
                    <a:pt x="300" y="213"/>
                    <a:pt x="299" y="213"/>
                  </a:cubicBezTo>
                  <a:cubicBezTo>
                    <a:pt x="298" y="212"/>
                    <a:pt x="297" y="211"/>
                    <a:pt x="297" y="211"/>
                  </a:cubicBezTo>
                  <a:cubicBezTo>
                    <a:pt x="297" y="211"/>
                    <a:pt x="297" y="209"/>
                    <a:pt x="297" y="207"/>
                  </a:cubicBezTo>
                  <a:cubicBezTo>
                    <a:pt x="297" y="205"/>
                    <a:pt x="297" y="206"/>
                    <a:pt x="297" y="205"/>
                  </a:cubicBezTo>
                  <a:cubicBezTo>
                    <a:pt x="296" y="204"/>
                    <a:pt x="294" y="203"/>
                    <a:pt x="292" y="202"/>
                  </a:cubicBezTo>
                  <a:cubicBezTo>
                    <a:pt x="290" y="202"/>
                    <a:pt x="286" y="202"/>
                    <a:pt x="285" y="203"/>
                  </a:cubicBezTo>
                  <a:cubicBezTo>
                    <a:pt x="285" y="203"/>
                    <a:pt x="285" y="207"/>
                    <a:pt x="285" y="207"/>
                  </a:cubicBezTo>
                  <a:cubicBezTo>
                    <a:pt x="287" y="210"/>
                    <a:pt x="287" y="210"/>
                    <a:pt x="287" y="210"/>
                  </a:cubicBezTo>
                  <a:cubicBezTo>
                    <a:pt x="286" y="212"/>
                    <a:pt x="286" y="212"/>
                    <a:pt x="286" y="212"/>
                  </a:cubicBezTo>
                  <a:cubicBezTo>
                    <a:pt x="286" y="212"/>
                    <a:pt x="277" y="214"/>
                    <a:pt x="274" y="214"/>
                  </a:cubicBezTo>
                  <a:cubicBezTo>
                    <a:pt x="271" y="214"/>
                    <a:pt x="272" y="216"/>
                    <a:pt x="272" y="216"/>
                  </a:cubicBezTo>
                  <a:cubicBezTo>
                    <a:pt x="270" y="220"/>
                    <a:pt x="270" y="220"/>
                    <a:pt x="270" y="220"/>
                  </a:cubicBezTo>
                  <a:cubicBezTo>
                    <a:pt x="268" y="222"/>
                    <a:pt x="268" y="222"/>
                    <a:pt x="268" y="222"/>
                  </a:cubicBezTo>
                  <a:cubicBezTo>
                    <a:pt x="262" y="224"/>
                    <a:pt x="262" y="224"/>
                    <a:pt x="262" y="224"/>
                  </a:cubicBezTo>
                  <a:cubicBezTo>
                    <a:pt x="262" y="224"/>
                    <a:pt x="256" y="229"/>
                    <a:pt x="255" y="229"/>
                  </a:cubicBezTo>
                  <a:cubicBezTo>
                    <a:pt x="251" y="232"/>
                    <a:pt x="251" y="232"/>
                    <a:pt x="251" y="232"/>
                  </a:cubicBezTo>
                  <a:cubicBezTo>
                    <a:pt x="251" y="232"/>
                    <a:pt x="250" y="232"/>
                    <a:pt x="247" y="234"/>
                  </a:cubicBezTo>
                  <a:cubicBezTo>
                    <a:pt x="243" y="235"/>
                    <a:pt x="245" y="237"/>
                    <a:pt x="244" y="238"/>
                  </a:cubicBezTo>
                  <a:cubicBezTo>
                    <a:pt x="244" y="240"/>
                    <a:pt x="243" y="240"/>
                    <a:pt x="241" y="241"/>
                  </a:cubicBezTo>
                  <a:cubicBezTo>
                    <a:pt x="240" y="241"/>
                    <a:pt x="237" y="240"/>
                    <a:pt x="235" y="240"/>
                  </a:cubicBezTo>
                  <a:cubicBezTo>
                    <a:pt x="234" y="240"/>
                    <a:pt x="231" y="242"/>
                    <a:pt x="229" y="242"/>
                  </a:cubicBezTo>
                  <a:cubicBezTo>
                    <a:pt x="226" y="242"/>
                    <a:pt x="226" y="242"/>
                    <a:pt x="226" y="242"/>
                  </a:cubicBezTo>
                  <a:cubicBezTo>
                    <a:pt x="222" y="247"/>
                    <a:pt x="222" y="247"/>
                    <a:pt x="222" y="247"/>
                  </a:cubicBezTo>
                  <a:cubicBezTo>
                    <a:pt x="219" y="253"/>
                    <a:pt x="219" y="253"/>
                    <a:pt x="219" y="253"/>
                  </a:cubicBezTo>
                  <a:cubicBezTo>
                    <a:pt x="218" y="250"/>
                    <a:pt x="218" y="250"/>
                    <a:pt x="218" y="250"/>
                  </a:cubicBezTo>
                  <a:cubicBezTo>
                    <a:pt x="217" y="246"/>
                    <a:pt x="217" y="246"/>
                    <a:pt x="217" y="246"/>
                  </a:cubicBezTo>
                  <a:cubicBezTo>
                    <a:pt x="212" y="246"/>
                    <a:pt x="212" y="246"/>
                    <a:pt x="212" y="246"/>
                  </a:cubicBezTo>
                  <a:cubicBezTo>
                    <a:pt x="213" y="249"/>
                    <a:pt x="213" y="249"/>
                    <a:pt x="213" y="249"/>
                  </a:cubicBezTo>
                  <a:cubicBezTo>
                    <a:pt x="213" y="249"/>
                    <a:pt x="215" y="256"/>
                    <a:pt x="216" y="257"/>
                  </a:cubicBezTo>
                  <a:cubicBezTo>
                    <a:pt x="217" y="258"/>
                    <a:pt x="218" y="258"/>
                    <a:pt x="220" y="259"/>
                  </a:cubicBezTo>
                  <a:cubicBezTo>
                    <a:pt x="223" y="261"/>
                    <a:pt x="223" y="261"/>
                    <a:pt x="226" y="263"/>
                  </a:cubicBezTo>
                  <a:cubicBezTo>
                    <a:pt x="229" y="265"/>
                    <a:pt x="228" y="267"/>
                    <a:pt x="228" y="268"/>
                  </a:cubicBezTo>
                  <a:cubicBezTo>
                    <a:pt x="228" y="270"/>
                    <a:pt x="228" y="270"/>
                    <a:pt x="226" y="272"/>
                  </a:cubicBezTo>
                  <a:cubicBezTo>
                    <a:pt x="224" y="275"/>
                    <a:pt x="226" y="277"/>
                    <a:pt x="226" y="277"/>
                  </a:cubicBezTo>
                  <a:cubicBezTo>
                    <a:pt x="226" y="277"/>
                    <a:pt x="227" y="279"/>
                    <a:pt x="229" y="281"/>
                  </a:cubicBezTo>
                  <a:cubicBezTo>
                    <a:pt x="231" y="283"/>
                    <a:pt x="230" y="284"/>
                    <a:pt x="231" y="287"/>
                  </a:cubicBezTo>
                  <a:cubicBezTo>
                    <a:pt x="231" y="290"/>
                    <a:pt x="231" y="289"/>
                    <a:pt x="233" y="292"/>
                  </a:cubicBezTo>
                  <a:cubicBezTo>
                    <a:pt x="235" y="294"/>
                    <a:pt x="234" y="293"/>
                    <a:pt x="236" y="295"/>
                  </a:cubicBezTo>
                  <a:cubicBezTo>
                    <a:pt x="238" y="297"/>
                    <a:pt x="238" y="298"/>
                    <a:pt x="238" y="298"/>
                  </a:cubicBezTo>
                  <a:cubicBezTo>
                    <a:pt x="238" y="298"/>
                    <a:pt x="244" y="296"/>
                    <a:pt x="246" y="298"/>
                  </a:cubicBezTo>
                  <a:cubicBezTo>
                    <a:pt x="248" y="300"/>
                    <a:pt x="247" y="299"/>
                    <a:pt x="251" y="302"/>
                  </a:cubicBezTo>
                  <a:cubicBezTo>
                    <a:pt x="254" y="306"/>
                    <a:pt x="251" y="304"/>
                    <a:pt x="252" y="307"/>
                  </a:cubicBezTo>
                  <a:cubicBezTo>
                    <a:pt x="253" y="309"/>
                    <a:pt x="254" y="308"/>
                    <a:pt x="254" y="308"/>
                  </a:cubicBezTo>
                  <a:cubicBezTo>
                    <a:pt x="254" y="308"/>
                    <a:pt x="255" y="309"/>
                    <a:pt x="257" y="309"/>
                  </a:cubicBezTo>
                  <a:cubicBezTo>
                    <a:pt x="259" y="309"/>
                    <a:pt x="259" y="311"/>
                    <a:pt x="259" y="313"/>
                  </a:cubicBezTo>
                  <a:cubicBezTo>
                    <a:pt x="260" y="315"/>
                    <a:pt x="260" y="315"/>
                    <a:pt x="262" y="317"/>
                  </a:cubicBezTo>
                  <a:cubicBezTo>
                    <a:pt x="263" y="318"/>
                    <a:pt x="264" y="317"/>
                    <a:pt x="267" y="316"/>
                  </a:cubicBezTo>
                  <a:cubicBezTo>
                    <a:pt x="269" y="316"/>
                    <a:pt x="268" y="318"/>
                    <a:pt x="268" y="319"/>
                  </a:cubicBezTo>
                  <a:cubicBezTo>
                    <a:pt x="268" y="320"/>
                    <a:pt x="270" y="320"/>
                    <a:pt x="272" y="321"/>
                  </a:cubicBezTo>
                  <a:cubicBezTo>
                    <a:pt x="274" y="322"/>
                    <a:pt x="273" y="322"/>
                    <a:pt x="275" y="324"/>
                  </a:cubicBezTo>
                  <a:cubicBezTo>
                    <a:pt x="275" y="324"/>
                    <a:pt x="275" y="324"/>
                    <a:pt x="275" y="325"/>
                  </a:cubicBezTo>
                  <a:close/>
                  <a:moveTo>
                    <a:pt x="55" y="394"/>
                  </a:moveTo>
                  <a:cubicBezTo>
                    <a:pt x="55" y="394"/>
                    <a:pt x="55" y="394"/>
                    <a:pt x="55" y="394"/>
                  </a:cubicBezTo>
                  <a:cubicBezTo>
                    <a:pt x="55" y="394"/>
                    <a:pt x="55" y="394"/>
                    <a:pt x="55" y="394"/>
                  </a:cubicBezTo>
                  <a:cubicBezTo>
                    <a:pt x="55" y="394"/>
                    <a:pt x="55" y="394"/>
                    <a:pt x="55" y="394"/>
                  </a:cubicBezTo>
                  <a:close/>
                  <a:moveTo>
                    <a:pt x="128" y="400"/>
                  </a:moveTo>
                  <a:cubicBezTo>
                    <a:pt x="128" y="400"/>
                    <a:pt x="128" y="400"/>
                    <a:pt x="128" y="400"/>
                  </a:cubicBezTo>
                  <a:cubicBezTo>
                    <a:pt x="128" y="400"/>
                    <a:pt x="128" y="400"/>
                    <a:pt x="128" y="400"/>
                  </a:cubicBezTo>
                  <a:cubicBezTo>
                    <a:pt x="128" y="400"/>
                    <a:pt x="128" y="400"/>
                    <a:pt x="128" y="400"/>
                  </a:cubicBezTo>
                  <a:cubicBezTo>
                    <a:pt x="128" y="400"/>
                    <a:pt x="128" y="400"/>
                    <a:pt x="128" y="400"/>
                  </a:cubicBezTo>
                  <a:close/>
                  <a:moveTo>
                    <a:pt x="312" y="204"/>
                  </a:moveTo>
                  <a:cubicBezTo>
                    <a:pt x="312" y="204"/>
                    <a:pt x="312" y="204"/>
                    <a:pt x="312" y="204"/>
                  </a:cubicBezTo>
                  <a:cubicBezTo>
                    <a:pt x="312" y="204"/>
                    <a:pt x="312" y="204"/>
                    <a:pt x="312" y="204"/>
                  </a:cubicBezTo>
                  <a:cubicBezTo>
                    <a:pt x="312" y="204"/>
                    <a:pt x="312" y="204"/>
                    <a:pt x="312" y="204"/>
                  </a:cubicBezTo>
                  <a:close/>
                </a:path>
              </a:pathLst>
            </a:custGeom>
            <a:solidFill>
              <a:schemeClr val="accent1"/>
            </a:solidFill>
            <a:ln w="12700" cap="rnd" cmpd="sng">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Lato Light"/>
              </a:endParaRPr>
            </a:p>
          </p:txBody>
        </p:sp>
        <p:sp>
          <p:nvSpPr>
            <p:cNvPr id="233" name="Freeform 80">
              <a:extLst>
                <a:ext uri="{FF2B5EF4-FFF2-40B4-BE49-F238E27FC236}">
                  <a16:creationId xmlns:a16="http://schemas.microsoft.com/office/drawing/2014/main" id="{7E888F81-00A4-E00D-BB9F-FF8EFD1E4BDA}"/>
                </a:ext>
              </a:extLst>
            </p:cNvPr>
            <p:cNvSpPr>
              <a:spLocks noEditPoints="1"/>
            </p:cNvSpPr>
            <p:nvPr/>
          </p:nvSpPr>
          <p:spPr bwMode="auto">
            <a:xfrm>
              <a:off x="3565374" y="4523000"/>
              <a:ext cx="1416991" cy="1567420"/>
            </a:xfrm>
            <a:custGeom>
              <a:avLst/>
              <a:gdLst>
                <a:gd name="T0" fmla="*/ 372 w 492"/>
                <a:gd name="T1" fmla="*/ 536 h 561"/>
                <a:gd name="T2" fmla="*/ 338 w 492"/>
                <a:gd name="T3" fmla="*/ 556 h 561"/>
                <a:gd name="T4" fmla="*/ 272 w 492"/>
                <a:gd name="T5" fmla="*/ 521 h 561"/>
                <a:gd name="T6" fmla="*/ 260 w 492"/>
                <a:gd name="T7" fmla="*/ 489 h 561"/>
                <a:gd name="T8" fmla="*/ 318 w 492"/>
                <a:gd name="T9" fmla="*/ 489 h 561"/>
                <a:gd name="T10" fmla="*/ 376 w 492"/>
                <a:gd name="T11" fmla="*/ 476 h 561"/>
                <a:gd name="T12" fmla="*/ 403 w 492"/>
                <a:gd name="T13" fmla="*/ 478 h 561"/>
                <a:gd name="T14" fmla="*/ 442 w 492"/>
                <a:gd name="T15" fmla="*/ 422 h 561"/>
                <a:gd name="T16" fmla="*/ 411 w 492"/>
                <a:gd name="T17" fmla="*/ 385 h 561"/>
                <a:gd name="T18" fmla="*/ 455 w 492"/>
                <a:gd name="T19" fmla="*/ 350 h 561"/>
                <a:gd name="T20" fmla="*/ 490 w 492"/>
                <a:gd name="T21" fmla="*/ 351 h 561"/>
                <a:gd name="T22" fmla="*/ 379 w 492"/>
                <a:gd name="T23" fmla="*/ 295 h 561"/>
                <a:gd name="T24" fmla="*/ 340 w 492"/>
                <a:gd name="T25" fmla="*/ 271 h 561"/>
                <a:gd name="T26" fmla="*/ 275 w 492"/>
                <a:gd name="T27" fmla="*/ 186 h 561"/>
                <a:gd name="T28" fmla="*/ 218 w 492"/>
                <a:gd name="T29" fmla="*/ 109 h 561"/>
                <a:gd name="T30" fmla="*/ 247 w 492"/>
                <a:gd name="T31" fmla="*/ 78 h 561"/>
                <a:gd name="T32" fmla="*/ 267 w 492"/>
                <a:gd name="T33" fmla="*/ 63 h 561"/>
                <a:gd name="T34" fmla="*/ 262 w 492"/>
                <a:gd name="T35" fmla="*/ 56 h 561"/>
                <a:gd name="T36" fmla="*/ 258 w 492"/>
                <a:gd name="T37" fmla="*/ 46 h 561"/>
                <a:gd name="T38" fmla="*/ 267 w 492"/>
                <a:gd name="T39" fmla="*/ 30 h 561"/>
                <a:gd name="T40" fmla="*/ 212 w 492"/>
                <a:gd name="T41" fmla="*/ 15 h 561"/>
                <a:gd name="T42" fmla="*/ 185 w 492"/>
                <a:gd name="T43" fmla="*/ 4 h 561"/>
                <a:gd name="T44" fmla="*/ 148 w 492"/>
                <a:gd name="T45" fmla="*/ 15 h 561"/>
                <a:gd name="T46" fmla="*/ 148 w 492"/>
                <a:gd name="T47" fmla="*/ 26 h 561"/>
                <a:gd name="T48" fmla="*/ 139 w 492"/>
                <a:gd name="T49" fmla="*/ 27 h 561"/>
                <a:gd name="T50" fmla="*/ 132 w 492"/>
                <a:gd name="T51" fmla="*/ 34 h 561"/>
                <a:gd name="T52" fmla="*/ 136 w 492"/>
                <a:gd name="T53" fmla="*/ 46 h 561"/>
                <a:gd name="T54" fmla="*/ 129 w 492"/>
                <a:gd name="T55" fmla="*/ 40 h 561"/>
                <a:gd name="T56" fmla="*/ 114 w 492"/>
                <a:gd name="T57" fmla="*/ 45 h 561"/>
                <a:gd name="T58" fmla="*/ 104 w 492"/>
                <a:gd name="T59" fmla="*/ 34 h 561"/>
                <a:gd name="T60" fmla="*/ 101 w 492"/>
                <a:gd name="T61" fmla="*/ 47 h 561"/>
                <a:gd name="T62" fmla="*/ 94 w 492"/>
                <a:gd name="T63" fmla="*/ 61 h 561"/>
                <a:gd name="T64" fmla="*/ 89 w 492"/>
                <a:gd name="T65" fmla="*/ 71 h 561"/>
                <a:gd name="T66" fmla="*/ 87 w 492"/>
                <a:gd name="T67" fmla="*/ 58 h 561"/>
                <a:gd name="T68" fmla="*/ 73 w 492"/>
                <a:gd name="T69" fmla="*/ 51 h 561"/>
                <a:gd name="T70" fmla="*/ 65 w 492"/>
                <a:gd name="T71" fmla="*/ 39 h 561"/>
                <a:gd name="T72" fmla="*/ 58 w 492"/>
                <a:gd name="T73" fmla="*/ 51 h 561"/>
                <a:gd name="T74" fmla="*/ 50 w 492"/>
                <a:gd name="T75" fmla="*/ 63 h 561"/>
                <a:gd name="T76" fmla="*/ 35 w 492"/>
                <a:gd name="T77" fmla="*/ 63 h 561"/>
                <a:gd name="T78" fmla="*/ 19 w 492"/>
                <a:gd name="T79" fmla="*/ 69 h 561"/>
                <a:gd name="T80" fmla="*/ 18 w 492"/>
                <a:gd name="T81" fmla="*/ 100 h 561"/>
                <a:gd name="T82" fmla="*/ 14 w 492"/>
                <a:gd name="T83" fmla="*/ 134 h 561"/>
                <a:gd name="T84" fmla="*/ 31 w 492"/>
                <a:gd name="T85" fmla="*/ 180 h 561"/>
                <a:gd name="T86" fmla="*/ 86 w 492"/>
                <a:gd name="T87" fmla="*/ 147 h 561"/>
                <a:gd name="T88" fmla="*/ 139 w 492"/>
                <a:gd name="T89" fmla="*/ 179 h 561"/>
                <a:gd name="T90" fmla="*/ 162 w 492"/>
                <a:gd name="T91" fmla="*/ 237 h 561"/>
                <a:gd name="T92" fmla="*/ 207 w 492"/>
                <a:gd name="T93" fmla="*/ 276 h 561"/>
                <a:gd name="T94" fmla="*/ 251 w 492"/>
                <a:gd name="T95" fmla="*/ 307 h 561"/>
                <a:gd name="T96" fmla="*/ 289 w 492"/>
                <a:gd name="T97" fmla="*/ 317 h 561"/>
                <a:gd name="T98" fmla="*/ 334 w 492"/>
                <a:gd name="T99" fmla="*/ 346 h 561"/>
                <a:gd name="T100" fmla="*/ 357 w 492"/>
                <a:gd name="T101" fmla="*/ 374 h 561"/>
                <a:gd name="T102" fmla="*/ 395 w 492"/>
                <a:gd name="T103" fmla="*/ 418 h 561"/>
                <a:gd name="T104" fmla="*/ 390 w 492"/>
                <a:gd name="T105" fmla="*/ 463 h 561"/>
                <a:gd name="T106" fmla="*/ 75 w 492"/>
                <a:gd name="T107" fmla="*/ 342 h 561"/>
                <a:gd name="T108" fmla="*/ 126 w 492"/>
                <a:gd name="T109" fmla="*/ 355 h 561"/>
                <a:gd name="T110" fmla="*/ 113 w 492"/>
                <a:gd name="T111" fmla="*/ 441 h 561"/>
                <a:gd name="T112" fmla="*/ 71 w 492"/>
                <a:gd name="T113" fmla="*/ 446 h 561"/>
                <a:gd name="T114" fmla="*/ 73 w 492"/>
                <a:gd name="T115" fmla="*/ 395 h 561"/>
                <a:gd name="T116" fmla="*/ 57 w 492"/>
                <a:gd name="T117" fmla="*/ 358 h 5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92" h="561">
                  <a:moveTo>
                    <a:pt x="376" y="476"/>
                  </a:moveTo>
                  <a:cubicBezTo>
                    <a:pt x="377" y="483"/>
                    <a:pt x="377" y="483"/>
                    <a:pt x="377" y="483"/>
                  </a:cubicBezTo>
                  <a:cubicBezTo>
                    <a:pt x="377" y="483"/>
                    <a:pt x="371" y="493"/>
                    <a:pt x="371" y="494"/>
                  </a:cubicBezTo>
                  <a:cubicBezTo>
                    <a:pt x="371" y="495"/>
                    <a:pt x="369" y="499"/>
                    <a:pt x="367" y="502"/>
                  </a:cubicBezTo>
                  <a:cubicBezTo>
                    <a:pt x="366" y="504"/>
                    <a:pt x="360" y="512"/>
                    <a:pt x="360" y="512"/>
                  </a:cubicBezTo>
                  <a:cubicBezTo>
                    <a:pt x="360" y="512"/>
                    <a:pt x="360" y="515"/>
                    <a:pt x="362" y="517"/>
                  </a:cubicBezTo>
                  <a:cubicBezTo>
                    <a:pt x="363" y="519"/>
                    <a:pt x="366" y="522"/>
                    <a:pt x="366" y="525"/>
                  </a:cubicBezTo>
                  <a:cubicBezTo>
                    <a:pt x="366" y="527"/>
                    <a:pt x="371" y="530"/>
                    <a:pt x="371" y="530"/>
                  </a:cubicBezTo>
                  <a:cubicBezTo>
                    <a:pt x="372" y="536"/>
                    <a:pt x="372" y="536"/>
                    <a:pt x="372" y="536"/>
                  </a:cubicBezTo>
                  <a:cubicBezTo>
                    <a:pt x="372" y="536"/>
                    <a:pt x="375" y="539"/>
                    <a:pt x="375" y="540"/>
                  </a:cubicBezTo>
                  <a:cubicBezTo>
                    <a:pt x="374" y="541"/>
                    <a:pt x="369" y="546"/>
                    <a:pt x="369" y="546"/>
                  </a:cubicBezTo>
                  <a:cubicBezTo>
                    <a:pt x="368" y="552"/>
                    <a:pt x="368" y="552"/>
                    <a:pt x="368" y="552"/>
                  </a:cubicBezTo>
                  <a:cubicBezTo>
                    <a:pt x="368" y="555"/>
                    <a:pt x="368" y="555"/>
                    <a:pt x="368" y="555"/>
                  </a:cubicBezTo>
                  <a:cubicBezTo>
                    <a:pt x="368" y="555"/>
                    <a:pt x="369" y="555"/>
                    <a:pt x="368" y="558"/>
                  </a:cubicBezTo>
                  <a:cubicBezTo>
                    <a:pt x="367" y="560"/>
                    <a:pt x="367" y="560"/>
                    <a:pt x="366" y="560"/>
                  </a:cubicBezTo>
                  <a:cubicBezTo>
                    <a:pt x="365" y="561"/>
                    <a:pt x="355" y="560"/>
                    <a:pt x="355" y="560"/>
                  </a:cubicBezTo>
                  <a:cubicBezTo>
                    <a:pt x="345" y="558"/>
                    <a:pt x="345" y="558"/>
                    <a:pt x="345" y="558"/>
                  </a:cubicBezTo>
                  <a:cubicBezTo>
                    <a:pt x="345" y="558"/>
                    <a:pt x="340" y="557"/>
                    <a:pt x="338" y="556"/>
                  </a:cubicBezTo>
                  <a:cubicBezTo>
                    <a:pt x="337" y="555"/>
                    <a:pt x="335" y="554"/>
                    <a:pt x="335" y="554"/>
                  </a:cubicBezTo>
                  <a:cubicBezTo>
                    <a:pt x="332" y="545"/>
                    <a:pt x="332" y="545"/>
                    <a:pt x="332" y="545"/>
                  </a:cubicBezTo>
                  <a:cubicBezTo>
                    <a:pt x="324" y="544"/>
                    <a:pt x="324" y="544"/>
                    <a:pt x="324" y="544"/>
                  </a:cubicBezTo>
                  <a:cubicBezTo>
                    <a:pt x="304" y="541"/>
                    <a:pt x="304" y="541"/>
                    <a:pt x="304" y="541"/>
                  </a:cubicBezTo>
                  <a:cubicBezTo>
                    <a:pt x="304" y="541"/>
                    <a:pt x="297" y="535"/>
                    <a:pt x="296" y="534"/>
                  </a:cubicBezTo>
                  <a:cubicBezTo>
                    <a:pt x="294" y="533"/>
                    <a:pt x="292" y="530"/>
                    <a:pt x="292" y="530"/>
                  </a:cubicBezTo>
                  <a:cubicBezTo>
                    <a:pt x="288" y="529"/>
                    <a:pt x="288" y="529"/>
                    <a:pt x="288" y="529"/>
                  </a:cubicBezTo>
                  <a:cubicBezTo>
                    <a:pt x="280" y="521"/>
                    <a:pt x="280" y="521"/>
                    <a:pt x="280" y="521"/>
                  </a:cubicBezTo>
                  <a:cubicBezTo>
                    <a:pt x="272" y="521"/>
                    <a:pt x="272" y="521"/>
                    <a:pt x="272" y="521"/>
                  </a:cubicBezTo>
                  <a:cubicBezTo>
                    <a:pt x="266" y="517"/>
                    <a:pt x="266" y="517"/>
                    <a:pt x="266" y="517"/>
                  </a:cubicBezTo>
                  <a:cubicBezTo>
                    <a:pt x="259" y="517"/>
                    <a:pt x="259" y="517"/>
                    <a:pt x="259" y="517"/>
                  </a:cubicBezTo>
                  <a:cubicBezTo>
                    <a:pt x="259" y="517"/>
                    <a:pt x="254" y="516"/>
                    <a:pt x="254" y="515"/>
                  </a:cubicBezTo>
                  <a:cubicBezTo>
                    <a:pt x="253" y="513"/>
                    <a:pt x="247" y="510"/>
                    <a:pt x="247" y="510"/>
                  </a:cubicBezTo>
                  <a:cubicBezTo>
                    <a:pt x="247" y="510"/>
                    <a:pt x="247" y="504"/>
                    <a:pt x="247" y="503"/>
                  </a:cubicBezTo>
                  <a:cubicBezTo>
                    <a:pt x="247" y="502"/>
                    <a:pt x="248" y="492"/>
                    <a:pt x="248" y="492"/>
                  </a:cubicBezTo>
                  <a:cubicBezTo>
                    <a:pt x="252" y="487"/>
                    <a:pt x="252" y="487"/>
                    <a:pt x="252" y="487"/>
                  </a:cubicBezTo>
                  <a:cubicBezTo>
                    <a:pt x="258" y="485"/>
                    <a:pt x="258" y="485"/>
                    <a:pt x="258" y="485"/>
                  </a:cubicBezTo>
                  <a:cubicBezTo>
                    <a:pt x="260" y="489"/>
                    <a:pt x="260" y="489"/>
                    <a:pt x="260" y="489"/>
                  </a:cubicBezTo>
                  <a:cubicBezTo>
                    <a:pt x="267" y="492"/>
                    <a:pt x="267" y="492"/>
                    <a:pt x="267" y="492"/>
                  </a:cubicBezTo>
                  <a:cubicBezTo>
                    <a:pt x="271" y="489"/>
                    <a:pt x="271" y="489"/>
                    <a:pt x="271" y="489"/>
                  </a:cubicBezTo>
                  <a:cubicBezTo>
                    <a:pt x="273" y="483"/>
                    <a:pt x="273" y="483"/>
                    <a:pt x="273" y="483"/>
                  </a:cubicBezTo>
                  <a:cubicBezTo>
                    <a:pt x="279" y="481"/>
                    <a:pt x="279" y="481"/>
                    <a:pt x="279" y="481"/>
                  </a:cubicBezTo>
                  <a:cubicBezTo>
                    <a:pt x="286" y="484"/>
                    <a:pt x="286" y="484"/>
                    <a:pt x="286" y="484"/>
                  </a:cubicBezTo>
                  <a:cubicBezTo>
                    <a:pt x="291" y="489"/>
                    <a:pt x="291" y="489"/>
                    <a:pt x="291" y="489"/>
                  </a:cubicBezTo>
                  <a:cubicBezTo>
                    <a:pt x="301" y="492"/>
                    <a:pt x="301" y="492"/>
                    <a:pt x="301" y="492"/>
                  </a:cubicBezTo>
                  <a:cubicBezTo>
                    <a:pt x="310" y="490"/>
                    <a:pt x="310" y="490"/>
                    <a:pt x="310" y="490"/>
                  </a:cubicBezTo>
                  <a:cubicBezTo>
                    <a:pt x="318" y="489"/>
                    <a:pt x="318" y="489"/>
                    <a:pt x="318" y="489"/>
                  </a:cubicBezTo>
                  <a:cubicBezTo>
                    <a:pt x="318" y="489"/>
                    <a:pt x="322" y="489"/>
                    <a:pt x="324" y="489"/>
                  </a:cubicBezTo>
                  <a:cubicBezTo>
                    <a:pt x="325" y="488"/>
                    <a:pt x="331" y="486"/>
                    <a:pt x="331" y="486"/>
                  </a:cubicBezTo>
                  <a:cubicBezTo>
                    <a:pt x="341" y="483"/>
                    <a:pt x="341" y="483"/>
                    <a:pt x="341" y="483"/>
                  </a:cubicBezTo>
                  <a:cubicBezTo>
                    <a:pt x="347" y="475"/>
                    <a:pt x="347" y="475"/>
                    <a:pt x="347" y="475"/>
                  </a:cubicBezTo>
                  <a:cubicBezTo>
                    <a:pt x="355" y="478"/>
                    <a:pt x="355" y="478"/>
                    <a:pt x="355" y="478"/>
                  </a:cubicBezTo>
                  <a:cubicBezTo>
                    <a:pt x="362" y="479"/>
                    <a:pt x="362" y="479"/>
                    <a:pt x="362" y="479"/>
                  </a:cubicBezTo>
                  <a:cubicBezTo>
                    <a:pt x="365" y="474"/>
                    <a:pt x="365" y="474"/>
                    <a:pt x="365" y="474"/>
                  </a:cubicBezTo>
                  <a:cubicBezTo>
                    <a:pt x="372" y="470"/>
                    <a:pt x="372" y="470"/>
                    <a:pt x="372" y="470"/>
                  </a:cubicBezTo>
                  <a:cubicBezTo>
                    <a:pt x="376" y="476"/>
                    <a:pt x="376" y="476"/>
                    <a:pt x="376" y="476"/>
                  </a:cubicBezTo>
                  <a:close/>
                  <a:moveTo>
                    <a:pt x="388" y="469"/>
                  </a:moveTo>
                  <a:cubicBezTo>
                    <a:pt x="388" y="469"/>
                    <a:pt x="388" y="469"/>
                    <a:pt x="388" y="469"/>
                  </a:cubicBezTo>
                  <a:cubicBezTo>
                    <a:pt x="384" y="473"/>
                    <a:pt x="384" y="473"/>
                    <a:pt x="384" y="473"/>
                  </a:cubicBezTo>
                  <a:cubicBezTo>
                    <a:pt x="380" y="476"/>
                    <a:pt x="380" y="476"/>
                    <a:pt x="380" y="476"/>
                  </a:cubicBezTo>
                  <a:cubicBezTo>
                    <a:pt x="380" y="476"/>
                    <a:pt x="381" y="480"/>
                    <a:pt x="381" y="482"/>
                  </a:cubicBezTo>
                  <a:cubicBezTo>
                    <a:pt x="382" y="484"/>
                    <a:pt x="385" y="489"/>
                    <a:pt x="385" y="489"/>
                  </a:cubicBezTo>
                  <a:cubicBezTo>
                    <a:pt x="395" y="489"/>
                    <a:pt x="395" y="489"/>
                    <a:pt x="395" y="489"/>
                  </a:cubicBezTo>
                  <a:cubicBezTo>
                    <a:pt x="402" y="485"/>
                    <a:pt x="402" y="485"/>
                    <a:pt x="402" y="485"/>
                  </a:cubicBezTo>
                  <a:cubicBezTo>
                    <a:pt x="403" y="478"/>
                    <a:pt x="403" y="478"/>
                    <a:pt x="403" y="478"/>
                  </a:cubicBezTo>
                  <a:cubicBezTo>
                    <a:pt x="406" y="471"/>
                    <a:pt x="406" y="471"/>
                    <a:pt x="406" y="471"/>
                  </a:cubicBezTo>
                  <a:cubicBezTo>
                    <a:pt x="412" y="467"/>
                    <a:pt x="412" y="467"/>
                    <a:pt x="412" y="467"/>
                  </a:cubicBezTo>
                  <a:cubicBezTo>
                    <a:pt x="417" y="462"/>
                    <a:pt x="417" y="462"/>
                    <a:pt x="417" y="462"/>
                  </a:cubicBezTo>
                  <a:cubicBezTo>
                    <a:pt x="420" y="457"/>
                    <a:pt x="420" y="457"/>
                    <a:pt x="420" y="457"/>
                  </a:cubicBezTo>
                  <a:cubicBezTo>
                    <a:pt x="421" y="444"/>
                    <a:pt x="421" y="444"/>
                    <a:pt x="421" y="444"/>
                  </a:cubicBezTo>
                  <a:cubicBezTo>
                    <a:pt x="424" y="434"/>
                    <a:pt x="424" y="434"/>
                    <a:pt x="424" y="434"/>
                  </a:cubicBezTo>
                  <a:cubicBezTo>
                    <a:pt x="440" y="428"/>
                    <a:pt x="440" y="428"/>
                    <a:pt x="440" y="428"/>
                  </a:cubicBezTo>
                  <a:cubicBezTo>
                    <a:pt x="443" y="426"/>
                    <a:pt x="443" y="426"/>
                    <a:pt x="443" y="426"/>
                  </a:cubicBezTo>
                  <a:cubicBezTo>
                    <a:pt x="443" y="426"/>
                    <a:pt x="443" y="424"/>
                    <a:pt x="442" y="422"/>
                  </a:cubicBezTo>
                  <a:cubicBezTo>
                    <a:pt x="442" y="421"/>
                    <a:pt x="439" y="418"/>
                    <a:pt x="439" y="418"/>
                  </a:cubicBezTo>
                  <a:cubicBezTo>
                    <a:pt x="439" y="418"/>
                    <a:pt x="440" y="415"/>
                    <a:pt x="440" y="414"/>
                  </a:cubicBezTo>
                  <a:cubicBezTo>
                    <a:pt x="440" y="413"/>
                    <a:pt x="439" y="406"/>
                    <a:pt x="439" y="406"/>
                  </a:cubicBezTo>
                  <a:cubicBezTo>
                    <a:pt x="437" y="399"/>
                    <a:pt x="437" y="399"/>
                    <a:pt x="437" y="399"/>
                  </a:cubicBezTo>
                  <a:cubicBezTo>
                    <a:pt x="437" y="399"/>
                    <a:pt x="435" y="399"/>
                    <a:pt x="432" y="397"/>
                  </a:cubicBezTo>
                  <a:cubicBezTo>
                    <a:pt x="429" y="396"/>
                    <a:pt x="424" y="393"/>
                    <a:pt x="424" y="393"/>
                  </a:cubicBezTo>
                  <a:cubicBezTo>
                    <a:pt x="419" y="391"/>
                    <a:pt x="419" y="391"/>
                    <a:pt x="419" y="391"/>
                  </a:cubicBezTo>
                  <a:cubicBezTo>
                    <a:pt x="413" y="390"/>
                    <a:pt x="413" y="390"/>
                    <a:pt x="413" y="390"/>
                  </a:cubicBezTo>
                  <a:cubicBezTo>
                    <a:pt x="411" y="385"/>
                    <a:pt x="411" y="385"/>
                    <a:pt x="411" y="385"/>
                  </a:cubicBezTo>
                  <a:cubicBezTo>
                    <a:pt x="415" y="371"/>
                    <a:pt x="415" y="371"/>
                    <a:pt x="415" y="371"/>
                  </a:cubicBezTo>
                  <a:cubicBezTo>
                    <a:pt x="412" y="364"/>
                    <a:pt x="412" y="364"/>
                    <a:pt x="412" y="364"/>
                  </a:cubicBezTo>
                  <a:cubicBezTo>
                    <a:pt x="421" y="354"/>
                    <a:pt x="421" y="354"/>
                    <a:pt x="421" y="354"/>
                  </a:cubicBezTo>
                  <a:cubicBezTo>
                    <a:pt x="425" y="347"/>
                    <a:pt x="425" y="347"/>
                    <a:pt x="425" y="347"/>
                  </a:cubicBezTo>
                  <a:cubicBezTo>
                    <a:pt x="430" y="343"/>
                    <a:pt x="430" y="343"/>
                    <a:pt x="430" y="343"/>
                  </a:cubicBezTo>
                  <a:cubicBezTo>
                    <a:pt x="438" y="345"/>
                    <a:pt x="438" y="345"/>
                    <a:pt x="438" y="345"/>
                  </a:cubicBezTo>
                  <a:cubicBezTo>
                    <a:pt x="441" y="349"/>
                    <a:pt x="441" y="349"/>
                    <a:pt x="441" y="349"/>
                  </a:cubicBezTo>
                  <a:cubicBezTo>
                    <a:pt x="446" y="350"/>
                    <a:pt x="446" y="350"/>
                    <a:pt x="446" y="350"/>
                  </a:cubicBezTo>
                  <a:cubicBezTo>
                    <a:pt x="455" y="350"/>
                    <a:pt x="455" y="350"/>
                    <a:pt x="455" y="350"/>
                  </a:cubicBezTo>
                  <a:cubicBezTo>
                    <a:pt x="465" y="352"/>
                    <a:pt x="465" y="352"/>
                    <a:pt x="465" y="352"/>
                  </a:cubicBezTo>
                  <a:cubicBezTo>
                    <a:pt x="469" y="358"/>
                    <a:pt x="469" y="358"/>
                    <a:pt x="469" y="358"/>
                  </a:cubicBezTo>
                  <a:cubicBezTo>
                    <a:pt x="473" y="365"/>
                    <a:pt x="473" y="365"/>
                    <a:pt x="473" y="365"/>
                  </a:cubicBezTo>
                  <a:cubicBezTo>
                    <a:pt x="473" y="365"/>
                    <a:pt x="475" y="368"/>
                    <a:pt x="476" y="369"/>
                  </a:cubicBezTo>
                  <a:cubicBezTo>
                    <a:pt x="476" y="369"/>
                    <a:pt x="480" y="372"/>
                    <a:pt x="481" y="372"/>
                  </a:cubicBezTo>
                  <a:cubicBezTo>
                    <a:pt x="482" y="373"/>
                    <a:pt x="488" y="374"/>
                    <a:pt x="488" y="374"/>
                  </a:cubicBezTo>
                  <a:cubicBezTo>
                    <a:pt x="488" y="374"/>
                    <a:pt x="488" y="367"/>
                    <a:pt x="489" y="365"/>
                  </a:cubicBezTo>
                  <a:cubicBezTo>
                    <a:pt x="490" y="364"/>
                    <a:pt x="492" y="360"/>
                    <a:pt x="492" y="359"/>
                  </a:cubicBezTo>
                  <a:cubicBezTo>
                    <a:pt x="492" y="358"/>
                    <a:pt x="490" y="351"/>
                    <a:pt x="490" y="351"/>
                  </a:cubicBezTo>
                  <a:cubicBezTo>
                    <a:pt x="483" y="343"/>
                    <a:pt x="483" y="343"/>
                    <a:pt x="483" y="343"/>
                  </a:cubicBezTo>
                  <a:cubicBezTo>
                    <a:pt x="476" y="338"/>
                    <a:pt x="476" y="338"/>
                    <a:pt x="476" y="338"/>
                  </a:cubicBezTo>
                  <a:cubicBezTo>
                    <a:pt x="459" y="327"/>
                    <a:pt x="459" y="327"/>
                    <a:pt x="459" y="327"/>
                  </a:cubicBezTo>
                  <a:cubicBezTo>
                    <a:pt x="435" y="319"/>
                    <a:pt x="435" y="319"/>
                    <a:pt x="435" y="319"/>
                  </a:cubicBezTo>
                  <a:cubicBezTo>
                    <a:pt x="419" y="309"/>
                    <a:pt x="419" y="309"/>
                    <a:pt x="419" y="309"/>
                  </a:cubicBezTo>
                  <a:cubicBezTo>
                    <a:pt x="406" y="306"/>
                    <a:pt x="406" y="306"/>
                    <a:pt x="406" y="306"/>
                  </a:cubicBezTo>
                  <a:cubicBezTo>
                    <a:pt x="406" y="306"/>
                    <a:pt x="392" y="299"/>
                    <a:pt x="391" y="299"/>
                  </a:cubicBezTo>
                  <a:cubicBezTo>
                    <a:pt x="390" y="299"/>
                    <a:pt x="387" y="298"/>
                    <a:pt x="387" y="298"/>
                  </a:cubicBezTo>
                  <a:cubicBezTo>
                    <a:pt x="387" y="298"/>
                    <a:pt x="379" y="296"/>
                    <a:pt x="379" y="295"/>
                  </a:cubicBezTo>
                  <a:cubicBezTo>
                    <a:pt x="378" y="294"/>
                    <a:pt x="377" y="291"/>
                    <a:pt x="376" y="290"/>
                  </a:cubicBezTo>
                  <a:cubicBezTo>
                    <a:pt x="376" y="289"/>
                    <a:pt x="377" y="286"/>
                    <a:pt x="377" y="286"/>
                  </a:cubicBezTo>
                  <a:cubicBezTo>
                    <a:pt x="381" y="282"/>
                    <a:pt x="381" y="282"/>
                    <a:pt x="381" y="282"/>
                  </a:cubicBezTo>
                  <a:cubicBezTo>
                    <a:pt x="381" y="282"/>
                    <a:pt x="385" y="278"/>
                    <a:pt x="385" y="277"/>
                  </a:cubicBezTo>
                  <a:cubicBezTo>
                    <a:pt x="385" y="276"/>
                    <a:pt x="386" y="270"/>
                    <a:pt x="386" y="270"/>
                  </a:cubicBezTo>
                  <a:cubicBezTo>
                    <a:pt x="381" y="268"/>
                    <a:pt x="381" y="268"/>
                    <a:pt x="381" y="268"/>
                  </a:cubicBezTo>
                  <a:cubicBezTo>
                    <a:pt x="369" y="269"/>
                    <a:pt x="369" y="269"/>
                    <a:pt x="369" y="269"/>
                  </a:cubicBezTo>
                  <a:cubicBezTo>
                    <a:pt x="350" y="271"/>
                    <a:pt x="350" y="271"/>
                    <a:pt x="350" y="271"/>
                  </a:cubicBezTo>
                  <a:cubicBezTo>
                    <a:pt x="340" y="271"/>
                    <a:pt x="340" y="271"/>
                    <a:pt x="340" y="271"/>
                  </a:cubicBezTo>
                  <a:cubicBezTo>
                    <a:pt x="327" y="263"/>
                    <a:pt x="327" y="263"/>
                    <a:pt x="327" y="263"/>
                  </a:cubicBezTo>
                  <a:cubicBezTo>
                    <a:pt x="316" y="254"/>
                    <a:pt x="316" y="254"/>
                    <a:pt x="316" y="254"/>
                  </a:cubicBezTo>
                  <a:cubicBezTo>
                    <a:pt x="309" y="250"/>
                    <a:pt x="309" y="250"/>
                    <a:pt x="309" y="250"/>
                  </a:cubicBezTo>
                  <a:cubicBezTo>
                    <a:pt x="299" y="239"/>
                    <a:pt x="299" y="239"/>
                    <a:pt x="299" y="239"/>
                  </a:cubicBezTo>
                  <a:cubicBezTo>
                    <a:pt x="294" y="232"/>
                    <a:pt x="294" y="232"/>
                    <a:pt x="294" y="232"/>
                  </a:cubicBezTo>
                  <a:cubicBezTo>
                    <a:pt x="294" y="232"/>
                    <a:pt x="291" y="222"/>
                    <a:pt x="290" y="218"/>
                  </a:cubicBezTo>
                  <a:cubicBezTo>
                    <a:pt x="289" y="215"/>
                    <a:pt x="281" y="204"/>
                    <a:pt x="281" y="204"/>
                  </a:cubicBezTo>
                  <a:cubicBezTo>
                    <a:pt x="281" y="204"/>
                    <a:pt x="277" y="195"/>
                    <a:pt x="277" y="194"/>
                  </a:cubicBezTo>
                  <a:cubicBezTo>
                    <a:pt x="277" y="193"/>
                    <a:pt x="275" y="186"/>
                    <a:pt x="275" y="186"/>
                  </a:cubicBezTo>
                  <a:cubicBezTo>
                    <a:pt x="262" y="180"/>
                    <a:pt x="262" y="180"/>
                    <a:pt x="262" y="180"/>
                  </a:cubicBezTo>
                  <a:cubicBezTo>
                    <a:pt x="245" y="170"/>
                    <a:pt x="245" y="170"/>
                    <a:pt x="245" y="170"/>
                  </a:cubicBezTo>
                  <a:cubicBezTo>
                    <a:pt x="231" y="161"/>
                    <a:pt x="231" y="161"/>
                    <a:pt x="231" y="161"/>
                  </a:cubicBezTo>
                  <a:cubicBezTo>
                    <a:pt x="224" y="151"/>
                    <a:pt x="224" y="151"/>
                    <a:pt x="224" y="151"/>
                  </a:cubicBezTo>
                  <a:cubicBezTo>
                    <a:pt x="218" y="135"/>
                    <a:pt x="218" y="135"/>
                    <a:pt x="218" y="135"/>
                  </a:cubicBezTo>
                  <a:cubicBezTo>
                    <a:pt x="217" y="122"/>
                    <a:pt x="217" y="122"/>
                    <a:pt x="217" y="122"/>
                  </a:cubicBezTo>
                  <a:cubicBezTo>
                    <a:pt x="224" y="119"/>
                    <a:pt x="224" y="119"/>
                    <a:pt x="224" y="119"/>
                  </a:cubicBezTo>
                  <a:cubicBezTo>
                    <a:pt x="224" y="113"/>
                    <a:pt x="224" y="113"/>
                    <a:pt x="224" y="113"/>
                  </a:cubicBezTo>
                  <a:cubicBezTo>
                    <a:pt x="218" y="109"/>
                    <a:pt x="218" y="109"/>
                    <a:pt x="218" y="109"/>
                  </a:cubicBezTo>
                  <a:cubicBezTo>
                    <a:pt x="218" y="103"/>
                    <a:pt x="218" y="103"/>
                    <a:pt x="218" y="103"/>
                  </a:cubicBezTo>
                  <a:cubicBezTo>
                    <a:pt x="215" y="101"/>
                    <a:pt x="215" y="101"/>
                    <a:pt x="215" y="101"/>
                  </a:cubicBezTo>
                  <a:cubicBezTo>
                    <a:pt x="211" y="96"/>
                    <a:pt x="211" y="96"/>
                    <a:pt x="211" y="96"/>
                  </a:cubicBezTo>
                  <a:cubicBezTo>
                    <a:pt x="219" y="92"/>
                    <a:pt x="219" y="92"/>
                    <a:pt x="219" y="92"/>
                  </a:cubicBezTo>
                  <a:cubicBezTo>
                    <a:pt x="219" y="92"/>
                    <a:pt x="222" y="88"/>
                    <a:pt x="226" y="88"/>
                  </a:cubicBezTo>
                  <a:cubicBezTo>
                    <a:pt x="230" y="88"/>
                    <a:pt x="233" y="84"/>
                    <a:pt x="233" y="84"/>
                  </a:cubicBezTo>
                  <a:cubicBezTo>
                    <a:pt x="233" y="84"/>
                    <a:pt x="236" y="81"/>
                    <a:pt x="237" y="81"/>
                  </a:cubicBezTo>
                  <a:cubicBezTo>
                    <a:pt x="239" y="81"/>
                    <a:pt x="241" y="80"/>
                    <a:pt x="243" y="79"/>
                  </a:cubicBezTo>
                  <a:cubicBezTo>
                    <a:pt x="244" y="79"/>
                    <a:pt x="247" y="78"/>
                    <a:pt x="247" y="78"/>
                  </a:cubicBezTo>
                  <a:cubicBezTo>
                    <a:pt x="247" y="77"/>
                    <a:pt x="248" y="70"/>
                    <a:pt x="249" y="70"/>
                  </a:cubicBezTo>
                  <a:cubicBezTo>
                    <a:pt x="250" y="70"/>
                    <a:pt x="252" y="74"/>
                    <a:pt x="255" y="74"/>
                  </a:cubicBezTo>
                  <a:cubicBezTo>
                    <a:pt x="256" y="74"/>
                    <a:pt x="258" y="76"/>
                    <a:pt x="259" y="75"/>
                  </a:cubicBezTo>
                  <a:cubicBezTo>
                    <a:pt x="261" y="74"/>
                    <a:pt x="262" y="71"/>
                    <a:pt x="262" y="71"/>
                  </a:cubicBezTo>
                  <a:cubicBezTo>
                    <a:pt x="263" y="70"/>
                    <a:pt x="264" y="69"/>
                    <a:pt x="267" y="68"/>
                  </a:cubicBezTo>
                  <a:cubicBezTo>
                    <a:pt x="267" y="68"/>
                    <a:pt x="267" y="68"/>
                    <a:pt x="267" y="68"/>
                  </a:cubicBezTo>
                  <a:cubicBezTo>
                    <a:pt x="267" y="68"/>
                    <a:pt x="265" y="67"/>
                    <a:pt x="265" y="67"/>
                  </a:cubicBezTo>
                  <a:cubicBezTo>
                    <a:pt x="265" y="66"/>
                    <a:pt x="265" y="66"/>
                    <a:pt x="266" y="65"/>
                  </a:cubicBezTo>
                  <a:cubicBezTo>
                    <a:pt x="266" y="64"/>
                    <a:pt x="266" y="64"/>
                    <a:pt x="267" y="63"/>
                  </a:cubicBezTo>
                  <a:cubicBezTo>
                    <a:pt x="267" y="63"/>
                    <a:pt x="267" y="61"/>
                    <a:pt x="267" y="61"/>
                  </a:cubicBezTo>
                  <a:cubicBezTo>
                    <a:pt x="267" y="61"/>
                    <a:pt x="268" y="60"/>
                    <a:pt x="267" y="60"/>
                  </a:cubicBezTo>
                  <a:cubicBezTo>
                    <a:pt x="267" y="59"/>
                    <a:pt x="266" y="58"/>
                    <a:pt x="266" y="58"/>
                  </a:cubicBezTo>
                  <a:cubicBezTo>
                    <a:pt x="266" y="58"/>
                    <a:pt x="266" y="58"/>
                    <a:pt x="265" y="58"/>
                  </a:cubicBezTo>
                  <a:cubicBezTo>
                    <a:pt x="265" y="59"/>
                    <a:pt x="265" y="59"/>
                    <a:pt x="265" y="59"/>
                  </a:cubicBezTo>
                  <a:cubicBezTo>
                    <a:pt x="263" y="60"/>
                    <a:pt x="263" y="60"/>
                    <a:pt x="263" y="60"/>
                  </a:cubicBezTo>
                  <a:cubicBezTo>
                    <a:pt x="263" y="60"/>
                    <a:pt x="262" y="58"/>
                    <a:pt x="262" y="58"/>
                  </a:cubicBezTo>
                  <a:cubicBezTo>
                    <a:pt x="261" y="58"/>
                    <a:pt x="261" y="58"/>
                    <a:pt x="261" y="57"/>
                  </a:cubicBezTo>
                  <a:cubicBezTo>
                    <a:pt x="261" y="57"/>
                    <a:pt x="262" y="56"/>
                    <a:pt x="262" y="56"/>
                  </a:cubicBezTo>
                  <a:cubicBezTo>
                    <a:pt x="262" y="56"/>
                    <a:pt x="261" y="55"/>
                    <a:pt x="261" y="55"/>
                  </a:cubicBezTo>
                  <a:cubicBezTo>
                    <a:pt x="261" y="55"/>
                    <a:pt x="262" y="53"/>
                    <a:pt x="263" y="53"/>
                  </a:cubicBezTo>
                  <a:cubicBezTo>
                    <a:pt x="264" y="52"/>
                    <a:pt x="266" y="50"/>
                    <a:pt x="266" y="50"/>
                  </a:cubicBezTo>
                  <a:cubicBezTo>
                    <a:pt x="267" y="48"/>
                    <a:pt x="267" y="48"/>
                    <a:pt x="267" y="48"/>
                  </a:cubicBezTo>
                  <a:cubicBezTo>
                    <a:pt x="266" y="47"/>
                    <a:pt x="266" y="47"/>
                    <a:pt x="266" y="47"/>
                  </a:cubicBezTo>
                  <a:cubicBezTo>
                    <a:pt x="266" y="47"/>
                    <a:pt x="265" y="48"/>
                    <a:pt x="265" y="48"/>
                  </a:cubicBezTo>
                  <a:cubicBezTo>
                    <a:pt x="263" y="47"/>
                    <a:pt x="263" y="47"/>
                    <a:pt x="263" y="47"/>
                  </a:cubicBezTo>
                  <a:cubicBezTo>
                    <a:pt x="261" y="46"/>
                    <a:pt x="261" y="46"/>
                    <a:pt x="261" y="46"/>
                  </a:cubicBezTo>
                  <a:cubicBezTo>
                    <a:pt x="258" y="46"/>
                    <a:pt x="258" y="46"/>
                    <a:pt x="258" y="46"/>
                  </a:cubicBezTo>
                  <a:cubicBezTo>
                    <a:pt x="256" y="44"/>
                    <a:pt x="256" y="44"/>
                    <a:pt x="256" y="44"/>
                  </a:cubicBezTo>
                  <a:cubicBezTo>
                    <a:pt x="257" y="42"/>
                    <a:pt x="257" y="42"/>
                    <a:pt x="257" y="42"/>
                  </a:cubicBezTo>
                  <a:cubicBezTo>
                    <a:pt x="257" y="40"/>
                    <a:pt x="257" y="40"/>
                    <a:pt x="257" y="40"/>
                  </a:cubicBezTo>
                  <a:cubicBezTo>
                    <a:pt x="257" y="40"/>
                    <a:pt x="259" y="38"/>
                    <a:pt x="259" y="38"/>
                  </a:cubicBezTo>
                  <a:cubicBezTo>
                    <a:pt x="260" y="37"/>
                    <a:pt x="262" y="36"/>
                    <a:pt x="262" y="36"/>
                  </a:cubicBezTo>
                  <a:cubicBezTo>
                    <a:pt x="263" y="34"/>
                    <a:pt x="263" y="34"/>
                    <a:pt x="263" y="34"/>
                  </a:cubicBezTo>
                  <a:cubicBezTo>
                    <a:pt x="263" y="34"/>
                    <a:pt x="264" y="33"/>
                    <a:pt x="265" y="33"/>
                  </a:cubicBezTo>
                  <a:cubicBezTo>
                    <a:pt x="266" y="33"/>
                    <a:pt x="266" y="34"/>
                    <a:pt x="266" y="33"/>
                  </a:cubicBezTo>
                  <a:cubicBezTo>
                    <a:pt x="267" y="33"/>
                    <a:pt x="267" y="31"/>
                    <a:pt x="267" y="30"/>
                  </a:cubicBezTo>
                  <a:cubicBezTo>
                    <a:pt x="267" y="27"/>
                    <a:pt x="267" y="27"/>
                    <a:pt x="267" y="27"/>
                  </a:cubicBezTo>
                  <a:cubicBezTo>
                    <a:pt x="262" y="28"/>
                    <a:pt x="262" y="28"/>
                    <a:pt x="262" y="28"/>
                  </a:cubicBezTo>
                  <a:cubicBezTo>
                    <a:pt x="262" y="28"/>
                    <a:pt x="257" y="27"/>
                    <a:pt x="254" y="27"/>
                  </a:cubicBezTo>
                  <a:cubicBezTo>
                    <a:pt x="250" y="27"/>
                    <a:pt x="242" y="25"/>
                    <a:pt x="242" y="25"/>
                  </a:cubicBezTo>
                  <a:cubicBezTo>
                    <a:pt x="232" y="22"/>
                    <a:pt x="232" y="22"/>
                    <a:pt x="232" y="22"/>
                  </a:cubicBezTo>
                  <a:cubicBezTo>
                    <a:pt x="226" y="22"/>
                    <a:pt x="226" y="22"/>
                    <a:pt x="226" y="22"/>
                  </a:cubicBezTo>
                  <a:cubicBezTo>
                    <a:pt x="217" y="21"/>
                    <a:pt x="217" y="21"/>
                    <a:pt x="217" y="21"/>
                  </a:cubicBezTo>
                  <a:cubicBezTo>
                    <a:pt x="217" y="21"/>
                    <a:pt x="216" y="19"/>
                    <a:pt x="215" y="18"/>
                  </a:cubicBezTo>
                  <a:cubicBezTo>
                    <a:pt x="215" y="17"/>
                    <a:pt x="212" y="15"/>
                    <a:pt x="212" y="15"/>
                  </a:cubicBezTo>
                  <a:cubicBezTo>
                    <a:pt x="212" y="13"/>
                    <a:pt x="212" y="13"/>
                    <a:pt x="212" y="13"/>
                  </a:cubicBezTo>
                  <a:cubicBezTo>
                    <a:pt x="210" y="8"/>
                    <a:pt x="210" y="8"/>
                    <a:pt x="210" y="8"/>
                  </a:cubicBezTo>
                  <a:cubicBezTo>
                    <a:pt x="208" y="4"/>
                    <a:pt x="208" y="4"/>
                    <a:pt x="208" y="4"/>
                  </a:cubicBezTo>
                  <a:cubicBezTo>
                    <a:pt x="210" y="1"/>
                    <a:pt x="210" y="1"/>
                    <a:pt x="210" y="1"/>
                  </a:cubicBezTo>
                  <a:cubicBezTo>
                    <a:pt x="208" y="0"/>
                    <a:pt x="208" y="0"/>
                    <a:pt x="208" y="0"/>
                  </a:cubicBezTo>
                  <a:cubicBezTo>
                    <a:pt x="208" y="0"/>
                    <a:pt x="204" y="1"/>
                    <a:pt x="202" y="1"/>
                  </a:cubicBezTo>
                  <a:cubicBezTo>
                    <a:pt x="201" y="2"/>
                    <a:pt x="195" y="3"/>
                    <a:pt x="195" y="3"/>
                  </a:cubicBezTo>
                  <a:cubicBezTo>
                    <a:pt x="193" y="4"/>
                    <a:pt x="193" y="4"/>
                    <a:pt x="193" y="4"/>
                  </a:cubicBezTo>
                  <a:cubicBezTo>
                    <a:pt x="185" y="4"/>
                    <a:pt x="185" y="4"/>
                    <a:pt x="185" y="4"/>
                  </a:cubicBezTo>
                  <a:cubicBezTo>
                    <a:pt x="177" y="5"/>
                    <a:pt x="177" y="5"/>
                    <a:pt x="177" y="5"/>
                  </a:cubicBezTo>
                  <a:cubicBezTo>
                    <a:pt x="174" y="7"/>
                    <a:pt x="174" y="7"/>
                    <a:pt x="174" y="7"/>
                  </a:cubicBezTo>
                  <a:cubicBezTo>
                    <a:pt x="168" y="10"/>
                    <a:pt x="168" y="10"/>
                    <a:pt x="168" y="10"/>
                  </a:cubicBezTo>
                  <a:cubicBezTo>
                    <a:pt x="168" y="14"/>
                    <a:pt x="168" y="14"/>
                    <a:pt x="168" y="14"/>
                  </a:cubicBezTo>
                  <a:cubicBezTo>
                    <a:pt x="165" y="18"/>
                    <a:pt x="165" y="18"/>
                    <a:pt x="165" y="18"/>
                  </a:cubicBezTo>
                  <a:cubicBezTo>
                    <a:pt x="160" y="18"/>
                    <a:pt x="160" y="18"/>
                    <a:pt x="160" y="18"/>
                  </a:cubicBezTo>
                  <a:cubicBezTo>
                    <a:pt x="155" y="14"/>
                    <a:pt x="155" y="14"/>
                    <a:pt x="155" y="14"/>
                  </a:cubicBezTo>
                  <a:cubicBezTo>
                    <a:pt x="153" y="16"/>
                    <a:pt x="153" y="16"/>
                    <a:pt x="153" y="16"/>
                  </a:cubicBezTo>
                  <a:cubicBezTo>
                    <a:pt x="148" y="15"/>
                    <a:pt x="148" y="15"/>
                    <a:pt x="148" y="15"/>
                  </a:cubicBezTo>
                  <a:cubicBezTo>
                    <a:pt x="147" y="15"/>
                    <a:pt x="147" y="15"/>
                    <a:pt x="147" y="15"/>
                  </a:cubicBezTo>
                  <a:cubicBezTo>
                    <a:pt x="146" y="15"/>
                    <a:pt x="146" y="15"/>
                    <a:pt x="146" y="15"/>
                  </a:cubicBezTo>
                  <a:cubicBezTo>
                    <a:pt x="146" y="15"/>
                    <a:pt x="145" y="16"/>
                    <a:pt x="145" y="16"/>
                  </a:cubicBezTo>
                  <a:cubicBezTo>
                    <a:pt x="146" y="18"/>
                    <a:pt x="146" y="18"/>
                    <a:pt x="146" y="18"/>
                  </a:cubicBezTo>
                  <a:cubicBezTo>
                    <a:pt x="145" y="19"/>
                    <a:pt x="145" y="19"/>
                    <a:pt x="145" y="19"/>
                  </a:cubicBezTo>
                  <a:cubicBezTo>
                    <a:pt x="146" y="21"/>
                    <a:pt x="146" y="21"/>
                    <a:pt x="146" y="21"/>
                  </a:cubicBezTo>
                  <a:cubicBezTo>
                    <a:pt x="146" y="21"/>
                    <a:pt x="145" y="22"/>
                    <a:pt x="144" y="23"/>
                  </a:cubicBezTo>
                  <a:cubicBezTo>
                    <a:pt x="143" y="23"/>
                    <a:pt x="145" y="25"/>
                    <a:pt x="145" y="25"/>
                  </a:cubicBezTo>
                  <a:cubicBezTo>
                    <a:pt x="145" y="25"/>
                    <a:pt x="146" y="25"/>
                    <a:pt x="148" y="26"/>
                  </a:cubicBezTo>
                  <a:cubicBezTo>
                    <a:pt x="149" y="27"/>
                    <a:pt x="148" y="27"/>
                    <a:pt x="148" y="27"/>
                  </a:cubicBezTo>
                  <a:cubicBezTo>
                    <a:pt x="148" y="28"/>
                    <a:pt x="148" y="29"/>
                    <a:pt x="147" y="29"/>
                  </a:cubicBezTo>
                  <a:cubicBezTo>
                    <a:pt x="147" y="30"/>
                    <a:pt x="147" y="30"/>
                    <a:pt x="147" y="30"/>
                  </a:cubicBezTo>
                  <a:cubicBezTo>
                    <a:pt x="146" y="30"/>
                    <a:pt x="146" y="30"/>
                    <a:pt x="146" y="30"/>
                  </a:cubicBezTo>
                  <a:cubicBezTo>
                    <a:pt x="146" y="30"/>
                    <a:pt x="143" y="31"/>
                    <a:pt x="143" y="30"/>
                  </a:cubicBezTo>
                  <a:cubicBezTo>
                    <a:pt x="142" y="30"/>
                    <a:pt x="143" y="30"/>
                    <a:pt x="143" y="30"/>
                  </a:cubicBezTo>
                  <a:cubicBezTo>
                    <a:pt x="142" y="30"/>
                    <a:pt x="142" y="30"/>
                    <a:pt x="142" y="30"/>
                  </a:cubicBezTo>
                  <a:cubicBezTo>
                    <a:pt x="142" y="30"/>
                    <a:pt x="139" y="28"/>
                    <a:pt x="139" y="28"/>
                  </a:cubicBezTo>
                  <a:cubicBezTo>
                    <a:pt x="139" y="27"/>
                    <a:pt x="139" y="27"/>
                    <a:pt x="139" y="27"/>
                  </a:cubicBezTo>
                  <a:cubicBezTo>
                    <a:pt x="139" y="27"/>
                    <a:pt x="138" y="26"/>
                    <a:pt x="138" y="26"/>
                  </a:cubicBezTo>
                  <a:cubicBezTo>
                    <a:pt x="137" y="26"/>
                    <a:pt x="137" y="27"/>
                    <a:pt x="137" y="27"/>
                  </a:cubicBezTo>
                  <a:cubicBezTo>
                    <a:pt x="136" y="27"/>
                    <a:pt x="135" y="27"/>
                    <a:pt x="134" y="27"/>
                  </a:cubicBezTo>
                  <a:cubicBezTo>
                    <a:pt x="134" y="27"/>
                    <a:pt x="134" y="28"/>
                    <a:pt x="133" y="28"/>
                  </a:cubicBezTo>
                  <a:cubicBezTo>
                    <a:pt x="133" y="29"/>
                    <a:pt x="133" y="29"/>
                    <a:pt x="133" y="30"/>
                  </a:cubicBezTo>
                  <a:cubicBezTo>
                    <a:pt x="132" y="30"/>
                    <a:pt x="132" y="31"/>
                    <a:pt x="132" y="31"/>
                  </a:cubicBezTo>
                  <a:cubicBezTo>
                    <a:pt x="132" y="32"/>
                    <a:pt x="132" y="32"/>
                    <a:pt x="132" y="32"/>
                  </a:cubicBezTo>
                  <a:cubicBezTo>
                    <a:pt x="131" y="34"/>
                    <a:pt x="131" y="34"/>
                    <a:pt x="131" y="34"/>
                  </a:cubicBezTo>
                  <a:cubicBezTo>
                    <a:pt x="132" y="34"/>
                    <a:pt x="132" y="34"/>
                    <a:pt x="132" y="34"/>
                  </a:cubicBezTo>
                  <a:cubicBezTo>
                    <a:pt x="132" y="34"/>
                    <a:pt x="132" y="36"/>
                    <a:pt x="132" y="36"/>
                  </a:cubicBezTo>
                  <a:cubicBezTo>
                    <a:pt x="132" y="37"/>
                    <a:pt x="132" y="37"/>
                    <a:pt x="132" y="37"/>
                  </a:cubicBezTo>
                  <a:cubicBezTo>
                    <a:pt x="133" y="38"/>
                    <a:pt x="134" y="37"/>
                    <a:pt x="134" y="37"/>
                  </a:cubicBezTo>
                  <a:cubicBezTo>
                    <a:pt x="134" y="37"/>
                    <a:pt x="135" y="38"/>
                    <a:pt x="135" y="39"/>
                  </a:cubicBezTo>
                  <a:cubicBezTo>
                    <a:pt x="136" y="39"/>
                    <a:pt x="135" y="40"/>
                    <a:pt x="135" y="40"/>
                  </a:cubicBezTo>
                  <a:cubicBezTo>
                    <a:pt x="135" y="40"/>
                    <a:pt x="134" y="41"/>
                    <a:pt x="134" y="41"/>
                  </a:cubicBezTo>
                  <a:cubicBezTo>
                    <a:pt x="133" y="41"/>
                    <a:pt x="133" y="41"/>
                    <a:pt x="134" y="42"/>
                  </a:cubicBezTo>
                  <a:cubicBezTo>
                    <a:pt x="134" y="43"/>
                    <a:pt x="135" y="43"/>
                    <a:pt x="135" y="43"/>
                  </a:cubicBezTo>
                  <a:cubicBezTo>
                    <a:pt x="136" y="43"/>
                    <a:pt x="136" y="46"/>
                    <a:pt x="136" y="46"/>
                  </a:cubicBezTo>
                  <a:cubicBezTo>
                    <a:pt x="136" y="47"/>
                    <a:pt x="135" y="48"/>
                    <a:pt x="135" y="48"/>
                  </a:cubicBezTo>
                  <a:cubicBezTo>
                    <a:pt x="135" y="48"/>
                    <a:pt x="135" y="48"/>
                    <a:pt x="135" y="48"/>
                  </a:cubicBezTo>
                  <a:cubicBezTo>
                    <a:pt x="134" y="48"/>
                    <a:pt x="134" y="48"/>
                    <a:pt x="134" y="49"/>
                  </a:cubicBezTo>
                  <a:cubicBezTo>
                    <a:pt x="134" y="49"/>
                    <a:pt x="132" y="49"/>
                    <a:pt x="132" y="49"/>
                  </a:cubicBezTo>
                  <a:cubicBezTo>
                    <a:pt x="132" y="49"/>
                    <a:pt x="133" y="47"/>
                    <a:pt x="132" y="47"/>
                  </a:cubicBezTo>
                  <a:cubicBezTo>
                    <a:pt x="132" y="46"/>
                    <a:pt x="131" y="46"/>
                    <a:pt x="130" y="45"/>
                  </a:cubicBezTo>
                  <a:cubicBezTo>
                    <a:pt x="129" y="43"/>
                    <a:pt x="130" y="43"/>
                    <a:pt x="130" y="43"/>
                  </a:cubicBezTo>
                  <a:cubicBezTo>
                    <a:pt x="130" y="43"/>
                    <a:pt x="130" y="43"/>
                    <a:pt x="129" y="42"/>
                  </a:cubicBezTo>
                  <a:cubicBezTo>
                    <a:pt x="129" y="41"/>
                    <a:pt x="129" y="40"/>
                    <a:pt x="129" y="40"/>
                  </a:cubicBezTo>
                  <a:cubicBezTo>
                    <a:pt x="129" y="40"/>
                    <a:pt x="127" y="40"/>
                    <a:pt x="126" y="40"/>
                  </a:cubicBezTo>
                  <a:cubicBezTo>
                    <a:pt x="124" y="40"/>
                    <a:pt x="125" y="41"/>
                    <a:pt x="125" y="41"/>
                  </a:cubicBezTo>
                  <a:cubicBezTo>
                    <a:pt x="123" y="41"/>
                    <a:pt x="123" y="41"/>
                    <a:pt x="123" y="41"/>
                  </a:cubicBezTo>
                  <a:cubicBezTo>
                    <a:pt x="123" y="41"/>
                    <a:pt x="122" y="42"/>
                    <a:pt x="122" y="42"/>
                  </a:cubicBezTo>
                  <a:cubicBezTo>
                    <a:pt x="121" y="43"/>
                    <a:pt x="121" y="42"/>
                    <a:pt x="120" y="42"/>
                  </a:cubicBezTo>
                  <a:cubicBezTo>
                    <a:pt x="120" y="42"/>
                    <a:pt x="119" y="42"/>
                    <a:pt x="119" y="42"/>
                  </a:cubicBezTo>
                  <a:cubicBezTo>
                    <a:pt x="119" y="42"/>
                    <a:pt x="118" y="43"/>
                    <a:pt x="119" y="44"/>
                  </a:cubicBezTo>
                  <a:cubicBezTo>
                    <a:pt x="119" y="45"/>
                    <a:pt x="119" y="45"/>
                    <a:pt x="118" y="45"/>
                  </a:cubicBezTo>
                  <a:cubicBezTo>
                    <a:pt x="118" y="46"/>
                    <a:pt x="116" y="45"/>
                    <a:pt x="114" y="45"/>
                  </a:cubicBezTo>
                  <a:cubicBezTo>
                    <a:pt x="111" y="45"/>
                    <a:pt x="113" y="44"/>
                    <a:pt x="112" y="44"/>
                  </a:cubicBezTo>
                  <a:cubicBezTo>
                    <a:pt x="112" y="43"/>
                    <a:pt x="110" y="43"/>
                    <a:pt x="110" y="42"/>
                  </a:cubicBezTo>
                  <a:cubicBezTo>
                    <a:pt x="110" y="40"/>
                    <a:pt x="110" y="40"/>
                    <a:pt x="110" y="39"/>
                  </a:cubicBezTo>
                  <a:cubicBezTo>
                    <a:pt x="110" y="38"/>
                    <a:pt x="109" y="37"/>
                    <a:pt x="109" y="37"/>
                  </a:cubicBezTo>
                  <a:cubicBezTo>
                    <a:pt x="108" y="36"/>
                    <a:pt x="109" y="35"/>
                    <a:pt x="110" y="35"/>
                  </a:cubicBezTo>
                  <a:cubicBezTo>
                    <a:pt x="110" y="34"/>
                    <a:pt x="109" y="34"/>
                    <a:pt x="109" y="34"/>
                  </a:cubicBezTo>
                  <a:cubicBezTo>
                    <a:pt x="107" y="35"/>
                    <a:pt x="107" y="35"/>
                    <a:pt x="107" y="35"/>
                  </a:cubicBezTo>
                  <a:cubicBezTo>
                    <a:pt x="106" y="35"/>
                    <a:pt x="106" y="35"/>
                    <a:pt x="106" y="35"/>
                  </a:cubicBezTo>
                  <a:cubicBezTo>
                    <a:pt x="106" y="35"/>
                    <a:pt x="105" y="34"/>
                    <a:pt x="104" y="34"/>
                  </a:cubicBezTo>
                  <a:cubicBezTo>
                    <a:pt x="104" y="33"/>
                    <a:pt x="103" y="34"/>
                    <a:pt x="103" y="34"/>
                  </a:cubicBezTo>
                  <a:cubicBezTo>
                    <a:pt x="101" y="36"/>
                    <a:pt x="101" y="36"/>
                    <a:pt x="101" y="36"/>
                  </a:cubicBezTo>
                  <a:cubicBezTo>
                    <a:pt x="101" y="37"/>
                    <a:pt x="101" y="37"/>
                    <a:pt x="101" y="37"/>
                  </a:cubicBezTo>
                  <a:cubicBezTo>
                    <a:pt x="102" y="39"/>
                    <a:pt x="102" y="39"/>
                    <a:pt x="102" y="39"/>
                  </a:cubicBezTo>
                  <a:cubicBezTo>
                    <a:pt x="102" y="41"/>
                    <a:pt x="102" y="41"/>
                    <a:pt x="102" y="41"/>
                  </a:cubicBezTo>
                  <a:cubicBezTo>
                    <a:pt x="102" y="41"/>
                    <a:pt x="102" y="42"/>
                    <a:pt x="102" y="43"/>
                  </a:cubicBezTo>
                  <a:cubicBezTo>
                    <a:pt x="102" y="43"/>
                    <a:pt x="102" y="44"/>
                    <a:pt x="102" y="44"/>
                  </a:cubicBezTo>
                  <a:cubicBezTo>
                    <a:pt x="102" y="45"/>
                    <a:pt x="102" y="45"/>
                    <a:pt x="102" y="45"/>
                  </a:cubicBezTo>
                  <a:cubicBezTo>
                    <a:pt x="102" y="45"/>
                    <a:pt x="101" y="46"/>
                    <a:pt x="101" y="47"/>
                  </a:cubicBezTo>
                  <a:cubicBezTo>
                    <a:pt x="101" y="47"/>
                    <a:pt x="101" y="48"/>
                    <a:pt x="101" y="49"/>
                  </a:cubicBezTo>
                  <a:cubicBezTo>
                    <a:pt x="100" y="50"/>
                    <a:pt x="100" y="50"/>
                    <a:pt x="100" y="50"/>
                  </a:cubicBezTo>
                  <a:cubicBezTo>
                    <a:pt x="100" y="50"/>
                    <a:pt x="99" y="51"/>
                    <a:pt x="99" y="52"/>
                  </a:cubicBezTo>
                  <a:cubicBezTo>
                    <a:pt x="99" y="52"/>
                    <a:pt x="97" y="52"/>
                    <a:pt x="97" y="52"/>
                  </a:cubicBezTo>
                  <a:cubicBezTo>
                    <a:pt x="97" y="52"/>
                    <a:pt x="96" y="54"/>
                    <a:pt x="95" y="54"/>
                  </a:cubicBezTo>
                  <a:cubicBezTo>
                    <a:pt x="95" y="54"/>
                    <a:pt x="95" y="56"/>
                    <a:pt x="95" y="57"/>
                  </a:cubicBezTo>
                  <a:cubicBezTo>
                    <a:pt x="95" y="57"/>
                    <a:pt x="95" y="58"/>
                    <a:pt x="95" y="58"/>
                  </a:cubicBezTo>
                  <a:cubicBezTo>
                    <a:pt x="93" y="59"/>
                    <a:pt x="93" y="59"/>
                    <a:pt x="93" y="59"/>
                  </a:cubicBezTo>
                  <a:cubicBezTo>
                    <a:pt x="93" y="59"/>
                    <a:pt x="94" y="61"/>
                    <a:pt x="94" y="61"/>
                  </a:cubicBezTo>
                  <a:cubicBezTo>
                    <a:pt x="94" y="62"/>
                    <a:pt x="93" y="62"/>
                    <a:pt x="93" y="62"/>
                  </a:cubicBezTo>
                  <a:cubicBezTo>
                    <a:pt x="92" y="63"/>
                    <a:pt x="93" y="63"/>
                    <a:pt x="93" y="64"/>
                  </a:cubicBezTo>
                  <a:cubicBezTo>
                    <a:pt x="92" y="65"/>
                    <a:pt x="93" y="65"/>
                    <a:pt x="93" y="65"/>
                  </a:cubicBezTo>
                  <a:cubicBezTo>
                    <a:pt x="93" y="66"/>
                    <a:pt x="96" y="67"/>
                    <a:pt x="96" y="67"/>
                  </a:cubicBezTo>
                  <a:cubicBezTo>
                    <a:pt x="96" y="67"/>
                    <a:pt x="96" y="67"/>
                    <a:pt x="95" y="68"/>
                  </a:cubicBezTo>
                  <a:cubicBezTo>
                    <a:pt x="93" y="69"/>
                    <a:pt x="94" y="71"/>
                    <a:pt x="94" y="71"/>
                  </a:cubicBezTo>
                  <a:cubicBezTo>
                    <a:pt x="93" y="72"/>
                    <a:pt x="93" y="72"/>
                    <a:pt x="93" y="72"/>
                  </a:cubicBezTo>
                  <a:cubicBezTo>
                    <a:pt x="93" y="72"/>
                    <a:pt x="92" y="71"/>
                    <a:pt x="91" y="71"/>
                  </a:cubicBezTo>
                  <a:cubicBezTo>
                    <a:pt x="91" y="71"/>
                    <a:pt x="91" y="71"/>
                    <a:pt x="89" y="71"/>
                  </a:cubicBezTo>
                  <a:cubicBezTo>
                    <a:pt x="87" y="71"/>
                    <a:pt x="89" y="70"/>
                    <a:pt x="89" y="70"/>
                  </a:cubicBezTo>
                  <a:cubicBezTo>
                    <a:pt x="89" y="70"/>
                    <a:pt x="89" y="68"/>
                    <a:pt x="89" y="67"/>
                  </a:cubicBezTo>
                  <a:cubicBezTo>
                    <a:pt x="89" y="67"/>
                    <a:pt x="89" y="67"/>
                    <a:pt x="89" y="67"/>
                  </a:cubicBezTo>
                  <a:cubicBezTo>
                    <a:pt x="89" y="67"/>
                    <a:pt x="89" y="66"/>
                    <a:pt x="88" y="65"/>
                  </a:cubicBezTo>
                  <a:cubicBezTo>
                    <a:pt x="88" y="64"/>
                    <a:pt x="87" y="64"/>
                    <a:pt x="87" y="64"/>
                  </a:cubicBezTo>
                  <a:cubicBezTo>
                    <a:pt x="84" y="62"/>
                    <a:pt x="84" y="62"/>
                    <a:pt x="84" y="62"/>
                  </a:cubicBezTo>
                  <a:cubicBezTo>
                    <a:pt x="84" y="62"/>
                    <a:pt x="85" y="60"/>
                    <a:pt x="86" y="59"/>
                  </a:cubicBezTo>
                  <a:cubicBezTo>
                    <a:pt x="86" y="59"/>
                    <a:pt x="86" y="59"/>
                    <a:pt x="86" y="59"/>
                  </a:cubicBezTo>
                  <a:cubicBezTo>
                    <a:pt x="86" y="59"/>
                    <a:pt x="86" y="59"/>
                    <a:pt x="87" y="58"/>
                  </a:cubicBezTo>
                  <a:cubicBezTo>
                    <a:pt x="87" y="57"/>
                    <a:pt x="86" y="57"/>
                    <a:pt x="86" y="57"/>
                  </a:cubicBezTo>
                  <a:cubicBezTo>
                    <a:pt x="85" y="57"/>
                    <a:pt x="85" y="57"/>
                    <a:pt x="85" y="57"/>
                  </a:cubicBezTo>
                  <a:cubicBezTo>
                    <a:pt x="84" y="56"/>
                    <a:pt x="84" y="56"/>
                    <a:pt x="84" y="56"/>
                  </a:cubicBezTo>
                  <a:cubicBezTo>
                    <a:pt x="84" y="56"/>
                    <a:pt x="82" y="57"/>
                    <a:pt x="82" y="56"/>
                  </a:cubicBezTo>
                  <a:cubicBezTo>
                    <a:pt x="81" y="56"/>
                    <a:pt x="79" y="56"/>
                    <a:pt x="79" y="55"/>
                  </a:cubicBezTo>
                  <a:cubicBezTo>
                    <a:pt x="79" y="55"/>
                    <a:pt x="78" y="55"/>
                    <a:pt x="77" y="55"/>
                  </a:cubicBezTo>
                  <a:cubicBezTo>
                    <a:pt x="77" y="55"/>
                    <a:pt x="76" y="55"/>
                    <a:pt x="76" y="55"/>
                  </a:cubicBezTo>
                  <a:cubicBezTo>
                    <a:pt x="75" y="54"/>
                    <a:pt x="74" y="53"/>
                    <a:pt x="74" y="53"/>
                  </a:cubicBezTo>
                  <a:cubicBezTo>
                    <a:pt x="74" y="52"/>
                    <a:pt x="73" y="51"/>
                    <a:pt x="73" y="51"/>
                  </a:cubicBezTo>
                  <a:cubicBezTo>
                    <a:pt x="72" y="51"/>
                    <a:pt x="72" y="51"/>
                    <a:pt x="72" y="51"/>
                  </a:cubicBezTo>
                  <a:cubicBezTo>
                    <a:pt x="72" y="51"/>
                    <a:pt x="71" y="49"/>
                    <a:pt x="70" y="49"/>
                  </a:cubicBezTo>
                  <a:cubicBezTo>
                    <a:pt x="70" y="49"/>
                    <a:pt x="70" y="48"/>
                    <a:pt x="70" y="48"/>
                  </a:cubicBezTo>
                  <a:cubicBezTo>
                    <a:pt x="69" y="47"/>
                    <a:pt x="69" y="47"/>
                    <a:pt x="69" y="47"/>
                  </a:cubicBezTo>
                  <a:cubicBezTo>
                    <a:pt x="69" y="47"/>
                    <a:pt x="69" y="46"/>
                    <a:pt x="69" y="45"/>
                  </a:cubicBezTo>
                  <a:cubicBezTo>
                    <a:pt x="69" y="45"/>
                    <a:pt x="70" y="43"/>
                    <a:pt x="70" y="43"/>
                  </a:cubicBezTo>
                  <a:cubicBezTo>
                    <a:pt x="70" y="43"/>
                    <a:pt x="69" y="41"/>
                    <a:pt x="69" y="40"/>
                  </a:cubicBezTo>
                  <a:cubicBezTo>
                    <a:pt x="69" y="39"/>
                    <a:pt x="70" y="37"/>
                    <a:pt x="70" y="37"/>
                  </a:cubicBezTo>
                  <a:cubicBezTo>
                    <a:pt x="70" y="37"/>
                    <a:pt x="66" y="38"/>
                    <a:pt x="65" y="39"/>
                  </a:cubicBezTo>
                  <a:cubicBezTo>
                    <a:pt x="64" y="39"/>
                    <a:pt x="64" y="40"/>
                    <a:pt x="64" y="40"/>
                  </a:cubicBezTo>
                  <a:cubicBezTo>
                    <a:pt x="64" y="40"/>
                    <a:pt x="64" y="41"/>
                    <a:pt x="64" y="42"/>
                  </a:cubicBezTo>
                  <a:cubicBezTo>
                    <a:pt x="63" y="42"/>
                    <a:pt x="63" y="42"/>
                    <a:pt x="63" y="42"/>
                  </a:cubicBezTo>
                  <a:cubicBezTo>
                    <a:pt x="63" y="42"/>
                    <a:pt x="61" y="44"/>
                    <a:pt x="60" y="44"/>
                  </a:cubicBezTo>
                  <a:cubicBezTo>
                    <a:pt x="60" y="45"/>
                    <a:pt x="60" y="45"/>
                    <a:pt x="59" y="45"/>
                  </a:cubicBezTo>
                  <a:cubicBezTo>
                    <a:pt x="58" y="45"/>
                    <a:pt x="57" y="46"/>
                    <a:pt x="57" y="46"/>
                  </a:cubicBezTo>
                  <a:cubicBezTo>
                    <a:pt x="56" y="47"/>
                    <a:pt x="56" y="47"/>
                    <a:pt x="56" y="47"/>
                  </a:cubicBezTo>
                  <a:cubicBezTo>
                    <a:pt x="57" y="48"/>
                    <a:pt x="57" y="48"/>
                    <a:pt x="57" y="48"/>
                  </a:cubicBezTo>
                  <a:cubicBezTo>
                    <a:pt x="58" y="51"/>
                    <a:pt x="58" y="51"/>
                    <a:pt x="58" y="51"/>
                  </a:cubicBezTo>
                  <a:cubicBezTo>
                    <a:pt x="57" y="53"/>
                    <a:pt x="57" y="53"/>
                    <a:pt x="57" y="53"/>
                  </a:cubicBezTo>
                  <a:cubicBezTo>
                    <a:pt x="57" y="53"/>
                    <a:pt x="57" y="53"/>
                    <a:pt x="57" y="54"/>
                  </a:cubicBezTo>
                  <a:cubicBezTo>
                    <a:pt x="56" y="56"/>
                    <a:pt x="56" y="56"/>
                    <a:pt x="56" y="56"/>
                  </a:cubicBezTo>
                  <a:cubicBezTo>
                    <a:pt x="55" y="57"/>
                    <a:pt x="55" y="57"/>
                    <a:pt x="55" y="57"/>
                  </a:cubicBezTo>
                  <a:cubicBezTo>
                    <a:pt x="54" y="58"/>
                    <a:pt x="54" y="58"/>
                    <a:pt x="54" y="58"/>
                  </a:cubicBezTo>
                  <a:cubicBezTo>
                    <a:pt x="54" y="58"/>
                    <a:pt x="54" y="59"/>
                    <a:pt x="54" y="60"/>
                  </a:cubicBezTo>
                  <a:cubicBezTo>
                    <a:pt x="54" y="60"/>
                    <a:pt x="54" y="61"/>
                    <a:pt x="53" y="62"/>
                  </a:cubicBezTo>
                  <a:cubicBezTo>
                    <a:pt x="52" y="63"/>
                    <a:pt x="52" y="63"/>
                    <a:pt x="52" y="63"/>
                  </a:cubicBezTo>
                  <a:cubicBezTo>
                    <a:pt x="52" y="63"/>
                    <a:pt x="51" y="63"/>
                    <a:pt x="50" y="63"/>
                  </a:cubicBezTo>
                  <a:cubicBezTo>
                    <a:pt x="49" y="63"/>
                    <a:pt x="49" y="64"/>
                    <a:pt x="48" y="64"/>
                  </a:cubicBezTo>
                  <a:cubicBezTo>
                    <a:pt x="46" y="64"/>
                    <a:pt x="47" y="65"/>
                    <a:pt x="47" y="66"/>
                  </a:cubicBezTo>
                  <a:cubicBezTo>
                    <a:pt x="47" y="66"/>
                    <a:pt x="47" y="66"/>
                    <a:pt x="47" y="67"/>
                  </a:cubicBezTo>
                  <a:cubicBezTo>
                    <a:pt x="46" y="67"/>
                    <a:pt x="44" y="67"/>
                    <a:pt x="44" y="66"/>
                  </a:cubicBezTo>
                  <a:cubicBezTo>
                    <a:pt x="43" y="66"/>
                    <a:pt x="43" y="66"/>
                    <a:pt x="42" y="66"/>
                  </a:cubicBezTo>
                  <a:cubicBezTo>
                    <a:pt x="42" y="67"/>
                    <a:pt x="41" y="65"/>
                    <a:pt x="41" y="65"/>
                  </a:cubicBezTo>
                  <a:cubicBezTo>
                    <a:pt x="41" y="65"/>
                    <a:pt x="40" y="64"/>
                    <a:pt x="40" y="64"/>
                  </a:cubicBezTo>
                  <a:cubicBezTo>
                    <a:pt x="40" y="63"/>
                    <a:pt x="38" y="64"/>
                    <a:pt x="38" y="64"/>
                  </a:cubicBezTo>
                  <a:cubicBezTo>
                    <a:pt x="37" y="63"/>
                    <a:pt x="35" y="63"/>
                    <a:pt x="35" y="63"/>
                  </a:cubicBezTo>
                  <a:cubicBezTo>
                    <a:pt x="34" y="63"/>
                    <a:pt x="35" y="64"/>
                    <a:pt x="35" y="64"/>
                  </a:cubicBezTo>
                  <a:cubicBezTo>
                    <a:pt x="35" y="64"/>
                    <a:pt x="34" y="64"/>
                    <a:pt x="33" y="64"/>
                  </a:cubicBezTo>
                  <a:cubicBezTo>
                    <a:pt x="32" y="64"/>
                    <a:pt x="32" y="65"/>
                    <a:pt x="32" y="65"/>
                  </a:cubicBezTo>
                  <a:cubicBezTo>
                    <a:pt x="32" y="67"/>
                    <a:pt x="32" y="67"/>
                    <a:pt x="32" y="67"/>
                  </a:cubicBezTo>
                  <a:cubicBezTo>
                    <a:pt x="32" y="67"/>
                    <a:pt x="29" y="67"/>
                    <a:pt x="28" y="67"/>
                  </a:cubicBezTo>
                  <a:cubicBezTo>
                    <a:pt x="27" y="67"/>
                    <a:pt x="26" y="66"/>
                    <a:pt x="25" y="66"/>
                  </a:cubicBezTo>
                  <a:cubicBezTo>
                    <a:pt x="24" y="66"/>
                    <a:pt x="23" y="67"/>
                    <a:pt x="23" y="67"/>
                  </a:cubicBezTo>
                  <a:cubicBezTo>
                    <a:pt x="23" y="67"/>
                    <a:pt x="21" y="68"/>
                    <a:pt x="21" y="68"/>
                  </a:cubicBezTo>
                  <a:cubicBezTo>
                    <a:pt x="21" y="68"/>
                    <a:pt x="20" y="69"/>
                    <a:pt x="19" y="69"/>
                  </a:cubicBezTo>
                  <a:cubicBezTo>
                    <a:pt x="18" y="69"/>
                    <a:pt x="18" y="68"/>
                    <a:pt x="18" y="68"/>
                  </a:cubicBezTo>
                  <a:cubicBezTo>
                    <a:pt x="18" y="68"/>
                    <a:pt x="16" y="66"/>
                    <a:pt x="16" y="66"/>
                  </a:cubicBezTo>
                  <a:cubicBezTo>
                    <a:pt x="16" y="66"/>
                    <a:pt x="16" y="66"/>
                    <a:pt x="16" y="66"/>
                  </a:cubicBezTo>
                  <a:cubicBezTo>
                    <a:pt x="12" y="68"/>
                    <a:pt x="12" y="68"/>
                    <a:pt x="12" y="68"/>
                  </a:cubicBezTo>
                  <a:cubicBezTo>
                    <a:pt x="7" y="72"/>
                    <a:pt x="7" y="72"/>
                    <a:pt x="7" y="72"/>
                  </a:cubicBezTo>
                  <a:cubicBezTo>
                    <a:pt x="7" y="77"/>
                    <a:pt x="7" y="77"/>
                    <a:pt x="7" y="77"/>
                  </a:cubicBezTo>
                  <a:cubicBezTo>
                    <a:pt x="11" y="79"/>
                    <a:pt x="9" y="81"/>
                    <a:pt x="18" y="85"/>
                  </a:cubicBezTo>
                  <a:cubicBezTo>
                    <a:pt x="19" y="85"/>
                    <a:pt x="21" y="90"/>
                    <a:pt x="21" y="90"/>
                  </a:cubicBezTo>
                  <a:cubicBezTo>
                    <a:pt x="21" y="91"/>
                    <a:pt x="19" y="99"/>
                    <a:pt x="18" y="100"/>
                  </a:cubicBezTo>
                  <a:cubicBezTo>
                    <a:pt x="16" y="101"/>
                    <a:pt x="14" y="105"/>
                    <a:pt x="14" y="105"/>
                  </a:cubicBezTo>
                  <a:cubicBezTo>
                    <a:pt x="14" y="105"/>
                    <a:pt x="10" y="109"/>
                    <a:pt x="9" y="109"/>
                  </a:cubicBezTo>
                  <a:cubicBezTo>
                    <a:pt x="8" y="109"/>
                    <a:pt x="5" y="110"/>
                    <a:pt x="4" y="110"/>
                  </a:cubicBezTo>
                  <a:cubicBezTo>
                    <a:pt x="4" y="110"/>
                    <a:pt x="0" y="110"/>
                    <a:pt x="1" y="111"/>
                  </a:cubicBezTo>
                  <a:cubicBezTo>
                    <a:pt x="1" y="111"/>
                    <a:pt x="1" y="113"/>
                    <a:pt x="1" y="113"/>
                  </a:cubicBezTo>
                  <a:cubicBezTo>
                    <a:pt x="2" y="114"/>
                    <a:pt x="5" y="118"/>
                    <a:pt x="5" y="118"/>
                  </a:cubicBezTo>
                  <a:cubicBezTo>
                    <a:pt x="10" y="121"/>
                    <a:pt x="10" y="121"/>
                    <a:pt x="10" y="121"/>
                  </a:cubicBezTo>
                  <a:cubicBezTo>
                    <a:pt x="13" y="124"/>
                    <a:pt x="13" y="124"/>
                    <a:pt x="13" y="124"/>
                  </a:cubicBezTo>
                  <a:cubicBezTo>
                    <a:pt x="14" y="134"/>
                    <a:pt x="14" y="134"/>
                    <a:pt x="14" y="134"/>
                  </a:cubicBezTo>
                  <a:cubicBezTo>
                    <a:pt x="10" y="140"/>
                    <a:pt x="10" y="140"/>
                    <a:pt x="10" y="140"/>
                  </a:cubicBezTo>
                  <a:cubicBezTo>
                    <a:pt x="6" y="145"/>
                    <a:pt x="8" y="142"/>
                    <a:pt x="9" y="149"/>
                  </a:cubicBezTo>
                  <a:cubicBezTo>
                    <a:pt x="12" y="149"/>
                    <a:pt x="12" y="149"/>
                    <a:pt x="12" y="149"/>
                  </a:cubicBezTo>
                  <a:cubicBezTo>
                    <a:pt x="17" y="157"/>
                    <a:pt x="17" y="157"/>
                    <a:pt x="17" y="157"/>
                  </a:cubicBezTo>
                  <a:cubicBezTo>
                    <a:pt x="27" y="161"/>
                    <a:pt x="27" y="161"/>
                    <a:pt x="27" y="161"/>
                  </a:cubicBezTo>
                  <a:cubicBezTo>
                    <a:pt x="36" y="161"/>
                    <a:pt x="36" y="161"/>
                    <a:pt x="36" y="161"/>
                  </a:cubicBezTo>
                  <a:cubicBezTo>
                    <a:pt x="40" y="164"/>
                    <a:pt x="40" y="164"/>
                    <a:pt x="40" y="164"/>
                  </a:cubicBezTo>
                  <a:cubicBezTo>
                    <a:pt x="37" y="175"/>
                    <a:pt x="37" y="175"/>
                    <a:pt x="37" y="175"/>
                  </a:cubicBezTo>
                  <a:cubicBezTo>
                    <a:pt x="31" y="180"/>
                    <a:pt x="31" y="180"/>
                    <a:pt x="31" y="180"/>
                  </a:cubicBezTo>
                  <a:cubicBezTo>
                    <a:pt x="31" y="180"/>
                    <a:pt x="31" y="180"/>
                    <a:pt x="30" y="180"/>
                  </a:cubicBezTo>
                  <a:cubicBezTo>
                    <a:pt x="30" y="180"/>
                    <a:pt x="31" y="181"/>
                    <a:pt x="34" y="182"/>
                  </a:cubicBezTo>
                  <a:cubicBezTo>
                    <a:pt x="36" y="182"/>
                    <a:pt x="36" y="184"/>
                    <a:pt x="39" y="183"/>
                  </a:cubicBezTo>
                  <a:cubicBezTo>
                    <a:pt x="42" y="182"/>
                    <a:pt x="46" y="181"/>
                    <a:pt x="47" y="180"/>
                  </a:cubicBezTo>
                  <a:cubicBezTo>
                    <a:pt x="48" y="178"/>
                    <a:pt x="50" y="177"/>
                    <a:pt x="51" y="176"/>
                  </a:cubicBezTo>
                  <a:cubicBezTo>
                    <a:pt x="52" y="174"/>
                    <a:pt x="58" y="167"/>
                    <a:pt x="59" y="167"/>
                  </a:cubicBezTo>
                  <a:cubicBezTo>
                    <a:pt x="59" y="167"/>
                    <a:pt x="65" y="159"/>
                    <a:pt x="66" y="158"/>
                  </a:cubicBezTo>
                  <a:cubicBezTo>
                    <a:pt x="67" y="157"/>
                    <a:pt x="75" y="151"/>
                    <a:pt x="75" y="151"/>
                  </a:cubicBezTo>
                  <a:cubicBezTo>
                    <a:pt x="86" y="147"/>
                    <a:pt x="86" y="147"/>
                    <a:pt x="86" y="147"/>
                  </a:cubicBezTo>
                  <a:cubicBezTo>
                    <a:pt x="86" y="147"/>
                    <a:pt x="91" y="152"/>
                    <a:pt x="92" y="153"/>
                  </a:cubicBezTo>
                  <a:cubicBezTo>
                    <a:pt x="93" y="153"/>
                    <a:pt x="104" y="158"/>
                    <a:pt x="104" y="158"/>
                  </a:cubicBezTo>
                  <a:cubicBezTo>
                    <a:pt x="104" y="158"/>
                    <a:pt x="111" y="161"/>
                    <a:pt x="112" y="162"/>
                  </a:cubicBezTo>
                  <a:cubicBezTo>
                    <a:pt x="112" y="163"/>
                    <a:pt x="118" y="168"/>
                    <a:pt x="118" y="168"/>
                  </a:cubicBezTo>
                  <a:cubicBezTo>
                    <a:pt x="122" y="170"/>
                    <a:pt x="122" y="170"/>
                    <a:pt x="122" y="170"/>
                  </a:cubicBezTo>
                  <a:cubicBezTo>
                    <a:pt x="125" y="167"/>
                    <a:pt x="125" y="167"/>
                    <a:pt x="125" y="167"/>
                  </a:cubicBezTo>
                  <a:cubicBezTo>
                    <a:pt x="129" y="169"/>
                    <a:pt x="129" y="169"/>
                    <a:pt x="129" y="169"/>
                  </a:cubicBezTo>
                  <a:cubicBezTo>
                    <a:pt x="136" y="173"/>
                    <a:pt x="136" y="173"/>
                    <a:pt x="136" y="173"/>
                  </a:cubicBezTo>
                  <a:cubicBezTo>
                    <a:pt x="139" y="179"/>
                    <a:pt x="139" y="179"/>
                    <a:pt x="139" y="179"/>
                  </a:cubicBezTo>
                  <a:cubicBezTo>
                    <a:pt x="139" y="179"/>
                    <a:pt x="141" y="187"/>
                    <a:pt x="141" y="190"/>
                  </a:cubicBezTo>
                  <a:cubicBezTo>
                    <a:pt x="141" y="193"/>
                    <a:pt x="142" y="198"/>
                    <a:pt x="142" y="198"/>
                  </a:cubicBezTo>
                  <a:cubicBezTo>
                    <a:pt x="151" y="202"/>
                    <a:pt x="151" y="202"/>
                    <a:pt x="151" y="202"/>
                  </a:cubicBezTo>
                  <a:cubicBezTo>
                    <a:pt x="151" y="202"/>
                    <a:pt x="151" y="211"/>
                    <a:pt x="151" y="212"/>
                  </a:cubicBezTo>
                  <a:cubicBezTo>
                    <a:pt x="151" y="214"/>
                    <a:pt x="152" y="217"/>
                    <a:pt x="152" y="220"/>
                  </a:cubicBezTo>
                  <a:cubicBezTo>
                    <a:pt x="152" y="223"/>
                    <a:pt x="152" y="226"/>
                    <a:pt x="152" y="226"/>
                  </a:cubicBezTo>
                  <a:cubicBezTo>
                    <a:pt x="156" y="229"/>
                    <a:pt x="156" y="229"/>
                    <a:pt x="156" y="229"/>
                  </a:cubicBezTo>
                  <a:cubicBezTo>
                    <a:pt x="161" y="232"/>
                    <a:pt x="161" y="232"/>
                    <a:pt x="161" y="232"/>
                  </a:cubicBezTo>
                  <a:cubicBezTo>
                    <a:pt x="162" y="237"/>
                    <a:pt x="162" y="237"/>
                    <a:pt x="162" y="237"/>
                  </a:cubicBezTo>
                  <a:cubicBezTo>
                    <a:pt x="170" y="240"/>
                    <a:pt x="170" y="240"/>
                    <a:pt x="170" y="240"/>
                  </a:cubicBezTo>
                  <a:cubicBezTo>
                    <a:pt x="172" y="246"/>
                    <a:pt x="172" y="246"/>
                    <a:pt x="172" y="246"/>
                  </a:cubicBezTo>
                  <a:cubicBezTo>
                    <a:pt x="177" y="251"/>
                    <a:pt x="177" y="251"/>
                    <a:pt x="177" y="251"/>
                  </a:cubicBezTo>
                  <a:cubicBezTo>
                    <a:pt x="177" y="255"/>
                    <a:pt x="177" y="255"/>
                    <a:pt x="177" y="255"/>
                  </a:cubicBezTo>
                  <a:cubicBezTo>
                    <a:pt x="177" y="255"/>
                    <a:pt x="177" y="257"/>
                    <a:pt x="179" y="257"/>
                  </a:cubicBezTo>
                  <a:cubicBezTo>
                    <a:pt x="181" y="257"/>
                    <a:pt x="188" y="256"/>
                    <a:pt x="188" y="256"/>
                  </a:cubicBezTo>
                  <a:cubicBezTo>
                    <a:pt x="195" y="262"/>
                    <a:pt x="195" y="262"/>
                    <a:pt x="195" y="262"/>
                  </a:cubicBezTo>
                  <a:cubicBezTo>
                    <a:pt x="203" y="269"/>
                    <a:pt x="203" y="269"/>
                    <a:pt x="203" y="269"/>
                  </a:cubicBezTo>
                  <a:cubicBezTo>
                    <a:pt x="207" y="276"/>
                    <a:pt x="207" y="276"/>
                    <a:pt x="207" y="276"/>
                  </a:cubicBezTo>
                  <a:cubicBezTo>
                    <a:pt x="213" y="278"/>
                    <a:pt x="213" y="278"/>
                    <a:pt x="213" y="278"/>
                  </a:cubicBezTo>
                  <a:cubicBezTo>
                    <a:pt x="221" y="283"/>
                    <a:pt x="221" y="283"/>
                    <a:pt x="221" y="283"/>
                  </a:cubicBezTo>
                  <a:cubicBezTo>
                    <a:pt x="224" y="290"/>
                    <a:pt x="224" y="290"/>
                    <a:pt x="224" y="290"/>
                  </a:cubicBezTo>
                  <a:cubicBezTo>
                    <a:pt x="231" y="297"/>
                    <a:pt x="231" y="297"/>
                    <a:pt x="231" y="297"/>
                  </a:cubicBezTo>
                  <a:cubicBezTo>
                    <a:pt x="235" y="299"/>
                    <a:pt x="235" y="299"/>
                    <a:pt x="235" y="299"/>
                  </a:cubicBezTo>
                  <a:cubicBezTo>
                    <a:pt x="237" y="303"/>
                    <a:pt x="237" y="303"/>
                    <a:pt x="237" y="303"/>
                  </a:cubicBezTo>
                  <a:cubicBezTo>
                    <a:pt x="241" y="305"/>
                    <a:pt x="241" y="305"/>
                    <a:pt x="241" y="305"/>
                  </a:cubicBezTo>
                  <a:cubicBezTo>
                    <a:pt x="245" y="306"/>
                    <a:pt x="245" y="306"/>
                    <a:pt x="245" y="306"/>
                  </a:cubicBezTo>
                  <a:cubicBezTo>
                    <a:pt x="251" y="307"/>
                    <a:pt x="251" y="307"/>
                    <a:pt x="251" y="307"/>
                  </a:cubicBezTo>
                  <a:cubicBezTo>
                    <a:pt x="255" y="311"/>
                    <a:pt x="255" y="311"/>
                    <a:pt x="255" y="311"/>
                  </a:cubicBezTo>
                  <a:cubicBezTo>
                    <a:pt x="255" y="311"/>
                    <a:pt x="257" y="313"/>
                    <a:pt x="257" y="314"/>
                  </a:cubicBezTo>
                  <a:cubicBezTo>
                    <a:pt x="257" y="316"/>
                    <a:pt x="255" y="317"/>
                    <a:pt x="258" y="317"/>
                  </a:cubicBezTo>
                  <a:cubicBezTo>
                    <a:pt x="261" y="317"/>
                    <a:pt x="264" y="316"/>
                    <a:pt x="264" y="316"/>
                  </a:cubicBezTo>
                  <a:cubicBezTo>
                    <a:pt x="270" y="315"/>
                    <a:pt x="270" y="315"/>
                    <a:pt x="270" y="315"/>
                  </a:cubicBezTo>
                  <a:cubicBezTo>
                    <a:pt x="274" y="315"/>
                    <a:pt x="274" y="315"/>
                    <a:pt x="274" y="315"/>
                  </a:cubicBezTo>
                  <a:cubicBezTo>
                    <a:pt x="278" y="315"/>
                    <a:pt x="278" y="315"/>
                    <a:pt x="278" y="315"/>
                  </a:cubicBezTo>
                  <a:cubicBezTo>
                    <a:pt x="285" y="314"/>
                    <a:pt x="285" y="314"/>
                    <a:pt x="285" y="314"/>
                  </a:cubicBezTo>
                  <a:cubicBezTo>
                    <a:pt x="289" y="317"/>
                    <a:pt x="289" y="317"/>
                    <a:pt x="289" y="317"/>
                  </a:cubicBezTo>
                  <a:cubicBezTo>
                    <a:pt x="300" y="330"/>
                    <a:pt x="300" y="330"/>
                    <a:pt x="300" y="330"/>
                  </a:cubicBezTo>
                  <a:cubicBezTo>
                    <a:pt x="300" y="330"/>
                    <a:pt x="303" y="335"/>
                    <a:pt x="303" y="337"/>
                  </a:cubicBezTo>
                  <a:cubicBezTo>
                    <a:pt x="303" y="338"/>
                    <a:pt x="307" y="337"/>
                    <a:pt x="308" y="337"/>
                  </a:cubicBezTo>
                  <a:cubicBezTo>
                    <a:pt x="309" y="337"/>
                    <a:pt x="317" y="337"/>
                    <a:pt x="317" y="337"/>
                  </a:cubicBezTo>
                  <a:cubicBezTo>
                    <a:pt x="323" y="341"/>
                    <a:pt x="323" y="341"/>
                    <a:pt x="323" y="341"/>
                  </a:cubicBezTo>
                  <a:cubicBezTo>
                    <a:pt x="319" y="346"/>
                    <a:pt x="319" y="346"/>
                    <a:pt x="319" y="346"/>
                  </a:cubicBezTo>
                  <a:cubicBezTo>
                    <a:pt x="325" y="349"/>
                    <a:pt x="325" y="349"/>
                    <a:pt x="325" y="349"/>
                  </a:cubicBezTo>
                  <a:cubicBezTo>
                    <a:pt x="328" y="345"/>
                    <a:pt x="328" y="345"/>
                    <a:pt x="328" y="345"/>
                  </a:cubicBezTo>
                  <a:cubicBezTo>
                    <a:pt x="334" y="346"/>
                    <a:pt x="334" y="346"/>
                    <a:pt x="334" y="346"/>
                  </a:cubicBezTo>
                  <a:cubicBezTo>
                    <a:pt x="339" y="350"/>
                    <a:pt x="339" y="350"/>
                    <a:pt x="339" y="350"/>
                  </a:cubicBezTo>
                  <a:cubicBezTo>
                    <a:pt x="340" y="353"/>
                    <a:pt x="340" y="353"/>
                    <a:pt x="340" y="353"/>
                  </a:cubicBezTo>
                  <a:cubicBezTo>
                    <a:pt x="343" y="355"/>
                    <a:pt x="343" y="355"/>
                    <a:pt x="343" y="355"/>
                  </a:cubicBezTo>
                  <a:cubicBezTo>
                    <a:pt x="342" y="360"/>
                    <a:pt x="342" y="360"/>
                    <a:pt x="342" y="360"/>
                  </a:cubicBezTo>
                  <a:cubicBezTo>
                    <a:pt x="342" y="363"/>
                    <a:pt x="342" y="363"/>
                    <a:pt x="342" y="363"/>
                  </a:cubicBezTo>
                  <a:cubicBezTo>
                    <a:pt x="344" y="367"/>
                    <a:pt x="344" y="367"/>
                    <a:pt x="344" y="367"/>
                  </a:cubicBezTo>
                  <a:cubicBezTo>
                    <a:pt x="349" y="369"/>
                    <a:pt x="349" y="369"/>
                    <a:pt x="349" y="369"/>
                  </a:cubicBezTo>
                  <a:cubicBezTo>
                    <a:pt x="354" y="372"/>
                    <a:pt x="354" y="372"/>
                    <a:pt x="354" y="372"/>
                  </a:cubicBezTo>
                  <a:cubicBezTo>
                    <a:pt x="357" y="374"/>
                    <a:pt x="357" y="374"/>
                    <a:pt x="357" y="374"/>
                  </a:cubicBezTo>
                  <a:cubicBezTo>
                    <a:pt x="361" y="374"/>
                    <a:pt x="361" y="374"/>
                    <a:pt x="361" y="374"/>
                  </a:cubicBezTo>
                  <a:cubicBezTo>
                    <a:pt x="367" y="373"/>
                    <a:pt x="367" y="373"/>
                    <a:pt x="367" y="373"/>
                  </a:cubicBezTo>
                  <a:cubicBezTo>
                    <a:pt x="374" y="374"/>
                    <a:pt x="374" y="374"/>
                    <a:pt x="374" y="374"/>
                  </a:cubicBezTo>
                  <a:cubicBezTo>
                    <a:pt x="380" y="384"/>
                    <a:pt x="380" y="384"/>
                    <a:pt x="380" y="384"/>
                  </a:cubicBezTo>
                  <a:cubicBezTo>
                    <a:pt x="383" y="393"/>
                    <a:pt x="383" y="393"/>
                    <a:pt x="383" y="393"/>
                  </a:cubicBezTo>
                  <a:cubicBezTo>
                    <a:pt x="387" y="401"/>
                    <a:pt x="387" y="401"/>
                    <a:pt x="387" y="401"/>
                  </a:cubicBezTo>
                  <a:cubicBezTo>
                    <a:pt x="390" y="406"/>
                    <a:pt x="390" y="406"/>
                    <a:pt x="390" y="406"/>
                  </a:cubicBezTo>
                  <a:cubicBezTo>
                    <a:pt x="392" y="414"/>
                    <a:pt x="392" y="414"/>
                    <a:pt x="392" y="414"/>
                  </a:cubicBezTo>
                  <a:cubicBezTo>
                    <a:pt x="395" y="418"/>
                    <a:pt x="395" y="418"/>
                    <a:pt x="395" y="418"/>
                  </a:cubicBezTo>
                  <a:cubicBezTo>
                    <a:pt x="400" y="428"/>
                    <a:pt x="400" y="428"/>
                    <a:pt x="400" y="428"/>
                  </a:cubicBezTo>
                  <a:cubicBezTo>
                    <a:pt x="402" y="432"/>
                    <a:pt x="402" y="432"/>
                    <a:pt x="402" y="432"/>
                  </a:cubicBezTo>
                  <a:cubicBezTo>
                    <a:pt x="400" y="437"/>
                    <a:pt x="400" y="437"/>
                    <a:pt x="400" y="437"/>
                  </a:cubicBezTo>
                  <a:cubicBezTo>
                    <a:pt x="400" y="437"/>
                    <a:pt x="398" y="442"/>
                    <a:pt x="397" y="442"/>
                  </a:cubicBezTo>
                  <a:cubicBezTo>
                    <a:pt x="397" y="443"/>
                    <a:pt x="394" y="444"/>
                    <a:pt x="393" y="444"/>
                  </a:cubicBezTo>
                  <a:cubicBezTo>
                    <a:pt x="392" y="445"/>
                    <a:pt x="391" y="445"/>
                    <a:pt x="390" y="446"/>
                  </a:cubicBezTo>
                  <a:cubicBezTo>
                    <a:pt x="389" y="447"/>
                    <a:pt x="388" y="450"/>
                    <a:pt x="388" y="450"/>
                  </a:cubicBezTo>
                  <a:cubicBezTo>
                    <a:pt x="391" y="456"/>
                    <a:pt x="391" y="456"/>
                    <a:pt x="391" y="456"/>
                  </a:cubicBezTo>
                  <a:cubicBezTo>
                    <a:pt x="390" y="463"/>
                    <a:pt x="390" y="463"/>
                    <a:pt x="390" y="463"/>
                  </a:cubicBezTo>
                  <a:cubicBezTo>
                    <a:pt x="388" y="469"/>
                    <a:pt x="388" y="469"/>
                    <a:pt x="388" y="469"/>
                  </a:cubicBezTo>
                  <a:close/>
                  <a:moveTo>
                    <a:pt x="57" y="345"/>
                  </a:moveTo>
                  <a:cubicBezTo>
                    <a:pt x="57" y="345"/>
                    <a:pt x="57" y="345"/>
                    <a:pt x="57" y="345"/>
                  </a:cubicBezTo>
                  <a:cubicBezTo>
                    <a:pt x="60" y="335"/>
                    <a:pt x="60" y="335"/>
                    <a:pt x="60" y="335"/>
                  </a:cubicBezTo>
                  <a:cubicBezTo>
                    <a:pt x="64" y="331"/>
                    <a:pt x="64" y="331"/>
                    <a:pt x="64" y="331"/>
                  </a:cubicBezTo>
                  <a:cubicBezTo>
                    <a:pt x="63" y="336"/>
                    <a:pt x="63" y="336"/>
                    <a:pt x="63" y="336"/>
                  </a:cubicBezTo>
                  <a:cubicBezTo>
                    <a:pt x="62" y="342"/>
                    <a:pt x="62" y="342"/>
                    <a:pt x="62" y="342"/>
                  </a:cubicBezTo>
                  <a:cubicBezTo>
                    <a:pt x="62" y="342"/>
                    <a:pt x="70" y="345"/>
                    <a:pt x="71" y="345"/>
                  </a:cubicBezTo>
                  <a:cubicBezTo>
                    <a:pt x="72" y="345"/>
                    <a:pt x="73" y="343"/>
                    <a:pt x="75" y="342"/>
                  </a:cubicBezTo>
                  <a:cubicBezTo>
                    <a:pt x="76" y="341"/>
                    <a:pt x="83" y="341"/>
                    <a:pt x="83" y="341"/>
                  </a:cubicBezTo>
                  <a:cubicBezTo>
                    <a:pt x="83" y="341"/>
                    <a:pt x="84" y="338"/>
                    <a:pt x="85" y="336"/>
                  </a:cubicBezTo>
                  <a:cubicBezTo>
                    <a:pt x="86" y="334"/>
                    <a:pt x="91" y="329"/>
                    <a:pt x="92" y="328"/>
                  </a:cubicBezTo>
                  <a:cubicBezTo>
                    <a:pt x="93" y="328"/>
                    <a:pt x="95" y="326"/>
                    <a:pt x="96" y="326"/>
                  </a:cubicBezTo>
                  <a:cubicBezTo>
                    <a:pt x="97" y="325"/>
                    <a:pt x="102" y="323"/>
                    <a:pt x="102" y="323"/>
                  </a:cubicBezTo>
                  <a:cubicBezTo>
                    <a:pt x="115" y="328"/>
                    <a:pt x="115" y="328"/>
                    <a:pt x="115" y="328"/>
                  </a:cubicBezTo>
                  <a:cubicBezTo>
                    <a:pt x="117" y="336"/>
                    <a:pt x="117" y="336"/>
                    <a:pt x="117" y="336"/>
                  </a:cubicBezTo>
                  <a:cubicBezTo>
                    <a:pt x="124" y="349"/>
                    <a:pt x="124" y="349"/>
                    <a:pt x="124" y="349"/>
                  </a:cubicBezTo>
                  <a:cubicBezTo>
                    <a:pt x="126" y="355"/>
                    <a:pt x="126" y="355"/>
                    <a:pt x="126" y="355"/>
                  </a:cubicBezTo>
                  <a:cubicBezTo>
                    <a:pt x="126" y="355"/>
                    <a:pt x="129" y="358"/>
                    <a:pt x="128" y="361"/>
                  </a:cubicBezTo>
                  <a:cubicBezTo>
                    <a:pt x="127" y="365"/>
                    <a:pt x="121" y="375"/>
                    <a:pt x="121" y="375"/>
                  </a:cubicBezTo>
                  <a:cubicBezTo>
                    <a:pt x="121" y="381"/>
                    <a:pt x="121" y="381"/>
                    <a:pt x="121" y="381"/>
                  </a:cubicBezTo>
                  <a:cubicBezTo>
                    <a:pt x="125" y="389"/>
                    <a:pt x="125" y="389"/>
                    <a:pt x="125" y="389"/>
                  </a:cubicBezTo>
                  <a:cubicBezTo>
                    <a:pt x="119" y="404"/>
                    <a:pt x="119" y="404"/>
                    <a:pt x="119" y="404"/>
                  </a:cubicBezTo>
                  <a:cubicBezTo>
                    <a:pt x="122" y="415"/>
                    <a:pt x="122" y="415"/>
                    <a:pt x="122" y="415"/>
                  </a:cubicBezTo>
                  <a:cubicBezTo>
                    <a:pt x="120" y="430"/>
                    <a:pt x="120" y="430"/>
                    <a:pt x="120" y="430"/>
                  </a:cubicBezTo>
                  <a:cubicBezTo>
                    <a:pt x="119" y="438"/>
                    <a:pt x="119" y="438"/>
                    <a:pt x="119" y="438"/>
                  </a:cubicBezTo>
                  <a:cubicBezTo>
                    <a:pt x="119" y="438"/>
                    <a:pt x="115" y="442"/>
                    <a:pt x="113" y="441"/>
                  </a:cubicBezTo>
                  <a:cubicBezTo>
                    <a:pt x="111" y="440"/>
                    <a:pt x="101" y="433"/>
                    <a:pt x="101" y="433"/>
                  </a:cubicBezTo>
                  <a:cubicBezTo>
                    <a:pt x="97" y="432"/>
                    <a:pt x="97" y="432"/>
                    <a:pt x="97" y="432"/>
                  </a:cubicBezTo>
                  <a:cubicBezTo>
                    <a:pt x="94" y="439"/>
                    <a:pt x="94" y="439"/>
                    <a:pt x="94" y="439"/>
                  </a:cubicBezTo>
                  <a:cubicBezTo>
                    <a:pt x="95" y="444"/>
                    <a:pt x="95" y="444"/>
                    <a:pt x="95" y="444"/>
                  </a:cubicBezTo>
                  <a:cubicBezTo>
                    <a:pt x="90" y="453"/>
                    <a:pt x="90" y="453"/>
                    <a:pt x="90" y="453"/>
                  </a:cubicBezTo>
                  <a:cubicBezTo>
                    <a:pt x="85" y="453"/>
                    <a:pt x="85" y="453"/>
                    <a:pt x="85" y="453"/>
                  </a:cubicBezTo>
                  <a:cubicBezTo>
                    <a:pt x="79" y="451"/>
                    <a:pt x="79" y="451"/>
                    <a:pt x="79" y="451"/>
                  </a:cubicBezTo>
                  <a:cubicBezTo>
                    <a:pt x="73" y="443"/>
                    <a:pt x="73" y="443"/>
                    <a:pt x="73" y="443"/>
                  </a:cubicBezTo>
                  <a:cubicBezTo>
                    <a:pt x="73" y="443"/>
                    <a:pt x="73" y="445"/>
                    <a:pt x="71" y="446"/>
                  </a:cubicBezTo>
                  <a:cubicBezTo>
                    <a:pt x="69" y="446"/>
                    <a:pt x="66" y="445"/>
                    <a:pt x="66" y="445"/>
                  </a:cubicBezTo>
                  <a:cubicBezTo>
                    <a:pt x="68" y="439"/>
                    <a:pt x="68" y="439"/>
                    <a:pt x="68" y="439"/>
                  </a:cubicBezTo>
                  <a:cubicBezTo>
                    <a:pt x="66" y="432"/>
                    <a:pt x="66" y="432"/>
                    <a:pt x="66" y="432"/>
                  </a:cubicBezTo>
                  <a:cubicBezTo>
                    <a:pt x="68" y="425"/>
                    <a:pt x="68" y="425"/>
                    <a:pt x="68" y="425"/>
                  </a:cubicBezTo>
                  <a:cubicBezTo>
                    <a:pt x="68" y="415"/>
                    <a:pt x="68" y="415"/>
                    <a:pt x="68" y="415"/>
                  </a:cubicBezTo>
                  <a:cubicBezTo>
                    <a:pt x="70" y="411"/>
                    <a:pt x="70" y="411"/>
                    <a:pt x="70" y="411"/>
                  </a:cubicBezTo>
                  <a:cubicBezTo>
                    <a:pt x="71" y="406"/>
                    <a:pt x="71" y="406"/>
                    <a:pt x="71" y="406"/>
                  </a:cubicBezTo>
                  <a:cubicBezTo>
                    <a:pt x="74" y="400"/>
                    <a:pt x="74" y="400"/>
                    <a:pt x="74" y="400"/>
                  </a:cubicBezTo>
                  <a:cubicBezTo>
                    <a:pt x="73" y="395"/>
                    <a:pt x="73" y="395"/>
                    <a:pt x="73" y="395"/>
                  </a:cubicBezTo>
                  <a:cubicBezTo>
                    <a:pt x="71" y="396"/>
                    <a:pt x="71" y="396"/>
                    <a:pt x="71" y="396"/>
                  </a:cubicBezTo>
                  <a:cubicBezTo>
                    <a:pt x="65" y="390"/>
                    <a:pt x="65" y="390"/>
                    <a:pt x="65" y="390"/>
                  </a:cubicBezTo>
                  <a:cubicBezTo>
                    <a:pt x="65" y="390"/>
                    <a:pt x="67" y="388"/>
                    <a:pt x="69" y="386"/>
                  </a:cubicBezTo>
                  <a:cubicBezTo>
                    <a:pt x="71" y="384"/>
                    <a:pt x="71" y="383"/>
                    <a:pt x="71" y="381"/>
                  </a:cubicBezTo>
                  <a:cubicBezTo>
                    <a:pt x="71" y="379"/>
                    <a:pt x="70" y="374"/>
                    <a:pt x="69" y="374"/>
                  </a:cubicBezTo>
                  <a:cubicBezTo>
                    <a:pt x="68" y="373"/>
                    <a:pt x="66" y="371"/>
                    <a:pt x="66" y="371"/>
                  </a:cubicBezTo>
                  <a:cubicBezTo>
                    <a:pt x="66" y="365"/>
                    <a:pt x="66" y="365"/>
                    <a:pt x="66" y="365"/>
                  </a:cubicBezTo>
                  <a:cubicBezTo>
                    <a:pt x="66" y="365"/>
                    <a:pt x="65" y="362"/>
                    <a:pt x="64" y="362"/>
                  </a:cubicBezTo>
                  <a:cubicBezTo>
                    <a:pt x="62" y="361"/>
                    <a:pt x="57" y="358"/>
                    <a:pt x="57" y="358"/>
                  </a:cubicBezTo>
                  <a:cubicBezTo>
                    <a:pt x="58" y="351"/>
                    <a:pt x="58" y="351"/>
                    <a:pt x="58" y="351"/>
                  </a:cubicBezTo>
                  <a:cubicBezTo>
                    <a:pt x="56" y="349"/>
                    <a:pt x="56" y="349"/>
                    <a:pt x="56" y="349"/>
                  </a:cubicBezTo>
                  <a:lnTo>
                    <a:pt x="57" y="345"/>
                  </a:lnTo>
                  <a:close/>
                </a:path>
              </a:pathLst>
            </a:custGeom>
            <a:solidFill>
              <a:srgbClr val="E6EFF1"/>
            </a:solidFill>
            <a:ln w="12700" cap="rnd" cmpd="sng">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Lato Light"/>
              </a:endParaRPr>
            </a:p>
          </p:txBody>
        </p:sp>
        <p:sp>
          <p:nvSpPr>
            <p:cNvPr id="234" name="Freeform 86">
              <a:extLst>
                <a:ext uri="{FF2B5EF4-FFF2-40B4-BE49-F238E27FC236}">
                  <a16:creationId xmlns:a16="http://schemas.microsoft.com/office/drawing/2014/main" id="{7B2076C3-896B-DD68-6552-C574FC1F7A81}"/>
                </a:ext>
              </a:extLst>
            </p:cNvPr>
            <p:cNvSpPr>
              <a:spLocks/>
            </p:cNvSpPr>
            <p:nvPr/>
          </p:nvSpPr>
          <p:spPr bwMode="auto">
            <a:xfrm>
              <a:off x="5040711" y="4140571"/>
              <a:ext cx="1062743" cy="743313"/>
            </a:xfrm>
            <a:custGeom>
              <a:avLst/>
              <a:gdLst>
                <a:gd name="T0" fmla="*/ 59 w 369"/>
                <a:gd name="T1" fmla="*/ 73 h 266"/>
                <a:gd name="T2" fmla="*/ 59 w 369"/>
                <a:gd name="T3" fmla="*/ 83 h 266"/>
                <a:gd name="T4" fmla="*/ 59 w 369"/>
                <a:gd name="T5" fmla="*/ 83 h 266"/>
                <a:gd name="T6" fmla="*/ 58 w 369"/>
                <a:gd name="T7" fmla="*/ 84 h 266"/>
                <a:gd name="T8" fmla="*/ 58 w 369"/>
                <a:gd name="T9" fmla="*/ 84 h 266"/>
                <a:gd name="T10" fmla="*/ 56 w 369"/>
                <a:gd name="T11" fmla="*/ 84 h 266"/>
                <a:gd name="T12" fmla="*/ 56 w 369"/>
                <a:gd name="T13" fmla="*/ 85 h 266"/>
                <a:gd name="T14" fmla="*/ 56 w 369"/>
                <a:gd name="T15" fmla="*/ 85 h 266"/>
                <a:gd name="T16" fmla="*/ 56 w 369"/>
                <a:gd name="T17" fmla="*/ 85 h 266"/>
                <a:gd name="T18" fmla="*/ 51 w 369"/>
                <a:gd name="T19" fmla="*/ 97 h 266"/>
                <a:gd name="T20" fmla="*/ 50 w 369"/>
                <a:gd name="T21" fmla="*/ 106 h 266"/>
                <a:gd name="T22" fmla="*/ 50 w 369"/>
                <a:gd name="T23" fmla="*/ 106 h 266"/>
                <a:gd name="T24" fmla="*/ 50 w 369"/>
                <a:gd name="T25" fmla="*/ 106 h 266"/>
                <a:gd name="T26" fmla="*/ 50 w 369"/>
                <a:gd name="T27" fmla="*/ 107 h 266"/>
                <a:gd name="T28" fmla="*/ 50 w 369"/>
                <a:gd name="T29" fmla="*/ 107 h 266"/>
                <a:gd name="T30" fmla="*/ 50 w 369"/>
                <a:gd name="T31" fmla="*/ 107 h 266"/>
                <a:gd name="T32" fmla="*/ 50 w 369"/>
                <a:gd name="T33" fmla="*/ 108 h 266"/>
                <a:gd name="T34" fmla="*/ 49 w 369"/>
                <a:gd name="T35" fmla="*/ 109 h 266"/>
                <a:gd name="T36" fmla="*/ 42 w 369"/>
                <a:gd name="T37" fmla="*/ 131 h 266"/>
                <a:gd name="T38" fmla="*/ 26 w 369"/>
                <a:gd name="T39" fmla="*/ 154 h 266"/>
                <a:gd name="T40" fmla="*/ 6 w 369"/>
                <a:gd name="T41" fmla="*/ 161 h 266"/>
                <a:gd name="T42" fmla="*/ 2 w 369"/>
                <a:gd name="T43" fmla="*/ 161 h 266"/>
                <a:gd name="T44" fmla="*/ 1 w 369"/>
                <a:gd name="T45" fmla="*/ 161 h 266"/>
                <a:gd name="T46" fmla="*/ 0 w 369"/>
                <a:gd name="T47" fmla="*/ 161 h 266"/>
                <a:gd name="T48" fmla="*/ 0 w 369"/>
                <a:gd name="T49" fmla="*/ 161 h 266"/>
                <a:gd name="T50" fmla="*/ 14 w 369"/>
                <a:gd name="T51" fmla="*/ 169 h 266"/>
                <a:gd name="T52" fmla="*/ 28 w 369"/>
                <a:gd name="T53" fmla="*/ 190 h 266"/>
                <a:gd name="T54" fmla="*/ 52 w 369"/>
                <a:gd name="T55" fmla="*/ 201 h 266"/>
                <a:gd name="T56" fmla="*/ 64 w 369"/>
                <a:gd name="T57" fmla="*/ 216 h 266"/>
                <a:gd name="T58" fmla="*/ 69 w 369"/>
                <a:gd name="T59" fmla="*/ 229 h 266"/>
                <a:gd name="T60" fmla="*/ 90 w 369"/>
                <a:gd name="T61" fmla="*/ 232 h 266"/>
                <a:gd name="T62" fmla="*/ 113 w 369"/>
                <a:gd name="T63" fmla="*/ 227 h 266"/>
                <a:gd name="T64" fmla="*/ 107 w 369"/>
                <a:gd name="T65" fmla="*/ 240 h 266"/>
                <a:gd name="T66" fmla="*/ 128 w 369"/>
                <a:gd name="T67" fmla="*/ 250 h 266"/>
                <a:gd name="T68" fmla="*/ 241 w 369"/>
                <a:gd name="T69" fmla="*/ 249 h 266"/>
                <a:gd name="T70" fmla="*/ 346 w 369"/>
                <a:gd name="T71" fmla="*/ 215 h 266"/>
                <a:gd name="T72" fmla="*/ 361 w 369"/>
                <a:gd name="T73" fmla="*/ 123 h 266"/>
                <a:gd name="T74" fmla="*/ 350 w 369"/>
                <a:gd name="T75" fmla="*/ 120 h 266"/>
                <a:gd name="T76" fmla="*/ 302 w 369"/>
                <a:gd name="T77" fmla="*/ 127 h 266"/>
                <a:gd name="T78" fmla="*/ 300 w 369"/>
                <a:gd name="T79" fmla="*/ 118 h 266"/>
                <a:gd name="T80" fmla="*/ 293 w 369"/>
                <a:gd name="T81" fmla="*/ 101 h 266"/>
                <a:gd name="T82" fmla="*/ 293 w 369"/>
                <a:gd name="T83" fmla="*/ 88 h 266"/>
                <a:gd name="T84" fmla="*/ 290 w 369"/>
                <a:gd name="T85" fmla="*/ 74 h 266"/>
                <a:gd name="T86" fmla="*/ 280 w 369"/>
                <a:gd name="T87" fmla="*/ 57 h 266"/>
                <a:gd name="T88" fmla="*/ 264 w 369"/>
                <a:gd name="T89" fmla="*/ 44 h 266"/>
                <a:gd name="T90" fmla="*/ 251 w 369"/>
                <a:gd name="T91" fmla="*/ 33 h 266"/>
                <a:gd name="T92" fmla="*/ 242 w 369"/>
                <a:gd name="T93" fmla="*/ 26 h 266"/>
                <a:gd name="T94" fmla="*/ 237 w 369"/>
                <a:gd name="T95" fmla="*/ 17 h 266"/>
                <a:gd name="T96" fmla="*/ 232 w 369"/>
                <a:gd name="T97" fmla="*/ 11 h 266"/>
                <a:gd name="T98" fmla="*/ 224 w 369"/>
                <a:gd name="T99" fmla="*/ 5 h 266"/>
                <a:gd name="T100" fmla="*/ 217 w 369"/>
                <a:gd name="T101" fmla="*/ 1 h 266"/>
                <a:gd name="T102" fmla="*/ 199 w 369"/>
                <a:gd name="T103" fmla="*/ 7 h 266"/>
                <a:gd name="T104" fmla="*/ 150 w 369"/>
                <a:gd name="T105" fmla="*/ 40 h 266"/>
                <a:gd name="T106" fmla="*/ 110 w 369"/>
                <a:gd name="T107" fmla="*/ 38 h 266"/>
                <a:gd name="T108" fmla="*/ 85 w 369"/>
                <a:gd name="T109" fmla="*/ 50 h 266"/>
                <a:gd name="T110" fmla="*/ 81 w 369"/>
                <a:gd name="T111" fmla="*/ 54 h 266"/>
                <a:gd name="T112" fmla="*/ 81 w 369"/>
                <a:gd name="T113" fmla="*/ 54 h 266"/>
                <a:gd name="T114" fmla="*/ 77 w 369"/>
                <a:gd name="T115" fmla="*/ 56 h 266"/>
                <a:gd name="T116" fmla="*/ 77 w 369"/>
                <a:gd name="T117" fmla="*/ 56 h 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69" h="266">
                  <a:moveTo>
                    <a:pt x="69" y="61"/>
                  </a:moveTo>
                  <a:cubicBezTo>
                    <a:pt x="69" y="61"/>
                    <a:pt x="69" y="61"/>
                    <a:pt x="69" y="61"/>
                  </a:cubicBezTo>
                  <a:cubicBezTo>
                    <a:pt x="66" y="62"/>
                    <a:pt x="66" y="62"/>
                    <a:pt x="66" y="62"/>
                  </a:cubicBezTo>
                  <a:cubicBezTo>
                    <a:pt x="64" y="64"/>
                    <a:pt x="64" y="64"/>
                    <a:pt x="64" y="64"/>
                  </a:cubicBezTo>
                  <a:cubicBezTo>
                    <a:pt x="62" y="70"/>
                    <a:pt x="62" y="70"/>
                    <a:pt x="62" y="70"/>
                  </a:cubicBezTo>
                  <a:cubicBezTo>
                    <a:pt x="62" y="70"/>
                    <a:pt x="62" y="70"/>
                    <a:pt x="62" y="70"/>
                  </a:cubicBezTo>
                  <a:cubicBezTo>
                    <a:pt x="59" y="73"/>
                    <a:pt x="59" y="73"/>
                    <a:pt x="59" y="73"/>
                  </a:cubicBezTo>
                  <a:cubicBezTo>
                    <a:pt x="59" y="73"/>
                    <a:pt x="59" y="73"/>
                    <a:pt x="59" y="73"/>
                  </a:cubicBezTo>
                  <a:cubicBezTo>
                    <a:pt x="58" y="78"/>
                    <a:pt x="58" y="78"/>
                    <a:pt x="58" y="78"/>
                  </a:cubicBezTo>
                  <a:cubicBezTo>
                    <a:pt x="58" y="78"/>
                    <a:pt x="59" y="82"/>
                    <a:pt x="59" y="83"/>
                  </a:cubicBezTo>
                  <a:cubicBezTo>
                    <a:pt x="59" y="83"/>
                    <a:pt x="59" y="83"/>
                    <a:pt x="59" y="83"/>
                  </a:cubicBezTo>
                  <a:cubicBezTo>
                    <a:pt x="59" y="83"/>
                    <a:pt x="59" y="83"/>
                    <a:pt x="59" y="83"/>
                  </a:cubicBezTo>
                  <a:cubicBezTo>
                    <a:pt x="59" y="83"/>
                    <a:pt x="59" y="83"/>
                    <a:pt x="59" y="83"/>
                  </a:cubicBezTo>
                  <a:cubicBezTo>
                    <a:pt x="59" y="83"/>
                    <a:pt x="59" y="83"/>
                    <a:pt x="59" y="83"/>
                  </a:cubicBezTo>
                  <a:cubicBezTo>
                    <a:pt x="59" y="83"/>
                    <a:pt x="59" y="83"/>
                    <a:pt x="59" y="83"/>
                  </a:cubicBezTo>
                  <a:cubicBezTo>
                    <a:pt x="59" y="83"/>
                    <a:pt x="59" y="83"/>
                    <a:pt x="59" y="83"/>
                  </a:cubicBezTo>
                  <a:cubicBezTo>
                    <a:pt x="59" y="83"/>
                    <a:pt x="59" y="83"/>
                    <a:pt x="59" y="83"/>
                  </a:cubicBezTo>
                  <a:cubicBezTo>
                    <a:pt x="59" y="83"/>
                    <a:pt x="59" y="83"/>
                    <a:pt x="59" y="83"/>
                  </a:cubicBezTo>
                  <a:cubicBezTo>
                    <a:pt x="59" y="83"/>
                    <a:pt x="59" y="83"/>
                    <a:pt x="59" y="83"/>
                  </a:cubicBezTo>
                  <a:cubicBezTo>
                    <a:pt x="59" y="83"/>
                    <a:pt x="59" y="83"/>
                    <a:pt x="59" y="83"/>
                  </a:cubicBezTo>
                  <a:cubicBezTo>
                    <a:pt x="59" y="83"/>
                    <a:pt x="59" y="83"/>
                    <a:pt x="59" y="83"/>
                  </a:cubicBezTo>
                  <a:cubicBezTo>
                    <a:pt x="59" y="83"/>
                    <a:pt x="59" y="83"/>
                    <a:pt x="59" y="83"/>
                  </a:cubicBezTo>
                  <a:cubicBezTo>
                    <a:pt x="58" y="84"/>
                    <a:pt x="58" y="84"/>
                    <a:pt x="58" y="84"/>
                  </a:cubicBezTo>
                  <a:cubicBezTo>
                    <a:pt x="58" y="84"/>
                    <a:pt x="58" y="84"/>
                    <a:pt x="58" y="84"/>
                  </a:cubicBezTo>
                  <a:cubicBezTo>
                    <a:pt x="58" y="84"/>
                    <a:pt x="58" y="84"/>
                    <a:pt x="58" y="84"/>
                  </a:cubicBezTo>
                  <a:cubicBezTo>
                    <a:pt x="58" y="84"/>
                    <a:pt x="58" y="84"/>
                    <a:pt x="58" y="84"/>
                  </a:cubicBezTo>
                  <a:cubicBezTo>
                    <a:pt x="58" y="84"/>
                    <a:pt x="58" y="84"/>
                    <a:pt x="58" y="84"/>
                  </a:cubicBezTo>
                  <a:cubicBezTo>
                    <a:pt x="58" y="84"/>
                    <a:pt x="58" y="84"/>
                    <a:pt x="58" y="84"/>
                  </a:cubicBezTo>
                  <a:cubicBezTo>
                    <a:pt x="58" y="84"/>
                    <a:pt x="58" y="84"/>
                    <a:pt x="58" y="84"/>
                  </a:cubicBezTo>
                  <a:cubicBezTo>
                    <a:pt x="58" y="84"/>
                    <a:pt x="58" y="84"/>
                    <a:pt x="58" y="84"/>
                  </a:cubicBezTo>
                  <a:cubicBezTo>
                    <a:pt x="58" y="84"/>
                    <a:pt x="58" y="84"/>
                    <a:pt x="58" y="84"/>
                  </a:cubicBezTo>
                  <a:cubicBezTo>
                    <a:pt x="58" y="84"/>
                    <a:pt x="58" y="84"/>
                    <a:pt x="58" y="84"/>
                  </a:cubicBezTo>
                  <a:cubicBezTo>
                    <a:pt x="58" y="84"/>
                    <a:pt x="58" y="84"/>
                    <a:pt x="58" y="84"/>
                  </a:cubicBezTo>
                  <a:cubicBezTo>
                    <a:pt x="58" y="84"/>
                    <a:pt x="58" y="84"/>
                    <a:pt x="58" y="84"/>
                  </a:cubicBezTo>
                  <a:cubicBezTo>
                    <a:pt x="58" y="84"/>
                    <a:pt x="58" y="84"/>
                    <a:pt x="58" y="84"/>
                  </a:cubicBezTo>
                  <a:cubicBezTo>
                    <a:pt x="58" y="84"/>
                    <a:pt x="58" y="84"/>
                    <a:pt x="58" y="84"/>
                  </a:cubicBezTo>
                  <a:cubicBezTo>
                    <a:pt x="58" y="84"/>
                    <a:pt x="58" y="84"/>
                    <a:pt x="58" y="84"/>
                  </a:cubicBezTo>
                  <a:cubicBezTo>
                    <a:pt x="57" y="84"/>
                    <a:pt x="56" y="84"/>
                    <a:pt x="56" y="84"/>
                  </a:cubicBezTo>
                  <a:cubicBezTo>
                    <a:pt x="56" y="84"/>
                    <a:pt x="56" y="84"/>
                    <a:pt x="56" y="84"/>
                  </a:cubicBezTo>
                  <a:cubicBezTo>
                    <a:pt x="56" y="84"/>
                    <a:pt x="56" y="84"/>
                    <a:pt x="56" y="84"/>
                  </a:cubicBezTo>
                  <a:cubicBezTo>
                    <a:pt x="56" y="84"/>
                    <a:pt x="56" y="84"/>
                    <a:pt x="56" y="84"/>
                  </a:cubicBezTo>
                  <a:cubicBezTo>
                    <a:pt x="56" y="84"/>
                    <a:pt x="56" y="84"/>
                    <a:pt x="56" y="84"/>
                  </a:cubicBezTo>
                  <a:cubicBezTo>
                    <a:pt x="56" y="84"/>
                    <a:pt x="56" y="84"/>
                    <a:pt x="56" y="84"/>
                  </a:cubicBezTo>
                  <a:cubicBezTo>
                    <a:pt x="56" y="84"/>
                    <a:pt x="56" y="84"/>
                    <a:pt x="56" y="84"/>
                  </a:cubicBezTo>
                  <a:cubicBezTo>
                    <a:pt x="56" y="84"/>
                    <a:pt x="56" y="84"/>
                    <a:pt x="56" y="84"/>
                  </a:cubicBezTo>
                  <a:cubicBezTo>
                    <a:pt x="56" y="84"/>
                    <a:pt x="56" y="84"/>
                    <a:pt x="56" y="84"/>
                  </a:cubicBezTo>
                  <a:cubicBezTo>
                    <a:pt x="56" y="85"/>
                    <a:pt x="56" y="85"/>
                    <a:pt x="56" y="85"/>
                  </a:cubicBezTo>
                  <a:cubicBezTo>
                    <a:pt x="56" y="85"/>
                    <a:pt x="56" y="85"/>
                    <a:pt x="56" y="85"/>
                  </a:cubicBezTo>
                  <a:cubicBezTo>
                    <a:pt x="56" y="85"/>
                    <a:pt x="56" y="85"/>
                    <a:pt x="56" y="85"/>
                  </a:cubicBezTo>
                  <a:cubicBezTo>
                    <a:pt x="56" y="85"/>
                    <a:pt x="56" y="85"/>
                    <a:pt x="56" y="85"/>
                  </a:cubicBezTo>
                  <a:cubicBezTo>
                    <a:pt x="56" y="85"/>
                    <a:pt x="56" y="85"/>
                    <a:pt x="56" y="85"/>
                  </a:cubicBezTo>
                  <a:cubicBezTo>
                    <a:pt x="56" y="85"/>
                    <a:pt x="56" y="85"/>
                    <a:pt x="56" y="85"/>
                  </a:cubicBezTo>
                  <a:cubicBezTo>
                    <a:pt x="56" y="85"/>
                    <a:pt x="56" y="85"/>
                    <a:pt x="56" y="85"/>
                  </a:cubicBezTo>
                  <a:cubicBezTo>
                    <a:pt x="56" y="85"/>
                    <a:pt x="56" y="85"/>
                    <a:pt x="56" y="85"/>
                  </a:cubicBezTo>
                  <a:cubicBezTo>
                    <a:pt x="56" y="85"/>
                    <a:pt x="56" y="85"/>
                    <a:pt x="56" y="85"/>
                  </a:cubicBezTo>
                  <a:cubicBezTo>
                    <a:pt x="56" y="85"/>
                    <a:pt x="56" y="85"/>
                    <a:pt x="56" y="85"/>
                  </a:cubicBezTo>
                  <a:cubicBezTo>
                    <a:pt x="56" y="85"/>
                    <a:pt x="56" y="85"/>
                    <a:pt x="56" y="85"/>
                  </a:cubicBezTo>
                  <a:cubicBezTo>
                    <a:pt x="56" y="85"/>
                    <a:pt x="56" y="85"/>
                    <a:pt x="56" y="85"/>
                  </a:cubicBezTo>
                  <a:cubicBezTo>
                    <a:pt x="56" y="85"/>
                    <a:pt x="56" y="85"/>
                    <a:pt x="56" y="85"/>
                  </a:cubicBezTo>
                  <a:cubicBezTo>
                    <a:pt x="56" y="85"/>
                    <a:pt x="56" y="85"/>
                    <a:pt x="56" y="85"/>
                  </a:cubicBezTo>
                  <a:cubicBezTo>
                    <a:pt x="56" y="85"/>
                    <a:pt x="56" y="85"/>
                    <a:pt x="56" y="85"/>
                  </a:cubicBezTo>
                  <a:cubicBezTo>
                    <a:pt x="56" y="85"/>
                    <a:pt x="56" y="85"/>
                    <a:pt x="56" y="85"/>
                  </a:cubicBezTo>
                  <a:cubicBezTo>
                    <a:pt x="56" y="85"/>
                    <a:pt x="56" y="85"/>
                    <a:pt x="56" y="85"/>
                  </a:cubicBezTo>
                  <a:cubicBezTo>
                    <a:pt x="56" y="85"/>
                    <a:pt x="56" y="85"/>
                    <a:pt x="56" y="85"/>
                  </a:cubicBezTo>
                  <a:cubicBezTo>
                    <a:pt x="56" y="85"/>
                    <a:pt x="56" y="85"/>
                    <a:pt x="56" y="85"/>
                  </a:cubicBezTo>
                  <a:cubicBezTo>
                    <a:pt x="56" y="85"/>
                    <a:pt x="56" y="85"/>
                    <a:pt x="56" y="85"/>
                  </a:cubicBezTo>
                  <a:cubicBezTo>
                    <a:pt x="56" y="85"/>
                    <a:pt x="56" y="85"/>
                    <a:pt x="56" y="85"/>
                  </a:cubicBezTo>
                  <a:cubicBezTo>
                    <a:pt x="56" y="85"/>
                    <a:pt x="56" y="85"/>
                    <a:pt x="56" y="85"/>
                  </a:cubicBezTo>
                  <a:cubicBezTo>
                    <a:pt x="55" y="93"/>
                    <a:pt x="55" y="93"/>
                    <a:pt x="55" y="93"/>
                  </a:cubicBezTo>
                  <a:cubicBezTo>
                    <a:pt x="51" y="97"/>
                    <a:pt x="51" y="97"/>
                    <a:pt x="51" y="97"/>
                  </a:cubicBezTo>
                  <a:cubicBezTo>
                    <a:pt x="50" y="102"/>
                    <a:pt x="50" y="102"/>
                    <a:pt x="50" y="102"/>
                  </a:cubicBezTo>
                  <a:cubicBezTo>
                    <a:pt x="50" y="105"/>
                    <a:pt x="50" y="105"/>
                    <a:pt x="50" y="105"/>
                  </a:cubicBezTo>
                  <a:cubicBezTo>
                    <a:pt x="50" y="105"/>
                    <a:pt x="50" y="105"/>
                    <a:pt x="50" y="105"/>
                  </a:cubicBezTo>
                  <a:cubicBezTo>
                    <a:pt x="50" y="105"/>
                    <a:pt x="50" y="105"/>
                    <a:pt x="50" y="105"/>
                  </a:cubicBezTo>
                  <a:cubicBezTo>
                    <a:pt x="50" y="106"/>
                    <a:pt x="50" y="106"/>
                    <a:pt x="50" y="106"/>
                  </a:cubicBezTo>
                  <a:cubicBezTo>
                    <a:pt x="50" y="106"/>
                    <a:pt x="50" y="106"/>
                    <a:pt x="50" y="106"/>
                  </a:cubicBezTo>
                  <a:cubicBezTo>
                    <a:pt x="50" y="106"/>
                    <a:pt x="50" y="106"/>
                    <a:pt x="50" y="106"/>
                  </a:cubicBezTo>
                  <a:cubicBezTo>
                    <a:pt x="50" y="106"/>
                    <a:pt x="50" y="106"/>
                    <a:pt x="50" y="106"/>
                  </a:cubicBezTo>
                  <a:cubicBezTo>
                    <a:pt x="50" y="106"/>
                    <a:pt x="50" y="106"/>
                    <a:pt x="50" y="106"/>
                  </a:cubicBezTo>
                  <a:cubicBezTo>
                    <a:pt x="50" y="106"/>
                    <a:pt x="50" y="106"/>
                    <a:pt x="50" y="106"/>
                  </a:cubicBezTo>
                  <a:cubicBezTo>
                    <a:pt x="50" y="106"/>
                    <a:pt x="50" y="106"/>
                    <a:pt x="50" y="106"/>
                  </a:cubicBezTo>
                  <a:cubicBezTo>
                    <a:pt x="50" y="106"/>
                    <a:pt x="50" y="106"/>
                    <a:pt x="50" y="106"/>
                  </a:cubicBezTo>
                  <a:cubicBezTo>
                    <a:pt x="50" y="106"/>
                    <a:pt x="50" y="106"/>
                    <a:pt x="50" y="106"/>
                  </a:cubicBezTo>
                  <a:cubicBezTo>
                    <a:pt x="50" y="106"/>
                    <a:pt x="50" y="106"/>
                    <a:pt x="50" y="106"/>
                  </a:cubicBezTo>
                  <a:cubicBezTo>
                    <a:pt x="50" y="106"/>
                    <a:pt x="50" y="106"/>
                    <a:pt x="50" y="106"/>
                  </a:cubicBezTo>
                  <a:cubicBezTo>
                    <a:pt x="50" y="106"/>
                    <a:pt x="50" y="106"/>
                    <a:pt x="50" y="106"/>
                  </a:cubicBezTo>
                  <a:cubicBezTo>
                    <a:pt x="50" y="106"/>
                    <a:pt x="50" y="106"/>
                    <a:pt x="50" y="106"/>
                  </a:cubicBezTo>
                  <a:cubicBezTo>
                    <a:pt x="50" y="106"/>
                    <a:pt x="50" y="106"/>
                    <a:pt x="50" y="106"/>
                  </a:cubicBezTo>
                  <a:cubicBezTo>
                    <a:pt x="50" y="106"/>
                    <a:pt x="50" y="106"/>
                    <a:pt x="50" y="106"/>
                  </a:cubicBezTo>
                  <a:cubicBezTo>
                    <a:pt x="50" y="106"/>
                    <a:pt x="50" y="106"/>
                    <a:pt x="50" y="106"/>
                  </a:cubicBezTo>
                  <a:cubicBezTo>
                    <a:pt x="50" y="106"/>
                    <a:pt x="50" y="106"/>
                    <a:pt x="50" y="106"/>
                  </a:cubicBezTo>
                  <a:cubicBezTo>
                    <a:pt x="50" y="106"/>
                    <a:pt x="50" y="106"/>
                    <a:pt x="50" y="106"/>
                  </a:cubicBezTo>
                  <a:cubicBezTo>
                    <a:pt x="50" y="107"/>
                    <a:pt x="50" y="107"/>
                    <a:pt x="50" y="107"/>
                  </a:cubicBezTo>
                  <a:cubicBezTo>
                    <a:pt x="50" y="107"/>
                    <a:pt x="50" y="107"/>
                    <a:pt x="50" y="107"/>
                  </a:cubicBezTo>
                  <a:cubicBezTo>
                    <a:pt x="50" y="107"/>
                    <a:pt x="50" y="107"/>
                    <a:pt x="50" y="107"/>
                  </a:cubicBezTo>
                  <a:cubicBezTo>
                    <a:pt x="50" y="107"/>
                    <a:pt x="50" y="107"/>
                    <a:pt x="50" y="107"/>
                  </a:cubicBezTo>
                  <a:cubicBezTo>
                    <a:pt x="50" y="107"/>
                    <a:pt x="50" y="107"/>
                    <a:pt x="50" y="107"/>
                  </a:cubicBezTo>
                  <a:cubicBezTo>
                    <a:pt x="50" y="107"/>
                    <a:pt x="50" y="107"/>
                    <a:pt x="50" y="107"/>
                  </a:cubicBezTo>
                  <a:cubicBezTo>
                    <a:pt x="50" y="107"/>
                    <a:pt x="50" y="107"/>
                    <a:pt x="50" y="107"/>
                  </a:cubicBezTo>
                  <a:cubicBezTo>
                    <a:pt x="50" y="107"/>
                    <a:pt x="50" y="107"/>
                    <a:pt x="50" y="107"/>
                  </a:cubicBezTo>
                  <a:cubicBezTo>
                    <a:pt x="50" y="107"/>
                    <a:pt x="50" y="107"/>
                    <a:pt x="50" y="107"/>
                  </a:cubicBezTo>
                  <a:cubicBezTo>
                    <a:pt x="50" y="107"/>
                    <a:pt x="50" y="107"/>
                    <a:pt x="50" y="107"/>
                  </a:cubicBezTo>
                  <a:cubicBezTo>
                    <a:pt x="50" y="107"/>
                    <a:pt x="50" y="107"/>
                    <a:pt x="50" y="107"/>
                  </a:cubicBezTo>
                  <a:cubicBezTo>
                    <a:pt x="50" y="107"/>
                    <a:pt x="50" y="107"/>
                    <a:pt x="50" y="107"/>
                  </a:cubicBezTo>
                  <a:cubicBezTo>
                    <a:pt x="50" y="107"/>
                    <a:pt x="50" y="107"/>
                    <a:pt x="50" y="107"/>
                  </a:cubicBezTo>
                  <a:cubicBezTo>
                    <a:pt x="50" y="107"/>
                    <a:pt x="50" y="107"/>
                    <a:pt x="50" y="107"/>
                  </a:cubicBezTo>
                  <a:cubicBezTo>
                    <a:pt x="50" y="107"/>
                    <a:pt x="50" y="107"/>
                    <a:pt x="50" y="107"/>
                  </a:cubicBezTo>
                  <a:cubicBezTo>
                    <a:pt x="50" y="107"/>
                    <a:pt x="50" y="107"/>
                    <a:pt x="50" y="107"/>
                  </a:cubicBezTo>
                  <a:cubicBezTo>
                    <a:pt x="50" y="107"/>
                    <a:pt x="50" y="107"/>
                    <a:pt x="50" y="107"/>
                  </a:cubicBezTo>
                  <a:cubicBezTo>
                    <a:pt x="50" y="107"/>
                    <a:pt x="50" y="107"/>
                    <a:pt x="50" y="107"/>
                  </a:cubicBezTo>
                  <a:cubicBezTo>
                    <a:pt x="50" y="107"/>
                    <a:pt x="50" y="107"/>
                    <a:pt x="50" y="107"/>
                  </a:cubicBezTo>
                  <a:cubicBezTo>
                    <a:pt x="50" y="107"/>
                    <a:pt x="50" y="107"/>
                    <a:pt x="50" y="107"/>
                  </a:cubicBezTo>
                  <a:cubicBezTo>
                    <a:pt x="50" y="108"/>
                    <a:pt x="50" y="108"/>
                    <a:pt x="50" y="108"/>
                  </a:cubicBezTo>
                  <a:cubicBezTo>
                    <a:pt x="50" y="108"/>
                    <a:pt x="50" y="108"/>
                    <a:pt x="50" y="108"/>
                  </a:cubicBezTo>
                  <a:cubicBezTo>
                    <a:pt x="50" y="108"/>
                    <a:pt x="50" y="108"/>
                    <a:pt x="50" y="108"/>
                  </a:cubicBezTo>
                  <a:cubicBezTo>
                    <a:pt x="50" y="108"/>
                    <a:pt x="50" y="108"/>
                    <a:pt x="50" y="108"/>
                  </a:cubicBezTo>
                  <a:cubicBezTo>
                    <a:pt x="50" y="108"/>
                    <a:pt x="50" y="108"/>
                    <a:pt x="50" y="108"/>
                  </a:cubicBezTo>
                  <a:cubicBezTo>
                    <a:pt x="50" y="108"/>
                    <a:pt x="50" y="108"/>
                    <a:pt x="50" y="108"/>
                  </a:cubicBezTo>
                  <a:cubicBezTo>
                    <a:pt x="50" y="108"/>
                    <a:pt x="50" y="108"/>
                    <a:pt x="50" y="108"/>
                  </a:cubicBezTo>
                  <a:cubicBezTo>
                    <a:pt x="50" y="108"/>
                    <a:pt x="50" y="108"/>
                    <a:pt x="50" y="108"/>
                  </a:cubicBezTo>
                  <a:cubicBezTo>
                    <a:pt x="50" y="108"/>
                    <a:pt x="50" y="108"/>
                    <a:pt x="50" y="108"/>
                  </a:cubicBezTo>
                  <a:cubicBezTo>
                    <a:pt x="50" y="108"/>
                    <a:pt x="50" y="108"/>
                    <a:pt x="50" y="108"/>
                  </a:cubicBezTo>
                  <a:cubicBezTo>
                    <a:pt x="50" y="108"/>
                    <a:pt x="50" y="108"/>
                    <a:pt x="50" y="108"/>
                  </a:cubicBezTo>
                  <a:cubicBezTo>
                    <a:pt x="50" y="108"/>
                    <a:pt x="50" y="108"/>
                    <a:pt x="50" y="108"/>
                  </a:cubicBezTo>
                  <a:cubicBezTo>
                    <a:pt x="50" y="108"/>
                    <a:pt x="50" y="108"/>
                    <a:pt x="50" y="108"/>
                  </a:cubicBezTo>
                  <a:cubicBezTo>
                    <a:pt x="50" y="109"/>
                    <a:pt x="50" y="109"/>
                    <a:pt x="49" y="109"/>
                  </a:cubicBezTo>
                  <a:cubicBezTo>
                    <a:pt x="47" y="110"/>
                    <a:pt x="46" y="112"/>
                    <a:pt x="46" y="112"/>
                  </a:cubicBezTo>
                  <a:cubicBezTo>
                    <a:pt x="46" y="119"/>
                    <a:pt x="46" y="119"/>
                    <a:pt x="46" y="119"/>
                  </a:cubicBezTo>
                  <a:cubicBezTo>
                    <a:pt x="45" y="121"/>
                    <a:pt x="45" y="121"/>
                    <a:pt x="45" y="121"/>
                  </a:cubicBezTo>
                  <a:cubicBezTo>
                    <a:pt x="43" y="124"/>
                    <a:pt x="43" y="124"/>
                    <a:pt x="43" y="124"/>
                  </a:cubicBezTo>
                  <a:cubicBezTo>
                    <a:pt x="44" y="128"/>
                    <a:pt x="44" y="128"/>
                    <a:pt x="44" y="128"/>
                  </a:cubicBezTo>
                  <a:cubicBezTo>
                    <a:pt x="44" y="128"/>
                    <a:pt x="44" y="128"/>
                    <a:pt x="44" y="128"/>
                  </a:cubicBezTo>
                  <a:cubicBezTo>
                    <a:pt x="42" y="131"/>
                    <a:pt x="42" y="131"/>
                    <a:pt x="42" y="131"/>
                  </a:cubicBezTo>
                  <a:cubicBezTo>
                    <a:pt x="43" y="136"/>
                    <a:pt x="43" y="136"/>
                    <a:pt x="43" y="136"/>
                  </a:cubicBezTo>
                  <a:cubicBezTo>
                    <a:pt x="41" y="139"/>
                    <a:pt x="41" y="139"/>
                    <a:pt x="41" y="139"/>
                  </a:cubicBezTo>
                  <a:cubicBezTo>
                    <a:pt x="40" y="140"/>
                    <a:pt x="40" y="140"/>
                    <a:pt x="40" y="140"/>
                  </a:cubicBezTo>
                  <a:cubicBezTo>
                    <a:pt x="39" y="143"/>
                    <a:pt x="39" y="143"/>
                    <a:pt x="39" y="143"/>
                  </a:cubicBezTo>
                  <a:cubicBezTo>
                    <a:pt x="37" y="148"/>
                    <a:pt x="37" y="148"/>
                    <a:pt x="37" y="148"/>
                  </a:cubicBezTo>
                  <a:cubicBezTo>
                    <a:pt x="29" y="155"/>
                    <a:pt x="29" y="155"/>
                    <a:pt x="29" y="155"/>
                  </a:cubicBezTo>
                  <a:cubicBezTo>
                    <a:pt x="26" y="154"/>
                    <a:pt x="26" y="154"/>
                    <a:pt x="26" y="154"/>
                  </a:cubicBezTo>
                  <a:cubicBezTo>
                    <a:pt x="24" y="155"/>
                    <a:pt x="24" y="155"/>
                    <a:pt x="24" y="155"/>
                  </a:cubicBezTo>
                  <a:cubicBezTo>
                    <a:pt x="22" y="157"/>
                    <a:pt x="22" y="157"/>
                    <a:pt x="22" y="157"/>
                  </a:cubicBezTo>
                  <a:cubicBezTo>
                    <a:pt x="22" y="157"/>
                    <a:pt x="23" y="157"/>
                    <a:pt x="21" y="159"/>
                  </a:cubicBezTo>
                  <a:cubicBezTo>
                    <a:pt x="19" y="160"/>
                    <a:pt x="15" y="161"/>
                    <a:pt x="15" y="161"/>
                  </a:cubicBezTo>
                  <a:cubicBezTo>
                    <a:pt x="13" y="161"/>
                    <a:pt x="13" y="161"/>
                    <a:pt x="13" y="161"/>
                  </a:cubicBezTo>
                  <a:cubicBezTo>
                    <a:pt x="6" y="161"/>
                    <a:pt x="6" y="161"/>
                    <a:pt x="6" y="161"/>
                  </a:cubicBezTo>
                  <a:cubicBezTo>
                    <a:pt x="6" y="161"/>
                    <a:pt x="6" y="161"/>
                    <a:pt x="6" y="161"/>
                  </a:cubicBezTo>
                  <a:cubicBezTo>
                    <a:pt x="6" y="161"/>
                    <a:pt x="6" y="161"/>
                    <a:pt x="6" y="161"/>
                  </a:cubicBezTo>
                  <a:cubicBezTo>
                    <a:pt x="6" y="161"/>
                    <a:pt x="5" y="160"/>
                    <a:pt x="4" y="161"/>
                  </a:cubicBezTo>
                  <a:cubicBezTo>
                    <a:pt x="4" y="161"/>
                    <a:pt x="3" y="161"/>
                    <a:pt x="3" y="161"/>
                  </a:cubicBezTo>
                  <a:cubicBezTo>
                    <a:pt x="3" y="161"/>
                    <a:pt x="3" y="161"/>
                    <a:pt x="3" y="161"/>
                  </a:cubicBezTo>
                  <a:cubicBezTo>
                    <a:pt x="2" y="161"/>
                    <a:pt x="2" y="161"/>
                    <a:pt x="2" y="161"/>
                  </a:cubicBezTo>
                  <a:cubicBezTo>
                    <a:pt x="2" y="161"/>
                    <a:pt x="2" y="161"/>
                    <a:pt x="2" y="161"/>
                  </a:cubicBezTo>
                  <a:cubicBezTo>
                    <a:pt x="2" y="161"/>
                    <a:pt x="2" y="161"/>
                    <a:pt x="2" y="161"/>
                  </a:cubicBezTo>
                  <a:cubicBezTo>
                    <a:pt x="2" y="161"/>
                    <a:pt x="2" y="161"/>
                    <a:pt x="2" y="161"/>
                  </a:cubicBezTo>
                  <a:cubicBezTo>
                    <a:pt x="2" y="161"/>
                    <a:pt x="2" y="161"/>
                    <a:pt x="2" y="161"/>
                  </a:cubicBezTo>
                  <a:cubicBezTo>
                    <a:pt x="2" y="161"/>
                    <a:pt x="2" y="161"/>
                    <a:pt x="2" y="161"/>
                  </a:cubicBezTo>
                  <a:cubicBezTo>
                    <a:pt x="2" y="161"/>
                    <a:pt x="2" y="161"/>
                    <a:pt x="2" y="161"/>
                  </a:cubicBezTo>
                  <a:cubicBezTo>
                    <a:pt x="2" y="161"/>
                    <a:pt x="2" y="161"/>
                    <a:pt x="2" y="161"/>
                  </a:cubicBezTo>
                  <a:cubicBezTo>
                    <a:pt x="2" y="161"/>
                    <a:pt x="2" y="161"/>
                    <a:pt x="2" y="161"/>
                  </a:cubicBezTo>
                  <a:cubicBezTo>
                    <a:pt x="1" y="161"/>
                    <a:pt x="1" y="161"/>
                    <a:pt x="1" y="161"/>
                  </a:cubicBezTo>
                  <a:cubicBezTo>
                    <a:pt x="1" y="161"/>
                    <a:pt x="1" y="161"/>
                    <a:pt x="1" y="161"/>
                  </a:cubicBezTo>
                  <a:cubicBezTo>
                    <a:pt x="1" y="161"/>
                    <a:pt x="1" y="161"/>
                    <a:pt x="1" y="161"/>
                  </a:cubicBezTo>
                  <a:cubicBezTo>
                    <a:pt x="1" y="161"/>
                    <a:pt x="1" y="161"/>
                    <a:pt x="1" y="161"/>
                  </a:cubicBezTo>
                  <a:cubicBezTo>
                    <a:pt x="1" y="161"/>
                    <a:pt x="1" y="161"/>
                    <a:pt x="1" y="161"/>
                  </a:cubicBezTo>
                  <a:cubicBezTo>
                    <a:pt x="1" y="161"/>
                    <a:pt x="1" y="161"/>
                    <a:pt x="1" y="161"/>
                  </a:cubicBezTo>
                  <a:cubicBezTo>
                    <a:pt x="0" y="161"/>
                    <a:pt x="0" y="161"/>
                    <a:pt x="0" y="161"/>
                  </a:cubicBezTo>
                  <a:cubicBezTo>
                    <a:pt x="0" y="161"/>
                    <a:pt x="0" y="161"/>
                    <a:pt x="0" y="161"/>
                  </a:cubicBezTo>
                  <a:cubicBezTo>
                    <a:pt x="0" y="161"/>
                    <a:pt x="0" y="161"/>
                    <a:pt x="0" y="161"/>
                  </a:cubicBezTo>
                  <a:cubicBezTo>
                    <a:pt x="0" y="161"/>
                    <a:pt x="0" y="161"/>
                    <a:pt x="0" y="161"/>
                  </a:cubicBezTo>
                  <a:cubicBezTo>
                    <a:pt x="0" y="161"/>
                    <a:pt x="0" y="161"/>
                    <a:pt x="0" y="161"/>
                  </a:cubicBezTo>
                  <a:cubicBezTo>
                    <a:pt x="0" y="161"/>
                    <a:pt x="0" y="161"/>
                    <a:pt x="0" y="161"/>
                  </a:cubicBezTo>
                  <a:cubicBezTo>
                    <a:pt x="0" y="161"/>
                    <a:pt x="0" y="161"/>
                    <a:pt x="0" y="161"/>
                  </a:cubicBezTo>
                  <a:cubicBezTo>
                    <a:pt x="0" y="161"/>
                    <a:pt x="0" y="161"/>
                    <a:pt x="0" y="161"/>
                  </a:cubicBezTo>
                  <a:cubicBezTo>
                    <a:pt x="0" y="161"/>
                    <a:pt x="0" y="161"/>
                    <a:pt x="0" y="161"/>
                  </a:cubicBezTo>
                  <a:cubicBezTo>
                    <a:pt x="0" y="161"/>
                    <a:pt x="0" y="161"/>
                    <a:pt x="0" y="161"/>
                  </a:cubicBezTo>
                  <a:cubicBezTo>
                    <a:pt x="0" y="161"/>
                    <a:pt x="0" y="161"/>
                    <a:pt x="0" y="161"/>
                  </a:cubicBezTo>
                  <a:cubicBezTo>
                    <a:pt x="0" y="161"/>
                    <a:pt x="0" y="161"/>
                    <a:pt x="0" y="161"/>
                  </a:cubicBezTo>
                  <a:cubicBezTo>
                    <a:pt x="0" y="161"/>
                    <a:pt x="1" y="162"/>
                    <a:pt x="2" y="162"/>
                  </a:cubicBezTo>
                  <a:cubicBezTo>
                    <a:pt x="4" y="163"/>
                    <a:pt x="5" y="166"/>
                    <a:pt x="6" y="166"/>
                  </a:cubicBezTo>
                  <a:cubicBezTo>
                    <a:pt x="8" y="167"/>
                    <a:pt x="10" y="167"/>
                    <a:pt x="11" y="167"/>
                  </a:cubicBezTo>
                  <a:cubicBezTo>
                    <a:pt x="12" y="168"/>
                    <a:pt x="14" y="169"/>
                    <a:pt x="14" y="169"/>
                  </a:cubicBezTo>
                  <a:cubicBezTo>
                    <a:pt x="14" y="169"/>
                    <a:pt x="19" y="174"/>
                    <a:pt x="20" y="174"/>
                  </a:cubicBezTo>
                  <a:cubicBezTo>
                    <a:pt x="21" y="174"/>
                    <a:pt x="21" y="174"/>
                    <a:pt x="22" y="176"/>
                  </a:cubicBezTo>
                  <a:cubicBezTo>
                    <a:pt x="23" y="177"/>
                    <a:pt x="26" y="176"/>
                    <a:pt x="26" y="176"/>
                  </a:cubicBezTo>
                  <a:cubicBezTo>
                    <a:pt x="26" y="176"/>
                    <a:pt x="27" y="179"/>
                    <a:pt x="26" y="180"/>
                  </a:cubicBezTo>
                  <a:cubicBezTo>
                    <a:pt x="26" y="181"/>
                    <a:pt x="26" y="184"/>
                    <a:pt x="26" y="184"/>
                  </a:cubicBezTo>
                  <a:cubicBezTo>
                    <a:pt x="26" y="184"/>
                    <a:pt x="26" y="185"/>
                    <a:pt x="26" y="186"/>
                  </a:cubicBezTo>
                  <a:cubicBezTo>
                    <a:pt x="27" y="188"/>
                    <a:pt x="28" y="188"/>
                    <a:pt x="28" y="190"/>
                  </a:cubicBezTo>
                  <a:cubicBezTo>
                    <a:pt x="29" y="191"/>
                    <a:pt x="28" y="191"/>
                    <a:pt x="29" y="192"/>
                  </a:cubicBezTo>
                  <a:cubicBezTo>
                    <a:pt x="30" y="193"/>
                    <a:pt x="31" y="195"/>
                    <a:pt x="32" y="195"/>
                  </a:cubicBezTo>
                  <a:cubicBezTo>
                    <a:pt x="33" y="195"/>
                    <a:pt x="34" y="195"/>
                    <a:pt x="37" y="196"/>
                  </a:cubicBezTo>
                  <a:cubicBezTo>
                    <a:pt x="40" y="198"/>
                    <a:pt x="41" y="198"/>
                    <a:pt x="42" y="199"/>
                  </a:cubicBezTo>
                  <a:cubicBezTo>
                    <a:pt x="44" y="200"/>
                    <a:pt x="43" y="199"/>
                    <a:pt x="46" y="200"/>
                  </a:cubicBezTo>
                  <a:cubicBezTo>
                    <a:pt x="50" y="201"/>
                    <a:pt x="49" y="200"/>
                    <a:pt x="50" y="201"/>
                  </a:cubicBezTo>
                  <a:cubicBezTo>
                    <a:pt x="51" y="201"/>
                    <a:pt x="50" y="200"/>
                    <a:pt x="52" y="201"/>
                  </a:cubicBezTo>
                  <a:cubicBezTo>
                    <a:pt x="55" y="201"/>
                    <a:pt x="57" y="202"/>
                    <a:pt x="57" y="202"/>
                  </a:cubicBezTo>
                  <a:cubicBezTo>
                    <a:pt x="57" y="204"/>
                    <a:pt x="57" y="204"/>
                    <a:pt x="57" y="204"/>
                  </a:cubicBezTo>
                  <a:cubicBezTo>
                    <a:pt x="55" y="208"/>
                    <a:pt x="55" y="208"/>
                    <a:pt x="55" y="208"/>
                  </a:cubicBezTo>
                  <a:cubicBezTo>
                    <a:pt x="55" y="211"/>
                    <a:pt x="55" y="211"/>
                    <a:pt x="55" y="211"/>
                  </a:cubicBezTo>
                  <a:cubicBezTo>
                    <a:pt x="55" y="211"/>
                    <a:pt x="53" y="211"/>
                    <a:pt x="55" y="212"/>
                  </a:cubicBezTo>
                  <a:cubicBezTo>
                    <a:pt x="57" y="213"/>
                    <a:pt x="61" y="214"/>
                    <a:pt x="61" y="214"/>
                  </a:cubicBezTo>
                  <a:cubicBezTo>
                    <a:pt x="64" y="216"/>
                    <a:pt x="64" y="216"/>
                    <a:pt x="64" y="216"/>
                  </a:cubicBezTo>
                  <a:cubicBezTo>
                    <a:pt x="64" y="216"/>
                    <a:pt x="62" y="219"/>
                    <a:pt x="61" y="220"/>
                  </a:cubicBezTo>
                  <a:cubicBezTo>
                    <a:pt x="60" y="220"/>
                    <a:pt x="57" y="220"/>
                    <a:pt x="57" y="220"/>
                  </a:cubicBezTo>
                  <a:cubicBezTo>
                    <a:pt x="57" y="220"/>
                    <a:pt x="56" y="223"/>
                    <a:pt x="58" y="223"/>
                  </a:cubicBezTo>
                  <a:cubicBezTo>
                    <a:pt x="59" y="224"/>
                    <a:pt x="61" y="224"/>
                    <a:pt x="62" y="224"/>
                  </a:cubicBezTo>
                  <a:cubicBezTo>
                    <a:pt x="63" y="224"/>
                    <a:pt x="65" y="225"/>
                    <a:pt x="65" y="225"/>
                  </a:cubicBezTo>
                  <a:cubicBezTo>
                    <a:pt x="65" y="225"/>
                    <a:pt x="66" y="225"/>
                    <a:pt x="67" y="226"/>
                  </a:cubicBezTo>
                  <a:cubicBezTo>
                    <a:pt x="67" y="228"/>
                    <a:pt x="68" y="229"/>
                    <a:pt x="69" y="229"/>
                  </a:cubicBezTo>
                  <a:cubicBezTo>
                    <a:pt x="70" y="229"/>
                    <a:pt x="72" y="229"/>
                    <a:pt x="73" y="229"/>
                  </a:cubicBezTo>
                  <a:cubicBezTo>
                    <a:pt x="74" y="229"/>
                    <a:pt x="74" y="228"/>
                    <a:pt x="75" y="228"/>
                  </a:cubicBezTo>
                  <a:cubicBezTo>
                    <a:pt x="76" y="229"/>
                    <a:pt x="82" y="228"/>
                    <a:pt x="82" y="228"/>
                  </a:cubicBezTo>
                  <a:cubicBezTo>
                    <a:pt x="82" y="228"/>
                    <a:pt x="82" y="228"/>
                    <a:pt x="83" y="230"/>
                  </a:cubicBezTo>
                  <a:cubicBezTo>
                    <a:pt x="85" y="233"/>
                    <a:pt x="88" y="234"/>
                    <a:pt x="88" y="234"/>
                  </a:cubicBezTo>
                  <a:cubicBezTo>
                    <a:pt x="88" y="234"/>
                    <a:pt x="89" y="235"/>
                    <a:pt x="89" y="234"/>
                  </a:cubicBezTo>
                  <a:cubicBezTo>
                    <a:pt x="89" y="233"/>
                    <a:pt x="90" y="232"/>
                    <a:pt x="90" y="232"/>
                  </a:cubicBezTo>
                  <a:cubicBezTo>
                    <a:pt x="90" y="232"/>
                    <a:pt x="92" y="229"/>
                    <a:pt x="92" y="228"/>
                  </a:cubicBezTo>
                  <a:cubicBezTo>
                    <a:pt x="93" y="227"/>
                    <a:pt x="94" y="224"/>
                    <a:pt x="95" y="224"/>
                  </a:cubicBezTo>
                  <a:cubicBezTo>
                    <a:pt x="96" y="223"/>
                    <a:pt x="99" y="221"/>
                    <a:pt x="99" y="221"/>
                  </a:cubicBezTo>
                  <a:cubicBezTo>
                    <a:pt x="99" y="221"/>
                    <a:pt x="99" y="220"/>
                    <a:pt x="101" y="221"/>
                  </a:cubicBezTo>
                  <a:cubicBezTo>
                    <a:pt x="102" y="223"/>
                    <a:pt x="105" y="225"/>
                    <a:pt x="105" y="225"/>
                  </a:cubicBezTo>
                  <a:cubicBezTo>
                    <a:pt x="110" y="225"/>
                    <a:pt x="110" y="225"/>
                    <a:pt x="110" y="225"/>
                  </a:cubicBezTo>
                  <a:cubicBezTo>
                    <a:pt x="110" y="225"/>
                    <a:pt x="113" y="226"/>
                    <a:pt x="113" y="227"/>
                  </a:cubicBezTo>
                  <a:cubicBezTo>
                    <a:pt x="113" y="228"/>
                    <a:pt x="112" y="228"/>
                    <a:pt x="110" y="229"/>
                  </a:cubicBezTo>
                  <a:cubicBezTo>
                    <a:pt x="109" y="229"/>
                    <a:pt x="106" y="226"/>
                    <a:pt x="106" y="227"/>
                  </a:cubicBezTo>
                  <a:cubicBezTo>
                    <a:pt x="105" y="228"/>
                    <a:pt x="105" y="230"/>
                    <a:pt x="105" y="230"/>
                  </a:cubicBezTo>
                  <a:cubicBezTo>
                    <a:pt x="101" y="232"/>
                    <a:pt x="101" y="232"/>
                    <a:pt x="101" y="232"/>
                  </a:cubicBezTo>
                  <a:cubicBezTo>
                    <a:pt x="102" y="234"/>
                    <a:pt x="102" y="234"/>
                    <a:pt x="102" y="234"/>
                  </a:cubicBezTo>
                  <a:cubicBezTo>
                    <a:pt x="102" y="234"/>
                    <a:pt x="107" y="236"/>
                    <a:pt x="107" y="237"/>
                  </a:cubicBezTo>
                  <a:cubicBezTo>
                    <a:pt x="107" y="238"/>
                    <a:pt x="107" y="240"/>
                    <a:pt x="107" y="240"/>
                  </a:cubicBezTo>
                  <a:cubicBezTo>
                    <a:pt x="110" y="241"/>
                    <a:pt x="110" y="241"/>
                    <a:pt x="110" y="241"/>
                  </a:cubicBezTo>
                  <a:cubicBezTo>
                    <a:pt x="112" y="240"/>
                    <a:pt x="112" y="240"/>
                    <a:pt x="112" y="240"/>
                  </a:cubicBezTo>
                  <a:cubicBezTo>
                    <a:pt x="112" y="244"/>
                    <a:pt x="112" y="244"/>
                    <a:pt x="112" y="244"/>
                  </a:cubicBezTo>
                  <a:cubicBezTo>
                    <a:pt x="112" y="248"/>
                    <a:pt x="112" y="248"/>
                    <a:pt x="112" y="248"/>
                  </a:cubicBezTo>
                  <a:cubicBezTo>
                    <a:pt x="112" y="248"/>
                    <a:pt x="112" y="248"/>
                    <a:pt x="112" y="248"/>
                  </a:cubicBezTo>
                  <a:cubicBezTo>
                    <a:pt x="112" y="248"/>
                    <a:pt x="112" y="248"/>
                    <a:pt x="112" y="248"/>
                  </a:cubicBezTo>
                  <a:cubicBezTo>
                    <a:pt x="119" y="246"/>
                    <a:pt x="125" y="250"/>
                    <a:pt x="128" y="250"/>
                  </a:cubicBezTo>
                  <a:cubicBezTo>
                    <a:pt x="134" y="251"/>
                    <a:pt x="121" y="258"/>
                    <a:pt x="123" y="258"/>
                  </a:cubicBezTo>
                  <a:cubicBezTo>
                    <a:pt x="125" y="257"/>
                    <a:pt x="123" y="263"/>
                    <a:pt x="126" y="264"/>
                  </a:cubicBezTo>
                  <a:cubicBezTo>
                    <a:pt x="131" y="265"/>
                    <a:pt x="135" y="261"/>
                    <a:pt x="141" y="261"/>
                  </a:cubicBezTo>
                  <a:cubicBezTo>
                    <a:pt x="146" y="260"/>
                    <a:pt x="152" y="263"/>
                    <a:pt x="154" y="261"/>
                  </a:cubicBezTo>
                  <a:cubicBezTo>
                    <a:pt x="158" y="256"/>
                    <a:pt x="174" y="266"/>
                    <a:pt x="182" y="261"/>
                  </a:cubicBezTo>
                  <a:cubicBezTo>
                    <a:pt x="187" y="257"/>
                    <a:pt x="207" y="255"/>
                    <a:pt x="214" y="255"/>
                  </a:cubicBezTo>
                  <a:cubicBezTo>
                    <a:pt x="232" y="254"/>
                    <a:pt x="233" y="254"/>
                    <a:pt x="241" y="249"/>
                  </a:cubicBezTo>
                  <a:cubicBezTo>
                    <a:pt x="241" y="249"/>
                    <a:pt x="246" y="238"/>
                    <a:pt x="249" y="233"/>
                  </a:cubicBezTo>
                  <a:cubicBezTo>
                    <a:pt x="251" y="229"/>
                    <a:pt x="257" y="227"/>
                    <a:pt x="263" y="223"/>
                  </a:cubicBezTo>
                  <a:cubicBezTo>
                    <a:pt x="268" y="219"/>
                    <a:pt x="281" y="215"/>
                    <a:pt x="284" y="214"/>
                  </a:cubicBezTo>
                  <a:cubicBezTo>
                    <a:pt x="287" y="214"/>
                    <a:pt x="308" y="215"/>
                    <a:pt x="308" y="215"/>
                  </a:cubicBezTo>
                  <a:cubicBezTo>
                    <a:pt x="319" y="212"/>
                    <a:pt x="319" y="212"/>
                    <a:pt x="319" y="212"/>
                  </a:cubicBezTo>
                  <a:cubicBezTo>
                    <a:pt x="319" y="212"/>
                    <a:pt x="321" y="220"/>
                    <a:pt x="324" y="221"/>
                  </a:cubicBezTo>
                  <a:cubicBezTo>
                    <a:pt x="337" y="223"/>
                    <a:pt x="345" y="222"/>
                    <a:pt x="346" y="215"/>
                  </a:cubicBezTo>
                  <a:cubicBezTo>
                    <a:pt x="347" y="210"/>
                    <a:pt x="342" y="201"/>
                    <a:pt x="341" y="194"/>
                  </a:cubicBezTo>
                  <a:cubicBezTo>
                    <a:pt x="340" y="186"/>
                    <a:pt x="344" y="178"/>
                    <a:pt x="344" y="171"/>
                  </a:cubicBezTo>
                  <a:cubicBezTo>
                    <a:pt x="344" y="170"/>
                    <a:pt x="342" y="168"/>
                    <a:pt x="348" y="160"/>
                  </a:cubicBezTo>
                  <a:cubicBezTo>
                    <a:pt x="353" y="152"/>
                    <a:pt x="367" y="156"/>
                    <a:pt x="369" y="151"/>
                  </a:cubicBezTo>
                  <a:cubicBezTo>
                    <a:pt x="363" y="123"/>
                    <a:pt x="363" y="123"/>
                    <a:pt x="363" y="123"/>
                  </a:cubicBezTo>
                  <a:cubicBezTo>
                    <a:pt x="362" y="123"/>
                    <a:pt x="362" y="123"/>
                    <a:pt x="362" y="123"/>
                  </a:cubicBezTo>
                  <a:cubicBezTo>
                    <a:pt x="361" y="123"/>
                    <a:pt x="361" y="123"/>
                    <a:pt x="361" y="123"/>
                  </a:cubicBezTo>
                  <a:cubicBezTo>
                    <a:pt x="359" y="122"/>
                    <a:pt x="359" y="122"/>
                    <a:pt x="359" y="122"/>
                  </a:cubicBezTo>
                  <a:cubicBezTo>
                    <a:pt x="357" y="122"/>
                    <a:pt x="357" y="122"/>
                    <a:pt x="357" y="122"/>
                  </a:cubicBezTo>
                  <a:cubicBezTo>
                    <a:pt x="355" y="121"/>
                    <a:pt x="355" y="121"/>
                    <a:pt x="355" y="121"/>
                  </a:cubicBezTo>
                  <a:cubicBezTo>
                    <a:pt x="353" y="120"/>
                    <a:pt x="353" y="120"/>
                    <a:pt x="353" y="120"/>
                  </a:cubicBezTo>
                  <a:cubicBezTo>
                    <a:pt x="351" y="120"/>
                    <a:pt x="351" y="120"/>
                    <a:pt x="351" y="120"/>
                  </a:cubicBezTo>
                  <a:cubicBezTo>
                    <a:pt x="351" y="120"/>
                    <a:pt x="351" y="120"/>
                    <a:pt x="351" y="120"/>
                  </a:cubicBezTo>
                  <a:cubicBezTo>
                    <a:pt x="350" y="120"/>
                    <a:pt x="350" y="120"/>
                    <a:pt x="350" y="120"/>
                  </a:cubicBezTo>
                  <a:cubicBezTo>
                    <a:pt x="343" y="119"/>
                    <a:pt x="334" y="135"/>
                    <a:pt x="334" y="135"/>
                  </a:cubicBezTo>
                  <a:cubicBezTo>
                    <a:pt x="330" y="142"/>
                    <a:pt x="330" y="142"/>
                    <a:pt x="330" y="142"/>
                  </a:cubicBezTo>
                  <a:cubicBezTo>
                    <a:pt x="320" y="140"/>
                    <a:pt x="310" y="139"/>
                    <a:pt x="303" y="131"/>
                  </a:cubicBezTo>
                  <a:cubicBezTo>
                    <a:pt x="303" y="128"/>
                    <a:pt x="303" y="128"/>
                    <a:pt x="303" y="128"/>
                  </a:cubicBezTo>
                  <a:cubicBezTo>
                    <a:pt x="303" y="128"/>
                    <a:pt x="303" y="128"/>
                    <a:pt x="303" y="128"/>
                  </a:cubicBezTo>
                  <a:cubicBezTo>
                    <a:pt x="303" y="128"/>
                    <a:pt x="303" y="128"/>
                    <a:pt x="303" y="128"/>
                  </a:cubicBezTo>
                  <a:cubicBezTo>
                    <a:pt x="302" y="127"/>
                    <a:pt x="302" y="127"/>
                    <a:pt x="302" y="127"/>
                  </a:cubicBezTo>
                  <a:cubicBezTo>
                    <a:pt x="302" y="127"/>
                    <a:pt x="301" y="127"/>
                    <a:pt x="301" y="127"/>
                  </a:cubicBezTo>
                  <a:cubicBezTo>
                    <a:pt x="300" y="127"/>
                    <a:pt x="299" y="126"/>
                    <a:pt x="299" y="126"/>
                  </a:cubicBezTo>
                  <a:cubicBezTo>
                    <a:pt x="300" y="124"/>
                    <a:pt x="300" y="124"/>
                    <a:pt x="300" y="124"/>
                  </a:cubicBezTo>
                  <a:cubicBezTo>
                    <a:pt x="300" y="124"/>
                    <a:pt x="301" y="123"/>
                    <a:pt x="301" y="123"/>
                  </a:cubicBezTo>
                  <a:cubicBezTo>
                    <a:pt x="302" y="123"/>
                    <a:pt x="301" y="123"/>
                    <a:pt x="301" y="122"/>
                  </a:cubicBezTo>
                  <a:cubicBezTo>
                    <a:pt x="301" y="122"/>
                    <a:pt x="301" y="120"/>
                    <a:pt x="301" y="119"/>
                  </a:cubicBezTo>
                  <a:cubicBezTo>
                    <a:pt x="300" y="118"/>
                    <a:pt x="300" y="118"/>
                    <a:pt x="300" y="118"/>
                  </a:cubicBezTo>
                  <a:cubicBezTo>
                    <a:pt x="300" y="118"/>
                    <a:pt x="299" y="116"/>
                    <a:pt x="298" y="115"/>
                  </a:cubicBezTo>
                  <a:cubicBezTo>
                    <a:pt x="297" y="115"/>
                    <a:pt x="298" y="114"/>
                    <a:pt x="298" y="114"/>
                  </a:cubicBezTo>
                  <a:cubicBezTo>
                    <a:pt x="297" y="113"/>
                    <a:pt x="298" y="113"/>
                    <a:pt x="298" y="112"/>
                  </a:cubicBezTo>
                  <a:cubicBezTo>
                    <a:pt x="298" y="112"/>
                    <a:pt x="297" y="110"/>
                    <a:pt x="297" y="110"/>
                  </a:cubicBezTo>
                  <a:cubicBezTo>
                    <a:pt x="297" y="110"/>
                    <a:pt x="295" y="107"/>
                    <a:pt x="294" y="105"/>
                  </a:cubicBezTo>
                  <a:cubicBezTo>
                    <a:pt x="294" y="104"/>
                    <a:pt x="294" y="103"/>
                    <a:pt x="294" y="103"/>
                  </a:cubicBezTo>
                  <a:cubicBezTo>
                    <a:pt x="295" y="102"/>
                    <a:pt x="293" y="101"/>
                    <a:pt x="293" y="101"/>
                  </a:cubicBezTo>
                  <a:cubicBezTo>
                    <a:pt x="293" y="101"/>
                    <a:pt x="293" y="99"/>
                    <a:pt x="293" y="99"/>
                  </a:cubicBezTo>
                  <a:cubicBezTo>
                    <a:pt x="293" y="99"/>
                    <a:pt x="293" y="97"/>
                    <a:pt x="293" y="97"/>
                  </a:cubicBezTo>
                  <a:cubicBezTo>
                    <a:pt x="294" y="96"/>
                    <a:pt x="293" y="95"/>
                    <a:pt x="293" y="94"/>
                  </a:cubicBezTo>
                  <a:cubicBezTo>
                    <a:pt x="293" y="94"/>
                    <a:pt x="291" y="93"/>
                    <a:pt x="291" y="93"/>
                  </a:cubicBezTo>
                  <a:cubicBezTo>
                    <a:pt x="292" y="91"/>
                    <a:pt x="292" y="91"/>
                    <a:pt x="292" y="91"/>
                  </a:cubicBezTo>
                  <a:cubicBezTo>
                    <a:pt x="292" y="90"/>
                    <a:pt x="292" y="90"/>
                    <a:pt x="292" y="90"/>
                  </a:cubicBezTo>
                  <a:cubicBezTo>
                    <a:pt x="292" y="90"/>
                    <a:pt x="293" y="88"/>
                    <a:pt x="293" y="88"/>
                  </a:cubicBezTo>
                  <a:cubicBezTo>
                    <a:pt x="294" y="87"/>
                    <a:pt x="293" y="86"/>
                    <a:pt x="292" y="86"/>
                  </a:cubicBezTo>
                  <a:cubicBezTo>
                    <a:pt x="291" y="86"/>
                    <a:pt x="292" y="85"/>
                    <a:pt x="292" y="85"/>
                  </a:cubicBezTo>
                  <a:cubicBezTo>
                    <a:pt x="293" y="83"/>
                    <a:pt x="293" y="83"/>
                    <a:pt x="293" y="83"/>
                  </a:cubicBezTo>
                  <a:cubicBezTo>
                    <a:pt x="292" y="80"/>
                    <a:pt x="292" y="80"/>
                    <a:pt x="292" y="80"/>
                  </a:cubicBezTo>
                  <a:cubicBezTo>
                    <a:pt x="292" y="79"/>
                    <a:pt x="292" y="79"/>
                    <a:pt x="292" y="79"/>
                  </a:cubicBezTo>
                  <a:cubicBezTo>
                    <a:pt x="292" y="79"/>
                    <a:pt x="291" y="77"/>
                    <a:pt x="291" y="77"/>
                  </a:cubicBezTo>
                  <a:cubicBezTo>
                    <a:pt x="291" y="76"/>
                    <a:pt x="290" y="74"/>
                    <a:pt x="290" y="74"/>
                  </a:cubicBezTo>
                  <a:cubicBezTo>
                    <a:pt x="290" y="74"/>
                    <a:pt x="290" y="73"/>
                    <a:pt x="290" y="73"/>
                  </a:cubicBezTo>
                  <a:cubicBezTo>
                    <a:pt x="290" y="72"/>
                    <a:pt x="290" y="72"/>
                    <a:pt x="290" y="72"/>
                  </a:cubicBezTo>
                  <a:cubicBezTo>
                    <a:pt x="290" y="71"/>
                    <a:pt x="289" y="70"/>
                    <a:pt x="288" y="69"/>
                  </a:cubicBezTo>
                  <a:cubicBezTo>
                    <a:pt x="287" y="67"/>
                    <a:pt x="287" y="67"/>
                    <a:pt x="287" y="67"/>
                  </a:cubicBezTo>
                  <a:cubicBezTo>
                    <a:pt x="287" y="67"/>
                    <a:pt x="285" y="65"/>
                    <a:pt x="284" y="64"/>
                  </a:cubicBezTo>
                  <a:cubicBezTo>
                    <a:pt x="284" y="62"/>
                    <a:pt x="284" y="62"/>
                    <a:pt x="283" y="61"/>
                  </a:cubicBezTo>
                  <a:cubicBezTo>
                    <a:pt x="283" y="59"/>
                    <a:pt x="281" y="57"/>
                    <a:pt x="280" y="57"/>
                  </a:cubicBezTo>
                  <a:cubicBezTo>
                    <a:pt x="280" y="57"/>
                    <a:pt x="279" y="54"/>
                    <a:pt x="279" y="53"/>
                  </a:cubicBezTo>
                  <a:cubicBezTo>
                    <a:pt x="278" y="53"/>
                    <a:pt x="276" y="52"/>
                    <a:pt x="276" y="52"/>
                  </a:cubicBezTo>
                  <a:cubicBezTo>
                    <a:pt x="275" y="52"/>
                    <a:pt x="273" y="51"/>
                    <a:pt x="273" y="51"/>
                  </a:cubicBezTo>
                  <a:cubicBezTo>
                    <a:pt x="270" y="50"/>
                    <a:pt x="270" y="50"/>
                    <a:pt x="270" y="50"/>
                  </a:cubicBezTo>
                  <a:cubicBezTo>
                    <a:pt x="267" y="47"/>
                    <a:pt x="267" y="47"/>
                    <a:pt x="267" y="47"/>
                  </a:cubicBezTo>
                  <a:cubicBezTo>
                    <a:pt x="267" y="47"/>
                    <a:pt x="266" y="47"/>
                    <a:pt x="265" y="46"/>
                  </a:cubicBezTo>
                  <a:cubicBezTo>
                    <a:pt x="265" y="46"/>
                    <a:pt x="264" y="44"/>
                    <a:pt x="264" y="44"/>
                  </a:cubicBezTo>
                  <a:cubicBezTo>
                    <a:pt x="263" y="42"/>
                    <a:pt x="263" y="42"/>
                    <a:pt x="263" y="42"/>
                  </a:cubicBezTo>
                  <a:cubicBezTo>
                    <a:pt x="257" y="40"/>
                    <a:pt x="257" y="40"/>
                    <a:pt x="257" y="40"/>
                  </a:cubicBezTo>
                  <a:cubicBezTo>
                    <a:pt x="257" y="40"/>
                    <a:pt x="256" y="38"/>
                    <a:pt x="256" y="38"/>
                  </a:cubicBezTo>
                  <a:cubicBezTo>
                    <a:pt x="256" y="37"/>
                    <a:pt x="255" y="37"/>
                    <a:pt x="255" y="36"/>
                  </a:cubicBezTo>
                  <a:cubicBezTo>
                    <a:pt x="255" y="35"/>
                    <a:pt x="254" y="35"/>
                    <a:pt x="254" y="34"/>
                  </a:cubicBezTo>
                  <a:cubicBezTo>
                    <a:pt x="254" y="33"/>
                    <a:pt x="253" y="33"/>
                    <a:pt x="253" y="33"/>
                  </a:cubicBezTo>
                  <a:cubicBezTo>
                    <a:pt x="252" y="33"/>
                    <a:pt x="251" y="33"/>
                    <a:pt x="251" y="33"/>
                  </a:cubicBezTo>
                  <a:cubicBezTo>
                    <a:pt x="251" y="33"/>
                    <a:pt x="250" y="32"/>
                    <a:pt x="250" y="32"/>
                  </a:cubicBezTo>
                  <a:cubicBezTo>
                    <a:pt x="250" y="32"/>
                    <a:pt x="248" y="30"/>
                    <a:pt x="247" y="30"/>
                  </a:cubicBezTo>
                  <a:cubicBezTo>
                    <a:pt x="247" y="29"/>
                    <a:pt x="247" y="29"/>
                    <a:pt x="247" y="29"/>
                  </a:cubicBezTo>
                  <a:cubicBezTo>
                    <a:pt x="247" y="29"/>
                    <a:pt x="247" y="29"/>
                    <a:pt x="246" y="29"/>
                  </a:cubicBezTo>
                  <a:cubicBezTo>
                    <a:pt x="245" y="29"/>
                    <a:pt x="245" y="29"/>
                    <a:pt x="245" y="28"/>
                  </a:cubicBezTo>
                  <a:cubicBezTo>
                    <a:pt x="244" y="28"/>
                    <a:pt x="244" y="26"/>
                    <a:pt x="243" y="26"/>
                  </a:cubicBezTo>
                  <a:cubicBezTo>
                    <a:pt x="243" y="26"/>
                    <a:pt x="243" y="26"/>
                    <a:pt x="242" y="26"/>
                  </a:cubicBezTo>
                  <a:cubicBezTo>
                    <a:pt x="241" y="26"/>
                    <a:pt x="240" y="24"/>
                    <a:pt x="240" y="24"/>
                  </a:cubicBezTo>
                  <a:cubicBezTo>
                    <a:pt x="239" y="24"/>
                    <a:pt x="240" y="23"/>
                    <a:pt x="240" y="22"/>
                  </a:cubicBezTo>
                  <a:cubicBezTo>
                    <a:pt x="240" y="21"/>
                    <a:pt x="239" y="21"/>
                    <a:pt x="239" y="21"/>
                  </a:cubicBezTo>
                  <a:cubicBezTo>
                    <a:pt x="239" y="21"/>
                    <a:pt x="239" y="21"/>
                    <a:pt x="239" y="21"/>
                  </a:cubicBezTo>
                  <a:cubicBezTo>
                    <a:pt x="239" y="21"/>
                    <a:pt x="238" y="21"/>
                    <a:pt x="238" y="20"/>
                  </a:cubicBezTo>
                  <a:cubicBezTo>
                    <a:pt x="238" y="20"/>
                    <a:pt x="237" y="19"/>
                    <a:pt x="237" y="18"/>
                  </a:cubicBezTo>
                  <a:cubicBezTo>
                    <a:pt x="237" y="17"/>
                    <a:pt x="237" y="17"/>
                    <a:pt x="237" y="17"/>
                  </a:cubicBezTo>
                  <a:cubicBezTo>
                    <a:pt x="237" y="17"/>
                    <a:pt x="236" y="16"/>
                    <a:pt x="236" y="16"/>
                  </a:cubicBezTo>
                  <a:cubicBezTo>
                    <a:pt x="235" y="15"/>
                    <a:pt x="235" y="15"/>
                    <a:pt x="235" y="15"/>
                  </a:cubicBezTo>
                  <a:cubicBezTo>
                    <a:pt x="235" y="14"/>
                    <a:pt x="235" y="14"/>
                    <a:pt x="235" y="14"/>
                  </a:cubicBezTo>
                  <a:cubicBezTo>
                    <a:pt x="234" y="14"/>
                    <a:pt x="234" y="14"/>
                    <a:pt x="234" y="14"/>
                  </a:cubicBezTo>
                  <a:cubicBezTo>
                    <a:pt x="233" y="14"/>
                    <a:pt x="233" y="13"/>
                    <a:pt x="233" y="12"/>
                  </a:cubicBezTo>
                  <a:cubicBezTo>
                    <a:pt x="233" y="12"/>
                    <a:pt x="233" y="12"/>
                    <a:pt x="233" y="12"/>
                  </a:cubicBezTo>
                  <a:cubicBezTo>
                    <a:pt x="232" y="11"/>
                    <a:pt x="232" y="11"/>
                    <a:pt x="232" y="11"/>
                  </a:cubicBezTo>
                  <a:cubicBezTo>
                    <a:pt x="231" y="10"/>
                    <a:pt x="231" y="10"/>
                    <a:pt x="231" y="10"/>
                  </a:cubicBezTo>
                  <a:cubicBezTo>
                    <a:pt x="230" y="9"/>
                    <a:pt x="230" y="9"/>
                    <a:pt x="230" y="9"/>
                  </a:cubicBezTo>
                  <a:cubicBezTo>
                    <a:pt x="230" y="9"/>
                    <a:pt x="229" y="8"/>
                    <a:pt x="229" y="8"/>
                  </a:cubicBezTo>
                  <a:cubicBezTo>
                    <a:pt x="228" y="7"/>
                    <a:pt x="227" y="6"/>
                    <a:pt x="227" y="6"/>
                  </a:cubicBezTo>
                  <a:cubicBezTo>
                    <a:pt x="227" y="6"/>
                    <a:pt x="227" y="5"/>
                    <a:pt x="227" y="5"/>
                  </a:cubicBezTo>
                  <a:cubicBezTo>
                    <a:pt x="227" y="5"/>
                    <a:pt x="226" y="5"/>
                    <a:pt x="226" y="5"/>
                  </a:cubicBezTo>
                  <a:cubicBezTo>
                    <a:pt x="224" y="5"/>
                    <a:pt x="224" y="5"/>
                    <a:pt x="224" y="5"/>
                  </a:cubicBezTo>
                  <a:cubicBezTo>
                    <a:pt x="224" y="3"/>
                    <a:pt x="224" y="3"/>
                    <a:pt x="224" y="3"/>
                  </a:cubicBezTo>
                  <a:cubicBezTo>
                    <a:pt x="224" y="3"/>
                    <a:pt x="224" y="3"/>
                    <a:pt x="223" y="3"/>
                  </a:cubicBezTo>
                  <a:cubicBezTo>
                    <a:pt x="222" y="3"/>
                    <a:pt x="222" y="2"/>
                    <a:pt x="222" y="2"/>
                  </a:cubicBezTo>
                  <a:cubicBezTo>
                    <a:pt x="222" y="1"/>
                    <a:pt x="222" y="1"/>
                    <a:pt x="222" y="1"/>
                  </a:cubicBezTo>
                  <a:cubicBezTo>
                    <a:pt x="219" y="2"/>
                    <a:pt x="219" y="2"/>
                    <a:pt x="219" y="2"/>
                  </a:cubicBezTo>
                  <a:cubicBezTo>
                    <a:pt x="219" y="2"/>
                    <a:pt x="219" y="2"/>
                    <a:pt x="219" y="2"/>
                  </a:cubicBezTo>
                  <a:cubicBezTo>
                    <a:pt x="219" y="2"/>
                    <a:pt x="217" y="1"/>
                    <a:pt x="217" y="1"/>
                  </a:cubicBezTo>
                  <a:cubicBezTo>
                    <a:pt x="217" y="0"/>
                    <a:pt x="216" y="0"/>
                    <a:pt x="216" y="0"/>
                  </a:cubicBezTo>
                  <a:cubicBezTo>
                    <a:pt x="215" y="1"/>
                    <a:pt x="215" y="1"/>
                    <a:pt x="215" y="1"/>
                  </a:cubicBezTo>
                  <a:cubicBezTo>
                    <a:pt x="213" y="1"/>
                    <a:pt x="213" y="1"/>
                    <a:pt x="213" y="1"/>
                  </a:cubicBezTo>
                  <a:cubicBezTo>
                    <a:pt x="212" y="1"/>
                    <a:pt x="212" y="1"/>
                    <a:pt x="212" y="1"/>
                  </a:cubicBezTo>
                  <a:cubicBezTo>
                    <a:pt x="211" y="0"/>
                    <a:pt x="211" y="0"/>
                    <a:pt x="211" y="0"/>
                  </a:cubicBezTo>
                  <a:cubicBezTo>
                    <a:pt x="208" y="1"/>
                    <a:pt x="207" y="1"/>
                    <a:pt x="207" y="1"/>
                  </a:cubicBezTo>
                  <a:cubicBezTo>
                    <a:pt x="204" y="2"/>
                    <a:pt x="199" y="5"/>
                    <a:pt x="199" y="7"/>
                  </a:cubicBezTo>
                  <a:cubicBezTo>
                    <a:pt x="198" y="9"/>
                    <a:pt x="199" y="14"/>
                    <a:pt x="197" y="15"/>
                  </a:cubicBezTo>
                  <a:cubicBezTo>
                    <a:pt x="194" y="15"/>
                    <a:pt x="191" y="20"/>
                    <a:pt x="190" y="20"/>
                  </a:cubicBezTo>
                  <a:cubicBezTo>
                    <a:pt x="181" y="25"/>
                    <a:pt x="181" y="25"/>
                    <a:pt x="181" y="25"/>
                  </a:cubicBezTo>
                  <a:cubicBezTo>
                    <a:pt x="181" y="25"/>
                    <a:pt x="174" y="28"/>
                    <a:pt x="170" y="28"/>
                  </a:cubicBezTo>
                  <a:cubicBezTo>
                    <a:pt x="166" y="29"/>
                    <a:pt x="163" y="32"/>
                    <a:pt x="163" y="32"/>
                  </a:cubicBezTo>
                  <a:cubicBezTo>
                    <a:pt x="158" y="39"/>
                    <a:pt x="158" y="39"/>
                    <a:pt x="158" y="39"/>
                  </a:cubicBezTo>
                  <a:cubicBezTo>
                    <a:pt x="150" y="40"/>
                    <a:pt x="150" y="40"/>
                    <a:pt x="150" y="40"/>
                  </a:cubicBezTo>
                  <a:cubicBezTo>
                    <a:pt x="146" y="36"/>
                    <a:pt x="146" y="36"/>
                    <a:pt x="146" y="36"/>
                  </a:cubicBezTo>
                  <a:cubicBezTo>
                    <a:pt x="142" y="37"/>
                    <a:pt x="142" y="37"/>
                    <a:pt x="142" y="37"/>
                  </a:cubicBezTo>
                  <a:cubicBezTo>
                    <a:pt x="141" y="36"/>
                    <a:pt x="141" y="36"/>
                    <a:pt x="141" y="36"/>
                  </a:cubicBezTo>
                  <a:cubicBezTo>
                    <a:pt x="139" y="37"/>
                    <a:pt x="139" y="37"/>
                    <a:pt x="139" y="37"/>
                  </a:cubicBezTo>
                  <a:cubicBezTo>
                    <a:pt x="127" y="36"/>
                    <a:pt x="127" y="36"/>
                    <a:pt x="127" y="36"/>
                  </a:cubicBezTo>
                  <a:cubicBezTo>
                    <a:pt x="121" y="39"/>
                    <a:pt x="121" y="39"/>
                    <a:pt x="121" y="39"/>
                  </a:cubicBezTo>
                  <a:cubicBezTo>
                    <a:pt x="110" y="38"/>
                    <a:pt x="110" y="38"/>
                    <a:pt x="110" y="38"/>
                  </a:cubicBezTo>
                  <a:cubicBezTo>
                    <a:pt x="110" y="38"/>
                    <a:pt x="102" y="39"/>
                    <a:pt x="100" y="39"/>
                  </a:cubicBezTo>
                  <a:cubicBezTo>
                    <a:pt x="97" y="39"/>
                    <a:pt x="97" y="39"/>
                    <a:pt x="97" y="39"/>
                  </a:cubicBezTo>
                  <a:cubicBezTo>
                    <a:pt x="95" y="38"/>
                    <a:pt x="93" y="36"/>
                    <a:pt x="93" y="36"/>
                  </a:cubicBezTo>
                  <a:cubicBezTo>
                    <a:pt x="93" y="36"/>
                    <a:pt x="89" y="37"/>
                    <a:pt x="88" y="38"/>
                  </a:cubicBezTo>
                  <a:cubicBezTo>
                    <a:pt x="87" y="39"/>
                    <a:pt x="83" y="44"/>
                    <a:pt x="83" y="44"/>
                  </a:cubicBezTo>
                  <a:cubicBezTo>
                    <a:pt x="83" y="45"/>
                    <a:pt x="83" y="45"/>
                    <a:pt x="83" y="45"/>
                  </a:cubicBezTo>
                  <a:cubicBezTo>
                    <a:pt x="85" y="50"/>
                    <a:pt x="85" y="50"/>
                    <a:pt x="85" y="50"/>
                  </a:cubicBezTo>
                  <a:cubicBezTo>
                    <a:pt x="81" y="53"/>
                    <a:pt x="81" y="53"/>
                    <a:pt x="81" y="53"/>
                  </a:cubicBezTo>
                  <a:cubicBezTo>
                    <a:pt x="81" y="53"/>
                    <a:pt x="81" y="53"/>
                    <a:pt x="81" y="53"/>
                  </a:cubicBezTo>
                  <a:cubicBezTo>
                    <a:pt x="81" y="53"/>
                    <a:pt x="81" y="53"/>
                    <a:pt x="81" y="53"/>
                  </a:cubicBezTo>
                  <a:cubicBezTo>
                    <a:pt x="81" y="53"/>
                    <a:pt x="81" y="53"/>
                    <a:pt x="81" y="53"/>
                  </a:cubicBezTo>
                  <a:cubicBezTo>
                    <a:pt x="81" y="53"/>
                    <a:pt x="81" y="53"/>
                    <a:pt x="81" y="53"/>
                  </a:cubicBezTo>
                  <a:cubicBezTo>
                    <a:pt x="81" y="54"/>
                    <a:pt x="81" y="54"/>
                    <a:pt x="81" y="54"/>
                  </a:cubicBezTo>
                  <a:cubicBezTo>
                    <a:pt x="81" y="54"/>
                    <a:pt x="81" y="54"/>
                    <a:pt x="81" y="54"/>
                  </a:cubicBezTo>
                  <a:cubicBezTo>
                    <a:pt x="81" y="54"/>
                    <a:pt x="81" y="54"/>
                    <a:pt x="81" y="54"/>
                  </a:cubicBezTo>
                  <a:cubicBezTo>
                    <a:pt x="81" y="54"/>
                    <a:pt x="81" y="54"/>
                    <a:pt x="81" y="54"/>
                  </a:cubicBezTo>
                  <a:cubicBezTo>
                    <a:pt x="81" y="54"/>
                    <a:pt x="81" y="54"/>
                    <a:pt x="81" y="54"/>
                  </a:cubicBezTo>
                  <a:cubicBezTo>
                    <a:pt x="81" y="54"/>
                    <a:pt x="81" y="54"/>
                    <a:pt x="81" y="54"/>
                  </a:cubicBezTo>
                  <a:cubicBezTo>
                    <a:pt x="81" y="54"/>
                    <a:pt x="81" y="54"/>
                    <a:pt x="81" y="54"/>
                  </a:cubicBezTo>
                  <a:cubicBezTo>
                    <a:pt x="81" y="54"/>
                    <a:pt x="81" y="54"/>
                    <a:pt x="81" y="54"/>
                  </a:cubicBezTo>
                  <a:cubicBezTo>
                    <a:pt x="81" y="54"/>
                    <a:pt x="81" y="54"/>
                    <a:pt x="81" y="54"/>
                  </a:cubicBezTo>
                  <a:cubicBezTo>
                    <a:pt x="81" y="54"/>
                    <a:pt x="81" y="54"/>
                    <a:pt x="81" y="54"/>
                  </a:cubicBezTo>
                  <a:cubicBezTo>
                    <a:pt x="81" y="55"/>
                    <a:pt x="80" y="55"/>
                    <a:pt x="79" y="55"/>
                  </a:cubicBezTo>
                  <a:cubicBezTo>
                    <a:pt x="79" y="56"/>
                    <a:pt x="78" y="56"/>
                    <a:pt x="77" y="56"/>
                  </a:cubicBezTo>
                  <a:cubicBezTo>
                    <a:pt x="77" y="56"/>
                    <a:pt x="77" y="56"/>
                    <a:pt x="77" y="56"/>
                  </a:cubicBezTo>
                  <a:cubicBezTo>
                    <a:pt x="77" y="56"/>
                    <a:pt x="77" y="56"/>
                    <a:pt x="77" y="56"/>
                  </a:cubicBezTo>
                  <a:cubicBezTo>
                    <a:pt x="77" y="56"/>
                    <a:pt x="77" y="56"/>
                    <a:pt x="77" y="56"/>
                  </a:cubicBezTo>
                  <a:cubicBezTo>
                    <a:pt x="77" y="56"/>
                    <a:pt x="77" y="56"/>
                    <a:pt x="77" y="56"/>
                  </a:cubicBezTo>
                  <a:cubicBezTo>
                    <a:pt x="77" y="56"/>
                    <a:pt x="77" y="56"/>
                    <a:pt x="77" y="56"/>
                  </a:cubicBezTo>
                  <a:cubicBezTo>
                    <a:pt x="77" y="56"/>
                    <a:pt x="77" y="56"/>
                    <a:pt x="77" y="56"/>
                  </a:cubicBezTo>
                  <a:cubicBezTo>
                    <a:pt x="77" y="56"/>
                    <a:pt x="77" y="56"/>
                    <a:pt x="77" y="56"/>
                  </a:cubicBezTo>
                  <a:cubicBezTo>
                    <a:pt x="77" y="56"/>
                    <a:pt x="77" y="56"/>
                    <a:pt x="77" y="56"/>
                  </a:cubicBezTo>
                  <a:cubicBezTo>
                    <a:pt x="77" y="56"/>
                    <a:pt x="77" y="56"/>
                    <a:pt x="77" y="56"/>
                  </a:cubicBezTo>
                  <a:cubicBezTo>
                    <a:pt x="77" y="56"/>
                    <a:pt x="77" y="56"/>
                    <a:pt x="77" y="56"/>
                  </a:cubicBezTo>
                  <a:cubicBezTo>
                    <a:pt x="77" y="56"/>
                    <a:pt x="77" y="56"/>
                    <a:pt x="77" y="56"/>
                  </a:cubicBezTo>
                  <a:cubicBezTo>
                    <a:pt x="77" y="56"/>
                    <a:pt x="77" y="56"/>
                    <a:pt x="77" y="56"/>
                  </a:cubicBezTo>
                  <a:cubicBezTo>
                    <a:pt x="77" y="56"/>
                    <a:pt x="77" y="56"/>
                    <a:pt x="77" y="56"/>
                  </a:cubicBezTo>
                  <a:cubicBezTo>
                    <a:pt x="76" y="57"/>
                    <a:pt x="76" y="57"/>
                    <a:pt x="76" y="57"/>
                  </a:cubicBezTo>
                  <a:cubicBezTo>
                    <a:pt x="73" y="60"/>
                    <a:pt x="73" y="60"/>
                    <a:pt x="73" y="60"/>
                  </a:cubicBezTo>
                  <a:cubicBezTo>
                    <a:pt x="69" y="61"/>
                    <a:pt x="69" y="61"/>
                    <a:pt x="69" y="61"/>
                  </a:cubicBezTo>
                  <a:close/>
                </a:path>
              </a:pathLst>
            </a:custGeom>
            <a:solidFill>
              <a:srgbClr val="E6EFF1"/>
            </a:solidFill>
            <a:ln w="12700" cap="rnd" cmpd="sng">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Lato Light"/>
              </a:endParaRPr>
            </a:p>
          </p:txBody>
        </p:sp>
        <p:sp>
          <p:nvSpPr>
            <p:cNvPr id="235" name="Freeform 90">
              <a:extLst>
                <a:ext uri="{FF2B5EF4-FFF2-40B4-BE49-F238E27FC236}">
                  <a16:creationId xmlns:a16="http://schemas.microsoft.com/office/drawing/2014/main" id="{2ECB68C8-DB49-7BF0-123A-8DD9F2422108}"/>
                </a:ext>
              </a:extLst>
            </p:cNvPr>
            <p:cNvSpPr>
              <a:spLocks/>
            </p:cNvSpPr>
            <p:nvPr/>
          </p:nvSpPr>
          <p:spPr bwMode="auto">
            <a:xfrm>
              <a:off x="5181020" y="3343396"/>
              <a:ext cx="1769849" cy="1193071"/>
            </a:xfrm>
            <a:custGeom>
              <a:avLst/>
              <a:gdLst>
                <a:gd name="T0" fmla="*/ 166 w 614"/>
                <a:gd name="T1" fmla="*/ 283 h 427"/>
                <a:gd name="T2" fmla="*/ 173 w 614"/>
                <a:gd name="T3" fmla="*/ 277 h 427"/>
                <a:gd name="T4" fmla="*/ 185 w 614"/>
                <a:gd name="T5" fmla="*/ 270 h 427"/>
                <a:gd name="T6" fmla="*/ 195 w 614"/>
                <a:gd name="T7" fmla="*/ 267 h 427"/>
                <a:gd name="T8" fmla="*/ 207 w 614"/>
                <a:gd name="T9" fmla="*/ 270 h 427"/>
                <a:gd name="T10" fmla="*/ 208 w 614"/>
                <a:gd name="T11" fmla="*/ 270 h 427"/>
                <a:gd name="T12" fmla="*/ 208 w 614"/>
                <a:gd name="T13" fmla="*/ 270 h 427"/>
                <a:gd name="T14" fmla="*/ 209 w 614"/>
                <a:gd name="T15" fmla="*/ 270 h 427"/>
                <a:gd name="T16" fmla="*/ 210 w 614"/>
                <a:gd name="T17" fmla="*/ 270 h 427"/>
                <a:gd name="T18" fmla="*/ 210 w 614"/>
                <a:gd name="T19" fmla="*/ 270 h 427"/>
                <a:gd name="T20" fmla="*/ 211 w 614"/>
                <a:gd name="T21" fmla="*/ 270 h 427"/>
                <a:gd name="T22" fmla="*/ 213 w 614"/>
                <a:gd name="T23" fmla="*/ 273 h 427"/>
                <a:gd name="T24" fmla="*/ 223 w 614"/>
                <a:gd name="T25" fmla="*/ 273 h 427"/>
                <a:gd name="T26" fmla="*/ 227 w 614"/>
                <a:gd name="T27" fmla="*/ 278 h 427"/>
                <a:gd name="T28" fmla="*/ 249 w 614"/>
                <a:gd name="T29" fmla="*/ 280 h 427"/>
                <a:gd name="T30" fmla="*/ 259 w 614"/>
                <a:gd name="T31" fmla="*/ 288 h 427"/>
                <a:gd name="T32" fmla="*/ 268 w 614"/>
                <a:gd name="T33" fmla="*/ 305 h 427"/>
                <a:gd name="T34" fmla="*/ 280 w 614"/>
                <a:gd name="T35" fmla="*/ 312 h 427"/>
                <a:gd name="T36" fmla="*/ 287 w 614"/>
                <a:gd name="T37" fmla="*/ 326 h 427"/>
                <a:gd name="T38" fmla="*/ 302 w 614"/>
                <a:gd name="T39" fmla="*/ 337 h 427"/>
                <a:gd name="T40" fmla="*/ 305 w 614"/>
                <a:gd name="T41" fmla="*/ 349 h 427"/>
                <a:gd name="T42" fmla="*/ 292 w 614"/>
                <a:gd name="T43" fmla="*/ 353 h 427"/>
                <a:gd name="T44" fmla="*/ 281 w 614"/>
                <a:gd name="T45" fmla="*/ 356 h 427"/>
                <a:gd name="T46" fmla="*/ 271 w 614"/>
                <a:gd name="T47" fmla="*/ 366 h 427"/>
                <a:gd name="T48" fmla="*/ 270 w 614"/>
                <a:gd name="T49" fmla="*/ 387 h 427"/>
                <a:gd name="T50" fmla="*/ 268 w 614"/>
                <a:gd name="T51" fmla="*/ 405 h 427"/>
                <a:gd name="T52" fmla="*/ 255 w 614"/>
                <a:gd name="T53" fmla="*/ 414 h 427"/>
                <a:gd name="T54" fmla="*/ 314 w 614"/>
                <a:gd name="T55" fmla="*/ 376 h 427"/>
                <a:gd name="T56" fmla="*/ 377 w 614"/>
                <a:gd name="T57" fmla="*/ 333 h 427"/>
                <a:gd name="T58" fmla="*/ 407 w 614"/>
                <a:gd name="T59" fmla="*/ 375 h 427"/>
                <a:gd name="T60" fmla="*/ 478 w 614"/>
                <a:gd name="T61" fmla="*/ 393 h 427"/>
                <a:gd name="T62" fmla="*/ 548 w 614"/>
                <a:gd name="T63" fmla="*/ 335 h 427"/>
                <a:gd name="T64" fmla="*/ 481 w 614"/>
                <a:gd name="T65" fmla="*/ 326 h 427"/>
                <a:gd name="T66" fmla="*/ 450 w 614"/>
                <a:gd name="T67" fmla="*/ 310 h 427"/>
                <a:gd name="T68" fmla="*/ 518 w 614"/>
                <a:gd name="T69" fmla="*/ 261 h 427"/>
                <a:gd name="T70" fmla="*/ 572 w 614"/>
                <a:gd name="T71" fmla="*/ 207 h 427"/>
                <a:gd name="T72" fmla="*/ 606 w 614"/>
                <a:gd name="T73" fmla="*/ 147 h 427"/>
                <a:gd name="T74" fmla="*/ 586 w 614"/>
                <a:gd name="T75" fmla="*/ 102 h 427"/>
                <a:gd name="T76" fmla="*/ 567 w 614"/>
                <a:gd name="T77" fmla="*/ 72 h 427"/>
                <a:gd name="T78" fmla="*/ 512 w 614"/>
                <a:gd name="T79" fmla="*/ 67 h 427"/>
                <a:gd name="T80" fmla="*/ 472 w 614"/>
                <a:gd name="T81" fmla="*/ 70 h 427"/>
                <a:gd name="T82" fmla="*/ 436 w 614"/>
                <a:gd name="T83" fmla="*/ 77 h 427"/>
                <a:gd name="T84" fmla="*/ 386 w 614"/>
                <a:gd name="T85" fmla="*/ 51 h 427"/>
                <a:gd name="T86" fmla="*/ 361 w 614"/>
                <a:gd name="T87" fmla="*/ 26 h 427"/>
                <a:gd name="T88" fmla="*/ 307 w 614"/>
                <a:gd name="T89" fmla="*/ 17 h 427"/>
                <a:gd name="T90" fmla="*/ 258 w 614"/>
                <a:gd name="T91" fmla="*/ 44 h 427"/>
                <a:gd name="T92" fmla="*/ 243 w 614"/>
                <a:gd name="T93" fmla="*/ 94 h 427"/>
                <a:gd name="T94" fmla="*/ 202 w 614"/>
                <a:gd name="T95" fmla="*/ 96 h 427"/>
                <a:gd name="T96" fmla="*/ 166 w 614"/>
                <a:gd name="T97" fmla="*/ 97 h 427"/>
                <a:gd name="T98" fmla="*/ 118 w 614"/>
                <a:gd name="T99" fmla="*/ 102 h 427"/>
                <a:gd name="T100" fmla="*/ 44 w 614"/>
                <a:gd name="T101" fmla="*/ 111 h 427"/>
                <a:gd name="T102" fmla="*/ 30 w 614"/>
                <a:gd name="T103" fmla="*/ 130 h 427"/>
                <a:gd name="T104" fmla="*/ 27 w 614"/>
                <a:gd name="T105" fmla="*/ 152 h 427"/>
                <a:gd name="T106" fmla="*/ 46 w 614"/>
                <a:gd name="T107" fmla="*/ 182 h 427"/>
                <a:gd name="T108" fmla="*/ 33 w 614"/>
                <a:gd name="T109" fmla="*/ 207 h 427"/>
                <a:gd name="T110" fmla="*/ 14 w 614"/>
                <a:gd name="T111" fmla="*/ 261 h 427"/>
                <a:gd name="T112" fmla="*/ 15 w 614"/>
                <a:gd name="T113" fmla="*/ 273 h 427"/>
                <a:gd name="T114" fmla="*/ 6 w 614"/>
                <a:gd name="T115" fmla="*/ 282 h 427"/>
                <a:gd name="T116" fmla="*/ 1 w 614"/>
                <a:gd name="T117" fmla="*/ 297 h 427"/>
                <a:gd name="T118" fmla="*/ 0 w 614"/>
                <a:gd name="T119" fmla="*/ 311 h 427"/>
                <a:gd name="T120" fmla="*/ 22 w 614"/>
                <a:gd name="T121" fmla="*/ 321 h 427"/>
                <a:gd name="T122" fmla="*/ 61 w 614"/>
                <a:gd name="T123" fmla="*/ 323 h 427"/>
                <a:gd name="T124" fmla="*/ 114 w 614"/>
                <a:gd name="T125" fmla="*/ 317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614" h="427">
                  <a:moveTo>
                    <a:pt x="141" y="305"/>
                  </a:moveTo>
                  <a:cubicBezTo>
                    <a:pt x="142" y="305"/>
                    <a:pt x="145" y="300"/>
                    <a:pt x="148" y="300"/>
                  </a:cubicBezTo>
                  <a:cubicBezTo>
                    <a:pt x="150" y="299"/>
                    <a:pt x="149" y="294"/>
                    <a:pt x="150" y="292"/>
                  </a:cubicBezTo>
                  <a:cubicBezTo>
                    <a:pt x="151" y="290"/>
                    <a:pt x="156" y="286"/>
                    <a:pt x="159" y="285"/>
                  </a:cubicBezTo>
                  <a:cubicBezTo>
                    <a:pt x="160" y="285"/>
                    <a:pt x="160" y="285"/>
                    <a:pt x="160" y="285"/>
                  </a:cubicBezTo>
                  <a:cubicBezTo>
                    <a:pt x="160" y="283"/>
                    <a:pt x="160" y="283"/>
                    <a:pt x="160" y="283"/>
                  </a:cubicBezTo>
                  <a:cubicBezTo>
                    <a:pt x="160" y="283"/>
                    <a:pt x="163" y="282"/>
                    <a:pt x="163" y="281"/>
                  </a:cubicBezTo>
                  <a:cubicBezTo>
                    <a:pt x="164" y="281"/>
                    <a:pt x="164" y="282"/>
                    <a:pt x="164" y="282"/>
                  </a:cubicBezTo>
                  <a:cubicBezTo>
                    <a:pt x="164" y="282"/>
                    <a:pt x="165" y="283"/>
                    <a:pt x="166" y="283"/>
                  </a:cubicBezTo>
                  <a:cubicBezTo>
                    <a:pt x="166" y="283"/>
                    <a:pt x="167" y="282"/>
                    <a:pt x="167" y="282"/>
                  </a:cubicBezTo>
                  <a:cubicBezTo>
                    <a:pt x="167" y="281"/>
                    <a:pt x="167" y="280"/>
                    <a:pt x="167" y="280"/>
                  </a:cubicBezTo>
                  <a:cubicBezTo>
                    <a:pt x="166" y="279"/>
                    <a:pt x="166" y="278"/>
                    <a:pt x="166" y="278"/>
                  </a:cubicBezTo>
                  <a:cubicBezTo>
                    <a:pt x="166" y="278"/>
                    <a:pt x="166" y="278"/>
                    <a:pt x="166" y="278"/>
                  </a:cubicBezTo>
                  <a:cubicBezTo>
                    <a:pt x="166" y="278"/>
                    <a:pt x="167" y="278"/>
                    <a:pt x="167" y="278"/>
                  </a:cubicBezTo>
                  <a:cubicBezTo>
                    <a:pt x="167" y="278"/>
                    <a:pt x="168" y="277"/>
                    <a:pt x="168" y="277"/>
                  </a:cubicBezTo>
                  <a:cubicBezTo>
                    <a:pt x="170" y="278"/>
                    <a:pt x="170" y="278"/>
                    <a:pt x="170" y="278"/>
                  </a:cubicBezTo>
                  <a:cubicBezTo>
                    <a:pt x="170" y="278"/>
                    <a:pt x="171" y="278"/>
                    <a:pt x="171" y="278"/>
                  </a:cubicBezTo>
                  <a:cubicBezTo>
                    <a:pt x="172" y="279"/>
                    <a:pt x="173" y="277"/>
                    <a:pt x="173" y="277"/>
                  </a:cubicBezTo>
                  <a:cubicBezTo>
                    <a:pt x="174" y="276"/>
                    <a:pt x="174" y="276"/>
                    <a:pt x="174" y="276"/>
                  </a:cubicBezTo>
                  <a:cubicBezTo>
                    <a:pt x="174" y="276"/>
                    <a:pt x="174" y="276"/>
                    <a:pt x="174" y="275"/>
                  </a:cubicBezTo>
                  <a:cubicBezTo>
                    <a:pt x="174" y="275"/>
                    <a:pt x="175" y="275"/>
                    <a:pt x="176" y="275"/>
                  </a:cubicBezTo>
                  <a:cubicBezTo>
                    <a:pt x="176" y="275"/>
                    <a:pt x="178" y="275"/>
                    <a:pt x="179" y="275"/>
                  </a:cubicBezTo>
                  <a:cubicBezTo>
                    <a:pt x="180" y="275"/>
                    <a:pt x="180" y="275"/>
                    <a:pt x="180" y="275"/>
                  </a:cubicBezTo>
                  <a:cubicBezTo>
                    <a:pt x="182" y="274"/>
                    <a:pt x="182" y="274"/>
                    <a:pt x="182" y="274"/>
                  </a:cubicBezTo>
                  <a:cubicBezTo>
                    <a:pt x="182" y="274"/>
                    <a:pt x="183" y="273"/>
                    <a:pt x="183" y="273"/>
                  </a:cubicBezTo>
                  <a:cubicBezTo>
                    <a:pt x="183" y="272"/>
                    <a:pt x="183" y="271"/>
                    <a:pt x="183" y="271"/>
                  </a:cubicBezTo>
                  <a:cubicBezTo>
                    <a:pt x="183" y="270"/>
                    <a:pt x="185" y="270"/>
                    <a:pt x="185" y="270"/>
                  </a:cubicBezTo>
                  <a:cubicBezTo>
                    <a:pt x="185" y="270"/>
                    <a:pt x="185" y="270"/>
                    <a:pt x="185" y="270"/>
                  </a:cubicBezTo>
                  <a:cubicBezTo>
                    <a:pt x="186" y="270"/>
                    <a:pt x="186" y="271"/>
                    <a:pt x="186" y="271"/>
                  </a:cubicBezTo>
                  <a:cubicBezTo>
                    <a:pt x="186" y="271"/>
                    <a:pt x="187" y="270"/>
                    <a:pt x="187" y="270"/>
                  </a:cubicBezTo>
                  <a:cubicBezTo>
                    <a:pt x="187" y="269"/>
                    <a:pt x="188" y="269"/>
                    <a:pt x="188" y="269"/>
                  </a:cubicBezTo>
                  <a:cubicBezTo>
                    <a:pt x="188" y="269"/>
                    <a:pt x="190" y="268"/>
                    <a:pt x="190" y="267"/>
                  </a:cubicBezTo>
                  <a:cubicBezTo>
                    <a:pt x="191" y="266"/>
                    <a:pt x="191" y="267"/>
                    <a:pt x="191" y="265"/>
                  </a:cubicBezTo>
                  <a:cubicBezTo>
                    <a:pt x="191" y="264"/>
                    <a:pt x="192" y="265"/>
                    <a:pt x="192" y="266"/>
                  </a:cubicBezTo>
                  <a:cubicBezTo>
                    <a:pt x="192" y="266"/>
                    <a:pt x="192" y="266"/>
                    <a:pt x="193" y="267"/>
                  </a:cubicBezTo>
                  <a:cubicBezTo>
                    <a:pt x="193" y="267"/>
                    <a:pt x="193" y="267"/>
                    <a:pt x="195" y="267"/>
                  </a:cubicBezTo>
                  <a:cubicBezTo>
                    <a:pt x="196" y="268"/>
                    <a:pt x="196" y="266"/>
                    <a:pt x="198" y="266"/>
                  </a:cubicBezTo>
                  <a:cubicBezTo>
                    <a:pt x="200" y="266"/>
                    <a:pt x="199" y="266"/>
                    <a:pt x="200" y="267"/>
                  </a:cubicBezTo>
                  <a:cubicBezTo>
                    <a:pt x="201" y="267"/>
                    <a:pt x="201" y="267"/>
                    <a:pt x="202" y="267"/>
                  </a:cubicBezTo>
                  <a:cubicBezTo>
                    <a:pt x="203" y="268"/>
                    <a:pt x="203" y="268"/>
                    <a:pt x="203" y="268"/>
                  </a:cubicBezTo>
                  <a:cubicBezTo>
                    <a:pt x="203" y="268"/>
                    <a:pt x="204" y="268"/>
                    <a:pt x="205" y="269"/>
                  </a:cubicBezTo>
                  <a:cubicBezTo>
                    <a:pt x="205" y="270"/>
                    <a:pt x="207" y="270"/>
                    <a:pt x="207" y="270"/>
                  </a:cubicBezTo>
                  <a:cubicBezTo>
                    <a:pt x="207" y="270"/>
                    <a:pt x="207" y="270"/>
                    <a:pt x="207" y="270"/>
                  </a:cubicBezTo>
                  <a:cubicBezTo>
                    <a:pt x="207" y="270"/>
                    <a:pt x="207" y="270"/>
                    <a:pt x="207" y="270"/>
                  </a:cubicBezTo>
                  <a:cubicBezTo>
                    <a:pt x="207" y="270"/>
                    <a:pt x="207" y="270"/>
                    <a:pt x="207" y="270"/>
                  </a:cubicBezTo>
                  <a:cubicBezTo>
                    <a:pt x="207" y="270"/>
                    <a:pt x="207" y="270"/>
                    <a:pt x="207" y="270"/>
                  </a:cubicBezTo>
                  <a:cubicBezTo>
                    <a:pt x="207" y="270"/>
                    <a:pt x="207" y="270"/>
                    <a:pt x="207" y="270"/>
                  </a:cubicBezTo>
                  <a:cubicBezTo>
                    <a:pt x="207" y="270"/>
                    <a:pt x="207" y="270"/>
                    <a:pt x="207" y="270"/>
                  </a:cubicBezTo>
                  <a:cubicBezTo>
                    <a:pt x="207" y="270"/>
                    <a:pt x="207" y="270"/>
                    <a:pt x="207" y="270"/>
                  </a:cubicBezTo>
                  <a:cubicBezTo>
                    <a:pt x="207" y="270"/>
                    <a:pt x="207" y="270"/>
                    <a:pt x="207" y="270"/>
                  </a:cubicBezTo>
                  <a:cubicBezTo>
                    <a:pt x="207" y="270"/>
                    <a:pt x="207" y="270"/>
                    <a:pt x="207" y="270"/>
                  </a:cubicBezTo>
                  <a:cubicBezTo>
                    <a:pt x="208" y="270"/>
                    <a:pt x="208" y="270"/>
                    <a:pt x="208" y="270"/>
                  </a:cubicBezTo>
                  <a:cubicBezTo>
                    <a:pt x="208" y="270"/>
                    <a:pt x="208" y="270"/>
                    <a:pt x="208" y="270"/>
                  </a:cubicBezTo>
                  <a:cubicBezTo>
                    <a:pt x="208" y="270"/>
                    <a:pt x="208" y="270"/>
                    <a:pt x="208" y="270"/>
                  </a:cubicBezTo>
                  <a:cubicBezTo>
                    <a:pt x="208" y="270"/>
                    <a:pt x="208" y="270"/>
                    <a:pt x="208" y="270"/>
                  </a:cubicBezTo>
                  <a:cubicBezTo>
                    <a:pt x="208" y="270"/>
                    <a:pt x="208" y="270"/>
                    <a:pt x="208" y="270"/>
                  </a:cubicBezTo>
                  <a:cubicBezTo>
                    <a:pt x="208" y="270"/>
                    <a:pt x="208" y="270"/>
                    <a:pt x="208" y="270"/>
                  </a:cubicBezTo>
                  <a:cubicBezTo>
                    <a:pt x="208" y="270"/>
                    <a:pt x="208" y="270"/>
                    <a:pt x="208" y="270"/>
                  </a:cubicBezTo>
                  <a:cubicBezTo>
                    <a:pt x="208" y="270"/>
                    <a:pt x="208" y="270"/>
                    <a:pt x="208" y="270"/>
                  </a:cubicBezTo>
                  <a:cubicBezTo>
                    <a:pt x="208" y="270"/>
                    <a:pt x="208" y="270"/>
                    <a:pt x="208" y="270"/>
                  </a:cubicBezTo>
                  <a:cubicBezTo>
                    <a:pt x="208" y="270"/>
                    <a:pt x="208" y="270"/>
                    <a:pt x="208" y="270"/>
                  </a:cubicBezTo>
                  <a:cubicBezTo>
                    <a:pt x="208" y="270"/>
                    <a:pt x="208" y="270"/>
                    <a:pt x="208" y="270"/>
                  </a:cubicBezTo>
                  <a:cubicBezTo>
                    <a:pt x="208" y="270"/>
                    <a:pt x="208" y="270"/>
                    <a:pt x="208" y="270"/>
                  </a:cubicBezTo>
                  <a:cubicBezTo>
                    <a:pt x="208" y="270"/>
                    <a:pt x="208" y="270"/>
                    <a:pt x="208" y="270"/>
                  </a:cubicBezTo>
                  <a:cubicBezTo>
                    <a:pt x="208" y="270"/>
                    <a:pt x="208" y="270"/>
                    <a:pt x="208" y="270"/>
                  </a:cubicBezTo>
                  <a:cubicBezTo>
                    <a:pt x="208" y="270"/>
                    <a:pt x="208" y="270"/>
                    <a:pt x="208" y="270"/>
                  </a:cubicBezTo>
                  <a:cubicBezTo>
                    <a:pt x="209" y="270"/>
                    <a:pt x="209" y="270"/>
                    <a:pt x="209" y="270"/>
                  </a:cubicBezTo>
                  <a:cubicBezTo>
                    <a:pt x="209" y="270"/>
                    <a:pt x="209" y="270"/>
                    <a:pt x="209" y="270"/>
                  </a:cubicBezTo>
                  <a:cubicBezTo>
                    <a:pt x="209" y="270"/>
                    <a:pt x="209" y="270"/>
                    <a:pt x="209" y="270"/>
                  </a:cubicBezTo>
                  <a:cubicBezTo>
                    <a:pt x="209" y="270"/>
                    <a:pt x="209" y="270"/>
                    <a:pt x="209" y="270"/>
                  </a:cubicBezTo>
                  <a:cubicBezTo>
                    <a:pt x="209" y="270"/>
                    <a:pt x="209" y="270"/>
                    <a:pt x="209" y="270"/>
                  </a:cubicBezTo>
                  <a:cubicBezTo>
                    <a:pt x="209" y="270"/>
                    <a:pt x="209" y="270"/>
                    <a:pt x="209" y="270"/>
                  </a:cubicBezTo>
                  <a:cubicBezTo>
                    <a:pt x="209" y="270"/>
                    <a:pt x="209" y="270"/>
                    <a:pt x="209" y="270"/>
                  </a:cubicBezTo>
                  <a:cubicBezTo>
                    <a:pt x="209" y="270"/>
                    <a:pt x="209" y="270"/>
                    <a:pt x="209" y="270"/>
                  </a:cubicBezTo>
                  <a:cubicBezTo>
                    <a:pt x="209" y="270"/>
                    <a:pt x="209" y="270"/>
                    <a:pt x="209" y="270"/>
                  </a:cubicBezTo>
                  <a:cubicBezTo>
                    <a:pt x="209" y="270"/>
                    <a:pt x="209" y="270"/>
                    <a:pt x="209" y="270"/>
                  </a:cubicBezTo>
                  <a:cubicBezTo>
                    <a:pt x="209" y="270"/>
                    <a:pt x="209" y="270"/>
                    <a:pt x="209" y="270"/>
                  </a:cubicBezTo>
                  <a:cubicBezTo>
                    <a:pt x="209" y="270"/>
                    <a:pt x="209" y="270"/>
                    <a:pt x="209" y="270"/>
                  </a:cubicBezTo>
                  <a:cubicBezTo>
                    <a:pt x="209" y="270"/>
                    <a:pt x="209" y="270"/>
                    <a:pt x="209" y="270"/>
                  </a:cubicBezTo>
                  <a:cubicBezTo>
                    <a:pt x="210" y="270"/>
                    <a:pt x="210" y="270"/>
                    <a:pt x="210" y="270"/>
                  </a:cubicBezTo>
                  <a:cubicBezTo>
                    <a:pt x="210" y="270"/>
                    <a:pt x="210" y="270"/>
                    <a:pt x="210" y="270"/>
                  </a:cubicBezTo>
                  <a:cubicBezTo>
                    <a:pt x="210" y="270"/>
                    <a:pt x="210" y="270"/>
                    <a:pt x="210" y="270"/>
                  </a:cubicBezTo>
                  <a:cubicBezTo>
                    <a:pt x="210" y="270"/>
                    <a:pt x="210" y="270"/>
                    <a:pt x="210" y="270"/>
                  </a:cubicBezTo>
                  <a:cubicBezTo>
                    <a:pt x="210" y="270"/>
                    <a:pt x="210" y="270"/>
                    <a:pt x="210" y="270"/>
                  </a:cubicBezTo>
                  <a:cubicBezTo>
                    <a:pt x="210" y="270"/>
                    <a:pt x="210" y="270"/>
                    <a:pt x="210" y="270"/>
                  </a:cubicBezTo>
                  <a:cubicBezTo>
                    <a:pt x="210" y="270"/>
                    <a:pt x="210" y="270"/>
                    <a:pt x="210" y="270"/>
                  </a:cubicBezTo>
                  <a:cubicBezTo>
                    <a:pt x="210" y="270"/>
                    <a:pt x="210" y="270"/>
                    <a:pt x="210" y="270"/>
                  </a:cubicBezTo>
                  <a:cubicBezTo>
                    <a:pt x="210" y="270"/>
                    <a:pt x="210" y="270"/>
                    <a:pt x="210" y="270"/>
                  </a:cubicBezTo>
                  <a:cubicBezTo>
                    <a:pt x="210" y="270"/>
                    <a:pt x="210" y="270"/>
                    <a:pt x="210" y="270"/>
                  </a:cubicBezTo>
                  <a:cubicBezTo>
                    <a:pt x="210" y="270"/>
                    <a:pt x="210" y="270"/>
                    <a:pt x="210" y="270"/>
                  </a:cubicBezTo>
                  <a:cubicBezTo>
                    <a:pt x="210" y="270"/>
                    <a:pt x="210" y="270"/>
                    <a:pt x="210" y="270"/>
                  </a:cubicBezTo>
                  <a:cubicBezTo>
                    <a:pt x="210" y="270"/>
                    <a:pt x="210" y="270"/>
                    <a:pt x="210" y="270"/>
                  </a:cubicBezTo>
                  <a:cubicBezTo>
                    <a:pt x="210" y="270"/>
                    <a:pt x="210" y="270"/>
                    <a:pt x="210" y="270"/>
                  </a:cubicBezTo>
                  <a:cubicBezTo>
                    <a:pt x="210" y="270"/>
                    <a:pt x="210" y="270"/>
                    <a:pt x="210" y="270"/>
                  </a:cubicBezTo>
                  <a:cubicBezTo>
                    <a:pt x="210" y="270"/>
                    <a:pt x="210" y="270"/>
                    <a:pt x="210" y="270"/>
                  </a:cubicBezTo>
                  <a:cubicBezTo>
                    <a:pt x="210" y="270"/>
                    <a:pt x="210" y="270"/>
                    <a:pt x="210" y="270"/>
                  </a:cubicBezTo>
                  <a:cubicBezTo>
                    <a:pt x="210" y="270"/>
                    <a:pt x="210" y="270"/>
                    <a:pt x="210" y="270"/>
                  </a:cubicBezTo>
                  <a:cubicBezTo>
                    <a:pt x="211" y="270"/>
                    <a:pt x="211" y="270"/>
                    <a:pt x="211" y="270"/>
                  </a:cubicBezTo>
                  <a:cubicBezTo>
                    <a:pt x="211" y="270"/>
                    <a:pt x="211" y="270"/>
                    <a:pt x="211" y="270"/>
                  </a:cubicBezTo>
                  <a:cubicBezTo>
                    <a:pt x="211" y="270"/>
                    <a:pt x="211" y="270"/>
                    <a:pt x="211" y="270"/>
                  </a:cubicBezTo>
                  <a:cubicBezTo>
                    <a:pt x="211" y="270"/>
                    <a:pt x="211" y="270"/>
                    <a:pt x="211" y="270"/>
                  </a:cubicBezTo>
                  <a:cubicBezTo>
                    <a:pt x="211" y="270"/>
                    <a:pt x="211" y="270"/>
                    <a:pt x="211" y="270"/>
                  </a:cubicBezTo>
                  <a:cubicBezTo>
                    <a:pt x="211" y="270"/>
                    <a:pt x="211" y="270"/>
                    <a:pt x="211" y="270"/>
                  </a:cubicBezTo>
                  <a:cubicBezTo>
                    <a:pt x="211" y="270"/>
                    <a:pt x="211" y="270"/>
                    <a:pt x="211" y="270"/>
                  </a:cubicBezTo>
                  <a:cubicBezTo>
                    <a:pt x="211" y="270"/>
                    <a:pt x="211" y="270"/>
                    <a:pt x="211" y="270"/>
                  </a:cubicBezTo>
                  <a:cubicBezTo>
                    <a:pt x="211" y="270"/>
                    <a:pt x="211" y="270"/>
                    <a:pt x="211" y="270"/>
                  </a:cubicBezTo>
                  <a:cubicBezTo>
                    <a:pt x="212" y="271"/>
                    <a:pt x="212" y="271"/>
                    <a:pt x="212" y="271"/>
                  </a:cubicBezTo>
                  <a:cubicBezTo>
                    <a:pt x="212" y="271"/>
                    <a:pt x="212" y="273"/>
                    <a:pt x="213" y="273"/>
                  </a:cubicBezTo>
                  <a:cubicBezTo>
                    <a:pt x="213" y="274"/>
                    <a:pt x="213" y="274"/>
                    <a:pt x="214" y="274"/>
                  </a:cubicBezTo>
                  <a:cubicBezTo>
                    <a:pt x="214" y="274"/>
                    <a:pt x="215" y="272"/>
                    <a:pt x="215" y="271"/>
                  </a:cubicBezTo>
                  <a:cubicBezTo>
                    <a:pt x="215" y="271"/>
                    <a:pt x="216" y="272"/>
                    <a:pt x="216" y="272"/>
                  </a:cubicBezTo>
                  <a:cubicBezTo>
                    <a:pt x="216" y="272"/>
                    <a:pt x="216" y="274"/>
                    <a:pt x="217" y="274"/>
                  </a:cubicBezTo>
                  <a:cubicBezTo>
                    <a:pt x="217" y="273"/>
                    <a:pt x="218" y="273"/>
                    <a:pt x="218" y="273"/>
                  </a:cubicBezTo>
                  <a:cubicBezTo>
                    <a:pt x="219" y="273"/>
                    <a:pt x="218" y="272"/>
                    <a:pt x="218" y="272"/>
                  </a:cubicBezTo>
                  <a:cubicBezTo>
                    <a:pt x="218" y="272"/>
                    <a:pt x="219" y="271"/>
                    <a:pt x="219" y="271"/>
                  </a:cubicBezTo>
                  <a:cubicBezTo>
                    <a:pt x="220" y="271"/>
                    <a:pt x="222" y="271"/>
                    <a:pt x="222" y="271"/>
                  </a:cubicBezTo>
                  <a:cubicBezTo>
                    <a:pt x="223" y="271"/>
                    <a:pt x="223" y="273"/>
                    <a:pt x="223" y="273"/>
                  </a:cubicBezTo>
                  <a:cubicBezTo>
                    <a:pt x="223" y="273"/>
                    <a:pt x="222" y="275"/>
                    <a:pt x="222" y="275"/>
                  </a:cubicBezTo>
                  <a:cubicBezTo>
                    <a:pt x="222" y="275"/>
                    <a:pt x="221" y="276"/>
                    <a:pt x="221" y="277"/>
                  </a:cubicBezTo>
                  <a:cubicBezTo>
                    <a:pt x="221" y="277"/>
                    <a:pt x="221" y="277"/>
                    <a:pt x="222" y="276"/>
                  </a:cubicBezTo>
                  <a:cubicBezTo>
                    <a:pt x="224" y="276"/>
                    <a:pt x="223" y="275"/>
                    <a:pt x="223" y="275"/>
                  </a:cubicBezTo>
                  <a:cubicBezTo>
                    <a:pt x="224" y="273"/>
                    <a:pt x="224" y="273"/>
                    <a:pt x="224" y="273"/>
                  </a:cubicBezTo>
                  <a:cubicBezTo>
                    <a:pt x="224" y="273"/>
                    <a:pt x="226" y="274"/>
                    <a:pt x="226" y="275"/>
                  </a:cubicBezTo>
                  <a:cubicBezTo>
                    <a:pt x="226" y="275"/>
                    <a:pt x="226" y="276"/>
                    <a:pt x="226" y="276"/>
                  </a:cubicBezTo>
                  <a:cubicBezTo>
                    <a:pt x="226" y="277"/>
                    <a:pt x="227" y="277"/>
                    <a:pt x="227" y="278"/>
                  </a:cubicBezTo>
                  <a:cubicBezTo>
                    <a:pt x="228" y="279"/>
                    <a:pt x="227" y="278"/>
                    <a:pt x="227" y="278"/>
                  </a:cubicBezTo>
                  <a:cubicBezTo>
                    <a:pt x="227" y="277"/>
                    <a:pt x="228" y="275"/>
                    <a:pt x="228" y="275"/>
                  </a:cubicBezTo>
                  <a:cubicBezTo>
                    <a:pt x="229" y="273"/>
                    <a:pt x="229" y="273"/>
                    <a:pt x="229" y="273"/>
                  </a:cubicBezTo>
                  <a:cubicBezTo>
                    <a:pt x="229" y="273"/>
                    <a:pt x="233" y="273"/>
                    <a:pt x="237" y="273"/>
                  </a:cubicBezTo>
                  <a:cubicBezTo>
                    <a:pt x="241" y="273"/>
                    <a:pt x="238" y="272"/>
                    <a:pt x="238" y="272"/>
                  </a:cubicBezTo>
                  <a:cubicBezTo>
                    <a:pt x="240" y="272"/>
                    <a:pt x="240" y="272"/>
                    <a:pt x="240" y="272"/>
                  </a:cubicBezTo>
                  <a:cubicBezTo>
                    <a:pt x="241" y="276"/>
                    <a:pt x="241" y="276"/>
                    <a:pt x="241" y="276"/>
                  </a:cubicBezTo>
                  <a:cubicBezTo>
                    <a:pt x="241" y="276"/>
                    <a:pt x="243" y="278"/>
                    <a:pt x="244" y="278"/>
                  </a:cubicBezTo>
                  <a:cubicBezTo>
                    <a:pt x="245" y="279"/>
                    <a:pt x="245" y="279"/>
                    <a:pt x="247" y="280"/>
                  </a:cubicBezTo>
                  <a:cubicBezTo>
                    <a:pt x="250" y="280"/>
                    <a:pt x="249" y="280"/>
                    <a:pt x="249" y="280"/>
                  </a:cubicBezTo>
                  <a:cubicBezTo>
                    <a:pt x="250" y="280"/>
                    <a:pt x="250" y="278"/>
                    <a:pt x="251" y="277"/>
                  </a:cubicBezTo>
                  <a:cubicBezTo>
                    <a:pt x="251" y="276"/>
                    <a:pt x="252" y="276"/>
                    <a:pt x="252" y="276"/>
                  </a:cubicBezTo>
                  <a:cubicBezTo>
                    <a:pt x="252" y="276"/>
                    <a:pt x="254" y="278"/>
                    <a:pt x="254" y="278"/>
                  </a:cubicBezTo>
                  <a:cubicBezTo>
                    <a:pt x="255" y="279"/>
                    <a:pt x="255" y="280"/>
                    <a:pt x="255" y="280"/>
                  </a:cubicBezTo>
                  <a:cubicBezTo>
                    <a:pt x="258" y="281"/>
                    <a:pt x="258" y="281"/>
                    <a:pt x="258" y="281"/>
                  </a:cubicBezTo>
                  <a:cubicBezTo>
                    <a:pt x="258" y="282"/>
                    <a:pt x="258" y="282"/>
                    <a:pt x="258" y="282"/>
                  </a:cubicBezTo>
                  <a:cubicBezTo>
                    <a:pt x="258" y="285"/>
                    <a:pt x="258" y="285"/>
                    <a:pt x="258" y="285"/>
                  </a:cubicBezTo>
                  <a:cubicBezTo>
                    <a:pt x="260" y="286"/>
                    <a:pt x="260" y="286"/>
                    <a:pt x="260" y="286"/>
                  </a:cubicBezTo>
                  <a:cubicBezTo>
                    <a:pt x="259" y="288"/>
                    <a:pt x="259" y="288"/>
                    <a:pt x="259" y="288"/>
                  </a:cubicBezTo>
                  <a:cubicBezTo>
                    <a:pt x="259" y="288"/>
                    <a:pt x="260" y="290"/>
                    <a:pt x="260" y="291"/>
                  </a:cubicBezTo>
                  <a:cubicBezTo>
                    <a:pt x="260" y="291"/>
                    <a:pt x="261" y="293"/>
                    <a:pt x="261" y="293"/>
                  </a:cubicBezTo>
                  <a:cubicBezTo>
                    <a:pt x="261" y="296"/>
                    <a:pt x="261" y="296"/>
                    <a:pt x="261" y="296"/>
                  </a:cubicBezTo>
                  <a:cubicBezTo>
                    <a:pt x="260" y="298"/>
                    <a:pt x="260" y="298"/>
                    <a:pt x="260" y="298"/>
                  </a:cubicBezTo>
                  <a:cubicBezTo>
                    <a:pt x="261" y="299"/>
                    <a:pt x="261" y="299"/>
                    <a:pt x="261" y="299"/>
                  </a:cubicBezTo>
                  <a:cubicBezTo>
                    <a:pt x="261" y="299"/>
                    <a:pt x="261" y="302"/>
                    <a:pt x="262" y="303"/>
                  </a:cubicBezTo>
                  <a:cubicBezTo>
                    <a:pt x="263" y="305"/>
                    <a:pt x="264" y="302"/>
                    <a:pt x="264" y="302"/>
                  </a:cubicBezTo>
                  <a:cubicBezTo>
                    <a:pt x="266" y="302"/>
                    <a:pt x="266" y="302"/>
                    <a:pt x="266" y="302"/>
                  </a:cubicBezTo>
                  <a:cubicBezTo>
                    <a:pt x="268" y="305"/>
                    <a:pt x="268" y="305"/>
                    <a:pt x="268" y="305"/>
                  </a:cubicBezTo>
                  <a:cubicBezTo>
                    <a:pt x="269" y="305"/>
                    <a:pt x="269" y="305"/>
                    <a:pt x="269" y="305"/>
                  </a:cubicBezTo>
                  <a:cubicBezTo>
                    <a:pt x="271" y="306"/>
                    <a:pt x="271" y="306"/>
                    <a:pt x="271" y="306"/>
                  </a:cubicBezTo>
                  <a:cubicBezTo>
                    <a:pt x="272" y="309"/>
                    <a:pt x="272" y="309"/>
                    <a:pt x="272" y="309"/>
                  </a:cubicBezTo>
                  <a:cubicBezTo>
                    <a:pt x="274" y="308"/>
                    <a:pt x="274" y="308"/>
                    <a:pt x="274" y="308"/>
                  </a:cubicBezTo>
                  <a:cubicBezTo>
                    <a:pt x="275" y="305"/>
                    <a:pt x="275" y="305"/>
                    <a:pt x="275" y="305"/>
                  </a:cubicBezTo>
                  <a:cubicBezTo>
                    <a:pt x="277" y="306"/>
                    <a:pt x="277" y="306"/>
                    <a:pt x="277" y="306"/>
                  </a:cubicBezTo>
                  <a:cubicBezTo>
                    <a:pt x="279" y="306"/>
                    <a:pt x="279" y="306"/>
                    <a:pt x="279" y="306"/>
                  </a:cubicBezTo>
                  <a:cubicBezTo>
                    <a:pt x="279" y="310"/>
                    <a:pt x="279" y="310"/>
                    <a:pt x="279" y="310"/>
                  </a:cubicBezTo>
                  <a:cubicBezTo>
                    <a:pt x="279" y="310"/>
                    <a:pt x="280" y="311"/>
                    <a:pt x="280" y="312"/>
                  </a:cubicBezTo>
                  <a:cubicBezTo>
                    <a:pt x="280" y="312"/>
                    <a:pt x="280" y="314"/>
                    <a:pt x="280" y="314"/>
                  </a:cubicBezTo>
                  <a:cubicBezTo>
                    <a:pt x="281" y="316"/>
                    <a:pt x="281" y="316"/>
                    <a:pt x="281" y="316"/>
                  </a:cubicBezTo>
                  <a:cubicBezTo>
                    <a:pt x="278" y="317"/>
                    <a:pt x="278" y="317"/>
                    <a:pt x="278" y="317"/>
                  </a:cubicBezTo>
                  <a:cubicBezTo>
                    <a:pt x="280" y="318"/>
                    <a:pt x="280" y="318"/>
                    <a:pt x="280" y="318"/>
                  </a:cubicBezTo>
                  <a:cubicBezTo>
                    <a:pt x="280" y="318"/>
                    <a:pt x="282" y="318"/>
                    <a:pt x="283" y="318"/>
                  </a:cubicBezTo>
                  <a:cubicBezTo>
                    <a:pt x="284" y="318"/>
                    <a:pt x="284" y="321"/>
                    <a:pt x="284" y="321"/>
                  </a:cubicBezTo>
                  <a:cubicBezTo>
                    <a:pt x="284" y="321"/>
                    <a:pt x="284" y="322"/>
                    <a:pt x="283" y="323"/>
                  </a:cubicBezTo>
                  <a:cubicBezTo>
                    <a:pt x="283" y="323"/>
                    <a:pt x="283" y="324"/>
                    <a:pt x="283" y="325"/>
                  </a:cubicBezTo>
                  <a:cubicBezTo>
                    <a:pt x="284" y="325"/>
                    <a:pt x="286" y="326"/>
                    <a:pt x="287" y="326"/>
                  </a:cubicBezTo>
                  <a:cubicBezTo>
                    <a:pt x="289" y="326"/>
                    <a:pt x="289" y="326"/>
                    <a:pt x="289" y="326"/>
                  </a:cubicBezTo>
                  <a:cubicBezTo>
                    <a:pt x="291" y="326"/>
                    <a:pt x="291" y="326"/>
                    <a:pt x="291" y="326"/>
                  </a:cubicBezTo>
                  <a:cubicBezTo>
                    <a:pt x="291" y="326"/>
                    <a:pt x="292" y="327"/>
                    <a:pt x="293" y="327"/>
                  </a:cubicBezTo>
                  <a:cubicBezTo>
                    <a:pt x="293" y="326"/>
                    <a:pt x="295" y="326"/>
                    <a:pt x="295" y="326"/>
                  </a:cubicBezTo>
                  <a:cubicBezTo>
                    <a:pt x="297" y="328"/>
                    <a:pt x="297" y="328"/>
                    <a:pt x="297" y="328"/>
                  </a:cubicBezTo>
                  <a:cubicBezTo>
                    <a:pt x="299" y="327"/>
                    <a:pt x="299" y="327"/>
                    <a:pt x="299" y="327"/>
                  </a:cubicBezTo>
                  <a:cubicBezTo>
                    <a:pt x="299" y="329"/>
                    <a:pt x="299" y="329"/>
                    <a:pt x="299" y="329"/>
                  </a:cubicBezTo>
                  <a:cubicBezTo>
                    <a:pt x="299" y="329"/>
                    <a:pt x="301" y="333"/>
                    <a:pt x="301" y="333"/>
                  </a:cubicBezTo>
                  <a:cubicBezTo>
                    <a:pt x="302" y="334"/>
                    <a:pt x="302" y="336"/>
                    <a:pt x="302" y="337"/>
                  </a:cubicBezTo>
                  <a:cubicBezTo>
                    <a:pt x="302" y="338"/>
                    <a:pt x="303" y="340"/>
                    <a:pt x="303" y="340"/>
                  </a:cubicBezTo>
                  <a:cubicBezTo>
                    <a:pt x="303" y="340"/>
                    <a:pt x="302" y="340"/>
                    <a:pt x="301" y="341"/>
                  </a:cubicBezTo>
                  <a:cubicBezTo>
                    <a:pt x="300" y="342"/>
                    <a:pt x="302" y="343"/>
                    <a:pt x="302" y="343"/>
                  </a:cubicBezTo>
                  <a:cubicBezTo>
                    <a:pt x="304" y="343"/>
                    <a:pt x="304" y="343"/>
                    <a:pt x="304" y="343"/>
                  </a:cubicBezTo>
                  <a:cubicBezTo>
                    <a:pt x="304" y="343"/>
                    <a:pt x="306" y="345"/>
                    <a:pt x="306" y="346"/>
                  </a:cubicBezTo>
                  <a:cubicBezTo>
                    <a:pt x="307" y="347"/>
                    <a:pt x="309" y="346"/>
                    <a:pt x="310" y="346"/>
                  </a:cubicBezTo>
                  <a:cubicBezTo>
                    <a:pt x="311" y="345"/>
                    <a:pt x="313" y="346"/>
                    <a:pt x="313" y="347"/>
                  </a:cubicBezTo>
                  <a:cubicBezTo>
                    <a:pt x="313" y="347"/>
                    <a:pt x="310" y="348"/>
                    <a:pt x="309" y="348"/>
                  </a:cubicBezTo>
                  <a:cubicBezTo>
                    <a:pt x="308" y="349"/>
                    <a:pt x="305" y="349"/>
                    <a:pt x="305" y="349"/>
                  </a:cubicBezTo>
                  <a:cubicBezTo>
                    <a:pt x="304" y="352"/>
                    <a:pt x="304" y="352"/>
                    <a:pt x="304" y="352"/>
                  </a:cubicBezTo>
                  <a:cubicBezTo>
                    <a:pt x="302" y="353"/>
                    <a:pt x="302" y="353"/>
                    <a:pt x="302" y="353"/>
                  </a:cubicBezTo>
                  <a:cubicBezTo>
                    <a:pt x="301" y="350"/>
                    <a:pt x="301" y="350"/>
                    <a:pt x="301" y="350"/>
                  </a:cubicBezTo>
                  <a:cubicBezTo>
                    <a:pt x="297" y="347"/>
                    <a:pt x="297" y="347"/>
                    <a:pt x="297" y="347"/>
                  </a:cubicBezTo>
                  <a:cubicBezTo>
                    <a:pt x="297" y="350"/>
                    <a:pt x="297" y="350"/>
                    <a:pt x="297" y="350"/>
                  </a:cubicBezTo>
                  <a:cubicBezTo>
                    <a:pt x="295" y="351"/>
                    <a:pt x="295" y="351"/>
                    <a:pt x="295" y="351"/>
                  </a:cubicBezTo>
                  <a:cubicBezTo>
                    <a:pt x="295" y="351"/>
                    <a:pt x="295" y="352"/>
                    <a:pt x="295" y="353"/>
                  </a:cubicBezTo>
                  <a:cubicBezTo>
                    <a:pt x="295" y="354"/>
                    <a:pt x="294" y="354"/>
                    <a:pt x="294" y="354"/>
                  </a:cubicBezTo>
                  <a:cubicBezTo>
                    <a:pt x="292" y="353"/>
                    <a:pt x="292" y="353"/>
                    <a:pt x="292" y="353"/>
                  </a:cubicBezTo>
                  <a:cubicBezTo>
                    <a:pt x="292" y="353"/>
                    <a:pt x="290" y="353"/>
                    <a:pt x="289" y="353"/>
                  </a:cubicBezTo>
                  <a:cubicBezTo>
                    <a:pt x="288" y="353"/>
                    <a:pt x="288" y="351"/>
                    <a:pt x="288" y="351"/>
                  </a:cubicBezTo>
                  <a:cubicBezTo>
                    <a:pt x="287" y="352"/>
                    <a:pt x="287" y="352"/>
                    <a:pt x="287" y="352"/>
                  </a:cubicBezTo>
                  <a:cubicBezTo>
                    <a:pt x="287" y="352"/>
                    <a:pt x="287" y="353"/>
                    <a:pt x="286" y="354"/>
                  </a:cubicBezTo>
                  <a:cubicBezTo>
                    <a:pt x="286" y="355"/>
                    <a:pt x="286" y="354"/>
                    <a:pt x="284" y="354"/>
                  </a:cubicBezTo>
                  <a:cubicBezTo>
                    <a:pt x="283" y="355"/>
                    <a:pt x="283" y="353"/>
                    <a:pt x="282" y="352"/>
                  </a:cubicBezTo>
                  <a:cubicBezTo>
                    <a:pt x="282" y="350"/>
                    <a:pt x="282" y="352"/>
                    <a:pt x="281" y="352"/>
                  </a:cubicBezTo>
                  <a:cubicBezTo>
                    <a:pt x="280" y="352"/>
                    <a:pt x="282" y="355"/>
                    <a:pt x="282" y="355"/>
                  </a:cubicBezTo>
                  <a:cubicBezTo>
                    <a:pt x="281" y="356"/>
                    <a:pt x="281" y="356"/>
                    <a:pt x="281" y="356"/>
                  </a:cubicBezTo>
                  <a:cubicBezTo>
                    <a:pt x="281" y="356"/>
                    <a:pt x="281" y="358"/>
                    <a:pt x="279" y="359"/>
                  </a:cubicBezTo>
                  <a:cubicBezTo>
                    <a:pt x="278" y="359"/>
                    <a:pt x="279" y="357"/>
                    <a:pt x="279" y="357"/>
                  </a:cubicBezTo>
                  <a:cubicBezTo>
                    <a:pt x="279" y="353"/>
                    <a:pt x="279" y="353"/>
                    <a:pt x="279" y="353"/>
                  </a:cubicBezTo>
                  <a:cubicBezTo>
                    <a:pt x="277" y="348"/>
                    <a:pt x="277" y="348"/>
                    <a:pt x="277" y="348"/>
                  </a:cubicBezTo>
                  <a:cubicBezTo>
                    <a:pt x="277" y="348"/>
                    <a:pt x="273" y="352"/>
                    <a:pt x="272" y="352"/>
                  </a:cubicBezTo>
                  <a:cubicBezTo>
                    <a:pt x="272" y="353"/>
                    <a:pt x="270" y="357"/>
                    <a:pt x="269" y="357"/>
                  </a:cubicBezTo>
                  <a:cubicBezTo>
                    <a:pt x="269" y="358"/>
                    <a:pt x="269" y="360"/>
                    <a:pt x="269" y="360"/>
                  </a:cubicBezTo>
                  <a:cubicBezTo>
                    <a:pt x="271" y="363"/>
                    <a:pt x="271" y="363"/>
                    <a:pt x="271" y="363"/>
                  </a:cubicBezTo>
                  <a:cubicBezTo>
                    <a:pt x="271" y="366"/>
                    <a:pt x="271" y="366"/>
                    <a:pt x="271" y="366"/>
                  </a:cubicBezTo>
                  <a:cubicBezTo>
                    <a:pt x="273" y="368"/>
                    <a:pt x="273" y="368"/>
                    <a:pt x="273" y="368"/>
                  </a:cubicBezTo>
                  <a:cubicBezTo>
                    <a:pt x="273" y="368"/>
                    <a:pt x="275" y="368"/>
                    <a:pt x="276" y="369"/>
                  </a:cubicBezTo>
                  <a:cubicBezTo>
                    <a:pt x="277" y="369"/>
                    <a:pt x="276" y="371"/>
                    <a:pt x="276" y="371"/>
                  </a:cubicBezTo>
                  <a:cubicBezTo>
                    <a:pt x="275" y="375"/>
                    <a:pt x="275" y="375"/>
                    <a:pt x="275" y="375"/>
                  </a:cubicBezTo>
                  <a:cubicBezTo>
                    <a:pt x="275" y="375"/>
                    <a:pt x="276" y="376"/>
                    <a:pt x="277" y="377"/>
                  </a:cubicBezTo>
                  <a:cubicBezTo>
                    <a:pt x="277" y="378"/>
                    <a:pt x="275" y="380"/>
                    <a:pt x="275" y="380"/>
                  </a:cubicBezTo>
                  <a:cubicBezTo>
                    <a:pt x="274" y="380"/>
                    <a:pt x="271" y="383"/>
                    <a:pt x="271" y="383"/>
                  </a:cubicBezTo>
                  <a:cubicBezTo>
                    <a:pt x="271" y="383"/>
                    <a:pt x="270" y="384"/>
                    <a:pt x="269" y="384"/>
                  </a:cubicBezTo>
                  <a:cubicBezTo>
                    <a:pt x="268" y="384"/>
                    <a:pt x="270" y="387"/>
                    <a:pt x="270" y="387"/>
                  </a:cubicBezTo>
                  <a:cubicBezTo>
                    <a:pt x="271" y="390"/>
                    <a:pt x="271" y="390"/>
                    <a:pt x="271" y="390"/>
                  </a:cubicBezTo>
                  <a:cubicBezTo>
                    <a:pt x="271" y="390"/>
                    <a:pt x="270" y="391"/>
                    <a:pt x="270" y="391"/>
                  </a:cubicBezTo>
                  <a:cubicBezTo>
                    <a:pt x="269" y="392"/>
                    <a:pt x="269" y="394"/>
                    <a:pt x="269" y="394"/>
                  </a:cubicBezTo>
                  <a:cubicBezTo>
                    <a:pt x="267" y="394"/>
                    <a:pt x="267" y="394"/>
                    <a:pt x="267" y="394"/>
                  </a:cubicBezTo>
                  <a:cubicBezTo>
                    <a:pt x="266" y="396"/>
                    <a:pt x="266" y="396"/>
                    <a:pt x="266" y="396"/>
                  </a:cubicBezTo>
                  <a:cubicBezTo>
                    <a:pt x="266" y="396"/>
                    <a:pt x="266" y="399"/>
                    <a:pt x="265" y="399"/>
                  </a:cubicBezTo>
                  <a:cubicBezTo>
                    <a:pt x="264" y="399"/>
                    <a:pt x="265" y="401"/>
                    <a:pt x="265" y="401"/>
                  </a:cubicBezTo>
                  <a:cubicBezTo>
                    <a:pt x="264" y="403"/>
                    <a:pt x="264" y="403"/>
                    <a:pt x="264" y="403"/>
                  </a:cubicBezTo>
                  <a:cubicBezTo>
                    <a:pt x="268" y="405"/>
                    <a:pt x="268" y="405"/>
                    <a:pt x="268" y="405"/>
                  </a:cubicBezTo>
                  <a:cubicBezTo>
                    <a:pt x="267" y="407"/>
                    <a:pt x="267" y="407"/>
                    <a:pt x="267" y="407"/>
                  </a:cubicBezTo>
                  <a:cubicBezTo>
                    <a:pt x="267" y="409"/>
                    <a:pt x="267" y="409"/>
                    <a:pt x="267" y="409"/>
                  </a:cubicBezTo>
                  <a:cubicBezTo>
                    <a:pt x="268" y="409"/>
                    <a:pt x="268" y="409"/>
                    <a:pt x="268" y="409"/>
                  </a:cubicBezTo>
                  <a:cubicBezTo>
                    <a:pt x="268" y="409"/>
                    <a:pt x="266" y="410"/>
                    <a:pt x="265" y="410"/>
                  </a:cubicBezTo>
                  <a:cubicBezTo>
                    <a:pt x="264" y="411"/>
                    <a:pt x="263" y="410"/>
                    <a:pt x="262" y="411"/>
                  </a:cubicBezTo>
                  <a:cubicBezTo>
                    <a:pt x="261" y="411"/>
                    <a:pt x="258" y="412"/>
                    <a:pt x="258" y="412"/>
                  </a:cubicBezTo>
                  <a:cubicBezTo>
                    <a:pt x="257" y="416"/>
                    <a:pt x="257" y="416"/>
                    <a:pt x="257" y="416"/>
                  </a:cubicBezTo>
                  <a:cubicBezTo>
                    <a:pt x="255" y="416"/>
                    <a:pt x="255" y="416"/>
                    <a:pt x="255" y="416"/>
                  </a:cubicBezTo>
                  <a:cubicBezTo>
                    <a:pt x="255" y="414"/>
                    <a:pt x="255" y="414"/>
                    <a:pt x="255" y="414"/>
                  </a:cubicBezTo>
                  <a:cubicBezTo>
                    <a:pt x="254" y="413"/>
                    <a:pt x="254" y="413"/>
                    <a:pt x="254" y="413"/>
                  </a:cubicBezTo>
                  <a:cubicBezTo>
                    <a:pt x="254" y="415"/>
                    <a:pt x="254" y="416"/>
                    <a:pt x="254" y="416"/>
                  </a:cubicBezTo>
                  <a:cubicBezTo>
                    <a:pt x="264" y="423"/>
                    <a:pt x="264" y="423"/>
                    <a:pt x="264" y="423"/>
                  </a:cubicBezTo>
                  <a:cubicBezTo>
                    <a:pt x="281" y="427"/>
                    <a:pt x="281" y="427"/>
                    <a:pt x="281" y="427"/>
                  </a:cubicBezTo>
                  <a:cubicBezTo>
                    <a:pt x="285" y="420"/>
                    <a:pt x="285" y="420"/>
                    <a:pt x="285" y="420"/>
                  </a:cubicBezTo>
                  <a:cubicBezTo>
                    <a:pt x="285" y="420"/>
                    <a:pt x="294" y="404"/>
                    <a:pt x="301" y="405"/>
                  </a:cubicBezTo>
                  <a:cubicBezTo>
                    <a:pt x="306" y="406"/>
                    <a:pt x="313" y="408"/>
                    <a:pt x="314" y="408"/>
                  </a:cubicBezTo>
                  <a:cubicBezTo>
                    <a:pt x="313" y="402"/>
                    <a:pt x="302" y="392"/>
                    <a:pt x="304" y="390"/>
                  </a:cubicBezTo>
                  <a:cubicBezTo>
                    <a:pt x="306" y="387"/>
                    <a:pt x="311" y="380"/>
                    <a:pt x="314" y="376"/>
                  </a:cubicBezTo>
                  <a:cubicBezTo>
                    <a:pt x="316" y="372"/>
                    <a:pt x="326" y="369"/>
                    <a:pt x="326" y="369"/>
                  </a:cubicBezTo>
                  <a:cubicBezTo>
                    <a:pt x="334" y="354"/>
                    <a:pt x="334" y="354"/>
                    <a:pt x="334" y="354"/>
                  </a:cubicBezTo>
                  <a:cubicBezTo>
                    <a:pt x="332" y="331"/>
                    <a:pt x="330" y="325"/>
                    <a:pt x="354" y="322"/>
                  </a:cubicBezTo>
                  <a:cubicBezTo>
                    <a:pt x="358" y="321"/>
                    <a:pt x="363" y="318"/>
                    <a:pt x="363" y="318"/>
                  </a:cubicBezTo>
                  <a:cubicBezTo>
                    <a:pt x="371" y="315"/>
                    <a:pt x="371" y="315"/>
                    <a:pt x="371" y="315"/>
                  </a:cubicBezTo>
                  <a:cubicBezTo>
                    <a:pt x="386" y="313"/>
                    <a:pt x="386" y="313"/>
                    <a:pt x="386" y="313"/>
                  </a:cubicBezTo>
                  <a:cubicBezTo>
                    <a:pt x="374" y="320"/>
                    <a:pt x="374" y="320"/>
                    <a:pt x="374" y="320"/>
                  </a:cubicBezTo>
                  <a:cubicBezTo>
                    <a:pt x="365" y="330"/>
                    <a:pt x="365" y="330"/>
                    <a:pt x="365" y="330"/>
                  </a:cubicBezTo>
                  <a:cubicBezTo>
                    <a:pt x="377" y="333"/>
                    <a:pt x="377" y="333"/>
                    <a:pt x="377" y="333"/>
                  </a:cubicBezTo>
                  <a:cubicBezTo>
                    <a:pt x="377" y="333"/>
                    <a:pt x="377" y="342"/>
                    <a:pt x="383" y="340"/>
                  </a:cubicBezTo>
                  <a:cubicBezTo>
                    <a:pt x="388" y="338"/>
                    <a:pt x="400" y="333"/>
                    <a:pt x="402" y="333"/>
                  </a:cubicBezTo>
                  <a:cubicBezTo>
                    <a:pt x="404" y="332"/>
                    <a:pt x="415" y="329"/>
                    <a:pt x="418" y="329"/>
                  </a:cubicBezTo>
                  <a:cubicBezTo>
                    <a:pt x="421" y="329"/>
                    <a:pt x="437" y="327"/>
                    <a:pt x="437" y="327"/>
                  </a:cubicBezTo>
                  <a:cubicBezTo>
                    <a:pt x="439" y="336"/>
                    <a:pt x="439" y="336"/>
                    <a:pt x="439" y="336"/>
                  </a:cubicBezTo>
                  <a:cubicBezTo>
                    <a:pt x="432" y="345"/>
                    <a:pt x="432" y="345"/>
                    <a:pt x="432" y="345"/>
                  </a:cubicBezTo>
                  <a:cubicBezTo>
                    <a:pt x="423" y="354"/>
                    <a:pt x="423" y="354"/>
                    <a:pt x="423" y="354"/>
                  </a:cubicBezTo>
                  <a:cubicBezTo>
                    <a:pt x="409" y="367"/>
                    <a:pt x="409" y="367"/>
                    <a:pt x="409" y="367"/>
                  </a:cubicBezTo>
                  <a:cubicBezTo>
                    <a:pt x="409" y="367"/>
                    <a:pt x="405" y="374"/>
                    <a:pt x="407" y="375"/>
                  </a:cubicBezTo>
                  <a:cubicBezTo>
                    <a:pt x="409" y="376"/>
                    <a:pt x="424" y="374"/>
                    <a:pt x="424" y="374"/>
                  </a:cubicBezTo>
                  <a:cubicBezTo>
                    <a:pt x="441" y="375"/>
                    <a:pt x="441" y="375"/>
                    <a:pt x="441" y="375"/>
                  </a:cubicBezTo>
                  <a:cubicBezTo>
                    <a:pt x="441" y="375"/>
                    <a:pt x="444" y="376"/>
                    <a:pt x="446" y="382"/>
                  </a:cubicBezTo>
                  <a:cubicBezTo>
                    <a:pt x="449" y="389"/>
                    <a:pt x="451" y="392"/>
                    <a:pt x="452" y="394"/>
                  </a:cubicBezTo>
                  <a:cubicBezTo>
                    <a:pt x="454" y="397"/>
                    <a:pt x="458" y="403"/>
                    <a:pt x="458" y="403"/>
                  </a:cubicBezTo>
                  <a:cubicBezTo>
                    <a:pt x="458" y="403"/>
                    <a:pt x="454" y="407"/>
                    <a:pt x="459" y="406"/>
                  </a:cubicBezTo>
                  <a:cubicBezTo>
                    <a:pt x="465" y="406"/>
                    <a:pt x="469" y="405"/>
                    <a:pt x="469" y="405"/>
                  </a:cubicBezTo>
                  <a:cubicBezTo>
                    <a:pt x="469" y="405"/>
                    <a:pt x="470" y="399"/>
                    <a:pt x="472" y="397"/>
                  </a:cubicBezTo>
                  <a:cubicBezTo>
                    <a:pt x="475" y="396"/>
                    <a:pt x="478" y="393"/>
                    <a:pt x="478" y="393"/>
                  </a:cubicBezTo>
                  <a:cubicBezTo>
                    <a:pt x="478" y="393"/>
                    <a:pt x="477" y="387"/>
                    <a:pt x="480" y="385"/>
                  </a:cubicBezTo>
                  <a:cubicBezTo>
                    <a:pt x="483" y="384"/>
                    <a:pt x="487" y="383"/>
                    <a:pt x="491" y="382"/>
                  </a:cubicBezTo>
                  <a:cubicBezTo>
                    <a:pt x="495" y="380"/>
                    <a:pt x="499" y="373"/>
                    <a:pt x="499" y="373"/>
                  </a:cubicBezTo>
                  <a:cubicBezTo>
                    <a:pt x="504" y="369"/>
                    <a:pt x="504" y="369"/>
                    <a:pt x="504" y="369"/>
                  </a:cubicBezTo>
                  <a:cubicBezTo>
                    <a:pt x="516" y="365"/>
                    <a:pt x="516" y="365"/>
                    <a:pt x="516" y="365"/>
                  </a:cubicBezTo>
                  <a:cubicBezTo>
                    <a:pt x="515" y="355"/>
                    <a:pt x="515" y="355"/>
                    <a:pt x="515" y="355"/>
                  </a:cubicBezTo>
                  <a:cubicBezTo>
                    <a:pt x="515" y="355"/>
                    <a:pt x="516" y="353"/>
                    <a:pt x="519" y="353"/>
                  </a:cubicBezTo>
                  <a:cubicBezTo>
                    <a:pt x="521" y="352"/>
                    <a:pt x="542" y="345"/>
                    <a:pt x="542" y="345"/>
                  </a:cubicBezTo>
                  <a:cubicBezTo>
                    <a:pt x="548" y="335"/>
                    <a:pt x="548" y="335"/>
                    <a:pt x="548" y="335"/>
                  </a:cubicBezTo>
                  <a:cubicBezTo>
                    <a:pt x="548" y="325"/>
                    <a:pt x="548" y="325"/>
                    <a:pt x="548" y="325"/>
                  </a:cubicBezTo>
                  <a:cubicBezTo>
                    <a:pt x="548" y="325"/>
                    <a:pt x="550" y="319"/>
                    <a:pt x="546" y="319"/>
                  </a:cubicBezTo>
                  <a:cubicBezTo>
                    <a:pt x="542" y="319"/>
                    <a:pt x="532" y="329"/>
                    <a:pt x="532" y="329"/>
                  </a:cubicBezTo>
                  <a:cubicBezTo>
                    <a:pt x="521" y="330"/>
                    <a:pt x="521" y="330"/>
                    <a:pt x="521" y="330"/>
                  </a:cubicBezTo>
                  <a:cubicBezTo>
                    <a:pt x="521" y="330"/>
                    <a:pt x="516" y="339"/>
                    <a:pt x="514" y="339"/>
                  </a:cubicBezTo>
                  <a:cubicBezTo>
                    <a:pt x="512" y="340"/>
                    <a:pt x="506" y="342"/>
                    <a:pt x="504" y="341"/>
                  </a:cubicBezTo>
                  <a:cubicBezTo>
                    <a:pt x="502" y="341"/>
                    <a:pt x="505" y="352"/>
                    <a:pt x="498" y="339"/>
                  </a:cubicBezTo>
                  <a:cubicBezTo>
                    <a:pt x="491" y="326"/>
                    <a:pt x="488" y="326"/>
                    <a:pt x="488" y="326"/>
                  </a:cubicBezTo>
                  <a:cubicBezTo>
                    <a:pt x="481" y="326"/>
                    <a:pt x="481" y="326"/>
                    <a:pt x="481" y="326"/>
                  </a:cubicBezTo>
                  <a:cubicBezTo>
                    <a:pt x="481" y="326"/>
                    <a:pt x="475" y="329"/>
                    <a:pt x="474" y="327"/>
                  </a:cubicBezTo>
                  <a:cubicBezTo>
                    <a:pt x="474" y="325"/>
                    <a:pt x="471" y="319"/>
                    <a:pt x="471" y="319"/>
                  </a:cubicBezTo>
                  <a:cubicBezTo>
                    <a:pt x="461" y="319"/>
                    <a:pt x="461" y="319"/>
                    <a:pt x="461" y="319"/>
                  </a:cubicBezTo>
                  <a:cubicBezTo>
                    <a:pt x="457" y="321"/>
                    <a:pt x="457" y="321"/>
                    <a:pt x="457" y="321"/>
                  </a:cubicBezTo>
                  <a:cubicBezTo>
                    <a:pt x="442" y="320"/>
                    <a:pt x="442" y="320"/>
                    <a:pt x="442" y="320"/>
                  </a:cubicBezTo>
                  <a:cubicBezTo>
                    <a:pt x="436" y="316"/>
                    <a:pt x="436" y="316"/>
                    <a:pt x="436" y="316"/>
                  </a:cubicBezTo>
                  <a:cubicBezTo>
                    <a:pt x="444" y="312"/>
                    <a:pt x="444" y="312"/>
                    <a:pt x="444" y="312"/>
                  </a:cubicBezTo>
                  <a:cubicBezTo>
                    <a:pt x="444" y="312"/>
                    <a:pt x="447" y="315"/>
                    <a:pt x="448" y="315"/>
                  </a:cubicBezTo>
                  <a:cubicBezTo>
                    <a:pt x="450" y="314"/>
                    <a:pt x="448" y="311"/>
                    <a:pt x="450" y="310"/>
                  </a:cubicBezTo>
                  <a:cubicBezTo>
                    <a:pt x="453" y="309"/>
                    <a:pt x="456" y="306"/>
                    <a:pt x="459" y="308"/>
                  </a:cubicBezTo>
                  <a:cubicBezTo>
                    <a:pt x="462" y="309"/>
                    <a:pt x="459" y="315"/>
                    <a:pt x="464" y="311"/>
                  </a:cubicBezTo>
                  <a:cubicBezTo>
                    <a:pt x="469" y="307"/>
                    <a:pt x="474" y="308"/>
                    <a:pt x="474" y="308"/>
                  </a:cubicBezTo>
                  <a:cubicBezTo>
                    <a:pt x="480" y="298"/>
                    <a:pt x="480" y="298"/>
                    <a:pt x="480" y="298"/>
                  </a:cubicBezTo>
                  <a:cubicBezTo>
                    <a:pt x="484" y="289"/>
                    <a:pt x="484" y="289"/>
                    <a:pt x="484" y="289"/>
                  </a:cubicBezTo>
                  <a:cubicBezTo>
                    <a:pt x="484" y="289"/>
                    <a:pt x="486" y="290"/>
                    <a:pt x="488" y="291"/>
                  </a:cubicBezTo>
                  <a:cubicBezTo>
                    <a:pt x="491" y="291"/>
                    <a:pt x="498" y="279"/>
                    <a:pt x="498" y="279"/>
                  </a:cubicBezTo>
                  <a:cubicBezTo>
                    <a:pt x="498" y="279"/>
                    <a:pt x="499" y="267"/>
                    <a:pt x="501" y="267"/>
                  </a:cubicBezTo>
                  <a:cubicBezTo>
                    <a:pt x="503" y="266"/>
                    <a:pt x="518" y="261"/>
                    <a:pt x="518" y="261"/>
                  </a:cubicBezTo>
                  <a:cubicBezTo>
                    <a:pt x="528" y="255"/>
                    <a:pt x="528" y="255"/>
                    <a:pt x="528" y="255"/>
                  </a:cubicBezTo>
                  <a:cubicBezTo>
                    <a:pt x="528" y="255"/>
                    <a:pt x="533" y="248"/>
                    <a:pt x="535" y="247"/>
                  </a:cubicBezTo>
                  <a:cubicBezTo>
                    <a:pt x="537" y="247"/>
                    <a:pt x="539" y="243"/>
                    <a:pt x="541" y="238"/>
                  </a:cubicBezTo>
                  <a:cubicBezTo>
                    <a:pt x="544" y="234"/>
                    <a:pt x="546" y="231"/>
                    <a:pt x="546" y="231"/>
                  </a:cubicBezTo>
                  <a:cubicBezTo>
                    <a:pt x="546" y="231"/>
                    <a:pt x="558" y="228"/>
                    <a:pt x="557" y="227"/>
                  </a:cubicBezTo>
                  <a:cubicBezTo>
                    <a:pt x="557" y="225"/>
                    <a:pt x="552" y="221"/>
                    <a:pt x="558" y="221"/>
                  </a:cubicBezTo>
                  <a:cubicBezTo>
                    <a:pt x="564" y="221"/>
                    <a:pt x="564" y="221"/>
                    <a:pt x="567" y="219"/>
                  </a:cubicBezTo>
                  <a:cubicBezTo>
                    <a:pt x="569" y="218"/>
                    <a:pt x="568" y="217"/>
                    <a:pt x="569" y="214"/>
                  </a:cubicBezTo>
                  <a:cubicBezTo>
                    <a:pt x="571" y="212"/>
                    <a:pt x="572" y="209"/>
                    <a:pt x="572" y="207"/>
                  </a:cubicBezTo>
                  <a:cubicBezTo>
                    <a:pt x="571" y="205"/>
                    <a:pt x="566" y="197"/>
                    <a:pt x="566" y="195"/>
                  </a:cubicBezTo>
                  <a:cubicBezTo>
                    <a:pt x="565" y="192"/>
                    <a:pt x="566" y="186"/>
                    <a:pt x="566" y="186"/>
                  </a:cubicBezTo>
                  <a:cubicBezTo>
                    <a:pt x="566" y="186"/>
                    <a:pt x="569" y="185"/>
                    <a:pt x="572" y="184"/>
                  </a:cubicBezTo>
                  <a:cubicBezTo>
                    <a:pt x="574" y="182"/>
                    <a:pt x="578" y="175"/>
                    <a:pt x="578" y="175"/>
                  </a:cubicBezTo>
                  <a:cubicBezTo>
                    <a:pt x="579" y="170"/>
                    <a:pt x="579" y="170"/>
                    <a:pt x="579" y="170"/>
                  </a:cubicBezTo>
                  <a:cubicBezTo>
                    <a:pt x="579" y="170"/>
                    <a:pt x="583" y="167"/>
                    <a:pt x="584" y="167"/>
                  </a:cubicBezTo>
                  <a:cubicBezTo>
                    <a:pt x="586" y="166"/>
                    <a:pt x="602" y="160"/>
                    <a:pt x="603" y="160"/>
                  </a:cubicBezTo>
                  <a:cubicBezTo>
                    <a:pt x="604" y="160"/>
                    <a:pt x="614" y="161"/>
                    <a:pt x="611" y="156"/>
                  </a:cubicBezTo>
                  <a:cubicBezTo>
                    <a:pt x="608" y="152"/>
                    <a:pt x="607" y="150"/>
                    <a:pt x="606" y="147"/>
                  </a:cubicBezTo>
                  <a:cubicBezTo>
                    <a:pt x="605" y="144"/>
                    <a:pt x="605" y="137"/>
                    <a:pt x="605" y="136"/>
                  </a:cubicBezTo>
                  <a:cubicBezTo>
                    <a:pt x="606" y="135"/>
                    <a:pt x="614" y="132"/>
                    <a:pt x="605" y="131"/>
                  </a:cubicBezTo>
                  <a:cubicBezTo>
                    <a:pt x="596" y="130"/>
                    <a:pt x="603" y="127"/>
                    <a:pt x="601" y="125"/>
                  </a:cubicBezTo>
                  <a:cubicBezTo>
                    <a:pt x="598" y="123"/>
                    <a:pt x="592" y="119"/>
                    <a:pt x="592" y="119"/>
                  </a:cubicBezTo>
                  <a:cubicBezTo>
                    <a:pt x="589" y="119"/>
                    <a:pt x="589" y="119"/>
                    <a:pt x="589" y="119"/>
                  </a:cubicBezTo>
                  <a:cubicBezTo>
                    <a:pt x="590" y="109"/>
                    <a:pt x="590" y="109"/>
                    <a:pt x="590" y="109"/>
                  </a:cubicBezTo>
                  <a:cubicBezTo>
                    <a:pt x="590" y="109"/>
                    <a:pt x="593" y="105"/>
                    <a:pt x="594" y="105"/>
                  </a:cubicBezTo>
                  <a:cubicBezTo>
                    <a:pt x="595" y="104"/>
                    <a:pt x="596" y="100"/>
                    <a:pt x="594" y="100"/>
                  </a:cubicBezTo>
                  <a:cubicBezTo>
                    <a:pt x="592" y="101"/>
                    <a:pt x="586" y="102"/>
                    <a:pt x="586" y="102"/>
                  </a:cubicBezTo>
                  <a:cubicBezTo>
                    <a:pt x="586" y="102"/>
                    <a:pt x="581" y="102"/>
                    <a:pt x="582" y="100"/>
                  </a:cubicBezTo>
                  <a:cubicBezTo>
                    <a:pt x="582" y="97"/>
                    <a:pt x="584" y="97"/>
                    <a:pt x="587" y="94"/>
                  </a:cubicBezTo>
                  <a:cubicBezTo>
                    <a:pt x="590" y="91"/>
                    <a:pt x="591" y="89"/>
                    <a:pt x="591" y="89"/>
                  </a:cubicBezTo>
                  <a:cubicBezTo>
                    <a:pt x="590" y="83"/>
                    <a:pt x="590" y="83"/>
                    <a:pt x="590" y="83"/>
                  </a:cubicBezTo>
                  <a:cubicBezTo>
                    <a:pt x="590" y="83"/>
                    <a:pt x="590" y="79"/>
                    <a:pt x="589" y="79"/>
                  </a:cubicBezTo>
                  <a:cubicBezTo>
                    <a:pt x="589" y="78"/>
                    <a:pt x="583" y="66"/>
                    <a:pt x="583" y="66"/>
                  </a:cubicBezTo>
                  <a:cubicBezTo>
                    <a:pt x="583" y="66"/>
                    <a:pt x="577" y="64"/>
                    <a:pt x="576" y="66"/>
                  </a:cubicBezTo>
                  <a:cubicBezTo>
                    <a:pt x="576" y="68"/>
                    <a:pt x="574" y="72"/>
                    <a:pt x="574" y="72"/>
                  </a:cubicBezTo>
                  <a:cubicBezTo>
                    <a:pt x="567" y="72"/>
                    <a:pt x="567" y="72"/>
                    <a:pt x="567" y="72"/>
                  </a:cubicBezTo>
                  <a:cubicBezTo>
                    <a:pt x="563" y="69"/>
                    <a:pt x="563" y="69"/>
                    <a:pt x="563" y="69"/>
                  </a:cubicBezTo>
                  <a:cubicBezTo>
                    <a:pt x="555" y="67"/>
                    <a:pt x="555" y="67"/>
                    <a:pt x="555" y="67"/>
                  </a:cubicBezTo>
                  <a:cubicBezTo>
                    <a:pt x="555" y="67"/>
                    <a:pt x="554" y="68"/>
                    <a:pt x="553" y="69"/>
                  </a:cubicBezTo>
                  <a:cubicBezTo>
                    <a:pt x="553" y="70"/>
                    <a:pt x="545" y="65"/>
                    <a:pt x="545" y="65"/>
                  </a:cubicBezTo>
                  <a:cubicBezTo>
                    <a:pt x="545" y="65"/>
                    <a:pt x="542" y="69"/>
                    <a:pt x="541" y="70"/>
                  </a:cubicBezTo>
                  <a:cubicBezTo>
                    <a:pt x="541" y="70"/>
                    <a:pt x="533" y="68"/>
                    <a:pt x="533" y="68"/>
                  </a:cubicBezTo>
                  <a:cubicBezTo>
                    <a:pt x="525" y="69"/>
                    <a:pt x="525" y="69"/>
                    <a:pt x="525" y="69"/>
                  </a:cubicBezTo>
                  <a:cubicBezTo>
                    <a:pt x="518" y="70"/>
                    <a:pt x="518" y="70"/>
                    <a:pt x="518" y="70"/>
                  </a:cubicBezTo>
                  <a:cubicBezTo>
                    <a:pt x="512" y="67"/>
                    <a:pt x="512" y="67"/>
                    <a:pt x="512" y="67"/>
                  </a:cubicBezTo>
                  <a:cubicBezTo>
                    <a:pt x="510" y="70"/>
                    <a:pt x="510" y="70"/>
                    <a:pt x="510" y="70"/>
                  </a:cubicBezTo>
                  <a:cubicBezTo>
                    <a:pt x="511" y="75"/>
                    <a:pt x="511" y="75"/>
                    <a:pt x="511" y="75"/>
                  </a:cubicBezTo>
                  <a:cubicBezTo>
                    <a:pt x="506" y="78"/>
                    <a:pt x="506" y="78"/>
                    <a:pt x="506" y="78"/>
                  </a:cubicBezTo>
                  <a:cubicBezTo>
                    <a:pt x="500" y="74"/>
                    <a:pt x="500" y="74"/>
                    <a:pt x="500" y="74"/>
                  </a:cubicBezTo>
                  <a:cubicBezTo>
                    <a:pt x="495" y="73"/>
                    <a:pt x="495" y="73"/>
                    <a:pt x="495" y="73"/>
                  </a:cubicBezTo>
                  <a:cubicBezTo>
                    <a:pt x="488" y="66"/>
                    <a:pt x="488" y="66"/>
                    <a:pt x="488" y="66"/>
                  </a:cubicBezTo>
                  <a:cubicBezTo>
                    <a:pt x="482" y="64"/>
                    <a:pt x="482" y="64"/>
                    <a:pt x="482" y="64"/>
                  </a:cubicBezTo>
                  <a:cubicBezTo>
                    <a:pt x="476" y="61"/>
                    <a:pt x="476" y="61"/>
                    <a:pt x="476" y="61"/>
                  </a:cubicBezTo>
                  <a:cubicBezTo>
                    <a:pt x="476" y="61"/>
                    <a:pt x="473" y="69"/>
                    <a:pt x="472" y="70"/>
                  </a:cubicBezTo>
                  <a:cubicBezTo>
                    <a:pt x="471" y="70"/>
                    <a:pt x="466" y="72"/>
                    <a:pt x="465" y="72"/>
                  </a:cubicBezTo>
                  <a:cubicBezTo>
                    <a:pt x="463" y="73"/>
                    <a:pt x="462" y="78"/>
                    <a:pt x="462" y="78"/>
                  </a:cubicBezTo>
                  <a:cubicBezTo>
                    <a:pt x="457" y="81"/>
                    <a:pt x="457" y="81"/>
                    <a:pt x="457" y="81"/>
                  </a:cubicBezTo>
                  <a:cubicBezTo>
                    <a:pt x="457" y="81"/>
                    <a:pt x="454" y="79"/>
                    <a:pt x="452" y="79"/>
                  </a:cubicBezTo>
                  <a:cubicBezTo>
                    <a:pt x="451" y="79"/>
                    <a:pt x="450" y="80"/>
                    <a:pt x="450" y="80"/>
                  </a:cubicBezTo>
                  <a:cubicBezTo>
                    <a:pt x="448" y="83"/>
                    <a:pt x="448" y="83"/>
                    <a:pt x="448" y="83"/>
                  </a:cubicBezTo>
                  <a:cubicBezTo>
                    <a:pt x="448" y="83"/>
                    <a:pt x="447" y="83"/>
                    <a:pt x="444" y="81"/>
                  </a:cubicBezTo>
                  <a:cubicBezTo>
                    <a:pt x="442" y="80"/>
                    <a:pt x="439" y="78"/>
                    <a:pt x="439" y="78"/>
                  </a:cubicBezTo>
                  <a:cubicBezTo>
                    <a:pt x="436" y="77"/>
                    <a:pt x="436" y="77"/>
                    <a:pt x="436" y="77"/>
                  </a:cubicBezTo>
                  <a:cubicBezTo>
                    <a:pt x="436" y="77"/>
                    <a:pt x="427" y="81"/>
                    <a:pt x="426" y="82"/>
                  </a:cubicBezTo>
                  <a:cubicBezTo>
                    <a:pt x="426" y="83"/>
                    <a:pt x="424" y="86"/>
                    <a:pt x="424" y="86"/>
                  </a:cubicBezTo>
                  <a:cubicBezTo>
                    <a:pt x="419" y="82"/>
                    <a:pt x="419" y="82"/>
                    <a:pt x="419" y="82"/>
                  </a:cubicBezTo>
                  <a:cubicBezTo>
                    <a:pt x="413" y="78"/>
                    <a:pt x="413" y="78"/>
                    <a:pt x="413" y="78"/>
                  </a:cubicBezTo>
                  <a:cubicBezTo>
                    <a:pt x="412" y="71"/>
                    <a:pt x="412" y="71"/>
                    <a:pt x="412" y="71"/>
                  </a:cubicBezTo>
                  <a:cubicBezTo>
                    <a:pt x="401" y="61"/>
                    <a:pt x="401" y="61"/>
                    <a:pt x="401" y="61"/>
                  </a:cubicBezTo>
                  <a:cubicBezTo>
                    <a:pt x="399" y="51"/>
                    <a:pt x="399" y="51"/>
                    <a:pt x="399" y="51"/>
                  </a:cubicBezTo>
                  <a:cubicBezTo>
                    <a:pt x="391" y="45"/>
                    <a:pt x="391" y="45"/>
                    <a:pt x="391" y="45"/>
                  </a:cubicBezTo>
                  <a:cubicBezTo>
                    <a:pt x="386" y="51"/>
                    <a:pt x="386" y="51"/>
                    <a:pt x="386" y="51"/>
                  </a:cubicBezTo>
                  <a:cubicBezTo>
                    <a:pt x="378" y="50"/>
                    <a:pt x="378" y="50"/>
                    <a:pt x="378" y="50"/>
                  </a:cubicBezTo>
                  <a:cubicBezTo>
                    <a:pt x="370" y="52"/>
                    <a:pt x="370" y="52"/>
                    <a:pt x="370" y="52"/>
                  </a:cubicBezTo>
                  <a:cubicBezTo>
                    <a:pt x="370" y="52"/>
                    <a:pt x="365" y="57"/>
                    <a:pt x="365" y="55"/>
                  </a:cubicBezTo>
                  <a:cubicBezTo>
                    <a:pt x="364" y="53"/>
                    <a:pt x="366" y="49"/>
                    <a:pt x="366" y="47"/>
                  </a:cubicBezTo>
                  <a:cubicBezTo>
                    <a:pt x="365" y="46"/>
                    <a:pt x="360" y="49"/>
                    <a:pt x="361" y="45"/>
                  </a:cubicBezTo>
                  <a:cubicBezTo>
                    <a:pt x="362" y="43"/>
                    <a:pt x="361" y="40"/>
                    <a:pt x="360" y="39"/>
                  </a:cubicBezTo>
                  <a:cubicBezTo>
                    <a:pt x="358" y="37"/>
                    <a:pt x="352" y="37"/>
                    <a:pt x="354" y="33"/>
                  </a:cubicBezTo>
                  <a:cubicBezTo>
                    <a:pt x="356" y="30"/>
                    <a:pt x="361" y="28"/>
                    <a:pt x="361" y="28"/>
                  </a:cubicBezTo>
                  <a:cubicBezTo>
                    <a:pt x="361" y="26"/>
                    <a:pt x="361" y="26"/>
                    <a:pt x="361" y="26"/>
                  </a:cubicBezTo>
                  <a:cubicBezTo>
                    <a:pt x="357" y="22"/>
                    <a:pt x="357" y="22"/>
                    <a:pt x="357" y="22"/>
                  </a:cubicBezTo>
                  <a:cubicBezTo>
                    <a:pt x="346" y="17"/>
                    <a:pt x="346" y="17"/>
                    <a:pt x="346" y="17"/>
                  </a:cubicBezTo>
                  <a:cubicBezTo>
                    <a:pt x="346" y="17"/>
                    <a:pt x="345" y="11"/>
                    <a:pt x="343" y="11"/>
                  </a:cubicBezTo>
                  <a:cubicBezTo>
                    <a:pt x="342" y="10"/>
                    <a:pt x="339" y="7"/>
                    <a:pt x="339" y="7"/>
                  </a:cubicBezTo>
                  <a:cubicBezTo>
                    <a:pt x="339" y="7"/>
                    <a:pt x="336" y="3"/>
                    <a:pt x="332" y="2"/>
                  </a:cubicBezTo>
                  <a:cubicBezTo>
                    <a:pt x="328" y="0"/>
                    <a:pt x="325" y="9"/>
                    <a:pt x="325" y="9"/>
                  </a:cubicBezTo>
                  <a:cubicBezTo>
                    <a:pt x="321" y="5"/>
                    <a:pt x="321" y="5"/>
                    <a:pt x="321" y="5"/>
                  </a:cubicBezTo>
                  <a:cubicBezTo>
                    <a:pt x="313" y="8"/>
                    <a:pt x="313" y="8"/>
                    <a:pt x="313" y="8"/>
                  </a:cubicBezTo>
                  <a:cubicBezTo>
                    <a:pt x="307" y="17"/>
                    <a:pt x="307" y="17"/>
                    <a:pt x="307" y="17"/>
                  </a:cubicBezTo>
                  <a:cubicBezTo>
                    <a:pt x="303" y="18"/>
                    <a:pt x="303" y="18"/>
                    <a:pt x="303" y="18"/>
                  </a:cubicBezTo>
                  <a:cubicBezTo>
                    <a:pt x="297" y="19"/>
                    <a:pt x="297" y="19"/>
                    <a:pt x="297" y="19"/>
                  </a:cubicBezTo>
                  <a:cubicBezTo>
                    <a:pt x="288" y="21"/>
                    <a:pt x="288" y="21"/>
                    <a:pt x="288" y="21"/>
                  </a:cubicBezTo>
                  <a:cubicBezTo>
                    <a:pt x="286" y="27"/>
                    <a:pt x="286" y="27"/>
                    <a:pt x="286" y="27"/>
                  </a:cubicBezTo>
                  <a:cubicBezTo>
                    <a:pt x="287" y="33"/>
                    <a:pt x="287" y="33"/>
                    <a:pt x="287" y="33"/>
                  </a:cubicBezTo>
                  <a:cubicBezTo>
                    <a:pt x="282" y="37"/>
                    <a:pt x="282" y="37"/>
                    <a:pt x="282" y="37"/>
                  </a:cubicBezTo>
                  <a:cubicBezTo>
                    <a:pt x="270" y="36"/>
                    <a:pt x="270" y="36"/>
                    <a:pt x="270" y="36"/>
                  </a:cubicBezTo>
                  <a:cubicBezTo>
                    <a:pt x="262" y="38"/>
                    <a:pt x="262" y="38"/>
                    <a:pt x="262" y="38"/>
                  </a:cubicBezTo>
                  <a:cubicBezTo>
                    <a:pt x="258" y="44"/>
                    <a:pt x="258" y="44"/>
                    <a:pt x="258" y="44"/>
                  </a:cubicBezTo>
                  <a:cubicBezTo>
                    <a:pt x="246" y="44"/>
                    <a:pt x="246" y="44"/>
                    <a:pt x="246" y="44"/>
                  </a:cubicBezTo>
                  <a:cubicBezTo>
                    <a:pt x="244" y="56"/>
                    <a:pt x="244" y="56"/>
                    <a:pt x="244" y="56"/>
                  </a:cubicBezTo>
                  <a:cubicBezTo>
                    <a:pt x="241" y="64"/>
                    <a:pt x="241" y="64"/>
                    <a:pt x="241" y="64"/>
                  </a:cubicBezTo>
                  <a:cubicBezTo>
                    <a:pt x="238" y="73"/>
                    <a:pt x="238" y="73"/>
                    <a:pt x="238" y="73"/>
                  </a:cubicBezTo>
                  <a:cubicBezTo>
                    <a:pt x="240" y="78"/>
                    <a:pt x="240" y="78"/>
                    <a:pt x="240" y="78"/>
                  </a:cubicBezTo>
                  <a:cubicBezTo>
                    <a:pt x="243" y="85"/>
                    <a:pt x="243" y="85"/>
                    <a:pt x="243" y="85"/>
                  </a:cubicBezTo>
                  <a:cubicBezTo>
                    <a:pt x="249" y="92"/>
                    <a:pt x="249" y="92"/>
                    <a:pt x="249" y="92"/>
                  </a:cubicBezTo>
                  <a:cubicBezTo>
                    <a:pt x="249" y="92"/>
                    <a:pt x="249" y="92"/>
                    <a:pt x="249" y="92"/>
                  </a:cubicBezTo>
                  <a:cubicBezTo>
                    <a:pt x="243" y="94"/>
                    <a:pt x="243" y="94"/>
                    <a:pt x="243" y="94"/>
                  </a:cubicBezTo>
                  <a:cubicBezTo>
                    <a:pt x="239" y="95"/>
                    <a:pt x="239" y="95"/>
                    <a:pt x="239" y="95"/>
                  </a:cubicBezTo>
                  <a:cubicBezTo>
                    <a:pt x="235" y="89"/>
                    <a:pt x="235" y="89"/>
                    <a:pt x="235" y="89"/>
                  </a:cubicBezTo>
                  <a:cubicBezTo>
                    <a:pt x="229" y="87"/>
                    <a:pt x="229" y="87"/>
                    <a:pt x="229" y="87"/>
                  </a:cubicBezTo>
                  <a:cubicBezTo>
                    <a:pt x="222" y="90"/>
                    <a:pt x="222" y="90"/>
                    <a:pt x="222" y="90"/>
                  </a:cubicBezTo>
                  <a:cubicBezTo>
                    <a:pt x="215" y="92"/>
                    <a:pt x="215" y="92"/>
                    <a:pt x="215" y="92"/>
                  </a:cubicBezTo>
                  <a:cubicBezTo>
                    <a:pt x="213" y="92"/>
                    <a:pt x="213" y="92"/>
                    <a:pt x="213" y="92"/>
                  </a:cubicBezTo>
                  <a:cubicBezTo>
                    <a:pt x="211" y="96"/>
                    <a:pt x="211" y="96"/>
                    <a:pt x="211" y="96"/>
                  </a:cubicBezTo>
                  <a:cubicBezTo>
                    <a:pt x="205" y="99"/>
                    <a:pt x="205" y="99"/>
                    <a:pt x="205" y="99"/>
                  </a:cubicBezTo>
                  <a:cubicBezTo>
                    <a:pt x="205" y="99"/>
                    <a:pt x="203" y="97"/>
                    <a:pt x="202" y="96"/>
                  </a:cubicBezTo>
                  <a:cubicBezTo>
                    <a:pt x="201" y="95"/>
                    <a:pt x="198" y="93"/>
                    <a:pt x="198" y="93"/>
                  </a:cubicBezTo>
                  <a:cubicBezTo>
                    <a:pt x="198" y="93"/>
                    <a:pt x="197" y="91"/>
                    <a:pt x="196" y="90"/>
                  </a:cubicBezTo>
                  <a:cubicBezTo>
                    <a:pt x="195" y="90"/>
                    <a:pt x="189" y="94"/>
                    <a:pt x="189" y="94"/>
                  </a:cubicBezTo>
                  <a:cubicBezTo>
                    <a:pt x="189" y="94"/>
                    <a:pt x="184" y="97"/>
                    <a:pt x="184" y="98"/>
                  </a:cubicBezTo>
                  <a:cubicBezTo>
                    <a:pt x="185" y="98"/>
                    <a:pt x="184" y="103"/>
                    <a:pt x="184" y="103"/>
                  </a:cubicBezTo>
                  <a:cubicBezTo>
                    <a:pt x="177" y="97"/>
                    <a:pt x="177" y="97"/>
                    <a:pt x="177" y="97"/>
                  </a:cubicBezTo>
                  <a:cubicBezTo>
                    <a:pt x="172" y="101"/>
                    <a:pt x="172" y="101"/>
                    <a:pt x="172" y="101"/>
                  </a:cubicBezTo>
                  <a:cubicBezTo>
                    <a:pt x="168" y="98"/>
                    <a:pt x="168" y="98"/>
                    <a:pt x="168" y="98"/>
                  </a:cubicBezTo>
                  <a:cubicBezTo>
                    <a:pt x="166" y="97"/>
                    <a:pt x="166" y="97"/>
                    <a:pt x="166" y="97"/>
                  </a:cubicBezTo>
                  <a:cubicBezTo>
                    <a:pt x="160" y="104"/>
                    <a:pt x="160" y="104"/>
                    <a:pt x="160" y="104"/>
                  </a:cubicBezTo>
                  <a:cubicBezTo>
                    <a:pt x="156" y="102"/>
                    <a:pt x="156" y="102"/>
                    <a:pt x="156" y="102"/>
                  </a:cubicBezTo>
                  <a:cubicBezTo>
                    <a:pt x="154" y="109"/>
                    <a:pt x="154" y="109"/>
                    <a:pt x="154" y="109"/>
                  </a:cubicBezTo>
                  <a:cubicBezTo>
                    <a:pt x="149" y="105"/>
                    <a:pt x="149" y="105"/>
                    <a:pt x="149" y="105"/>
                  </a:cubicBezTo>
                  <a:cubicBezTo>
                    <a:pt x="149" y="105"/>
                    <a:pt x="144" y="104"/>
                    <a:pt x="143" y="104"/>
                  </a:cubicBezTo>
                  <a:cubicBezTo>
                    <a:pt x="142" y="104"/>
                    <a:pt x="139" y="108"/>
                    <a:pt x="139" y="108"/>
                  </a:cubicBezTo>
                  <a:cubicBezTo>
                    <a:pt x="134" y="104"/>
                    <a:pt x="134" y="104"/>
                    <a:pt x="134" y="104"/>
                  </a:cubicBezTo>
                  <a:cubicBezTo>
                    <a:pt x="130" y="101"/>
                    <a:pt x="130" y="101"/>
                    <a:pt x="130" y="101"/>
                  </a:cubicBezTo>
                  <a:cubicBezTo>
                    <a:pt x="130" y="101"/>
                    <a:pt x="119" y="102"/>
                    <a:pt x="118" y="102"/>
                  </a:cubicBezTo>
                  <a:cubicBezTo>
                    <a:pt x="117" y="102"/>
                    <a:pt x="110" y="101"/>
                    <a:pt x="110" y="101"/>
                  </a:cubicBezTo>
                  <a:cubicBezTo>
                    <a:pt x="101" y="103"/>
                    <a:pt x="101" y="103"/>
                    <a:pt x="101" y="103"/>
                  </a:cubicBezTo>
                  <a:cubicBezTo>
                    <a:pt x="88" y="103"/>
                    <a:pt x="88" y="103"/>
                    <a:pt x="88" y="103"/>
                  </a:cubicBezTo>
                  <a:cubicBezTo>
                    <a:pt x="76" y="104"/>
                    <a:pt x="76" y="104"/>
                    <a:pt x="76" y="104"/>
                  </a:cubicBezTo>
                  <a:cubicBezTo>
                    <a:pt x="67" y="104"/>
                    <a:pt x="67" y="104"/>
                    <a:pt x="67" y="104"/>
                  </a:cubicBezTo>
                  <a:cubicBezTo>
                    <a:pt x="60" y="109"/>
                    <a:pt x="60" y="109"/>
                    <a:pt x="60" y="109"/>
                  </a:cubicBezTo>
                  <a:cubicBezTo>
                    <a:pt x="53" y="110"/>
                    <a:pt x="53" y="110"/>
                    <a:pt x="53" y="110"/>
                  </a:cubicBezTo>
                  <a:cubicBezTo>
                    <a:pt x="45" y="111"/>
                    <a:pt x="45" y="111"/>
                    <a:pt x="45" y="111"/>
                  </a:cubicBezTo>
                  <a:cubicBezTo>
                    <a:pt x="44" y="111"/>
                    <a:pt x="44" y="111"/>
                    <a:pt x="44" y="111"/>
                  </a:cubicBezTo>
                  <a:cubicBezTo>
                    <a:pt x="43" y="112"/>
                    <a:pt x="43" y="112"/>
                    <a:pt x="43" y="112"/>
                  </a:cubicBezTo>
                  <a:cubicBezTo>
                    <a:pt x="40" y="114"/>
                    <a:pt x="40" y="114"/>
                    <a:pt x="40" y="114"/>
                  </a:cubicBezTo>
                  <a:cubicBezTo>
                    <a:pt x="40" y="115"/>
                    <a:pt x="40" y="115"/>
                    <a:pt x="40" y="115"/>
                  </a:cubicBezTo>
                  <a:cubicBezTo>
                    <a:pt x="38" y="117"/>
                    <a:pt x="38" y="117"/>
                    <a:pt x="38" y="117"/>
                  </a:cubicBezTo>
                  <a:cubicBezTo>
                    <a:pt x="37" y="122"/>
                    <a:pt x="37" y="122"/>
                    <a:pt x="37" y="122"/>
                  </a:cubicBezTo>
                  <a:cubicBezTo>
                    <a:pt x="36" y="124"/>
                    <a:pt x="34" y="126"/>
                    <a:pt x="33" y="128"/>
                  </a:cubicBezTo>
                  <a:cubicBezTo>
                    <a:pt x="33" y="128"/>
                    <a:pt x="33" y="128"/>
                    <a:pt x="33" y="128"/>
                  </a:cubicBezTo>
                  <a:cubicBezTo>
                    <a:pt x="33" y="128"/>
                    <a:pt x="30" y="127"/>
                    <a:pt x="30" y="129"/>
                  </a:cubicBezTo>
                  <a:cubicBezTo>
                    <a:pt x="30" y="130"/>
                    <a:pt x="30" y="130"/>
                    <a:pt x="30" y="130"/>
                  </a:cubicBezTo>
                  <a:cubicBezTo>
                    <a:pt x="27" y="131"/>
                    <a:pt x="22" y="129"/>
                    <a:pt x="22" y="129"/>
                  </a:cubicBezTo>
                  <a:cubicBezTo>
                    <a:pt x="17" y="132"/>
                    <a:pt x="17" y="132"/>
                    <a:pt x="17" y="132"/>
                  </a:cubicBezTo>
                  <a:cubicBezTo>
                    <a:pt x="17" y="133"/>
                    <a:pt x="17" y="134"/>
                    <a:pt x="18" y="134"/>
                  </a:cubicBezTo>
                  <a:cubicBezTo>
                    <a:pt x="19" y="135"/>
                    <a:pt x="19" y="135"/>
                    <a:pt x="19" y="136"/>
                  </a:cubicBezTo>
                  <a:cubicBezTo>
                    <a:pt x="20" y="136"/>
                    <a:pt x="20" y="137"/>
                    <a:pt x="20" y="137"/>
                  </a:cubicBezTo>
                  <a:cubicBezTo>
                    <a:pt x="22" y="142"/>
                    <a:pt x="22" y="142"/>
                    <a:pt x="22" y="142"/>
                  </a:cubicBezTo>
                  <a:cubicBezTo>
                    <a:pt x="22" y="146"/>
                    <a:pt x="22" y="146"/>
                    <a:pt x="22" y="146"/>
                  </a:cubicBezTo>
                  <a:cubicBezTo>
                    <a:pt x="22" y="146"/>
                    <a:pt x="22" y="149"/>
                    <a:pt x="24" y="149"/>
                  </a:cubicBezTo>
                  <a:cubicBezTo>
                    <a:pt x="26" y="149"/>
                    <a:pt x="27" y="150"/>
                    <a:pt x="27" y="152"/>
                  </a:cubicBezTo>
                  <a:cubicBezTo>
                    <a:pt x="27" y="154"/>
                    <a:pt x="32" y="156"/>
                    <a:pt x="32" y="156"/>
                  </a:cubicBezTo>
                  <a:cubicBezTo>
                    <a:pt x="32" y="156"/>
                    <a:pt x="32" y="160"/>
                    <a:pt x="33" y="161"/>
                  </a:cubicBezTo>
                  <a:cubicBezTo>
                    <a:pt x="35" y="162"/>
                    <a:pt x="37" y="163"/>
                    <a:pt x="40" y="163"/>
                  </a:cubicBezTo>
                  <a:cubicBezTo>
                    <a:pt x="43" y="164"/>
                    <a:pt x="42" y="168"/>
                    <a:pt x="44" y="169"/>
                  </a:cubicBezTo>
                  <a:cubicBezTo>
                    <a:pt x="46" y="170"/>
                    <a:pt x="48" y="172"/>
                    <a:pt x="46" y="172"/>
                  </a:cubicBezTo>
                  <a:cubicBezTo>
                    <a:pt x="45" y="173"/>
                    <a:pt x="42" y="173"/>
                    <a:pt x="42" y="173"/>
                  </a:cubicBezTo>
                  <a:cubicBezTo>
                    <a:pt x="42" y="173"/>
                    <a:pt x="41" y="174"/>
                    <a:pt x="41" y="176"/>
                  </a:cubicBezTo>
                  <a:cubicBezTo>
                    <a:pt x="42" y="177"/>
                    <a:pt x="42" y="177"/>
                    <a:pt x="42" y="177"/>
                  </a:cubicBezTo>
                  <a:cubicBezTo>
                    <a:pt x="46" y="182"/>
                    <a:pt x="46" y="182"/>
                    <a:pt x="46" y="182"/>
                  </a:cubicBezTo>
                  <a:cubicBezTo>
                    <a:pt x="46" y="188"/>
                    <a:pt x="46" y="188"/>
                    <a:pt x="46" y="188"/>
                  </a:cubicBezTo>
                  <a:cubicBezTo>
                    <a:pt x="46" y="188"/>
                    <a:pt x="46" y="190"/>
                    <a:pt x="46" y="192"/>
                  </a:cubicBezTo>
                  <a:cubicBezTo>
                    <a:pt x="46" y="193"/>
                    <a:pt x="45" y="195"/>
                    <a:pt x="43" y="195"/>
                  </a:cubicBezTo>
                  <a:cubicBezTo>
                    <a:pt x="43" y="195"/>
                    <a:pt x="43" y="195"/>
                    <a:pt x="43" y="195"/>
                  </a:cubicBezTo>
                  <a:cubicBezTo>
                    <a:pt x="43" y="195"/>
                    <a:pt x="43" y="195"/>
                    <a:pt x="43" y="195"/>
                  </a:cubicBezTo>
                  <a:cubicBezTo>
                    <a:pt x="42" y="195"/>
                    <a:pt x="42" y="195"/>
                    <a:pt x="42" y="195"/>
                  </a:cubicBezTo>
                  <a:cubicBezTo>
                    <a:pt x="41" y="196"/>
                    <a:pt x="41" y="198"/>
                    <a:pt x="40" y="198"/>
                  </a:cubicBezTo>
                  <a:cubicBezTo>
                    <a:pt x="39" y="199"/>
                    <a:pt x="37" y="196"/>
                    <a:pt x="36" y="199"/>
                  </a:cubicBezTo>
                  <a:cubicBezTo>
                    <a:pt x="35" y="203"/>
                    <a:pt x="33" y="206"/>
                    <a:pt x="33" y="207"/>
                  </a:cubicBezTo>
                  <a:cubicBezTo>
                    <a:pt x="32" y="208"/>
                    <a:pt x="29" y="209"/>
                    <a:pt x="29" y="211"/>
                  </a:cubicBezTo>
                  <a:cubicBezTo>
                    <a:pt x="28" y="213"/>
                    <a:pt x="28" y="211"/>
                    <a:pt x="26" y="216"/>
                  </a:cubicBezTo>
                  <a:cubicBezTo>
                    <a:pt x="24" y="221"/>
                    <a:pt x="23" y="223"/>
                    <a:pt x="23" y="223"/>
                  </a:cubicBezTo>
                  <a:cubicBezTo>
                    <a:pt x="14" y="235"/>
                    <a:pt x="14" y="235"/>
                    <a:pt x="14" y="235"/>
                  </a:cubicBezTo>
                  <a:cubicBezTo>
                    <a:pt x="14" y="235"/>
                    <a:pt x="9" y="243"/>
                    <a:pt x="9" y="244"/>
                  </a:cubicBezTo>
                  <a:cubicBezTo>
                    <a:pt x="9" y="245"/>
                    <a:pt x="9" y="249"/>
                    <a:pt x="9" y="249"/>
                  </a:cubicBezTo>
                  <a:cubicBezTo>
                    <a:pt x="13" y="253"/>
                    <a:pt x="13" y="253"/>
                    <a:pt x="13" y="253"/>
                  </a:cubicBezTo>
                  <a:cubicBezTo>
                    <a:pt x="13" y="257"/>
                    <a:pt x="13" y="257"/>
                    <a:pt x="13" y="257"/>
                  </a:cubicBezTo>
                  <a:cubicBezTo>
                    <a:pt x="13" y="257"/>
                    <a:pt x="13" y="260"/>
                    <a:pt x="14" y="261"/>
                  </a:cubicBezTo>
                  <a:cubicBezTo>
                    <a:pt x="15" y="261"/>
                    <a:pt x="15" y="261"/>
                    <a:pt x="15" y="261"/>
                  </a:cubicBezTo>
                  <a:cubicBezTo>
                    <a:pt x="14" y="264"/>
                    <a:pt x="14" y="264"/>
                    <a:pt x="14" y="264"/>
                  </a:cubicBezTo>
                  <a:cubicBezTo>
                    <a:pt x="14" y="264"/>
                    <a:pt x="15" y="267"/>
                    <a:pt x="16" y="267"/>
                  </a:cubicBezTo>
                  <a:cubicBezTo>
                    <a:pt x="16" y="267"/>
                    <a:pt x="18" y="268"/>
                    <a:pt x="18" y="268"/>
                  </a:cubicBezTo>
                  <a:cubicBezTo>
                    <a:pt x="18" y="268"/>
                    <a:pt x="20" y="270"/>
                    <a:pt x="20" y="270"/>
                  </a:cubicBezTo>
                  <a:cubicBezTo>
                    <a:pt x="21" y="271"/>
                    <a:pt x="20" y="273"/>
                    <a:pt x="20" y="273"/>
                  </a:cubicBezTo>
                  <a:cubicBezTo>
                    <a:pt x="20" y="273"/>
                    <a:pt x="20" y="274"/>
                    <a:pt x="19" y="274"/>
                  </a:cubicBezTo>
                  <a:cubicBezTo>
                    <a:pt x="18" y="274"/>
                    <a:pt x="18" y="274"/>
                    <a:pt x="16" y="274"/>
                  </a:cubicBezTo>
                  <a:cubicBezTo>
                    <a:pt x="16" y="273"/>
                    <a:pt x="16" y="273"/>
                    <a:pt x="15" y="273"/>
                  </a:cubicBezTo>
                  <a:cubicBezTo>
                    <a:pt x="13" y="273"/>
                    <a:pt x="13" y="273"/>
                    <a:pt x="13" y="273"/>
                  </a:cubicBezTo>
                  <a:cubicBezTo>
                    <a:pt x="12" y="273"/>
                    <a:pt x="12" y="273"/>
                    <a:pt x="11" y="273"/>
                  </a:cubicBezTo>
                  <a:cubicBezTo>
                    <a:pt x="10" y="273"/>
                    <a:pt x="10" y="273"/>
                    <a:pt x="10" y="273"/>
                  </a:cubicBezTo>
                  <a:cubicBezTo>
                    <a:pt x="9" y="273"/>
                    <a:pt x="9" y="273"/>
                    <a:pt x="8" y="274"/>
                  </a:cubicBezTo>
                  <a:cubicBezTo>
                    <a:pt x="8" y="275"/>
                    <a:pt x="8" y="275"/>
                    <a:pt x="8" y="275"/>
                  </a:cubicBezTo>
                  <a:cubicBezTo>
                    <a:pt x="8" y="275"/>
                    <a:pt x="7" y="276"/>
                    <a:pt x="7" y="277"/>
                  </a:cubicBezTo>
                  <a:cubicBezTo>
                    <a:pt x="6" y="277"/>
                    <a:pt x="6" y="279"/>
                    <a:pt x="6" y="279"/>
                  </a:cubicBezTo>
                  <a:cubicBezTo>
                    <a:pt x="6" y="279"/>
                    <a:pt x="6" y="280"/>
                    <a:pt x="6" y="280"/>
                  </a:cubicBezTo>
                  <a:cubicBezTo>
                    <a:pt x="6" y="280"/>
                    <a:pt x="6" y="282"/>
                    <a:pt x="6" y="282"/>
                  </a:cubicBezTo>
                  <a:cubicBezTo>
                    <a:pt x="5" y="284"/>
                    <a:pt x="5" y="284"/>
                    <a:pt x="5" y="284"/>
                  </a:cubicBezTo>
                  <a:cubicBezTo>
                    <a:pt x="5" y="284"/>
                    <a:pt x="4" y="285"/>
                    <a:pt x="5" y="286"/>
                  </a:cubicBezTo>
                  <a:cubicBezTo>
                    <a:pt x="5" y="286"/>
                    <a:pt x="5" y="287"/>
                    <a:pt x="5" y="287"/>
                  </a:cubicBezTo>
                  <a:cubicBezTo>
                    <a:pt x="6" y="288"/>
                    <a:pt x="6" y="288"/>
                    <a:pt x="6" y="288"/>
                  </a:cubicBezTo>
                  <a:cubicBezTo>
                    <a:pt x="4" y="290"/>
                    <a:pt x="4" y="290"/>
                    <a:pt x="4" y="290"/>
                  </a:cubicBezTo>
                  <a:cubicBezTo>
                    <a:pt x="4" y="292"/>
                    <a:pt x="4" y="292"/>
                    <a:pt x="4" y="292"/>
                  </a:cubicBezTo>
                  <a:cubicBezTo>
                    <a:pt x="4" y="292"/>
                    <a:pt x="5" y="293"/>
                    <a:pt x="4" y="294"/>
                  </a:cubicBezTo>
                  <a:cubicBezTo>
                    <a:pt x="4" y="294"/>
                    <a:pt x="3" y="295"/>
                    <a:pt x="3" y="295"/>
                  </a:cubicBezTo>
                  <a:cubicBezTo>
                    <a:pt x="3" y="295"/>
                    <a:pt x="1" y="297"/>
                    <a:pt x="1" y="297"/>
                  </a:cubicBezTo>
                  <a:cubicBezTo>
                    <a:pt x="1" y="297"/>
                    <a:pt x="1" y="298"/>
                    <a:pt x="1" y="298"/>
                  </a:cubicBezTo>
                  <a:cubicBezTo>
                    <a:pt x="1" y="298"/>
                    <a:pt x="0" y="300"/>
                    <a:pt x="0" y="300"/>
                  </a:cubicBezTo>
                  <a:cubicBezTo>
                    <a:pt x="0" y="300"/>
                    <a:pt x="0" y="303"/>
                    <a:pt x="0" y="303"/>
                  </a:cubicBezTo>
                  <a:cubicBezTo>
                    <a:pt x="0" y="303"/>
                    <a:pt x="1" y="304"/>
                    <a:pt x="1" y="304"/>
                  </a:cubicBezTo>
                  <a:cubicBezTo>
                    <a:pt x="1" y="304"/>
                    <a:pt x="1" y="305"/>
                    <a:pt x="1" y="306"/>
                  </a:cubicBezTo>
                  <a:cubicBezTo>
                    <a:pt x="0" y="306"/>
                    <a:pt x="1" y="307"/>
                    <a:pt x="1" y="308"/>
                  </a:cubicBezTo>
                  <a:cubicBezTo>
                    <a:pt x="1" y="308"/>
                    <a:pt x="1" y="309"/>
                    <a:pt x="1" y="309"/>
                  </a:cubicBezTo>
                  <a:cubicBezTo>
                    <a:pt x="0" y="311"/>
                    <a:pt x="0" y="311"/>
                    <a:pt x="0" y="311"/>
                  </a:cubicBezTo>
                  <a:cubicBezTo>
                    <a:pt x="0" y="311"/>
                    <a:pt x="0" y="311"/>
                    <a:pt x="0" y="311"/>
                  </a:cubicBezTo>
                  <a:cubicBezTo>
                    <a:pt x="0" y="312"/>
                    <a:pt x="0" y="312"/>
                    <a:pt x="0" y="312"/>
                  </a:cubicBezTo>
                  <a:cubicBezTo>
                    <a:pt x="0" y="314"/>
                    <a:pt x="0" y="314"/>
                    <a:pt x="0" y="314"/>
                  </a:cubicBezTo>
                  <a:cubicBezTo>
                    <a:pt x="2" y="314"/>
                    <a:pt x="2" y="314"/>
                    <a:pt x="2" y="314"/>
                  </a:cubicBezTo>
                  <a:cubicBezTo>
                    <a:pt x="3" y="313"/>
                    <a:pt x="3" y="313"/>
                    <a:pt x="3" y="313"/>
                  </a:cubicBezTo>
                  <a:cubicBezTo>
                    <a:pt x="8" y="311"/>
                    <a:pt x="8" y="311"/>
                    <a:pt x="8" y="311"/>
                  </a:cubicBezTo>
                  <a:cubicBezTo>
                    <a:pt x="11" y="314"/>
                    <a:pt x="11" y="314"/>
                    <a:pt x="11" y="314"/>
                  </a:cubicBezTo>
                  <a:cubicBezTo>
                    <a:pt x="14" y="317"/>
                    <a:pt x="14" y="317"/>
                    <a:pt x="14" y="317"/>
                  </a:cubicBezTo>
                  <a:cubicBezTo>
                    <a:pt x="19" y="317"/>
                    <a:pt x="19" y="317"/>
                    <a:pt x="19" y="317"/>
                  </a:cubicBezTo>
                  <a:cubicBezTo>
                    <a:pt x="22" y="321"/>
                    <a:pt x="22" y="321"/>
                    <a:pt x="22" y="321"/>
                  </a:cubicBezTo>
                  <a:cubicBezTo>
                    <a:pt x="25" y="324"/>
                    <a:pt x="25" y="324"/>
                    <a:pt x="25" y="324"/>
                  </a:cubicBezTo>
                  <a:cubicBezTo>
                    <a:pt x="30" y="323"/>
                    <a:pt x="30" y="323"/>
                    <a:pt x="30" y="323"/>
                  </a:cubicBezTo>
                  <a:cubicBezTo>
                    <a:pt x="35" y="326"/>
                    <a:pt x="35" y="326"/>
                    <a:pt x="35" y="326"/>
                  </a:cubicBezTo>
                  <a:cubicBezTo>
                    <a:pt x="34" y="329"/>
                    <a:pt x="34" y="329"/>
                    <a:pt x="34" y="329"/>
                  </a:cubicBezTo>
                  <a:cubicBezTo>
                    <a:pt x="34" y="329"/>
                    <a:pt x="38" y="324"/>
                    <a:pt x="39" y="323"/>
                  </a:cubicBezTo>
                  <a:cubicBezTo>
                    <a:pt x="40" y="322"/>
                    <a:pt x="44" y="321"/>
                    <a:pt x="44" y="321"/>
                  </a:cubicBezTo>
                  <a:cubicBezTo>
                    <a:pt x="44" y="321"/>
                    <a:pt x="46" y="323"/>
                    <a:pt x="48" y="324"/>
                  </a:cubicBezTo>
                  <a:cubicBezTo>
                    <a:pt x="51" y="324"/>
                    <a:pt x="51" y="324"/>
                    <a:pt x="51" y="324"/>
                  </a:cubicBezTo>
                  <a:cubicBezTo>
                    <a:pt x="53" y="324"/>
                    <a:pt x="61" y="323"/>
                    <a:pt x="61" y="323"/>
                  </a:cubicBezTo>
                  <a:cubicBezTo>
                    <a:pt x="72" y="324"/>
                    <a:pt x="72" y="324"/>
                    <a:pt x="72" y="324"/>
                  </a:cubicBezTo>
                  <a:cubicBezTo>
                    <a:pt x="78" y="321"/>
                    <a:pt x="78" y="321"/>
                    <a:pt x="78" y="321"/>
                  </a:cubicBezTo>
                  <a:cubicBezTo>
                    <a:pt x="90" y="322"/>
                    <a:pt x="90" y="322"/>
                    <a:pt x="90" y="322"/>
                  </a:cubicBezTo>
                  <a:cubicBezTo>
                    <a:pt x="92" y="321"/>
                    <a:pt x="92" y="321"/>
                    <a:pt x="92" y="321"/>
                  </a:cubicBezTo>
                  <a:cubicBezTo>
                    <a:pt x="93" y="322"/>
                    <a:pt x="93" y="322"/>
                    <a:pt x="93" y="322"/>
                  </a:cubicBezTo>
                  <a:cubicBezTo>
                    <a:pt x="97" y="321"/>
                    <a:pt x="97" y="321"/>
                    <a:pt x="97" y="321"/>
                  </a:cubicBezTo>
                  <a:cubicBezTo>
                    <a:pt x="101" y="325"/>
                    <a:pt x="101" y="325"/>
                    <a:pt x="101" y="325"/>
                  </a:cubicBezTo>
                  <a:cubicBezTo>
                    <a:pt x="109" y="324"/>
                    <a:pt x="109" y="324"/>
                    <a:pt x="109" y="324"/>
                  </a:cubicBezTo>
                  <a:cubicBezTo>
                    <a:pt x="114" y="317"/>
                    <a:pt x="114" y="317"/>
                    <a:pt x="114" y="317"/>
                  </a:cubicBezTo>
                  <a:cubicBezTo>
                    <a:pt x="114" y="317"/>
                    <a:pt x="117" y="314"/>
                    <a:pt x="121" y="313"/>
                  </a:cubicBezTo>
                  <a:cubicBezTo>
                    <a:pt x="125" y="313"/>
                    <a:pt x="132" y="310"/>
                    <a:pt x="132" y="310"/>
                  </a:cubicBezTo>
                  <a:lnTo>
                    <a:pt x="141" y="305"/>
                  </a:lnTo>
                  <a:close/>
                </a:path>
              </a:pathLst>
            </a:custGeom>
            <a:solidFill>
              <a:srgbClr val="E6EFF1"/>
            </a:solidFill>
            <a:ln w="12700" cap="rnd" cmpd="sng">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Lato Light"/>
              </a:endParaRPr>
            </a:p>
          </p:txBody>
        </p:sp>
        <p:sp>
          <p:nvSpPr>
            <p:cNvPr id="236" name="Freeform 92">
              <a:extLst>
                <a:ext uri="{FF2B5EF4-FFF2-40B4-BE49-F238E27FC236}">
                  <a16:creationId xmlns:a16="http://schemas.microsoft.com/office/drawing/2014/main" id="{B0FB2027-64D4-75F0-485F-A89C13D9E993}"/>
                </a:ext>
              </a:extLst>
            </p:cNvPr>
            <p:cNvSpPr>
              <a:spLocks noEditPoints="1"/>
            </p:cNvSpPr>
            <p:nvPr/>
          </p:nvSpPr>
          <p:spPr bwMode="auto">
            <a:xfrm>
              <a:off x="3994638" y="1144429"/>
              <a:ext cx="812687" cy="2141063"/>
            </a:xfrm>
            <a:custGeom>
              <a:avLst/>
              <a:gdLst>
                <a:gd name="T0" fmla="*/ 246 w 282"/>
                <a:gd name="T1" fmla="*/ 59 h 766"/>
                <a:gd name="T2" fmla="*/ 210 w 282"/>
                <a:gd name="T3" fmla="*/ 30 h 766"/>
                <a:gd name="T4" fmla="*/ 183 w 282"/>
                <a:gd name="T5" fmla="*/ 8 h 766"/>
                <a:gd name="T6" fmla="*/ 167 w 282"/>
                <a:gd name="T7" fmla="*/ 32 h 766"/>
                <a:gd name="T8" fmla="*/ 123 w 282"/>
                <a:gd name="T9" fmla="*/ 69 h 766"/>
                <a:gd name="T10" fmla="*/ 100 w 282"/>
                <a:gd name="T11" fmla="*/ 111 h 766"/>
                <a:gd name="T12" fmla="*/ 65 w 282"/>
                <a:gd name="T13" fmla="*/ 180 h 766"/>
                <a:gd name="T14" fmla="*/ 52 w 282"/>
                <a:gd name="T15" fmla="*/ 265 h 766"/>
                <a:gd name="T16" fmla="*/ 15 w 282"/>
                <a:gd name="T17" fmla="*/ 333 h 766"/>
                <a:gd name="T18" fmla="*/ 25 w 282"/>
                <a:gd name="T19" fmla="*/ 418 h 766"/>
                <a:gd name="T20" fmla="*/ 27 w 282"/>
                <a:gd name="T21" fmla="*/ 466 h 766"/>
                <a:gd name="T22" fmla="*/ 29 w 282"/>
                <a:gd name="T23" fmla="*/ 515 h 766"/>
                <a:gd name="T24" fmla="*/ 13 w 282"/>
                <a:gd name="T25" fmla="*/ 535 h 766"/>
                <a:gd name="T26" fmla="*/ 8 w 282"/>
                <a:gd name="T27" fmla="*/ 567 h 766"/>
                <a:gd name="T28" fmla="*/ 10 w 282"/>
                <a:gd name="T29" fmla="*/ 603 h 766"/>
                <a:gd name="T30" fmla="*/ 12 w 282"/>
                <a:gd name="T31" fmla="*/ 616 h 766"/>
                <a:gd name="T32" fmla="*/ 19 w 282"/>
                <a:gd name="T33" fmla="*/ 636 h 766"/>
                <a:gd name="T34" fmla="*/ 25 w 282"/>
                <a:gd name="T35" fmla="*/ 655 h 766"/>
                <a:gd name="T36" fmla="*/ 46 w 282"/>
                <a:gd name="T37" fmla="*/ 685 h 766"/>
                <a:gd name="T38" fmla="*/ 50 w 282"/>
                <a:gd name="T39" fmla="*/ 705 h 766"/>
                <a:gd name="T40" fmla="*/ 60 w 282"/>
                <a:gd name="T41" fmla="*/ 739 h 766"/>
                <a:gd name="T42" fmla="*/ 64 w 282"/>
                <a:gd name="T43" fmla="*/ 764 h 766"/>
                <a:gd name="T44" fmla="*/ 93 w 282"/>
                <a:gd name="T45" fmla="*/ 758 h 766"/>
                <a:gd name="T46" fmla="*/ 107 w 282"/>
                <a:gd name="T47" fmla="*/ 752 h 766"/>
                <a:gd name="T48" fmla="*/ 114 w 282"/>
                <a:gd name="T49" fmla="*/ 729 h 766"/>
                <a:gd name="T50" fmla="*/ 122 w 282"/>
                <a:gd name="T51" fmla="*/ 717 h 766"/>
                <a:gd name="T52" fmla="*/ 158 w 282"/>
                <a:gd name="T53" fmla="*/ 688 h 766"/>
                <a:gd name="T54" fmla="*/ 165 w 282"/>
                <a:gd name="T55" fmla="*/ 629 h 766"/>
                <a:gd name="T56" fmla="*/ 163 w 282"/>
                <a:gd name="T57" fmla="*/ 590 h 766"/>
                <a:gd name="T58" fmla="*/ 182 w 282"/>
                <a:gd name="T59" fmla="*/ 559 h 766"/>
                <a:gd name="T60" fmla="*/ 191 w 282"/>
                <a:gd name="T61" fmla="*/ 558 h 766"/>
                <a:gd name="T62" fmla="*/ 205 w 282"/>
                <a:gd name="T63" fmla="*/ 541 h 766"/>
                <a:gd name="T64" fmla="*/ 207 w 282"/>
                <a:gd name="T65" fmla="*/ 514 h 766"/>
                <a:gd name="T66" fmla="*/ 199 w 282"/>
                <a:gd name="T67" fmla="*/ 493 h 766"/>
                <a:gd name="T68" fmla="*/ 180 w 282"/>
                <a:gd name="T69" fmla="*/ 467 h 766"/>
                <a:gd name="T70" fmla="*/ 161 w 282"/>
                <a:gd name="T71" fmla="*/ 459 h 766"/>
                <a:gd name="T72" fmla="*/ 151 w 282"/>
                <a:gd name="T73" fmla="*/ 424 h 766"/>
                <a:gd name="T74" fmla="*/ 157 w 282"/>
                <a:gd name="T75" fmla="*/ 407 h 766"/>
                <a:gd name="T76" fmla="*/ 154 w 282"/>
                <a:gd name="T77" fmla="*/ 369 h 766"/>
                <a:gd name="T78" fmla="*/ 168 w 282"/>
                <a:gd name="T79" fmla="*/ 350 h 766"/>
                <a:gd name="T80" fmla="*/ 182 w 282"/>
                <a:gd name="T81" fmla="*/ 325 h 766"/>
                <a:gd name="T82" fmla="*/ 196 w 282"/>
                <a:gd name="T83" fmla="*/ 307 h 766"/>
                <a:gd name="T84" fmla="*/ 210 w 282"/>
                <a:gd name="T85" fmla="*/ 295 h 766"/>
                <a:gd name="T86" fmla="*/ 225 w 282"/>
                <a:gd name="T87" fmla="*/ 266 h 766"/>
                <a:gd name="T88" fmla="*/ 229 w 282"/>
                <a:gd name="T89" fmla="*/ 238 h 766"/>
                <a:gd name="T90" fmla="*/ 225 w 282"/>
                <a:gd name="T91" fmla="*/ 219 h 766"/>
                <a:gd name="T92" fmla="*/ 229 w 282"/>
                <a:gd name="T93" fmla="*/ 198 h 766"/>
                <a:gd name="T94" fmla="*/ 242 w 282"/>
                <a:gd name="T95" fmla="*/ 187 h 766"/>
                <a:gd name="T96" fmla="*/ 258 w 282"/>
                <a:gd name="T97" fmla="*/ 170 h 766"/>
                <a:gd name="T98" fmla="*/ 269 w 282"/>
                <a:gd name="T99" fmla="*/ 173 h 766"/>
                <a:gd name="T100" fmla="*/ 275 w 282"/>
                <a:gd name="T101" fmla="*/ 169 h 766"/>
                <a:gd name="T102" fmla="*/ 279 w 282"/>
                <a:gd name="T103" fmla="*/ 165 h 766"/>
                <a:gd name="T104" fmla="*/ 266 w 282"/>
                <a:gd name="T105" fmla="*/ 119 h 766"/>
                <a:gd name="T106" fmla="*/ 164 w 282"/>
                <a:gd name="T107" fmla="*/ 699 h 766"/>
                <a:gd name="T108" fmla="*/ 174 w 282"/>
                <a:gd name="T109" fmla="*/ 650 h 766"/>
                <a:gd name="T110" fmla="*/ 175 w 282"/>
                <a:gd name="T111" fmla="*/ 673 h 766"/>
                <a:gd name="T112" fmla="*/ 165 w 282"/>
                <a:gd name="T113" fmla="*/ 710 h 766"/>
                <a:gd name="T114" fmla="*/ 210 w 282"/>
                <a:gd name="T115" fmla="*/ 625 h 766"/>
                <a:gd name="T116" fmla="*/ 229 w 282"/>
                <a:gd name="T117" fmla="*/ 607 h 766"/>
                <a:gd name="T118" fmla="*/ 224 w 282"/>
                <a:gd name="T119" fmla="*/ 631 h 766"/>
                <a:gd name="T120" fmla="*/ 216 w 282"/>
                <a:gd name="T121" fmla="*/ 660 h 7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82" h="766">
                  <a:moveTo>
                    <a:pt x="255" y="88"/>
                  </a:moveTo>
                  <a:cubicBezTo>
                    <a:pt x="255" y="87"/>
                    <a:pt x="255" y="87"/>
                    <a:pt x="255" y="87"/>
                  </a:cubicBezTo>
                  <a:cubicBezTo>
                    <a:pt x="255" y="87"/>
                    <a:pt x="253" y="83"/>
                    <a:pt x="254" y="81"/>
                  </a:cubicBezTo>
                  <a:cubicBezTo>
                    <a:pt x="254" y="81"/>
                    <a:pt x="254" y="81"/>
                    <a:pt x="254" y="80"/>
                  </a:cubicBezTo>
                  <a:cubicBezTo>
                    <a:pt x="254" y="79"/>
                    <a:pt x="254" y="79"/>
                    <a:pt x="254" y="79"/>
                  </a:cubicBezTo>
                  <a:cubicBezTo>
                    <a:pt x="250" y="80"/>
                    <a:pt x="250" y="80"/>
                    <a:pt x="250" y="80"/>
                  </a:cubicBezTo>
                  <a:cubicBezTo>
                    <a:pt x="247" y="76"/>
                    <a:pt x="247" y="76"/>
                    <a:pt x="247" y="76"/>
                  </a:cubicBezTo>
                  <a:cubicBezTo>
                    <a:pt x="248" y="71"/>
                    <a:pt x="248" y="71"/>
                    <a:pt x="248" y="71"/>
                  </a:cubicBezTo>
                  <a:cubicBezTo>
                    <a:pt x="246" y="59"/>
                    <a:pt x="246" y="59"/>
                    <a:pt x="246" y="59"/>
                  </a:cubicBezTo>
                  <a:cubicBezTo>
                    <a:pt x="248" y="53"/>
                    <a:pt x="248" y="53"/>
                    <a:pt x="248" y="53"/>
                  </a:cubicBezTo>
                  <a:cubicBezTo>
                    <a:pt x="242" y="50"/>
                    <a:pt x="242" y="50"/>
                    <a:pt x="242" y="50"/>
                  </a:cubicBezTo>
                  <a:cubicBezTo>
                    <a:pt x="238" y="44"/>
                    <a:pt x="238" y="44"/>
                    <a:pt x="238" y="44"/>
                  </a:cubicBezTo>
                  <a:cubicBezTo>
                    <a:pt x="238" y="44"/>
                    <a:pt x="237" y="46"/>
                    <a:pt x="236" y="45"/>
                  </a:cubicBezTo>
                  <a:cubicBezTo>
                    <a:pt x="235" y="44"/>
                    <a:pt x="230" y="36"/>
                    <a:pt x="230" y="36"/>
                  </a:cubicBezTo>
                  <a:cubicBezTo>
                    <a:pt x="221" y="33"/>
                    <a:pt x="221" y="33"/>
                    <a:pt x="221" y="33"/>
                  </a:cubicBezTo>
                  <a:cubicBezTo>
                    <a:pt x="217" y="31"/>
                    <a:pt x="217" y="31"/>
                    <a:pt x="217" y="31"/>
                  </a:cubicBezTo>
                  <a:cubicBezTo>
                    <a:pt x="212" y="30"/>
                    <a:pt x="212" y="30"/>
                    <a:pt x="212" y="30"/>
                  </a:cubicBezTo>
                  <a:cubicBezTo>
                    <a:pt x="212" y="30"/>
                    <a:pt x="211" y="32"/>
                    <a:pt x="210" y="30"/>
                  </a:cubicBezTo>
                  <a:cubicBezTo>
                    <a:pt x="209" y="28"/>
                    <a:pt x="207" y="26"/>
                    <a:pt x="207" y="26"/>
                  </a:cubicBezTo>
                  <a:cubicBezTo>
                    <a:pt x="203" y="27"/>
                    <a:pt x="203" y="27"/>
                    <a:pt x="203" y="27"/>
                  </a:cubicBezTo>
                  <a:cubicBezTo>
                    <a:pt x="200" y="23"/>
                    <a:pt x="200" y="23"/>
                    <a:pt x="200" y="23"/>
                  </a:cubicBezTo>
                  <a:cubicBezTo>
                    <a:pt x="200" y="23"/>
                    <a:pt x="199" y="23"/>
                    <a:pt x="198" y="23"/>
                  </a:cubicBezTo>
                  <a:cubicBezTo>
                    <a:pt x="197" y="22"/>
                    <a:pt x="195" y="21"/>
                    <a:pt x="195" y="21"/>
                  </a:cubicBezTo>
                  <a:cubicBezTo>
                    <a:pt x="192" y="16"/>
                    <a:pt x="192" y="16"/>
                    <a:pt x="192" y="16"/>
                  </a:cubicBezTo>
                  <a:cubicBezTo>
                    <a:pt x="188" y="14"/>
                    <a:pt x="188" y="14"/>
                    <a:pt x="188" y="14"/>
                  </a:cubicBezTo>
                  <a:cubicBezTo>
                    <a:pt x="183" y="12"/>
                    <a:pt x="183" y="12"/>
                    <a:pt x="183" y="12"/>
                  </a:cubicBezTo>
                  <a:cubicBezTo>
                    <a:pt x="183" y="8"/>
                    <a:pt x="183" y="8"/>
                    <a:pt x="183" y="8"/>
                  </a:cubicBezTo>
                  <a:cubicBezTo>
                    <a:pt x="176" y="4"/>
                    <a:pt x="176" y="4"/>
                    <a:pt x="176" y="4"/>
                  </a:cubicBezTo>
                  <a:cubicBezTo>
                    <a:pt x="176" y="4"/>
                    <a:pt x="175" y="2"/>
                    <a:pt x="176" y="2"/>
                  </a:cubicBezTo>
                  <a:cubicBezTo>
                    <a:pt x="177" y="1"/>
                    <a:pt x="180" y="1"/>
                    <a:pt x="182" y="1"/>
                  </a:cubicBezTo>
                  <a:cubicBezTo>
                    <a:pt x="177" y="0"/>
                    <a:pt x="177" y="0"/>
                    <a:pt x="177" y="0"/>
                  </a:cubicBezTo>
                  <a:cubicBezTo>
                    <a:pt x="171" y="5"/>
                    <a:pt x="171" y="5"/>
                    <a:pt x="171" y="5"/>
                  </a:cubicBezTo>
                  <a:cubicBezTo>
                    <a:pt x="168" y="5"/>
                    <a:pt x="168" y="5"/>
                    <a:pt x="168" y="5"/>
                  </a:cubicBezTo>
                  <a:cubicBezTo>
                    <a:pt x="168" y="5"/>
                    <a:pt x="166" y="6"/>
                    <a:pt x="166" y="7"/>
                  </a:cubicBezTo>
                  <a:cubicBezTo>
                    <a:pt x="167" y="8"/>
                    <a:pt x="169" y="17"/>
                    <a:pt x="170" y="19"/>
                  </a:cubicBezTo>
                  <a:cubicBezTo>
                    <a:pt x="171" y="20"/>
                    <a:pt x="171" y="27"/>
                    <a:pt x="167" y="32"/>
                  </a:cubicBezTo>
                  <a:cubicBezTo>
                    <a:pt x="171" y="36"/>
                    <a:pt x="171" y="36"/>
                    <a:pt x="171" y="36"/>
                  </a:cubicBezTo>
                  <a:cubicBezTo>
                    <a:pt x="167" y="41"/>
                    <a:pt x="167" y="41"/>
                    <a:pt x="167" y="41"/>
                  </a:cubicBezTo>
                  <a:cubicBezTo>
                    <a:pt x="161" y="42"/>
                    <a:pt x="161" y="42"/>
                    <a:pt x="161" y="42"/>
                  </a:cubicBezTo>
                  <a:cubicBezTo>
                    <a:pt x="161" y="42"/>
                    <a:pt x="155" y="41"/>
                    <a:pt x="154" y="40"/>
                  </a:cubicBezTo>
                  <a:cubicBezTo>
                    <a:pt x="153" y="39"/>
                    <a:pt x="148" y="37"/>
                    <a:pt x="147" y="37"/>
                  </a:cubicBezTo>
                  <a:cubicBezTo>
                    <a:pt x="145" y="38"/>
                    <a:pt x="131" y="37"/>
                    <a:pt x="131" y="37"/>
                  </a:cubicBezTo>
                  <a:cubicBezTo>
                    <a:pt x="128" y="41"/>
                    <a:pt x="129" y="62"/>
                    <a:pt x="130" y="65"/>
                  </a:cubicBezTo>
                  <a:cubicBezTo>
                    <a:pt x="128" y="69"/>
                    <a:pt x="128" y="69"/>
                    <a:pt x="128" y="69"/>
                  </a:cubicBezTo>
                  <a:cubicBezTo>
                    <a:pt x="123" y="69"/>
                    <a:pt x="123" y="69"/>
                    <a:pt x="123" y="69"/>
                  </a:cubicBezTo>
                  <a:cubicBezTo>
                    <a:pt x="113" y="64"/>
                    <a:pt x="113" y="64"/>
                    <a:pt x="113" y="64"/>
                  </a:cubicBezTo>
                  <a:cubicBezTo>
                    <a:pt x="109" y="72"/>
                    <a:pt x="109" y="72"/>
                    <a:pt x="109" y="72"/>
                  </a:cubicBezTo>
                  <a:cubicBezTo>
                    <a:pt x="109" y="72"/>
                    <a:pt x="105" y="76"/>
                    <a:pt x="105" y="78"/>
                  </a:cubicBezTo>
                  <a:cubicBezTo>
                    <a:pt x="105" y="79"/>
                    <a:pt x="103" y="83"/>
                    <a:pt x="103" y="83"/>
                  </a:cubicBezTo>
                  <a:cubicBezTo>
                    <a:pt x="103" y="84"/>
                    <a:pt x="103" y="91"/>
                    <a:pt x="103" y="91"/>
                  </a:cubicBezTo>
                  <a:cubicBezTo>
                    <a:pt x="101" y="95"/>
                    <a:pt x="101" y="95"/>
                    <a:pt x="101" y="95"/>
                  </a:cubicBezTo>
                  <a:cubicBezTo>
                    <a:pt x="95" y="99"/>
                    <a:pt x="95" y="99"/>
                    <a:pt x="95" y="99"/>
                  </a:cubicBezTo>
                  <a:cubicBezTo>
                    <a:pt x="95" y="104"/>
                    <a:pt x="95" y="104"/>
                    <a:pt x="95" y="104"/>
                  </a:cubicBezTo>
                  <a:cubicBezTo>
                    <a:pt x="95" y="104"/>
                    <a:pt x="98" y="110"/>
                    <a:pt x="100" y="111"/>
                  </a:cubicBezTo>
                  <a:cubicBezTo>
                    <a:pt x="101" y="113"/>
                    <a:pt x="103" y="121"/>
                    <a:pt x="103" y="121"/>
                  </a:cubicBezTo>
                  <a:cubicBezTo>
                    <a:pt x="103" y="121"/>
                    <a:pt x="100" y="128"/>
                    <a:pt x="99" y="130"/>
                  </a:cubicBezTo>
                  <a:cubicBezTo>
                    <a:pt x="98" y="132"/>
                    <a:pt x="90" y="142"/>
                    <a:pt x="90" y="142"/>
                  </a:cubicBezTo>
                  <a:cubicBezTo>
                    <a:pt x="85" y="155"/>
                    <a:pt x="85" y="155"/>
                    <a:pt x="85" y="155"/>
                  </a:cubicBezTo>
                  <a:cubicBezTo>
                    <a:pt x="85" y="164"/>
                    <a:pt x="85" y="164"/>
                    <a:pt x="85" y="164"/>
                  </a:cubicBezTo>
                  <a:cubicBezTo>
                    <a:pt x="84" y="169"/>
                    <a:pt x="84" y="169"/>
                    <a:pt x="84" y="169"/>
                  </a:cubicBezTo>
                  <a:cubicBezTo>
                    <a:pt x="77" y="176"/>
                    <a:pt x="77" y="176"/>
                    <a:pt x="77" y="176"/>
                  </a:cubicBezTo>
                  <a:cubicBezTo>
                    <a:pt x="68" y="177"/>
                    <a:pt x="68" y="177"/>
                    <a:pt x="68" y="177"/>
                  </a:cubicBezTo>
                  <a:cubicBezTo>
                    <a:pt x="65" y="180"/>
                    <a:pt x="65" y="180"/>
                    <a:pt x="65" y="180"/>
                  </a:cubicBezTo>
                  <a:cubicBezTo>
                    <a:pt x="70" y="197"/>
                    <a:pt x="70" y="197"/>
                    <a:pt x="70" y="197"/>
                  </a:cubicBezTo>
                  <a:cubicBezTo>
                    <a:pt x="68" y="205"/>
                    <a:pt x="68" y="205"/>
                    <a:pt x="68" y="205"/>
                  </a:cubicBezTo>
                  <a:cubicBezTo>
                    <a:pt x="67" y="212"/>
                    <a:pt x="67" y="212"/>
                    <a:pt x="67" y="212"/>
                  </a:cubicBezTo>
                  <a:cubicBezTo>
                    <a:pt x="67" y="212"/>
                    <a:pt x="65" y="218"/>
                    <a:pt x="66" y="219"/>
                  </a:cubicBezTo>
                  <a:cubicBezTo>
                    <a:pt x="67" y="221"/>
                    <a:pt x="68" y="225"/>
                    <a:pt x="68" y="225"/>
                  </a:cubicBezTo>
                  <a:cubicBezTo>
                    <a:pt x="64" y="228"/>
                    <a:pt x="64" y="228"/>
                    <a:pt x="64" y="228"/>
                  </a:cubicBezTo>
                  <a:cubicBezTo>
                    <a:pt x="65" y="234"/>
                    <a:pt x="65" y="234"/>
                    <a:pt x="65" y="234"/>
                  </a:cubicBezTo>
                  <a:cubicBezTo>
                    <a:pt x="50" y="260"/>
                    <a:pt x="50" y="260"/>
                    <a:pt x="50" y="260"/>
                  </a:cubicBezTo>
                  <a:cubicBezTo>
                    <a:pt x="52" y="265"/>
                    <a:pt x="52" y="265"/>
                    <a:pt x="52" y="265"/>
                  </a:cubicBezTo>
                  <a:cubicBezTo>
                    <a:pt x="61" y="267"/>
                    <a:pt x="61" y="267"/>
                    <a:pt x="61" y="267"/>
                  </a:cubicBezTo>
                  <a:cubicBezTo>
                    <a:pt x="62" y="283"/>
                    <a:pt x="62" y="283"/>
                    <a:pt x="62" y="283"/>
                  </a:cubicBezTo>
                  <a:cubicBezTo>
                    <a:pt x="59" y="290"/>
                    <a:pt x="59" y="290"/>
                    <a:pt x="59" y="290"/>
                  </a:cubicBezTo>
                  <a:cubicBezTo>
                    <a:pt x="58" y="292"/>
                    <a:pt x="58" y="292"/>
                    <a:pt x="58" y="292"/>
                  </a:cubicBezTo>
                  <a:cubicBezTo>
                    <a:pt x="34" y="293"/>
                    <a:pt x="34" y="293"/>
                    <a:pt x="34" y="293"/>
                  </a:cubicBezTo>
                  <a:cubicBezTo>
                    <a:pt x="21" y="310"/>
                    <a:pt x="21" y="310"/>
                    <a:pt x="21" y="310"/>
                  </a:cubicBezTo>
                  <a:cubicBezTo>
                    <a:pt x="19" y="320"/>
                    <a:pt x="19" y="320"/>
                    <a:pt x="19" y="320"/>
                  </a:cubicBezTo>
                  <a:cubicBezTo>
                    <a:pt x="18" y="327"/>
                    <a:pt x="18" y="327"/>
                    <a:pt x="18" y="327"/>
                  </a:cubicBezTo>
                  <a:cubicBezTo>
                    <a:pt x="18" y="327"/>
                    <a:pt x="15" y="331"/>
                    <a:pt x="15" y="333"/>
                  </a:cubicBezTo>
                  <a:cubicBezTo>
                    <a:pt x="15" y="334"/>
                    <a:pt x="15" y="340"/>
                    <a:pt x="15" y="340"/>
                  </a:cubicBezTo>
                  <a:cubicBezTo>
                    <a:pt x="19" y="348"/>
                    <a:pt x="19" y="348"/>
                    <a:pt x="19" y="348"/>
                  </a:cubicBezTo>
                  <a:cubicBezTo>
                    <a:pt x="19" y="354"/>
                    <a:pt x="19" y="354"/>
                    <a:pt x="19" y="354"/>
                  </a:cubicBezTo>
                  <a:cubicBezTo>
                    <a:pt x="17" y="357"/>
                    <a:pt x="17" y="357"/>
                    <a:pt x="17" y="357"/>
                  </a:cubicBezTo>
                  <a:cubicBezTo>
                    <a:pt x="18" y="364"/>
                    <a:pt x="18" y="364"/>
                    <a:pt x="18" y="364"/>
                  </a:cubicBezTo>
                  <a:cubicBezTo>
                    <a:pt x="18" y="364"/>
                    <a:pt x="19" y="366"/>
                    <a:pt x="18" y="367"/>
                  </a:cubicBezTo>
                  <a:cubicBezTo>
                    <a:pt x="16" y="369"/>
                    <a:pt x="16" y="371"/>
                    <a:pt x="17" y="373"/>
                  </a:cubicBezTo>
                  <a:cubicBezTo>
                    <a:pt x="17" y="374"/>
                    <a:pt x="24" y="387"/>
                    <a:pt x="24" y="387"/>
                  </a:cubicBezTo>
                  <a:cubicBezTo>
                    <a:pt x="25" y="418"/>
                    <a:pt x="25" y="418"/>
                    <a:pt x="25" y="418"/>
                  </a:cubicBezTo>
                  <a:cubicBezTo>
                    <a:pt x="28" y="426"/>
                    <a:pt x="28" y="426"/>
                    <a:pt x="28" y="426"/>
                  </a:cubicBezTo>
                  <a:cubicBezTo>
                    <a:pt x="35" y="431"/>
                    <a:pt x="35" y="431"/>
                    <a:pt x="35" y="431"/>
                  </a:cubicBezTo>
                  <a:cubicBezTo>
                    <a:pt x="41" y="436"/>
                    <a:pt x="41" y="436"/>
                    <a:pt x="41" y="436"/>
                  </a:cubicBezTo>
                  <a:cubicBezTo>
                    <a:pt x="42" y="445"/>
                    <a:pt x="42" y="445"/>
                    <a:pt x="42" y="445"/>
                  </a:cubicBezTo>
                  <a:cubicBezTo>
                    <a:pt x="42" y="445"/>
                    <a:pt x="40" y="452"/>
                    <a:pt x="40" y="453"/>
                  </a:cubicBezTo>
                  <a:cubicBezTo>
                    <a:pt x="41" y="454"/>
                    <a:pt x="35" y="454"/>
                    <a:pt x="35" y="454"/>
                  </a:cubicBezTo>
                  <a:cubicBezTo>
                    <a:pt x="30" y="455"/>
                    <a:pt x="30" y="455"/>
                    <a:pt x="30" y="455"/>
                  </a:cubicBezTo>
                  <a:cubicBezTo>
                    <a:pt x="25" y="460"/>
                    <a:pt x="25" y="460"/>
                    <a:pt x="25" y="460"/>
                  </a:cubicBezTo>
                  <a:cubicBezTo>
                    <a:pt x="27" y="466"/>
                    <a:pt x="27" y="466"/>
                    <a:pt x="27" y="466"/>
                  </a:cubicBezTo>
                  <a:cubicBezTo>
                    <a:pt x="30" y="475"/>
                    <a:pt x="30" y="475"/>
                    <a:pt x="30" y="475"/>
                  </a:cubicBezTo>
                  <a:cubicBezTo>
                    <a:pt x="36" y="482"/>
                    <a:pt x="36" y="482"/>
                    <a:pt x="36" y="482"/>
                  </a:cubicBezTo>
                  <a:cubicBezTo>
                    <a:pt x="38" y="488"/>
                    <a:pt x="38" y="488"/>
                    <a:pt x="38" y="488"/>
                  </a:cubicBezTo>
                  <a:cubicBezTo>
                    <a:pt x="35" y="494"/>
                    <a:pt x="35" y="494"/>
                    <a:pt x="35" y="494"/>
                  </a:cubicBezTo>
                  <a:cubicBezTo>
                    <a:pt x="33" y="497"/>
                    <a:pt x="33" y="497"/>
                    <a:pt x="33" y="497"/>
                  </a:cubicBezTo>
                  <a:cubicBezTo>
                    <a:pt x="35" y="502"/>
                    <a:pt x="35" y="502"/>
                    <a:pt x="35" y="502"/>
                  </a:cubicBezTo>
                  <a:cubicBezTo>
                    <a:pt x="35" y="507"/>
                    <a:pt x="35" y="507"/>
                    <a:pt x="35" y="507"/>
                  </a:cubicBezTo>
                  <a:cubicBezTo>
                    <a:pt x="35" y="507"/>
                    <a:pt x="33" y="510"/>
                    <a:pt x="33" y="511"/>
                  </a:cubicBezTo>
                  <a:cubicBezTo>
                    <a:pt x="33" y="512"/>
                    <a:pt x="29" y="515"/>
                    <a:pt x="29" y="515"/>
                  </a:cubicBezTo>
                  <a:cubicBezTo>
                    <a:pt x="26" y="518"/>
                    <a:pt x="26" y="518"/>
                    <a:pt x="26" y="518"/>
                  </a:cubicBezTo>
                  <a:cubicBezTo>
                    <a:pt x="23" y="519"/>
                    <a:pt x="23" y="519"/>
                    <a:pt x="23" y="519"/>
                  </a:cubicBezTo>
                  <a:cubicBezTo>
                    <a:pt x="23" y="519"/>
                    <a:pt x="21" y="518"/>
                    <a:pt x="20" y="519"/>
                  </a:cubicBezTo>
                  <a:cubicBezTo>
                    <a:pt x="20" y="519"/>
                    <a:pt x="18" y="521"/>
                    <a:pt x="18" y="521"/>
                  </a:cubicBezTo>
                  <a:cubicBezTo>
                    <a:pt x="18" y="524"/>
                    <a:pt x="18" y="524"/>
                    <a:pt x="18" y="524"/>
                  </a:cubicBezTo>
                  <a:cubicBezTo>
                    <a:pt x="20" y="526"/>
                    <a:pt x="20" y="526"/>
                    <a:pt x="20" y="526"/>
                  </a:cubicBezTo>
                  <a:cubicBezTo>
                    <a:pt x="19" y="531"/>
                    <a:pt x="19" y="531"/>
                    <a:pt x="19" y="531"/>
                  </a:cubicBezTo>
                  <a:cubicBezTo>
                    <a:pt x="16" y="534"/>
                    <a:pt x="16" y="534"/>
                    <a:pt x="16" y="534"/>
                  </a:cubicBezTo>
                  <a:cubicBezTo>
                    <a:pt x="13" y="535"/>
                    <a:pt x="13" y="535"/>
                    <a:pt x="13" y="535"/>
                  </a:cubicBezTo>
                  <a:cubicBezTo>
                    <a:pt x="15" y="541"/>
                    <a:pt x="15" y="541"/>
                    <a:pt x="15" y="541"/>
                  </a:cubicBezTo>
                  <a:cubicBezTo>
                    <a:pt x="19" y="548"/>
                    <a:pt x="19" y="548"/>
                    <a:pt x="19" y="548"/>
                  </a:cubicBezTo>
                  <a:cubicBezTo>
                    <a:pt x="19" y="554"/>
                    <a:pt x="19" y="554"/>
                    <a:pt x="19" y="554"/>
                  </a:cubicBezTo>
                  <a:cubicBezTo>
                    <a:pt x="16" y="560"/>
                    <a:pt x="16" y="560"/>
                    <a:pt x="16" y="560"/>
                  </a:cubicBezTo>
                  <a:cubicBezTo>
                    <a:pt x="15" y="567"/>
                    <a:pt x="15" y="567"/>
                    <a:pt x="15" y="567"/>
                  </a:cubicBezTo>
                  <a:cubicBezTo>
                    <a:pt x="14" y="573"/>
                    <a:pt x="14" y="573"/>
                    <a:pt x="14" y="573"/>
                  </a:cubicBezTo>
                  <a:cubicBezTo>
                    <a:pt x="12" y="574"/>
                    <a:pt x="12" y="574"/>
                    <a:pt x="12" y="574"/>
                  </a:cubicBezTo>
                  <a:cubicBezTo>
                    <a:pt x="9" y="574"/>
                    <a:pt x="9" y="574"/>
                    <a:pt x="9" y="574"/>
                  </a:cubicBezTo>
                  <a:cubicBezTo>
                    <a:pt x="9" y="574"/>
                    <a:pt x="9" y="568"/>
                    <a:pt x="8" y="567"/>
                  </a:cubicBezTo>
                  <a:cubicBezTo>
                    <a:pt x="8" y="567"/>
                    <a:pt x="1" y="561"/>
                    <a:pt x="1" y="561"/>
                  </a:cubicBezTo>
                  <a:cubicBezTo>
                    <a:pt x="1" y="567"/>
                    <a:pt x="1" y="567"/>
                    <a:pt x="1" y="567"/>
                  </a:cubicBezTo>
                  <a:cubicBezTo>
                    <a:pt x="0" y="574"/>
                    <a:pt x="0" y="574"/>
                    <a:pt x="0" y="574"/>
                  </a:cubicBezTo>
                  <a:cubicBezTo>
                    <a:pt x="0" y="574"/>
                    <a:pt x="1" y="578"/>
                    <a:pt x="2" y="579"/>
                  </a:cubicBezTo>
                  <a:cubicBezTo>
                    <a:pt x="3" y="580"/>
                    <a:pt x="4" y="587"/>
                    <a:pt x="4" y="587"/>
                  </a:cubicBezTo>
                  <a:cubicBezTo>
                    <a:pt x="3" y="594"/>
                    <a:pt x="3" y="594"/>
                    <a:pt x="3" y="594"/>
                  </a:cubicBezTo>
                  <a:cubicBezTo>
                    <a:pt x="3" y="594"/>
                    <a:pt x="5" y="599"/>
                    <a:pt x="5" y="599"/>
                  </a:cubicBezTo>
                  <a:cubicBezTo>
                    <a:pt x="5" y="600"/>
                    <a:pt x="6" y="604"/>
                    <a:pt x="6" y="604"/>
                  </a:cubicBezTo>
                  <a:cubicBezTo>
                    <a:pt x="10" y="603"/>
                    <a:pt x="10" y="603"/>
                    <a:pt x="10" y="603"/>
                  </a:cubicBezTo>
                  <a:cubicBezTo>
                    <a:pt x="9" y="600"/>
                    <a:pt x="9" y="600"/>
                    <a:pt x="9" y="600"/>
                  </a:cubicBezTo>
                  <a:cubicBezTo>
                    <a:pt x="12" y="604"/>
                    <a:pt x="12" y="604"/>
                    <a:pt x="12" y="604"/>
                  </a:cubicBezTo>
                  <a:cubicBezTo>
                    <a:pt x="12" y="604"/>
                    <a:pt x="10" y="605"/>
                    <a:pt x="12" y="604"/>
                  </a:cubicBezTo>
                  <a:cubicBezTo>
                    <a:pt x="13" y="604"/>
                    <a:pt x="15" y="602"/>
                    <a:pt x="15" y="602"/>
                  </a:cubicBezTo>
                  <a:cubicBezTo>
                    <a:pt x="14" y="605"/>
                    <a:pt x="14" y="605"/>
                    <a:pt x="14" y="605"/>
                  </a:cubicBezTo>
                  <a:cubicBezTo>
                    <a:pt x="12" y="609"/>
                    <a:pt x="12" y="609"/>
                    <a:pt x="12" y="609"/>
                  </a:cubicBezTo>
                  <a:cubicBezTo>
                    <a:pt x="13" y="610"/>
                    <a:pt x="13" y="610"/>
                    <a:pt x="13" y="610"/>
                  </a:cubicBezTo>
                  <a:cubicBezTo>
                    <a:pt x="16" y="611"/>
                    <a:pt x="16" y="611"/>
                    <a:pt x="16" y="611"/>
                  </a:cubicBezTo>
                  <a:cubicBezTo>
                    <a:pt x="12" y="616"/>
                    <a:pt x="12" y="616"/>
                    <a:pt x="12" y="616"/>
                  </a:cubicBezTo>
                  <a:cubicBezTo>
                    <a:pt x="12" y="616"/>
                    <a:pt x="14" y="619"/>
                    <a:pt x="15" y="620"/>
                  </a:cubicBezTo>
                  <a:cubicBezTo>
                    <a:pt x="15" y="620"/>
                    <a:pt x="19" y="617"/>
                    <a:pt x="19" y="617"/>
                  </a:cubicBezTo>
                  <a:cubicBezTo>
                    <a:pt x="19" y="617"/>
                    <a:pt x="19" y="618"/>
                    <a:pt x="19" y="619"/>
                  </a:cubicBezTo>
                  <a:cubicBezTo>
                    <a:pt x="19" y="619"/>
                    <a:pt x="16" y="622"/>
                    <a:pt x="16" y="624"/>
                  </a:cubicBezTo>
                  <a:cubicBezTo>
                    <a:pt x="17" y="625"/>
                    <a:pt x="22" y="623"/>
                    <a:pt x="21" y="624"/>
                  </a:cubicBezTo>
                  <a:cubicBezTo>
                    <a:pt x="20" y="625"/>
                    <a:pt x="20" y="627"/>
                    <a:pt x="20" y="627"/>
                  </a:cubicBezTo>
                  <a:cubicBezTo>
                    <a:pt x="20" y="627"/>
                    <a:pt x="17" y="630"/>
                    <a:pt x="19" y="631"/>
                  </a:cubicBezTo>
                  <a:cubicBezTo>
                    <a:pt x="20" y="632"/>
                    <a:pt x="23" y="633"/>
                    <a:pt x="22" y="633"/>
                  </a:cubicBezTo>
                  <a:cubicBezTo>
                    <a:pt x="22" y="634"/>
                    <a:pt x="19" y="636"/>
                    <a:pt x="19" y="636"/>
                  </a:cubicBezTo>
                  <a:cubicBezTo>
                    <a:pt x="19" y="636"/>
                    <a:pt x="18" y="638"/>
                    <a:pt x="19" y="639"/>
                  </a:cubicBezTo>
                  <a:cubicBezTo>
                    <a:pt x="20" y="640"/>
                    <a:pt x="23" y="640"/>
                    <a:pt x="23" y="640"/>
                  </a:cubicBezTo>
                  <a:cubicBezTo>
                    <a:pt x="23" y="640"/>
                    <a:pt x="23" y="638"/>
                    <a:pt x="23" y="639"/>
                  </a:cubicBezTo>
                  <a:cubicBezTo>
                    <a:pt x="23" y="640"/>
                    <a:pt x="22" y="642"/>
                    <a:pt x="22" y="642"/>
                  </a:cubicBezTo>
                  <a:cubicBezTo>
                    <a:pt x="22" y="642"/>
                    <a:pt x="21" y="644"/>
                    <a:pt x="22" y="645"/>
                  </a:cubicBezTo>
                  <a:cubicBezTo>
                    <a:pt x="23" y="645"/>
                    <a:pt x="25" y="645"/>
                    <a:pt x="25" y="645"/>
                  </a:cubicBezTo>
                  <a:cubicBezTo>
                    <a:pt x="25" y="645"/>
                    <a:pt x="25" y="646"/>
                    <a:pt x="25" y="648"/>
                  </a:cubicBezTo>
                  <a:cubicBezTo>
                    <a:pt x="25" y="649"/>
                    <a:pt x="25" y="652"/>
                    <a:pt x="25" y="652"/>
                  </a:cubicBezTo>
                  <a:cubicBezTo>
                    <a:pt x="25" y="653"/>
                    <a:pt x="25" y="655"/>
                    <a:pt x="25" y="655"/>
                  </a:cubicBezTo>
                  <a:cubicBezTo>
                    <a:pt x="25" y="655"/>
                    <a:pt x="24" y="656"/>
                    <a:pt x="27" y="656"/>
                  </a:cubicBezTo>
                  <a:cubicBezTo>
                    <a:pt x="29" y="656"/>
                    <a:pt x="29" y="655"/>
                    <a:pt x="30" y="655"/>
                  </a:cubicBezTo>
                  <a:cubicBezTo>
                    <a:pt x="31" y="655"/>
                    <a:pt x="31" y="656"/>
                    <a:pt x="32" y="657"/>
                  </a:cubicBezTo>
                  <a:cubicBezTo>
                    <a:pt x="32" y="659"/>
                    <a:pt x="32" y="660"/>
                    <a:pt x="32" y="661"/>
                  </a:cubicBezTo>
                  <a:cubicBezTo>
                    <a:pt x="33" y="662"/>
                    <a:pt x="37" y="672"/>
                    <a:pt x="37" y="672"/>
                  </a:cubicBezTo>
                  <a:cubicBezTo>
                    <a:pt x="37" y="672"/>
                    <a:pt x="38" y="676"/>
                    <a:pt x="39" y="677"/>
                  </a:cubicBezTo>
                  <a:cubicBezTo>
                    <a:pt x="39" y="678"/>
                    <a:pt x="40" y="679"/>
                    <a:pt x="41" y="680"/>
                  </a:cubicBezTo>
                  <a:cubicBezTo>
                    <a:pt x="41" y="680"/>
                    <a:pt x="43" y="683"/>
                    <a:pt x="43" y="683"/>
                  </a:cubicBezTo>
                  <a:cubicBezTo>
                    <a:pt x="46" y="685"/>
                    <a:pt x="46" y="685"/>
                    <a:pt x="46" y="685"/>
                  </a:cubicBezTo>
                  <a:cubicBezTo>
                    <a:pt x="50" y="692"/>
                    <a:pt x="50" y="692"/>
                    <a:pt x="50" y="692"/>
                  </a:cubicBezTo>
                  <a:cubicBezTo>
                    <a:pt x="50" y="692"/>
                    <a:pt x="53" y="695"/>
                    <a:pt x="53" y="695"/>
                  </a:cubicBezTo>
                  <a:cubicBezTo>
                    <a:pt x="54" y="695"/>
                    <a:pt x="56" y="693"/>
                    <a:pt x="56" y="693"/>
                  </a:cubicBezTo>
                  <a:cubicBezTo>
                    <a:pt x="56" y="693"/>
                    <a:pt x="59" y="694"/>
                    <a:pt x="59" y="695"/>
                  </a:cubicBezTo>
                  <a:cubicBezTo>
                    <a:pt x="58" y="695"/>
                    <a:pt x="57" y="699"/>
                    <a:pt x="57" y="700"/>
                  </a:cubicBezTo>
                  <a:cubicBezTo>
                    <a:pt x="58" y="701"/>
                    <a:pt x="58" y="703"/>
                    <a:pt x="58" y="703"/>
                  </a:cubicBezTo>
                  <a:cubicBezTo>
                    <a:pt x="56" y="704"/>
                    <a:pt x="56" y="704"/>
                    <a:pt x="56" y="704"/>
                  </a:cubicBezTo>
                  <a:cubicBezTo>
                    <a:pt x="54" y="705"/>
                    <a:pt x="54" y="705"/>
                    <a:pt x="54" y="705"/>
                  </a:cubicBezTo>
                  <a:cubicBezTo>
                    <a:pt x="50" y="705"/>
                    <a:pt x="50" y="705"/>
                    <a:pt x="50" y="705"/>
                  </a:cubicBezTo>
                  <a:cubicBezTo>
                    <a:pt x="49" y="709"/>
                    <a:pt x="49" y="709"/>
                    <a:pt x="49" y="709"/>
                  </a:cubicBezTo>
                  <a:cubicBezTo>
                    <a:pt x="53" y="711"/>
                    <a:pt x="53" y="711"/>
                    <a:pt x="53" y="711"/>
                  </a:cubicBezTo>
                  <a:cubicBezTo>
                    <a:pt x="53" y="711"/>
                    <a:pt x="55" y="713"/>
                    <a:pt x="56" y="713"/>
                  </a:cubicBezTo>
                  <a:cubicBezTo>
                    <a:pt x="56" y="714"/>
                    <a:pt x="56" y="718"/>
                    <a:pt x="56" y="718"/>
                  </a:cubicBezTo>
                  <a:cubicBezTo>
                    <a:pt x="55" y="718"/>
                    <a:pt x="51" y="718"/>
                    <a:pt x="51" y="718"/>
                  </a:cubicBezTo>
                  <a:cubicBezTo>
                    <a:pt x="51" y="718"/>
                    <a:pt x="49" y="721"/>
                    <a:pt x="49" y="721"/>
                  </a:cubicBezTo>
                  <a:cubicBezTo>
                    <a:pt x="49" y="722"/>
                    <a:pt x="48" y="722"/>
                    <a:pt x="50" y="725"/>
                  </a:cubicBezTo>
                  <a:cubicBezTo>
                    <a:pt x="51" y="727"/>
                    <a:pt x="56" y="733"/>
                    <a:pt x="56" y="733"/>
                  </a:cubicBezTo>
                  <a:cubicBezTo>
                    <a:pt x="56" y="733"/>
                    <a:pt x="60" y="739"/>
                    <a:pt x="60" y="739"/>
                  </a:cubicBezTo>
                  <a:cubicBezTo>
                    <a:pt x="60" y="740"/>
                    <a:pt x="63" y="744"/>
                    <a:pt x="63" y="744"/>
                  </a:cubicBezTo>
                  <a:cubicBezTo>
                    <a:pt x="64" y="744"/>
                    <a:pt x="64" y="748"/>
                    <a:pt x="64" y="748"/>
                  </a:cubicBezTo>
                  <a:cubicBezTo>
                    <a:pt x="63" y="750"/>
                    <a:pt x="63" y="750"/>
                    <a:pt x="63" y="750"/>
                  </a:cubicBezTo>
                  <a:cubicBezTo>
                    <a:pt x="62" y="753"/>
                    <a:pt x="62" y="753"/>
                    <a:pt x="62" y="753"/>
                  </a:cubicBezTo>
                  <a:cubicBezTo>
                    <a:pt x="61" y="756"/>
                    <a:pt x="61" y="756"/>
                    <a:pt x="61" y="756"/>
                  </a:cubicBezTo>
                  <a:cubicBezTo>
                    <a:pt x="62" y="758"/>
                    <a:pt x="62" y="758"/>
                    <a:pt x="62" y="758"/>
                  </a:cubicBezTo>
                  <a:cubicBezTo>
                    <a:pt x="61" y="760"/>
                    <a:pt x="61" y="760"/>
                    <a:pt x="61" y="760"/>
                  </a:cubicBezTo>
                  <a:cubicBezTo>
                    <a:pt x="59" y="763"/>
                    <a:pt x="59" y="763"/>
                    <a:pt x="59" y="763"/>
                  </a:cubicBezTo>
                  <a:cubicBezTo>
                    <a:pt x="64" y="764"/>
                    <a:pt x="64" y="764"/>
                    <a:pt x="64" y="764"/>
                  </a:cubicBezTo>
                  <a:cubicBezTo>
                    <a:pt x="70" y="763"/>
                    <a:pt x="70" y="763"/>
                    <a:pt x="70" y="763"/>
                  </a:cubicBezTo>
                  <a:cubicBezTo>
                    <a:pt x="70" y="763"/>
                    <a:pt x="71" y="765"/>
                    <a:pt x="71" y="765"/>
                  </a:cubicBezTo>
                  <a:cubicBezTo>
                    <a:pt x="72" y="766"/>
                    <a:pt x="77" y="765"/>
                    <a:pt x="77" y="765"/>
                  </a:cubicBezTo>
                  <a:cubicBezTo>
                    <a:pt x="81" y="763"/>
                    <a:pt x="81" y="763"/>
                    <a:pt x="81" y="763"/>
                  </a:cubicBezTo>
                  <a:cubicBezTo>
                    <a:pt x="84" y="761"/>
                    <a:pt x="84" y="761"/>
                    <a:pt x="84" y="761"/>
                  </a:cubicBezTo>
                  <a:cubicBezTo>
                    <a:pt x="84" y="759"/>
                    <a:pt x="84" y="759"/>
                    <a:pt x="84" y="759"/>
                  </a:cubicBezTo>
                  <a:cubicBezTo>
                    <a:pt x="84" y="759"/>
                    <a:pt x="86" y="756"/>
                    <a:pt x="86" y="756"/>
                  </a:cubicBezTo>
                  <a:cubicBezTo>
                    <a:pt x="87" y="756"/>
                    <a:pt x="90" y="757"/>
                    <a:pt x="90" y="757"/>
                  </a:cubicBezTo>
                  <a:cubicBezTo>
                    <a:pt x="90" y="757"/>
                    <a:pt x="93" y="757"/>
                    <a:pt x="93" y="758"/>
                  </a:cubicBezTo>
                  <a:cubicBezTo>
                    <a:pt x="93" y="759"/>
                    <a:pt x="95" y="760"/>
                    <a:pt x="95" y="760"/>
                  </a:cubicBezTo>
                  <a:cubicBezTo>
                    <a:pt x="98" y="760"/>
                    <a:pt x="98" y="760"/>
                    <a:pt x="98" y="760"/>
                  </a:cubicBezTo>
                  <a:cubicBezTo>
                    <a:pt x="101" y="759"/>
                    <a:pt x="101" y="759"/>
                    <a:pt x="101" y="759"/>
                  </a:cubicBezTo>
                  <a:cubicBezTo>
                    <a:pt x="105" y="758"/>
                    <a:pt x="105" y="758"/>
                    <a:pt x="105" y="758"/>
                  </a:cubicBezTo>
                  <a:cubicBezTo>
                    <a:pt x="105" y="758"/>
                    <a:pt x="104" y="756"/>
                    <a:pt x="105" y="756"/>
                  </a:cubicBezTo>
                  <a:cubicBezTo>
                    <a:pt x="106" y="756"/>
                    <a:pt x="109" y="756"/>
                    <a:pt x="109" y="756"/>
                  </a:cubicBezTo>
                  <a:cubicBezTo>
                    <a:pt x="109" y="756"/>
                    <a:pt x="110" y="758"/>
                    <a:pt x="111" y="758"/>
                  </a:cubicBezTo>
                  <a:cubicBezTo>
                    <a:pt x="111" y="758"/>
                    <a:pt x="113" y="756"/>
                    <a:pt x="112" y="755"/>
                  </a:cubicBezTo>
                  <a:cubicBezTo>
                    <a:pt x="111" y="754"/>
                    <a:pt x="107" y="752"/>
                    <a:pt x="107" y="752"/>
                  </a:cubicBezTo>
                  <a:cubicBezTo>
                    <a:pt x="107" y="752"/>
                    <a:pt x="105" y="749"/>
                    <a:pt x="105" y="748"/>
                  </a:cubicBezTo>
                  <a:cubicBezTo>
                    <a:pt x="104" y="747"/>
                    <a:pt x="104" y="744"/>
                    <a:pt x="103" y="743"/>
                  </a:cubicBezTo>
                  <a:cubicBezTo>
                    <a:pt x="102" y="743"/>
                    <a:pt x="101" y="742"/>
                    <a:pt x="101" y="740"/>
                  </a:cubicBezTo>
                  <a:cubicBezTo>
                    <a:pt x="102" y="737"/>
                    <a:pt x="102" y="736"/>
                    <a:pt x="102" y="736"/>
                  </a:cubicBezTo>
                  <a:cubicBezTo>
                    <a:pt x="102" y="735"/>
                    <a:pt x="102" y="731"/>
                    <a:pt x="102" y="731"/>
                  </a:cubicBezTo>
                  <a:cubicBezTo>
                    <a:pt x="102" y="731"/>
                    <a:pt x="101" y="729"/>
                    <a:pt x="104" y="727"/>
                  </a:cubicBezTo>
                  <a:cubicBezTo>
                    <a:pt x="107" y="725"/>
                    <a:pt x="107" y="723"/>
                    <a:pt x="108" y="724"/>
                  </a:cubicBezTo>
                  <a:cubicBezTo>
                    <a:pt x="109" y="725"/>
                    <a:pt x="111" y="727"/>
                    <a:pt x="112" y="727"/>
                  </a:cubicBezTo>
                  <a:cubicBezTo>
                    <a:pt x="112" y="728"/>
                    <a:pt x="113" y="728"/>
                    <a:pt x="114" y="729"/>
                  </a:cubicBezTo>
                  <a:cubicBezTo>
                    <a:pt x="114" y="730"/>
                    <a:pt x="113" y="731"/>
                    <a:pt x="115" y="731"/>
                  </a:cubicBezTo>
                  <a:cubicBezTo>
                    <a:pt x="116" y="731"/>
                    <a:pt x="118" y="731"/>
                    <a:pt x="118" y="731"/>
                  </a:cubicBezTo>
                  <a:cubicBezTo>
                    <a:pt x="118" y="731"/>
                    <a:pt x="119" y="731"/>
                    <a:pt x="119" y="730"/>
                  </a:cubicBezTo>
                  <a:cubicBezTo>
                    <a:pt x="119" y="729"/>
                    <a:pt x="119" y="726"/>
                    <a:pt x="118" y="726"/>
                  </a:cubicBezTo>
                  <a:cubicBezTo>
                    <a:pt x="117" y="725"/>
                    <a:pt x="116" y="724"/>
                    <a:pt x="116" y="724"/>
                  </a:cubicBezTo>
                  <a:cubicBezTo>
                    <a:pt x="116" y="724"/>
                    <a:pt x="118" y="723"/>
                    <a:pt x="115" y="722"/>
                  </a:cubicBezTo>
                  <a:cubicBezTo>
                    <a:pt x="112" y="720"/>
                    <a:pt x="112" y="719"/>
                    <a:pt x="113" y="718"/>
                  </a:cubicBezTo>
                  <a:cubicBezTo>
                    <a:pt x="115" y="717"/>
                    <a:pt x="119" y="718"/>
                    <a:pt x="119" y="718"/>
                  </a:cubicBezTo>
                  <a:cubicBezTo>
                    <a:pt x="122" y="717"/>
                    <a:pt x="122" y="717"/>
                    <a:pt x="122" y="717"/>
                  </a:cubicBezTo>
                  <a:cubicBezTo>
                    <a:pt x="122" y="717"/>
                    <a:pt x="124" y="715"/>
                    <a:pt x="126" y="716"/>
                  </a:cubicBezTo>
                  <a:cubicBezTo>
                    <a:pt x="127" y="717"/>
                    <a:pt x="131" y="716"/>
                    <a:pt x="131" y="716"/>
                  </a:cubicBezTo>
                  <a:cubicBezTo>
                    <a:pt x="136" y="717"/>
                    <a:pt x="136" y="717"/>
                    <a:pt x="136" y="717"/>
                  </a:cubicBezTo>
                  <a:cubicBezTo>
                    <a:pt x="138" y="715"/>
                    <a:pt x="138" y="715"/>
                    <a:pt x="138" y="715"/>
                  </a:cubicBezTo>
                  <a:cubicBezTo>
                    <a:pt x="143" y="717"/>
                    <a:pt x="143" y="717"/>
                    <a:pt x="143" y="717"/>
                  </a:cubicBezTo>
                  <a:cubicBezTo>
                    <a:pt x="143" y="717"/>
                    <a:pt x="142" y="717"/>
                    <a:pt x="145" y="718"/>
                  </a:cubicBezTo>
                  <a:cubicBezTo>
                    <a:pt x="147" y="718"/>
                    <a:pt x="150" y="716"/>
                    <a:pt x="150" y="715"/>
                  </a:cubicBezTo>
                  <a:cubicBezTo>
                    <a:pt x="151" y="715"/>
                    <a:pt x="155" y="708"/>
                    <a:pt x="155" y="708"/>
                  </a:cubicBezTo>
                  <a:cubicBezTo>
                    <a:pt x="158" y="688"/>
                    <a:pt x="158" y="688"/>
                    <a:pt x="158" y="688"/>
                  </a:cubicBezTo>
                  <a:cubicBezTo>
                    <a:pt x="158" y="688"/>
                    <a:pt x="162" y="685"/>
                    <a:pt x="161" y="685"/>
                  </a:cubicBezTo>
                  <a:cubicBezTo>
                    <a:pt x="161" y="684"/>
                    <a:pt x="161" y="677"/>
                    <a:pt x="161" y="676"/>
                  </a:cubicBezTo>
                  <a:cubicBezTo>
                    <a:pt x="161" y="675"/>
                    <a:pt x="163" y="668"/>
                    <a:pt x="163" y="668"/>
                  </a:cubicBezTo>
                  <a:cubicBezTo>
                    <a:pt x="163" y="668"/>
                    <a:pt x="167" y="665"/>
                    <a:pt x="165" y="662"/>
                  </a:cubicBezTo>
                  <a:cubicBezTo>
                    <a:pt x="164" y="659"/>
                    <a:pt x="163" y="654"/>
                    <a:pt x="163" y="654"/>
                  </a:cubicBezTo>
                  <a:cubicBezTo>
                    <a:pt x="163" y="654"/>
                    <a:pt x="162" y="649"/>
                    <a:pt x="162" y="648"/>
                  </a:cubicBezTo>
                  <a:cubicBezTo>
                    <a:pt x="162" y="647"/>
                    <a:pt x="166" y="642"/>
                    <a:pt x="166" y="642"/>
                  </a:cubicBezTo>
                  <a:cubicBezTo>
                    <a:pt x="163" y="633"/>
                    <a:pt x="163" y="633"/>
                    <a:pt x="163" y="633"/>
                  </a:cubicBezTo>
                  <a:cubicBezTo>
                    <a:pt x="163" y="633"/>
                    <a:pt x="165" y="630"/>
                    <a:pt x="165" y="629"/>
                  </a:cubicBezTo>
                  <a:cubicBezTo>
                    <a:pt x="165" y="628"/>
                    <a:pt x="163" y="619"/>
                    <a:pt x="163" y="619"/>
                  </a:cubicBezTo>
                  <a:cubicBezTo>
                    <a:pt x="163" y="617"/>
                    <a:pt x="163" y="617"/>
                    <a:pt x="163" y="617"/>
                  </a:cubicBezTo>
                  <a:cubicBezTo>
                    <a:pt x="163" y="617"/>
                    <a:pt x="166" y="612"/>
                    <a:pt x="165" y="611"/>
                  </a:cubicBezTo>
                  <a:cubicBezTo>
                    <a:pt x="165" y="610"/>
                    <a:pt x="165" y="605"/>
                    <a:pt x="165" y="605"/>
                  </a:cubicBezTo>
                  <a:cubicBezTo>
                    <a:pt x="163" y="599"/>
                    <a:pt x="163" y="599"/>
                    <a:pt x="163" y="599"/>
                  </a:cubicBezTo>
                  <a:cubicBezTo>
                    <a:pt x="163" y="599"/>
                    <a:pt x="165" y="598"/>
                    <a:pt x="164" y="597"/>
                  </a:cubicBezTo>
                  <a:cubicBezTo>
                    <a:pt x="163" y="595"/>
                    <a:pt x="162" y="594"/>
                    <a:pt x="162" y="594"/>
                  </a:cubicBezTo>
                  <a:cubicBezTo>
                    <a:pt x="162" y="592"/>
                    <a:pt x="162" y="592"/>
                    <a:pt x="162" y="592"/>
                  </a:cubicBezTo>
                  <a:cubicBezTo>
                    <a:pt x="163" y="590"/>
                    <a:pt x="163" y="590"/>
                    <a:pt x="163" y="590"/>
                  </a:cubicBezTo>
                  <a:cubicBezTo>
                    <a:pt x="165" y="588"/>
                    <a:pt x="165" y="588"/>
                    <a:pt x="165" y="588"/>
                  </a:cubicBezTo>
                  <a:cubicBezTo>
                    <a:pt x="164" y="582"/>
                    <a:pt x="164" y="582"/>
                    <a:pt x="164" y="582"/>
                  </a:cubicBezTo>
                  <a:cubicBezTo>
                    <a:pt x="160" y="581"/>
                    <a:pt x="160" y="581"/>
                    <a:pt x="160" y="581"/>
                  </a:cubicBezTo>
                  <a:cubicBezTo>
                    <a:pt x="160" y="581"/>
                    <a:pt x="160" y="579"/>
                    <a:pt x="161" y="579"/>
                  </a:cubicBezTo>
                  <a:cubicBezTo>
                    <a:pt x="163" y="578"/>
                    <a:pt x="170" y="575"/>
                    <a:pt x="170" y="575"/>
                  </a:cubicBezTo>
                  <a:cubicBezTo>
                    <a:pt x="170" y="575"/>
                    <a:pt x="172" y="572"/>
                    <a:pt x="173" y="572"/>
                  </a:cubicBezTo>
                  <a:cubicBezTo>
                    <a:pt x="173" y="571"/>
                    <a:pt x="181" y="566"/>
                    <a:pt x="181" y="566"/>
                  </a:cubicBezTo>
                  <a:cubicBezTo>
                    <a:pt x="181" y="566"/>
                    <a:pt x="181" y="563"/>
                    <a:pt x="181" y="562"/>
                  </a:cubicBezTo>
                  <a:cubicBezTo>
                    <a:pt x="182" y="562"/>
                    <a:pt x="182" y="561"/>
                    <a:pt x="182" y="559"/>
                  </a:cubicBezTo>
                  <a:cubicBezTo>
                    <a:pt x="183" y="559"/>
                    <a:pt x="181" y="550"/>
                    <a:pt x="181" y="547"/>
                  </a:cubicBezTo>
                  <a:cubicBezTo>
                    <a:pt x="182" y="545"/>
                    <a:pt x="184" y="549"/>
                    <a:pt x="184" y="549"/>
                  </a:cubicBezTo>
                  <a:cubicBezTo>
                    <a:pt x="185" y="552"/>
                    <a:pt x="185" y="552"/>
                    <a:pt x="185" y="552"/>
                  </a:cubicBezTo>
                  <a:cubicBezTo>
                    <a:pt x="185" y="558"/>
                    <a:pt x="185" y="558"/>
                    <a:pt x="185" y="558"/>
                  </a:cubicBezTo>
                  <a:cubicBezTo>
                    <a:pt x="188" y="559"/>
                    <a:pt x="188" y="559"/>
                    <a:pt x="188" y="559"/>
                  </a:cubicBezTo>
                  <a:cubicBezTo>
                    <a:pt x="189" y="562"/>
                    <a:pt x="189" y="562"/>
                    <a:pt x="189" y="562"/>
                  </a:cubicBezTo>
                  <a:cubicBezTo>
                    <a:pt x="189" y="562"/>
                    <a:pt x="188" y="565"/>
                    <a:pt x="189" y="565"/>
                  </a:cubicBezTo>
                  <a:cubicBezTo>
                    <a:pt x="190" y="564"/>
                    <a:pt x="190" y="564"/>
                    <a:pt x="190" y="564"/>
                  </a:cubicBezTo>
                  <a:cubicBezTo>
                    <a:pt x="191" y="558"/>
                    <a:pt x="191" y="558"/>
                    <a:pt x="191" y="558"/>
                  </a:cubicBezTo>
                  <a:cubicBezTo>
                    <a:pt x="191" y="558"/>
                    <a:pt x="195" y="558"/>
                    <a:pt x="194" y="556"/>
                  </a:cubicBezTo>
                  <a:cubicBezTo>
                    <a:pt x="194" y="555"/>
                    <a:pt x="193" y="553"/>
                    <a:pt x="194" y="553"/>
                  </a:cubicBezTo>
                  <a:cubicBezTo>
                    <a:pt x="200" y="552"/>
                    <a:pt x="198" y="552"/>
                    <a:pt x="201" y="550"/>
                  </a:cubicBezTo>
                  <a:cubicBezTo>
                    <a:pt x="201" y="550"/>
                    <a:pt x="203" y="546"/>
                    <a:pt x="203" y="546"/>
                  </a:cubicBezTo>
                  <a:cubicBezTo>
                    <a:pt x="203" y="545"/>
                    <a:pt x="204" y="543"/>
                    <a:pt x="204" y="543"/>
                  </a:cubicBezTo>
                  <a:cubicBezTo>
                    <a:pt x="202" y="542"/>
                    <a:pt x="202" y="542"/>
                    <a:pt x="202" y="542"/>
                  </a:cubicBezTo>
                  <a:cubicBezTo>
                    <a:pt x="201" y="539"/>
                    <a:pt x="201" y="539"/>
                    <a:pt x="201" y="539"/>
                  </a:cubicBezTo>
                  <a:cubicBezTo>
                    <a:pt x="201" y="539"/>
                    <a:pt x="202" y="537"/>
                    <a:pt x="203" y="538"/>
                  </a:cubicBezTo>
                  <a:cubicBezTo>
                    <a:pt x="203" y="539"/>
                    <a:pt x="204" y="541"/>
                    <a:pt x="205" y="541"/>
                  </a:cubicBezTo>
                  <a:cubicBezTo>
                    <a:pt x="206" y="541"/>
                    <a:pt x="209" y="538"/>
                    <a:pt x="209" y="538"/>
                  </a:cubicBezTo>
                  <a:cubicBezTo>
                    <a:pt x="209" y="535"/>
                    <a:pt x="202" y="531"/>
                    <a:pt x="200" y="530"/>
                  </a:cubicBezTo>
                  <a:cubicBezTo>
                    <a:pt x="200" y="526"/>
                    <a:pt x="210" y="521"/>
                    <a:pt x="210" y="520"/>
                  </a:cubicBezTo>
                  <a:cubicBezTo>
                    <a:pt x="211" y="519"/>
                    <a:pt x="211" y="519"/>
                    <a:pt x="211" y="518"/>
                  </a:cubicBezTo>
                  <a:cubicBezTo>
                    <a:pt x="211" y="517"/>
                    <a:pt x="210" y="516"/>
                    <a:pt x="209" y="517"/>
                  </a:cubicBezTo>
                  <a:cubicBezTo>
                    <a:pt x="209" y="517"/>
                    <a:pt x="208" y="519"/>
                    <a:pt x="207" y="519"/>
                  </a:cubicBezTo>
                  <a:cubicBezTo>
                    <a:pt x="207" y="519"/>
                    <a:pt x="205" y="519"/>
                    <a:pt x="205" y="519"/>
                  </a:cubicBezTo>
                  <a:cubicBezTo>
                    <a:pt x="205" y="519"/>
                    <a:pt x="204" y="517"/>
                    <a:pt x="205" y="516"/>
                  </a:cubicBezTo>
                  <a:cubicBezTo>
                    <a:pt x="206" y="515"/>
                    <a:pt x="205" y="515"/>
                    <a:pt x="207" y="514"/>
                  </a:cubicBezTo>
                  <a:cubicBezTo>
                    <a:pt x="208" y="513"/>
                    <a:pt x="209" y="513"/>
                    <a:pt x="210" y="513"/>
                  </a:cubicBezTo>
                  <a:cubicBezTo>
                    <a:pt x="210" y="512"/>
                    <a:pt x="211" y="511"/>
                    <a:pt x="212" y="511"/>
                  </a:cubicBezTo>
                  <a:cubicBezTo>
                    <a:pt x="213" y="511"/>
                    <a:pt x="218" y="508"/>
                    <a:pt x="218" y="508"/>
                  </a:cubicBezTo>
                  <a:cubicBezTo>
                    <a:pt x="219" y="506"/>
                    <a:pt x="219" y="506"/>
                    <a:pt x="219" y="506"/>
                  </a:cubicBezTo>
                  <a:cubicBezTo>
                    <a:pt x="219" y="506"/>
                    <a:pt x="216" y="503"/>
                    <a:pt x="216" y="503"/>
                  </a:cubicBezTo>
                  <a:cubicBezTo>
                    <a:pt x="216" y="503"/>
                    <a:pt x="211" y="499"/>
                    <a:pt x="211" y="499"/>
                  </a:cubicBezTo>
                  <a:cubicBezTo>
                    <a:pt x="211" y="499"/>
                    <a:pt x="209" y="499"/>
                    <a:pt x="209" y="498"/>
                  </a:cubicBezTo>
                  <a:cubicBezTo>
                    <a:pt x="209" y="498"/>
                    <a:pt x="207" y="496"/>
                    <a:pt x="207" y="496"/>
                  </a:cubicBezTo>
                  <a:cubicBezTo>
                    <a:pt x="205" y="491"/>
                    <a:pt x="203" y="495"/>
                    <a:pt x="199" y="493"/>
                  </a:cubicBezTo>
                  <a:cubicBezTo>
                    <a:pt x="199" y="493"/>
                    <a:pt x="197" y="489"/>
                    <a:pt x="197" y="489"/>
                  </a:cubicBezTo>
                  <a:cubicBezTo>
                    <a:pt x="197" y="489"/>
                    <a:pt x="199" y="489"/>
                    <a:pt x="199" y="488"/>
                  </a:cubicBezTo>
                  <a:cubicBezTo>
                    <a:pt x="199" y="486"/>
                    <a:pt x="197" y="484"/>
                    <a:pt x="197" y="484"/>
                  </a:cubicBezTo>
                  <a:cubicBezTo>
                    <a:pt x="195" y="482"/>
                    <a:pt x="195" y="482"/>
                    <a:pt x="195" y="482"/>
                  </a:cubicBezTo>
                  <a:cubicBezTo>
                    <a:pt x="191" y="478"/>
                    <a:pt x="192" y="487"/>
                    <a:pt x="189" y="479"/>
                  </a:cubicBezTo>
                  <a:cubicBezTo>
                    <a:pt x="189" y="479"/>
                    <a:pt x="188" y="479"/>
                    <a:pt x="187" y="477"/>
                  </a:cubicBezTo>
                  <a:cubicBezTo>
                    <a:pt x="186" y="476"/>
                    <a:pt x="183" y="473"/>
                    <a:pt x="183" y="473"/>
                  </a:cubicBezTo>
                  <a:cubicBezTo>
                    <a:pt x="183" y="473"/>
                    <a:pt x="182" y="470"/>
                    <a:pt x="182" y="470"/>
                  </a:cubicBezTo>
                  <a:cubicBezTo>
                    <a:pt x="181" y="470"/>
                    <a:pt x="180" y="467"/>
                    <a:pt x="180" y="467"/>
                  </a:cubicBezTo>
                  <a:cubicBezTo>
                    <a:pt x="175" y="470"/>
                    <a:pt x="175" y="470"/>
                    <a:pt x="175" y="470"/>
                  </a:cubicBezTo>
                  <a:cubicBezTo>
                    <a:pt x="172" y="473"/>
                    <a:pt x="172" y="473"/>
                    <a:pt x="172" y="473"/>
                  </a:cubicBezTo>
                  <a:cubicBezTo>
                    <a:pt x="172" y="473"/>
                    <a:pt x="171" y="471"/>
                    <a:pt x="171" y="471"/>
                  </a:cubicBezTo>
                  <a:cubicBezTo>
                    <a:pt x="171" y="471"/>
                    <a:pt x="171" y="467"/>
                    <a:pt x="171" y="467"/>
                  </a:cubicBezTo>
                  <a:cubicBezTo>
                    <a:pt x="171" y="467"/>
                    <a:pt x="168" y="466"/>
                    <a:pt x="167" y="466"/>
                  </a:cubicBezTo>
                  <a:cubicBezTo>
                    <a:pt x="167" y="466"/>
                    <a:pt x="164" y="466"/>
                    <a:pt x="164" y="466"/>
                  </a:cubicBezTo>
                  <a:cubicBezTo>
                    <a:pt x="160" y="465"/>
                    <a:pt x="160" y="465"/>
                    <a:pt x="160" y="465"/>
                  </a:cubicBezTo>
                  <a:cubicBezTo>
                    <a:pt x="160" y="462"/>
                    <a:pt x="160" y="462"/>
                    <a:pt x="160" y="462"/>
                  </a:cubicBezTo>
                  <a:cubicBezTo>
                    <a:pt x="160" y="462"/>
                    <a:pt x="162" y="460"/>
                    <a:pt x="161" y="459"/>
                  </a:cubicBezTo>
                  <a:cubicBezTo>
                    <a:pt x="161" y="458"/>
                    <a:pt x="158" y="456"/>
                    <a:pt x="158" y="456"/>
                  </a:cubicBezTo>
                  <a:cubicBezTo>
                    <a:pt x="158" y="454"/>
                    <a:pt x="158" y="454"/>
                    <a:pt x="158" y="454"/>
                  </a:cubicBezTo>
                  <a:cubicBezTo>
                    <a:pt x="155" y="450"/>
                    <a:pt x="155" y="450"/>
                    <a:pt x="155" y="450"/>
                  </a:cubicBezTo>
                  <a:cubicBezTo>
                    <a:pt x="155" y="450"/>
                    <a:pt x="157" y="447"/>
                    <a:pt x="157" y="447"/>
                  </a:cubicBezTo>
                  <a:cubicBezTo>
                    <a:pt x="157" y="446"/>
                    <a:pt x="153" y="437"/>
                    <a:pt x="153" y="437"/>
                  </a:cubicBezTo>
                  <a:cubicBezTo>
                    <a:pt x="153" y="437"/>
                    <a:pt x="155" y="433"/>
                    <a:pt x="155" y="432"/>
                  </a:cubicBezTo>
                  <a:cubicBezTo>
                    <a:pt x="155" y="432"/>
                    <a:pt x="153" y="428"/>
                    <a:pt x="153" y="428"/>
                  </a:cubicBezTo>
                  <a:cubicBezTo>
                    <a:pt x="151" y="428"/>
                    <a:pt x="151" y="428"/>
                    <a:pt x="151" y="428"/>
                  </a:cubicBezTo>
                  <a:cubicBezTo>
                    <a:pt x="151" y="424"/>
                    <a:pt x="151" y="424"/>
                    <a:pt x="151" y="424"/>
                  </a:cubicBezTo>
                  <a:cubicBezTo>
                    <a:pt x="152" y="421"/>
                    <a:pt x="152" y="421"/>
                    <a:pt x="152" y="421"/>
                  </a:cubicBezTo>
                  <a:cubicBezTo>
                    <a:pt x="150" y="419"/>
                    <a:pt x="150" y="419"/>
                    <a:pt x="150" y="419"/>
                  </a:cubicBezTo>
                  <a:cubicBezTo>
                    <a:pt x="150" y="419"/>
                    <a:pt x="151" y="417"/>
                    <a:pt x="152" y="417"/>
                  </a:cubicBezTo>
                  <a:cubicBezTo>
                    <a:pt x="152" y="417"/>
                    <a:pt x="152" y="413"/>
                    <a:pt x="152" y="413"/>
                  </a:cubicBezTo>
                  <a:cubicBezTo>
                    <a:pt x="152" y="413"/>
                    <a:pt x="153" y="411"/>
                    <a:pt x="154" y="411"/>
                  </a:cubicBezTo>
                  <a:cubicBezTo>
                    <a:pt x="154" y="411"/>
                    <a:pt x="157" y="413"/>
                    <a:pt x="157" y="413"/>
                  </a:cubicBezTo>
                  <a:cubicBezTo>
                    <a:pt x="157" y="413"/>
                    <a:pt x="160" y="414"/>
                    <a:pt x="160" y="413"/>
                  </a:cubicBezTo>
                  <a:cubicBezTo>
                    <a:pt x="160" y="413"/>
                    <a:pt x="159" y="410"/>
                    <a:pt x="159" y="410"/>
                  </a:cubicBezTo>
                  <a:cubicBezTo>
                    <a:pt x="159" y="409"/>
                    <a:pt x="157" y="407"/>
                    <a:pt x="157" y="407"/>
                  </a:cubicBezTo>
                  <a:cubicBezTo>
                    <a:pt x="156" y="406"/>
                    <a:pt x="156" y="401"/>
                    <a:pt x="156" y="401"/>
                  </a:cubicBezTo>
                  <a:cubicBezTo>
                    <a:pt x="156" y="401"/>
                    <a:pt x="154" y="397"/>
                    <a:pt x="155" y="397"/>
                  </a:cubicBezTo>
                  <a:cubicBezTo>
                    <a:pt x="155" y="397"/>
                    <a:pt x="156" y="395"/>
                    <a:pt x="156" y="395"/>
                  </a:cubicBezTo>
                  <a:cubicBezTo>
                    <a:pt x="157" y="388"/>
                    <a:pt x="157" y="388"/>
                    <a:pt x="157" y="388"/>
                  </a:cubicBezTo>
                  <a:cubicBezTo>
                    <a:pt x="158" y="382"/>
                    <a:pt x="158" y="382"/>
                    <a:pt x="158" y="382"/>
                  </a:cubicBezTo>
                  <a:cubicBezTo>
                    <a:pt x="155" y="379"/>
                    <a:pt x="155" y="379"/>
                    <a:pt x="155" y="379"/>
                  </a:cubicBezTo>
                  <a:cubicBezTo>
                    <a:pt x="154" y="377"/>
                    <a:pt x="154" y="377"/>
                    <a:pt x="154" y="377"/>
                  </a:cubicBezTo>
                  <a:cubicBezTo>
                    <a:pt x="152" y="375"/>
                    <a:pt x="152" y="375"/>
                    <a:pt x="152" y="375"/>
                  </a:cubicBezTo>
                  <a:cubicBezTo>
                    <a:pt x="154" y="369"/>
                    <a:pt x="154" y="369"/>
                    <a:pt x="154" y="369"/>
                  </a:cubicBezTo>
                  <a:cubicBezTo>
                    <a:pt x="158" y="369"/>
                    <a:pt x="158" y="369"/>
                    <a:pt x="158" y="369"/>
                  </a:cubicBezTo>
                  <a:cubicBezTo>
                    <a:pt x="160" y="366"/>
                    <a:pt x="160" y="366"/>
                    <a:pt x="160" y="366"/>
                  </a:cubicBezTo>
                  <a:cubicBezTo>
                    <a:pt x="160" y="366"/>
                    <a:pt x="163" y="364"/>
                    <a:pt x="163" y="363"/>
                  </a:cubicBezTo>
                  <a:cubicBezTo>
                    <a:pt x="163" y="363"/>
                    <a:pt x="164" y="359"/>
                    <a:pt x="164" y="359"/>
                  </a:cubicBezTo>
                  <a:cubicBezTo>
                    <a:pt x="163" y="356"/>
                    <a:pt x="163" y="356"/>
                    <a:pt x="163" y="356"/>
                  </a:cubicBezTo>
                  <a:cubicBezTo>
                    <a:pt x="165" y="357"/>
                    <a:pt x="165" y="357"/>
                    <a:pt x="165" y="357"/>
                  </a:cubicBezTo>
                  <a:cubicBezTo>
                    <a:pt x="165" y="354"/>
                    <a:pt x="165" y="354"/>
                    <a:pt x="165" y="354"/>
                  </a:cubicBezTo>
                  <a:cubicBezTo>
                    <a:pt x="165" y="354"/>
                    <a:pt x="166" y="351"/>
                    <a:pt x="166" y="351"/>
                  </a:cubicBezTo>
                  <a:cubicBezTo>
                    <a:pt x="167" y="351"/>
                    <a:pt x="168" y="350"/>
                    <a:pt x="168" y="350"/>
                  </a:cubicBezTo>
                  <a:cubicBezTo>
                    <a:pt x="168" y="350"/>
                    <a:pt x="170" y="346"/>
                    <a:pt x="170" y="346"/>
                  </a:cubicBezTo>
                  <a:cubicBezTo>
                    <a:pt x="170" y="346"/>
                    <a:pt x="171" y="347"/>
                    <a:pt x="172" y="346"/>
                  </a:cubicBezTo>
                  <a:cubicBezTo>
                    <a:pt x="173" y="345"/>
                    <a:pt x="173" y="345"/>
                    <a:pt x="173" y="344"/>
                  </a:cubicBezTo>
                  <a:cubicBezTo>
                    <a:pt x="174" y="342"/>
                    <a:pt x="176" y="338"/>
                    <a:pt x="176" y="338"/>
                  </a:cubicBezTo>
                  <a:cubicBezTo>
                    <a:pt x="176" y="338"/>
                    <a:pt x="176" y="337"/>
                    <a:pt x="176" y="336"/>
                  </a:cubicBezTo>
                  <a:cubicBezTo>
                    <a:pt x="177" y="336"/>
                    <a:pt x="179" y="336"/>
                    <a:pt x="179" y="335"/>
                  </a:cubicBezTo>
                  <a:cubicBezTo>
                    <a:pt x="178" y="334"/>
                    <a:pt x="176" y="331"/>
                    <a:pt x="176" y="331"/>
                  </a:cubicBezTo>
                  <a:cubicBezTo>
                    <a:pt x="179" y="328"/>
                    <a:pt x="179" y="328"/>
                    <a:pt x="179" y="328"/>
                  </a:cubicBezTo>
                  <a:cubicBezTo>
                    <a:pt x="179" y="328"/>
                    <a:pt x="182" y="325"/>
                    <a:pt x="182" y="325"/>
                  </a:cubicBezTo>
                  <a:cubicBezTo>
                    <a:pt x="182" y="326"/>
                    <a:pt x="183" y="326"/>
                    <a:pt x="184" y="325"/>
                  </a:cubicBezTo>
                  <a:cubicBezTo>
                    <a:pt x="184" y="325"/>
                    <a:pt x="185" y="324"/>
                    <a:pt x="186" y="323"/>
                  </a:cubicBezTo>
                  <a:cubicBezTo>
                    <a:pt x="186" y="323"/>
                    <a:pt x="187" y="322"/>
                    <a:pt x="188" y="322"/>
                  </a:cubicBezTo>
                  <a:cubicBezTo>
                    <a:pt x="188" y="321"/>
                    <a:pt x="189" y="319"/>
                    <a:pt x="189" y="318"/>
                  </a:cubicBezTo>
                  <a:cubicBezTo>
                    <a:pt x="189" y="318"/>
                    <a:pt x="191" y="313"/>
                    <a:pt x="191" y="313"/>
                  </a:cubicBezTo>
                  <a:cubicBezTo>
                    <a:pt x="191" y="310"/>
                    <a:pt x="191" y="310"/>
                    <a:pt x="191" y="310"/>
                  </a:cubicBezTo>
                  <a:cubicBezTo>
                    <a:pt x="192" y="309"/>
                    <a:pt x="192" y="309"/>
                    <a:pt x="192" y="309"/>
                  </a:cubicBezTo>
                  <a:cubicBezTo>
                    <a:pt x="194" y="307"/>
                    <a:pt x="194" y="307"/>
                    <a:pt x="194" y="307"/>
                  </a:cubicBezTo>
                  <a:cubicBezTo>
                    <a:pt x="194" y="307"/>
                    <a:pt x="196" y="306"/>
                    <a:pt x="196" y="307"/>
                  </a:cubicBezTo>
                  <a:cubicBezTo>
                    <a:pt x="196" y="307"/>
                    <a:pt x="195" y="309"/>
                    <a:pt x="195" y="309"/>
                  </a:cubicBezTo>
                  <a:cubicBezTo>
                    <a:pt x="198" y="309"/>
                    <a:pt x="198" y="309"/>
                    <a:pt x="198" y="309"/>
                  </a:cubicBezTo>
                  <a:cubicBezTo>
                    <a:pt x="198" y="309"/>
                    <a:pt x="198" y="307"/>
                    <a:pt x="198" y="308"/>
                  </a:cubicBezTo>
                  <a:cubicBezTo>
                    <a:pt x="199" y="308"/>
                    <a:pt x="200" y="309"/>
                    <a:pt x="200" y="309"/>
                  </a:cubicBezTo>
                  <a:cubicBezTo>
                    <a:pt x="200" y="308"/>
                    <a:pt x="201" y="306"/>
                    <a:pt x="201" y="306"/>
                  </a:cubicBezTo>
                  <a:cubicBezTo>
                    <a:pt x="201" y="303"/>
                    <a:pt x="201" y="303"/>
                    <a:pt x="201" y="303"/>
                  </a:cubicBezTo>
                  <a:cubicBezTo>
                    <a:pt x="201" y="303"/>
                    <a:pt x="203" y="301"/>
                    <a:pt x="204" y="300"/>
                  </a:cubicBezTo>
                  <a:cubicBezTo>
                    <a:pt x="204" y="299"/>
                    <a:pt x="207" y="296"/>
                    <a:pt x="207" y="296"/>
                  </a:cubicBezTo>
                  <a:cubicBezTo>
                    <a:pt x="210" y="295"/>
                    <a:pt x="210" y="295"/>
                    <a:pt x="210" y="295"/>
                  </a:cubicBezTo>
                  <a:cubicBezTo>
                    <a:pt x="210" y="295"/>
                    <a:pt x="211" y="294"/>
                    <a:pt x="212" y="294"/>
                  </a:cubicBezTo>
                  <a:cubicBezTo>
                    <a:pt x="212" y="294"/>
                    <a:pt x="215" y="290"/>
                    <a:pt x="215" y="290"/>
                  </a:cubicBezTo>
                  <a:cubicBezTo>
                    <a:pt x="215" y="290"/>
                    <a:pt x="215" y="289"/>
                    <a:pt x="216" y="288"/>
                  </a:cubicBezTo>
                  <a:cubicBezTo>
                    <a:pt x="216" y="287"/>
                    <a:pt x="218" y="287"/>
                    <a:pt x="218" y="286"/>
                  </a:cubicBezTo>
                  <a:cubicBezTo>
                    <a:pt x="219" y="286"/>
                    <a:pt x="221" y="281"/>
                    <a:pt x="221" y="281"/>
                  </a:cubicBezTo>
                  <a:cubicBezTo>
                    <a:pt x="221" y="281"/>
                    <a:pt x="222" y="281"/>
                    <a:pt x="222" y="280"/>
                  </a:cubicBezTo>
                  <a:cubicBezTo>
                    <a:pt x="222" y="278"/>
                    <a:pt x="223" y="276"/>
                    <a:pt x="223" y="276"/>
                  </a:cubicBezTo>
                  <a:cubicBezTo>
                    <a:pt x="225" y="272"/>
                    <a:pt x="225" y="272"/>
                    <a:pt x="225" y="272"/>
                  </a:cubicBezTo>
                  <a:cubicBezTo>
                    <a:pt x="225" y="266"/>
                    <a:pt x="225" y="266"/>
                    <a:pt x="225" y="266"/>
                  </a:cubicBezTo>
                  <a:cubicBezTo>
                    <a:pt x="227" y="261"/>
                    <a:pt x="227" y="261"/>
                    <a:pt x="227" y="261"/>
                  </a:cubicBezTo>
                  <a:cubicBezTo>
                    <a:pt x="227" y="261"/>
                    <a:pt x="228" y="260"/>
                    <a:pt x="228" y="259"/>
                  </a:cubicBezTo>
                  <a:cubicBezTo>
                    <a:pt x="229" y="259"/>
                    <a:pt x="230" y="256"/>
                    <a:pt x="230" y="256"/>
                  </a:cubicBezTo>
                  <a:cubicBezTo>
                    <a:pt x="230" y="256"/>
                    <a:pt x="233" y="252"/>
                    <a:pt x="233" y="252"/>
                  </a:cubicBezTo>
                  <a:cubicBezTo>
                    <a:pt x="233" y="252"/>
                    <a:pt x="234" y="249"/>
                    <a:pt x="234" y="248"/>
                  </a:cubicBezTo>
                  <a:cubicBezTo>
                    <a:pt x="235" y="248"/>
                    <a:pt x="235" y="248"/>
                    <a:pt x="235" y="248"/>
                  </a:cubicBezTo>
                  <a:cubicBezTo>
                    <a:pt x="235" y="245"/>
                    <a:pt x="235" y="245"/>
                    <a:pt x="235" y="245"/>
                  </a:cubicBezTo>
                  <a:cubicBezTo>
                    <a:pt x="233" y="241"/>
                    <a:pt x="233" y="241"/>
                    <a:pt x="233" y="241"/>
                  </a:cubicBezTo>
                  <a:cubicBezTo>
                    <a:pt x="229" y="238"/>
                    <a:pt x="229" y="238"/>
                    <a:pt x="229" y="238"/>
                  </a:cubicBezTo>
                  <a:cubicBezTo>
                    <a:pt x="226" y="238"/>
                    <a:pt x="226" y="238"/>
                    <a:pt x="226" y="238"/>
                  </a:cubicBezTo>
                  <a:cubicBezTo>
                    <a:pt x="224" y="236"/>
                    <a:pt x="224" y="236"/>
                    <a:pt x="224" y="236"/>
                  </a:cubicBezTo>
                  <a:cubicBezTo>
                    <a:pt x="225" y="234"/>
                    <a:pt x="225" y="234"/>
                    <a:pt x="225" y="234"/>
                  </a:cubicBezTo>
                  <a:cubicBezTo>
                    <a:pt x="223" y="231"/>
                    <a:pt x="223" y="231"/>
                    <a:pt x="223" y="231"/>
                  </a:cubicBezTo>
                  <a:cubicBezTo>
                    <a:pt x="222" y="229"/>
                    <a:pt x="222" y="229"/>
                    <a:pt x="222" y="229"/>
                  </a:cubicBezTo>
                  <a:cubicBezTo>
                    <a:pt x="220" y="227"/>
                    <a:pt x="220" y="227"/>
                    <a:pt x="220" y="227"/>
                  </a:cubicBezTo>
                  <a:cubicBezTo>
                    <a:pt x="220" y="227"/>
                    <a:pt x="222" y="224"/>
                    <a:pt x="222" y="224"/>
                  </a:cubicBezTo>
                  <a:cubicBezTo>
                    <a:pt x="222" y="224"/>
                    <a:pt x="223" y="223"/>
                    <a:pt x="223" y="222"/>
                  </a:cubicBezTo>
                  <a:cubicBezTo>
                    <a:pt x="223" y="222"/>
                    <a:pt x="225" y="219"/>
                    <a:pt x="225" y="219"/>
                  </a:cubicBezTo>
                  <a:cubicBezTo>
                    <a:pt x="225" y="219"/>
                    <a:pt x="227" y="216"/>
                    <a:pt x="227" y="216"/>
                  </a:cubicBezTo>
                  <a:cubicBezTo>
                    <a:pt x="227" y="216"/>
                    <a:pt x="228" y="215"/>
                    <a:pt x="228" y="214"/>
                  </a:cubicBezTo>
                  <a:cubicBezTo>
                    <a:pt x="228" y="213"/>
                    <a:pt x="227" y="209"/>
                    <a:pt x="227" y="209"/>
                  </a:cubicBezTo>
                  <a:cubicBezTo>
                    <a:pt x="227" y="209"/>
                    <a:pt x="227" y="206"/>
                    <a:pt x="228" y="206"/>
                  </a:cubicBezTo>
                  <a:cubicBezTo>
                    <a:pt x="228" y="205"/>
                    <a:pt x="229" y="204"/>
                    <a:pt x="229" y="204"/>
                  </a:cubicBezTo>
                  <a:cubicBezTo>
                    <a:pt x="229" y="204"/>
                    <a:pt x="230" y="204"/>
                    <a:pt x="231" y="205"/>
                  </a:cubicBezTo>
                  <a:cubicBezTo>
                    <a:pt x="232" y="205"/>
                    <a:pt x="232" y="203"/>
                    <a:pt x="232" y="203"/>
                  </a:cubicBezTo>
                  <a:cubicBezTo>
                    <a:pt x="232" y="203"/>
                    <a:pt x="232" y="200"/>
                    <a:pt x="231" y="200"/>
                  </a:cubicBezTo>
                  <a:cubicBezTo>
                    <a:pt x="230" y="200"/>
                    <a:pt x="229" y="198"/>
                    <a:pt x="229" y="198"/>
                  </a:cubicBezTo>
                  <a:cubicBezTo>
                    <a:pt x="229" y="198"/>
                    <a:pt x="230" y="197"/>
                    <a:pt x="230" y="197"/>
                  </a:cubicBezTo>
                  <a:cubicBezTo>
                    <a:pt x="230" y="196"/>
                    <a:pt x="232" y="195"/>
                    <a:pt x="232" y="195"/>
                  </a:cubicBezTo>
                  <a:cubicBezTo>
                    <a:pt x="235" y="194"/>
                    <a:pt x="235" y="194"/>
                    <a:pt x="235" y="194"/>
                  </a:cubicBezTo>
                  <a:cubicBezTo>
                    <a:pt x="234" y="191"/>
                    <a:pt x="234" y="191"/>
                    <a:pt x="234" y="191"/>
                  </a:cubicBezTo>
                  <a:cubicBezTo>
                    <a:pt x="234" y="188"/>
                    <a:pt x="234" y="188"/>
                    <a:pt x="234" y="188"/>
                  </a:cubicBezTo>
                  <a:cubicBezTo>
                    <a:pt x="234" y="188"/>
                    <a:pt x="238" y="189"/>
                    <a:pt x="238" y="189"/>
                  </a:cubicBezTo>
                  <a:cubicBezTo>
                    <a:pt x="238" y="190"/>
                    <a:pt x="239" y="192"/>
                    <a:pt x="240" y="192"/>
                  </a:cubicBezTo>
                  <a:cubicBezTo>
                    <a:pt x="240" y="191"/>
                    <a:pt x="240" y="189"/>
                    <a:pt x="240" y="189"/>
                  </a:cubicBezTo>
                  <a:cubicBezTo>
                    <a:pt x="240" y="189"/>
                    <a:pt x="241" y="186"/>
                    <a:pt x="242" y="187"/>
                  </a:cubicBezTo>
                  <a:cubicBezTo>
                    <a:pt x="244" y="188"/>
                    <a:pt x="245" y="186"/>
                    <a:pt x="246" y="186"/>
                  </a:cubicBezTo>
                  <a:cubicBezTo>
                    <a:pt x="246" y="185"/>
                    <a:pt x="247" y="183"/>
                    <a:pt x="247" y="183"/>
                  </a:cubicBezTo>
                  <a:cubicBezTo>
                    <a:pt x="247" y="183"/>
                    <a:pt x="248" y="180"/>
                    <a:pt x="247" y="179"/>
                  </a:cubicBezTo>
                  <a:cubicBezTo>
                    <a:pt x="246" y="179"/>
                    <a:pt x="245" y="179"/>
                    <a:pt x="245" y="178"/>
                  </a:cubicBezTo>
                  <a:cubicBezTo>
                    <a:pt x="245" y="178"/>
                    <a:pt x="246" y="176"/>
                    <a:pt x="247" y="176"/>
                  </a:cubicBezTo>
                  <a:cubicBezTo>
                    <a:pt x="248" y="176"/>
                    <a:pt x="248" y="176"/>
                    <a:pt x="250" y="175"/>
                  </a:cubicBezTo>
                  <a:cubicBezTo>
                    <a:pt x="251" y="174"/>
                    <a:pt x="251" y="173"/>
                    <a:pt x="251" y="173"/>
                  </a:cubicBezTo>
                  <a:cubicBezTo>
                    <a:pt x="251" y="173"/>
                    <a:pt x="254" y="172"/>
                    <a:pt x="254" y="172"/>
                  </a:cubicBezTo>
                  <a:cubicBezTo>
                    <a:pt x="258" y="170"/>
                    <a:pt x="258" y="170"/>
                    <a:pt x="258" y="170"/>
                  </a:cubicBezTo>
                  <a:cubicBezTo>
                    <a:pt x="258" y="168"/>
                    <a:pt x="258" y="168"/>
                    <a:pt x="258" y="168"/>
                  </a:cubicBezTo>
                  <a:cubicBezTo>
                    <a:pt x="258" y="168"/>
                    <a:pt x="260" y="168"/>
                    <a:pt x="260" y="168"/>
                  </a:cubicBezTo>
                  <a:cubicBezTo>
                    <a:pt x="261" y="168"/>
                    <a:pt x="262" y="169"/>
                    <a:pt x="262" y="169"/>
                  </a:cubicBezTo>
                  <a:cubicBezTo>
                    <a:pt x="262" y="169"/>
                    <a:pt x="264" y="169"/>
                    <a:pt x="264" y="169"/>
                  </a:cubicBezTo>
                  <a:cubicBezTo>
                    <a:pt x="264" y="168"/>
                    <a:pt x="263" y="167"/>
                    <a:pt x="264" y="167"/>
                  </a:cubicBezTo>
                  <a:cubicBezTo>
                    <a:pt x="265" y="168"/>
                    <a:pt x="265" y="168"/>
                    <a:pt x="265" y="169"/>
                  </a:cubicBezTo>
                  <a:cubicBezTo>
                    <a:pt x="266" y="169"/>
                    <a:pt x="266" y="169"/>
                    <a:pt x="266" y="169"/>
                  </a:cubicBezTo>
                  <a:cubicBezTo>
                    <a:pt x="267" y="169"/>
                    <a:pt x="268" y="170"/>
                    <a:pt x="269" y="171"/>
                  </a:cubicBezTo>
                  <a:cubicBezTo>
                    <a:pt x="269" y="171"/>
                    <a:pt x="269" y="172"/>
                    <a:pt x="269" y="173"/>
                  </a:cubicBezTo>
                  <a:cubicBezTo>
                    <a:pt x="269" y="174"/>
                    <a:pt x="269" y="174"/>
                    <a:pt x="269" y="175"/>
                  </a:cubicBezTo>
                  <a:cubicBezTo>
                    <a:pt x="269" y="176"/>
                    <a:pt x="269" y="176"/>
                    <a:pt x="269" y="176"/>
                  </a:cubicBezTo>
                  <a:cubicBezTo>
                    <a:pt x="269" y="176"/>
                    <a:pt x="272" y="178"/>
                    <a:pt x="272" y="177"/>
                  </a:cubicBezTo>
                  <a:cubicBezTo>
                    <a:pt x="272" y="176"/>
                    <a:pt x="272" y="177"/>
                    <a:pt x="272" y="175"/>
                  </a:cubicBezTo>
                  <a:cubicBezTo>
                    <a:pt x="271" y="174"/>
                    <a:pt x="272" y="173"/>
                    <a:pt x="272" y="172"/>
                  </a:cubicBezTo>
                  <a:cubicBezTo>
                    <a:pt x="271" y="171"/>
                    <a:pt x="270" y="169"/>
                    <a:pt x="270" y="168"/>
                  </a:cubicBezTo>
                  <a:cubicBezTo>
                    <a:pt x="270" y="168"/>
                    <a:pt x="271" y="167"/>
                    <a:pt x="272" y="167"/>
                  </a:cubicBezTo>
                  <a:cubicBezTo>
                    <a:pt x="273" y="167"/>
                    <a:pt x="272" y="166"/>
                    <a:pt x="273" y="167"/>
                  </a:cubicBezTo>
                  <a:cubicBezTo>
                    <a:pt x="274" y="168"/>
                    <a:pt x="274" y="169"/>
                    <a:pt x="275" y="169"/>
                  </a:cubicBezTo>
                  <a:cubicBezTo>
                    <a:pt x="276" y="169"/>
                    <a:pt x="276" y="169"/>
                    <a:pt x="276" y="169"/>
                  </a:cubicBezTo>
                  <a:cubicBezTo>
                    <a:pt x="276" y="170"/>
                    <a:pt x="277" y="171"/>
                    <a:pt x="277" y="172"/>
                  </a:cubicBezTo>
                  <a:cubicBezTo>
                    <a:pt x="277" y="173"/>
                    <a:pt x="277" y="173"/>
                    <a:pt x="277" y="174"/>
                  </a:cubicBezTo>
                  <a:cubicBezTo>
                    <a:pt x="277" y="174"/>
                    <a:pt x="279" y="177"/>
                    <a:pt x="279" y="177"/>
                  </a:cubicBezTo>
                  <a:cubicBezTo>
                    <a:pt x="279" y="177"/>
                    <a:pt x="281" y="175"/>
                    <a:pt x="281" y="175"/>
                  </a:cubicBezTo>
                  <a:cubicBezTo>
                    <a:pt x="281" y="174"/>
                    <a:pt x="281" y="173"/>
                    <a:pt x="281" y="173"/>
                  </a:cubicBezTo>
                  <a:cubicBezTo>
                    <a:pt x="281" y="172"/>
                    <a:pt x="281" y="171"/>
                    <a:pt x="281" y="171"/>
                  </a:cubicBezTo>
                  <a:cubicBezTo>
                    <a:pt x="281" y="170"/>
                    <a:pt x="278" y="167"/>
                    <a:pt x="278" y="167"/>
                  </a:cubicBezTo>
                  <a:cubicBezTo>
                    <a:pt x="278" y="167"/>
                    <a:pt x="278" y="166"/>
                    <a:pt x="279" y="165"/>
                  </a:cubicBezTo>
                  <a:cubicBezTo>
                    <a:pt x="279" y="165"/>
                    <a:pt x="280" y="164"/>
                    <a:pt x="282" y="163"/>
                  </a:cubicBezTo>
                  <a:cubicBezTo>
                    <a:pt x="276" y="150"/>
                    <a:pt x="276" y="150"/>
                    <a:pt x="276" y="150"/>
                  </a:cubicBezTo>
                  <a:cubicBezTo>
                    <a:pt x="270" y="147"/>
                    <a:pt x="270" y="147"/>
                    <a:pt x="270" y="147"/>
                  </a:cubicBezTo>
                  <a:cubicBezTo>
                    <a:pt x="266" y="143"/>
                    <a:pt x="266" y="143"/>
                    <a:pt x="266" y="143"/>
                  </a:cubicBezTo>
                  <a:cubicBezTo>
                    <a:pt x="266" y="138"/>
                    <a:pt x="266" y="138"/>
                    <a:pt x="266" y="138"/>
                  </a:cubicBezTo>
                  <a:cubicBezTo>
                    <a:pt x="263" y="134"/>
                    <a:pt x="263" y="134"/>
                    <a:pt x="263" y="134"/>
                  </a:cubicBezTo>
                  <a:cubicBezTo>
                    <a:pt x="263" y="134"/>
                    <a:pt x="264" y="131"/>
                    <a:pt x="264" y="130"/>
                  </a:cubicBezTo>
                  <a:cubicBezTo>
                    <a:pt x="265" y="129"/>
                    <a:pt x="267" y="124"/>
                    <a:pt x="267" y="124"/>
                  </a:cubicBezTo>
                  <a:cubicBezTo>
                    <a:pt x="267" y="124"/>
                    <a:pt x="266" y="120"/>
                    <a:pt x="266" y="119"/>
                  </a:cubicBezTo>
                  <a:cubicBezTo>
                    <a:pt x="266" y="118"/>
                    <a:pt x="267" y="113"/>
                    <a:pt x="267" y="113"/>
                  </a:cubicBezTo>
                  <a:cubicBezTo>
                    <a:pt x="266" y="108"/>
                    <a:pt x="266" y="108"/>
                    <a:pt x="266" y="108"/>
                  </a:cubicBezTo>
                  <a:cubicBezTo>
                    <a:pt x="254" y="94"/>
                    <a:pt x="254" y="94"/>
                    <a:pt x="254" y="94"/>
                  </a:cubicBezTo>
                  <a:cubicBezTo>
                    <a:pt x="255" y="88"/>
                    <a:pt x="255" y="88"/>
                    <a:pt x="255" y="88"/>
                  </a:cubicBezTo>
                  <a:cubicBezTo>
                    <a:pt x="255" y="88"/>
                    <a:pt x="255" y="88"/>
                    <a:pt x="255" y="88"/>
                  </a:cubicBezTo>
                  <a:close/>
                  <a:moveTo>
                    <a:pt x="165" y="710"/>
                  </a:moveTo>
                  <a:cubicBezTo>
                    <a:pt x="165" y="710"/>
                    <a:pt x="165" y="710"/>
                    <a:pt x="165" y="710"/>
                  </a:cubicBezTo>
                  <a:cubicBezTo>
                    <a:pt x="166" y="702"/>
                    <a:pt x="166" y="702"/>
                    <a:pt x="166" y="702"/>
                  </a:cubicBezTo>
                  <a:cubicBezTo>
                    <a:pt x="166" y="702"/>
                    <a:pt x="164" y="699"/>
                    <a:pt x="164" y="699"/>
                  </a:cubicBezTo>
                  <a:cubicBezTo>
                    <a:pt x="164" y="698"/>
                    <a:pt x="163" y="696"/>
                    <a:pt x="163" y="693"/>
                  </a:cubicBezTo>
                  <a:cubicBezTo>
                    <a:pt x="164" y="690"/>
                    <a:pt x="164" y="689"/>
                    <a:pt x="165" y="687"/>
                  </a:cubicBezTo>
                  <a:cubicBezTo>
                    <a:pt x="165" y="685"/>
                    <a:pt x="167" y="684"/>
                    <a:pt x="167" y="682"/>
                  </a:cubicBezTo>
                  <a:cubicBezTo>
                    <a:pt x="167" y="679"/>
                    <a:pt x="167" y="678"/>
                    <a:pt x="168" y="676"/>
                  </a:cubicBezTo>
                  <a:cubicBezTo>
                    <a:pt x="168" y="674"/>
                    <a:pt x="169" y="672"/>
                    <a:pt x="170" y="672"/>
                  </a:cubicBezTo>
                  <a:cubicBezTo>
                    <a:pt x="170" y="671"/>
                    <a:pt x="172" y="667"/>
                    <a:pt x="172" y="667"/>
                  </a:cubicBezTo>
                  <a:cubicBezTo>
                    <a:pt x="173" y="662"/>
                    <a:pt x="173" y="662"/>
                    <a:pt x="173" y="662"/>
                  </a:cubicBezTo>
                  <a:cubicBezTo>
                    <a:pt x="173" y="662"/>
                    <a:pt x="175" y="657"/>
                    <a:pt x="175" y="656"/>
                  </a:cubicBezTo>
                  <a:cubicBezTo>
                    <a:pt x="175" y="655"/>
                    <a:pt x="174" y="651"/>
                    <a:pt x="174" y="650"/>
                  </a:cubicBezTo>
                  <a:cubicBezTo>
                    <a:pt x="175" y="649"/>
                    <a:pt x="177" y="647"/>
                    <a:pt x="177" y="647"/>
                  </a:cubicBezTo>
                  <a:cubicBezTo>
                    <a:pt x="180" y="647"/>
                    <a:pt x="180" y="647"/>
                    <a:pt x="180" y="647"/>
                  </a:cubicBezTo>
                  <a:cubicBezTo>
                    <a:pt x="180" y="647"/>
                    <a:pt x="180" y="650"/>
                    <a:pt x="179" y="651"/>
                  </a:cubicBezTo>
                  <a:cubicBezTo>
                    <a:pt x="178" y="651"/>
                    <a:pt x="177" y="652"/>
                    <a:pt x="177" y="652"/>
                  </a:cubicBezTo>
                  <a:cubicBezTo>
                    <a:pt x="177" y="653"/>
                    <a:pt x="179" y="655"/>
                    <a:pt x="179" y="655"/>
                  </a:cubicBezTo>
                  <a:cubicBezTo>
                    <a:pt x="179" y="659"/>
                    <a:pt x="179" y="659"/>
                    <a:pt x="179" y="659"/>
                  </a:cubicBezTo>
                  <a:cubicBezTo>
                    <a:pt x="177" y="663"/>
                    <a:pt x="177" y="663"/>
                    <a:pt x="177" y="663"/>
                  </a:cubicBezTo>
                  <a:cubicBezTo>
                    <a:pt x="175" y="668"/>
                    <a:pt x="175" y="668"/>
                    <a:pt x="175" y="668"/>
                  </a:cubicBezTo>
                  <a:cubicBezTo>
                    <a:pt x="175" y="673"/>
                    <a:pt x="175" y="673"/>
                    <a:pt x="175" y="673"/>
                  </a:cubicBezTo>
                  <a:cubicBezTo>
                    <a:pt x="174" y="676"/>
                    <a:pt x="174" y="676"/>
                    <a:pt x="174" y="676"/>
                  </a:cubicBezTo>
                  <a:cubicBezTo>
                    <a:pt x="173" y="679"/>
                    <a:pt x="173" y="679"/>
                    <a:pt x="173" y="679"/>
                  </a:cubicBezTo>
                  <a:cubicBezTo>
                    <a:pt x="171" y="685"/>
                    <a:pt x="171" y="685"/>
                    <a:pt x="171" y="685"/>
                  </a:cubicBezTo>
                  <a:cubicBezTo>
                    <a:pt x="172" y="690"/>
                    <a:pt x="172" y="690"/>
                    <a:pt x="172" y="690"/>
                  </a:cubicBezTo>
                  <a:cubicBezTo>
                    <a:pt x="169" y="696"/>
                    <a:pt x="169" y="696"/>
                    <a:pt x="169" y="696"/>
                  </a:cubicBezTo>
                  <a:cubicBezTo>
                    <a:pt x="169" y="696"/>
                    <a:pt x="169" y="699"/>
                    <a:pt x="169" y="700"/>
                  </a:cubicBezTo>
                  <a:cubicBezTo>
                    <a:pt x="169" y="701"/>
                    <a:pt x="169" y="707"/>
                    <a:pt x="169" y="707"/>
                  </a:cubicBezTo>
                  <a:cubicBezTo>
                    <a:pt x="169" y="707"/>
                    <a:pt x="169" y="710"/>
                    <a:pt x="168" y="710"/>
                  </a:cubicBezTo>
                  <a:cubicBezTo>
                    <a:pt x="167" y="710"/>
                    <a:pt x="165" y="710"/>
                    <a:pt x="165" y="710"/>
                  </a:cubicBezTo>
                  <a:close/>
                  <a:moveTo>
                    <a:pt x="206" y="649"/>
                  </a:moveTo>
                  <a:cubicBezTo>
                    <a:pt x="206" y="649"/>
                    <a:pt x="206" y="649"/>
                    <a:pt x="206" y="649"/>
                  </a:cubicBezTo>
                  <a:cubicBezTo>
                    <a:pt x="205" y="647"/>
                    <a:pt x="205" y="647"/>
                    <a:pt x="205" y="647"/>
                  </a:cubicBezTo>
                  <a:cubicBezTo>
                    <a:pt x="208" y="646"/>
                    <a:pt x="208" y="646"/>
                    <a:pt x="208" y="646"/>
                  </a:cubicBezTo>
                  <a:cubicBezTo>
                    <a:pt x="208" y="646"/>
                    <a:pt x="207" y="642"/>
                    <a:pt x="207" y="641"/>
                  </a:cubicBezTo>
                  <a:cubicBezTo>
                    <a:pt x="207" y="640"/>
                    <a:pt x="206" y="641"/>
                    <a:pt x="205" y="639"/>
                  </a:cubicBezTo>
                  <a:cubicBezTo>
                    <a:pt x="204" y="638"/>
                    <a:pt x="204" y="635"/>
                    <a:pt x="204" y="635"/>
                  </a:cubicBezTo>
                  <a:cubicBezTo>
                    <a:pt x="204" y="634"/>
                    <a:pt x="205" y="631"/>
                    <a:pt x="205" y="631"/>
                  </a:cubicBezTo>
                  <a:cubicBezTo>
                    <a:pt x="205" y="631"/>
                    <a:pt x="208" y="627"/>
                    <a:pt x="210" y="625"/>
                  </a:cubicBezTo>
                  <a:cubicBezTo>
                    <a:pt x="213" y="622"/>
                    <a:pt x="212" y="622"/>
                    <a:pt x="212" y="620"/>
                  </a:cubicBezTo>
                  <a:cubicBezTo>
                    <a:pt x="211" y="619"/>
                    <a:pt x="213" y="618"/>
                    <a:pt x="213" y="618"/>
                  </a:cubicBezTo>
                  <a:cubicBezTo>
                    <a:pt x="216" y="615"/>
                    <a:pt x="216" y="615"/>
                    <a:pt x="216" y="615"/>
                  </a:cubicBezTo>
                  <a:cubicBezTo>
                    <a:pt x="218" y="610"/>
                    <a:pt x="218" y="610"/>
                    <a:pt x="218" y="610"/>
                  </a:cubicBezTo>
                  <a:cubicBezTo>
                    <a:pt x="218" y="610"/>
                    <a:pt x="221" y="613"/>
                    <a:pt x="221" y="613"/>
                  </a:cubicBezTo>
                  <a:cubicBezTo>
                    <a:pt x="222" y="613"/>
                    <a:pt x="222" y="612"/>
                    <a:pt x="222" y="611"/>
                  </a:cubicBezTo>
                  <a:cubicBezTo>
                    <a:pt x="222" y="610"/>
                    <a:pt x="224" y="610"/>
                    <a:pt x="224" y="610"/>
                  </a:cubicBezTo>
                  <a:cubicBezTo>
                    <a:pt x="225" y="610"/>
                    <a:pt x="228" y="609"/>
                    <a:pt x="228" y="609"/>
                  </a:cubicBezTo>
                  <a:cubicBezTo>
                    <a:pt x="229" y="607"/>
                    <a:pt x="229" y="607"/>
                    <a:pt x="229" y="607"/>
                  </a:cubicBezTo>
                  <a:cubicBezTo>
                    <a:pt x="229" y="607"/>
                    <a:pt x="233" y="606"/>
                    <a:pt x="235" y="607"/>
                  </a:cubicBezTo>
                  <a:cubicBezTo>
                    <a:pt x="236" y="608"/>
                    <a:pt x="234" y="608"/>
                    <a:pt x="234" y="609"/>
                  </a:cubicBezTo>
                  <a:cubicBezTo>
                    <a:pt x="234" y="610"/>
                    <a:pt x="234" y="610"/>
                    <a:pt x="234" y="611"/>
                  </a:cubicBezTo>
                  <a:cubicBezTo>
                    <a:pt x="234" y="612"/>
                    <a:pt x="233" y="613"/>
                    <a:pt x="230" y="613"/>
                  </a:cubicBezTo>
                  <a:cubicBezTo>
                    <a:pt x="227" y="614"/>
                    <a:pt x="229" y="616"/>
                    <a:pt x="229" y="616"/>
                  </a:cubicBezTo>
                  <a:cubicBezTo>
                    <a:pt x="229" y="616"/>
                    <a:pt x="229" y="620"/>
                    <a:pt x="229" y="620"/>
                  </a:cubicBezTo>
                  <a:cubicBezTo>
                    <a:pt x="228" y="621"/>
                    <a:pt x="226" y="623"/>
                    <a:pt x="224" y="623"/>
                  </a:cubicBezTo>
                  <a:cubicBezTo>
                    <a:pt x="223" y="624"/>
                    <a:pt x="223" y="626"/>
                    <a:pt x="223" y="626"/>
                  </a:cubicBezTo>
                  <a:cubicBezTo>
                    <a:pt x="223" y="627"/>
                    <a:pt x="224" y="629"/>
                    <a:pt x="224" y="631"/>
                  </a:cubicBezTo>
                  <a:cubicBezTo>
                    <a:pt x="224" y="632"/>
                    <a:pt x="224" y="632"/>
                    <a:pt x="225" y="634"/>
                  </a:cubicBezTo>
                  <a:cubicBezTo>
                    <a:pt x="225" y="635"/>
                    <a:pt x="227" y="635"/>
                    <a:pt x="228" y="635"/>
                  </a:cubicBezTo>
                  <a:cubicBezTo>
                    <a:pt x="228" y="636"/>
                    <a:pt x="230" y="638"/>
                    <a:pt x="229" y="639"/>
                  </a:cubicBezTo>
                  <a:cubicBezTo>
                    <a:pt x="228" y="640"/>
                    <a:pt x="227" y="641"/>
                    <a:pt x="226" y="641"/>
                  </a:cubicBezTo>
                  <a:cubicBezTo>
                    <a:pt x="226" y="642"/>
                    <a:pt x="224" y="645"/>
                    <a:pt x="224" y="645"/>
                  </a:cubicBezTo>
                  <a:cubicBezTo>
                    <a:pt x="224" y="645"/>
                    <a:pt x="225" y="647"/>
                    <a:pt x="224" y="649"/>
                  </a:cubicBezTo>
                  <a:cubicBezTo>
                    <a:pt x="224" y="651"/>
                    <a:pt x="222" y="650"/>
                    <a:pt x="221" y="651"/>
                  </a:cubicBezTo>
                  <a:cubicBezTo>
                    <a:pt x="221" y="651"/>
                    <a:pt x="218" y="654"/>
                    <a:pt x="218" y="654"/>
                  </a:cubicBezTo>
                  <a:cubicBezTo>
                    <a:pt x="217" y="654"/>
                    <a:pt x="216" y="658"/>
                    <a:pt x="216" y="660"/>
                  </a:cubicBezTo>
                  <a:cubicBezTo>
                    <a:pt x="216" y="661"/>
                    <a:pt x="216" y="663"/>
                    <a:pt x="216" y="664"/>
                  </a:cubicBezTo>
                  <a:cubicBezTo>
                    <a:pt x="216" y="665"/>
                    <a:pt x="216" y="664"/>
                    <a:pt x="214" y="667"/>
                  </a:cubicBezTo>
                  <a:cubicBezTo>
                    <a:pt x="211" y="670"/>
                    <a:pt x="212" y="668"/>
                    <a:pt x="209" y="667"/>
                  </a:cubicBezTo>
                  <a:cubicBezTo>
                    <a:pt x="205" y="667"/>
                    <a:pt x="209" y="666"/>
                    <a:pt x="210" y="664"/>
                  </a:cubicBezTo>
                  <a:cubicBezTo>
                    <a:pt x="211" y="662"/>
                    <a:pt x="212" y="660"/>
                    <a:pt x="212" y="660"/>
                  </a:cubicBezTo>
                  <a:cubicBezTo>
                    <a:pt x="211" y="656"/>
                    <a:pt x="211" y="656"/>
                    <a:pt x="211" y="656"/>
                  </a:cubicBezTo>
                  <a:cubicBezTo>
                    <a:pt x="209" y="653"/>
                    <a:pt x="209" y="653"/>
                    <a:pt x="209" y="653"/>
                  </a:cubicBezTo>
                  <a:lnTo>
                    <a:pt x="206" y="649"/>
                  </a:lnTo>
                  <a:close/>
                </a:path>
              </a:pathLst>
            </a:custGeom>
            <a:solidFill>
              <a:schemeClr val="accent2">
                <a:lumMod val="20000"/>
                <a:lumOff val="80000"/>
              </a:schemeClr>
            </a:solidFill>
            <a:ln w="12700" cap="rnd" cmpd="sng">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Lato Light"/>
              </a:endParaRPr>
            </a:p>
          </p:txBody>
        </p:sp>
        <p:sp>
          <p:nvSpPr>
            <p:cNvPr id="237" name="Freeform 96">
              <a:extLst>
                <a:ext uri="{FF2B5EF4-FFF2-40B4-BE49-F238E27FC236}">
                  <a16:creationId xmlns:a16="http://schemas.microsoft.com/office/drawing/2014/main" id="{81006190-4FA6-FE65-7CA4-D7A9D973FF67}"/>
                </a:ext>
              </a:extLst>
            </p:cNvPr>
            <p:cNvSpPr>
              <a:spLocks noEditPoints="1"/>
            </p:cNvSpPr>
            <p:nvPr/>
          </p:nvSpPr>
          <p:spPr bwMode="auto">
            <a:xfrm>
              <a:off x="3501470" y="762000"/>
              <a:ext cx="1550354" cy="2123558"/>
            </a:xfrm>
            <a:custGeom>
              <a:avLst/>
              <a:gdLst>
                <a:gd name="T0" fmla="*/ 383 w 538"/>
                <a:gd name="T1" fmla="*/ 61 h 760"/>
                <a:gd name="T2" fmla="*/ 367 w 538"/>
                <a:gd name="T3" fmla="*/ 127 h 760"/>
                <a:gd name="T4" fmla="*/ 435 w 538"/>
                <a:gd name="T5" fmla="*/ 150 h 760"/>
                <a:gd name="T6" fmla="*/ 438 w 538"/>
                <a:gd name="T7" fmla="*/ 149 h 760"/>
                <a:gd name="T8" fmla="*/ 438 w 538"/>
                <a:gd name="T9" fmla="*/ 148 h 760"/>
                <a:gd name="T10" fmla="*/ 443 w 538"/>
                <a:gd name="T11" fmla="*/ 86 h 760"/>
                <a:gd name="T12" fmla="*/ 500 w 538"/>
                <a:gd name="T13" fmla="*/ 70 h 760"/>
                <a:gd name="T14" fmla="*/ 509 w 538"/>
                <a:gd name="T15" fmla="*/ 106 h 760"/>
                <a:gd name="T16" fmla="*/ 499 w 538"/>
                <a:gd name="T17" fmla="*/ 50 h 760"/>
                <a:gd name="T18" fmla="*/ 468 w 538"/>
                <a:gd name="T19" fmla="*/ 9 h 760"/>
                <a:gd name="T20" fmla="*/ 444 w 538"/>
                <a:gd name="T21" fmla="*/ 21 h 760"/>
                <a:gd name="T22" fmla="*/ 425 w 538"/>
                <a:gd name="T23" fmla="*/ 23 h 760"/>
                <a:gd name="T24" fmla="*/ 400 w 538"/>
                <a:gd name="T25" fmla="*/ 33 h 760"/>
                <a:gd name="T26" fmla="*/ 377 w 538"/>
                <a:gd name="T27" fmla="*/ 69 h 760"/>
                <a:gd name="T28" fmla="*/ 361 w 538"/>
                <a:gd name="T29" fmla="*/ 85 h 760"/>
                <a:gd name="T30" fmla="*/ 328 w 538"/>
                <a:gd name="T31" fmla="*/ 96 h 760"/>
                <a:gd name="T32" fmla="*/ 298 w 538"/>
                <a:gd name="T33" fmla="*/ 115 h 760"/>
                <a:gd name="T34" fmla="*/ 281 w 538"/>
                <a:gd name="T35" fmla="*/ 161 h 760"/>
                <a:gd name="T36" fmla="*/ 241 w 538"/>
                <a:gd name="T37" fmla="*/ 187 h 760"/>
                <a:gd name="T38" fmla="*/ 235 w 538"/>
                <a:gd name="T39" fmla="*/ 201 h 760"/>
                <a:gd name="T40" fmla="*/ 241 w 538"/>
                <a:gd name="T41" fmla="*/ 223 h 760"/>
                <a:gd name="T42" fmla="*/ 235 w 538"/>
                <a:gd name="T43" fmla="*/ 256 h 760"/>
                <a:gd name="T44" fmla="*/ 219 w 538"/>
                <a:gd name="T45" fmla="*/ 306 h 760"/>
                <a:gd name="T46" fmla="*/ 193 w 538"/>
                <a:gd name="T47" fmla="*/ 362 h 760"/>
                <a:gd name="T48" fmla="*/ 174 w 538"/>
                <a:gd name="T49" fmla="*/ 390 h 760"/>
                <a:gd name="T50" fmla="*/ 145 w 538"/>
                <a:gd name="T51" fmla="*/ 436 h 760"/>
                <a:gd name="T52" fmla="*/ 139 w 538"/>
                <a:gd name="T53" fmla="*/ 456 h 760"/>
                <a:gd name="T54" fmla="*/ 97 w 538"/>
                <a:gd name="T55" fmla="*/ 474 h 760"/>
                <a:gd name="T56" fmla="*/ 59 w 538"/>
                <a:gd name="T57" fmla="*/ 500 h 760"/>
                <a:gd name="T58" fmla="*/ 24 w 538"/>
                <a:gd name="T59" fmla="*/ 527 h 760"/>
                <a:gd name="T60" fmla="*/ 14 w 538"/>
                <a:gd name="T61" fmla="*/ 551 h 760"/>
                <a:gd name="T62" fmla="*/ 4 w 538"/>
                <a:gd name="T63" fmla="*/ 599 h 760"/>
                <a:gd name="T64" fmla="*/ 13 w 538"/>
                <a:gd name="T65" fmla="*/ 650 h 760"/>
                <a:gd name="T66" fmla="*/ 22 w 538"/>
                <a:gd name="T67" fmla="*/ 686 h 760"/>
                <a:gd name="T68" fmla="*/ 33 w 538"/>
                <a:gd name="T69" fmla="*/ 742 h 760"/>
                <a:gd name="T70" fmla="*/ 96 w 538"/>
                <a:gd name="T71" fmla="*/ 747 h 760"/>
                <a:gd name="T72" fmla="*/ 173 w 538"/>
                <a:gd name="T73" fmla="*/ 704 h 760"/>
                <a:gd name="T74" fmla="*/ 188 w 538"/>
                <a:gd name="T75" fmla="*/ 671 h 760"/>
                <a:gd name="T76" fmla="*/ 193 w 538"/>
                <a:gd name="T77" fmla="*/ 655 h 760"/>
                <a:gd name="T78" fmla="*/ 193 w 538"/>
                <a:gd name="T79" fmla="*/ 655 h 760"/>
                <a:gd name="T80" fmla="*/ 207 w 538"/>
                <a:gd name="T81" fmla="*/ 644 h 760"/>
                <a:gd name="T82" fmla="*/ 212 w 538"/>
                <a:gd name="T83" fmla="*/ 590 h 760"/>
                <a:gd name="T84" fmla="*/ 213 w 538"/>
                <a:gd name="T85" fmla="*/ 589 h 760"/>
                <a:gd name="T86" fmla="*/ 213 w 538"/>
                <a:gd name="T87" fmla="*/ 586 h 760"/>
                <a:gd name="T88" fmla="*/ 213 w 538"/>
                <a:gd name="T89" fmla="*/ 584 h 760"/>
                <a:gd name="T90" fmla="*/ 214 w 538"/>
                <a:gd name="T91" fmla="*/ 582 h 760"/>
                <a:gd name="T92" fmla="*/ 189 w 538"/>
                <a:gd name="T93" fmla="*/ 510 h 760"/>
                <a:gd name="T94" fmla="*/ 231 w 538"/>
                <a:gd name="T95" fmla="*/ 427 h 760"/>
                <a:gd name="T96" fmla="*/ 240 w 538"/>
                <a:gd name="T97" fmla="*/ 314 h 760"/>
                <a:gd name="T98" fmla="*/ 275 w 538"/>
                <a:gd name="T99" fmla="*/ 228 h 760"/>
                <a:gd name="T100" fmla="*/ 275 w 538"/>
                <a:gd name="T101" fmla="*/ 220 h 760"/>
                <a:gd name="T102" fmla="*/ 275 w 538"/>
                <a:gd name="T103" fmla="*/ 218 h 760"/>
                <a:gd name="T104" fmla="*/ 276 w 538"/>
                <a:gd name="T105" fmla="*/ 217 h 760"/>
                <a:gd name="T106" fmla="*/ 277 w 538"/>
                <a:gd name="T107" fmla="*/ 215 h 760"/>
                <a:gd name="T108" fmla="*/ 302 w 538"/>
                <a:gd name="T109" fmla="*/ 202 h 760"/>
                <a:gd name="T110" fmla="*/ 342 w 538"/>
                <a:gd name="T111" fmla="*/ 142 h 760"/>
                <a:gd name="T112" fmla="*/ 360 w 538"/>
                <a:gd name="T113" fmla="*/ 125 h 760"/>
                <a:gd name="T114" fmla="*/ 361 w 538"/>
                <a:gd name="T115" fmla="*/ 125 h 760"/>
                <a:gd name="T116" fmla="*/ 363 w 538"/>
                <a:gd name="T117" fmla="*/ 125 h 7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38" h="760">
                  <a:moveTo>
                    <a:pt x="370" y="57"/>
                  </a:moveTo>
                  <a:cubicBezTo>
                    <a:pt x="368" y="57"/>
                    <a:pt x="365" y="58"/>
                    <a:pt x="365" y="56"/>
                  </a:cubicBezTo>
                  <a:cubicBezTo>
                    <a:pt x="365" y="55"/>
                    <a:pt x="362" y="52"/>
                    <a:pt x="362" y="52"/>
                  </a:cubicBezTo>
                  <a:cubicBezTo>
                    <a:pt x="362" y="51"/>
                    <a:pt x="360" y="49"/>
                    <a:pt x="363" y="48"/>
                  </a:cubicBezTo>
                  <a:cubicBezTo>
                    <a:pt x="365" y="46"/>
                    <a:pt x="372" y="43"/>
                    <a:pt x="373" y="43"/>
                  </a:cubicBezTo>
                  <a:cubicBezTo>
                    <a:pt x="373" y="43"/>
                    <a:pt x="376" y="38"/>
                    <a:pt x="377" y="37"/>
                  </a:cubicBezTo>
                  <a:cubicBezTo>
                    <a:pt x="378" y="37"/>
                    <a:pt x="384" y="37"/>
                    <a:pt x="384" y="37"/>
                  </a:cubicBezTo>
                  <a:cubicBezTo>
                    <a:pt x="384" y="37"/>
                    <a:pt x="385" y="38"/>
                    <a:pt x="387" y="38"/>
                  </a:cubicBezTo>
                  <a:cubicBezTo>
                    <a:pt x="389" y="39"/>
                    <a:pt x="393" y="36"/>
                    <a:pt x="391" y="39"/>
                  </a:cubicBezTo>
                  <a:cubicBezTo>
                    <a:pt x="388" y="41"/>
                    <a:pt x="387" y="42"/>
                    <a:pt x="386" y="42"/>
                  </a:cubicBezTo>
                  <a:cubicBezTo>
                    <a:pt x="385" y="43"/>
                    <a:pt x="380" y="47"/>
                    <a:pt x="380" y="49"/>
                  </a:cubicBezTo>
                  <a:cubicBezTo>
                    <a:pt x="379" y="51"/>
                    <a:pt x="380" y="51"/>
                    <a:pt x="379" y="52"/>
                  </a:cubicBezTo>
                  <a:cubicBezTo>
                    <a:pt x="377" y="53"/>
                    <a:pt x="371" y="56"/>
                    <a:pt x="370" y="57"/>
                  </a:cubicBezTo>
                  <a:close/>
                  <a:moveTo>
                    <a:pt x="383" y="61"/>
                  </a:moveTo>
                  <a:cubicBezTo>
                    <a:pt x="383" y="61"/>
                    <a:pt x="383" y="61"/>
                    <a:pt x="383" y="61"/>
                  </a:cubicBezTo>
                  <a:cubicBezTo>
                    <a:pt x="383" y="61"/>
                    <a:pt x="386" y="62"/>
                    <a:pt x="386" y="61"/>
                  </a:cubicBezTo>
                  <a:cubicBezTo>
                    <a:pt x="386" y="61"/>
                    <a:pt x="387" y="59"/>
                    <a:pt x="387" y="56"/>
                  </a:cubicBezTo>
                  <a:cubicBezTo>
                    <a:pt x="388" y="53"/>
                    <a:pt x="390" y="53"/>
                    <a:pt x="391" y="52"/>
                  </a:cubicBezTo>
                  <a:cubicBezTo>
                    <a:pt x="392" y="51"/>
                    <a:pt x="391" y="51"/>
                    <a:pt x="392" y="49"/>
                  </a:cubicBezTo>
                  <a:cubicBezTo>
                    <a:pt x="392" y="47"/>
                    <a:pt x="391" y="47"/>
                    <a:pt x="389" y="46"/>
                  </a:cubicBezTo>
                  <a:cubicBezTo>
                    <a:pt x="386" y="46"/>
                    <a:pt x="386" y="48"/>
                    <a:pt x="384" y="48"/>
                  </a:cubicBezTo>
                  <a:cubicBezTo>
                    <a:pt x="383" y="49"/>
                    <a:pt x="383" y="51"/>
                    <a:pt x="384" y="52"/>
                  </a:cubicBezTo>
                  <a:cubicBezTo>
                    <a:pt x="384" y="53"/>
                    <a:pt x="382" y="54"/>
                    <a:pt x="380" y="55"/>
                  </a:cubicBezTo>
                  <a:cubicBezTo>
                    <a:pt x="378" y="57"/>
                    <a:pt x="378" y="59"/>
                    <a:pt x="378" y="59"/>
                  </a:cubicBezTo>
                  <a:cubicBezTo>
                    <a:pt x="383" y="61"/>
                    <a:pt x="383" y="61"/>
                    <a:pt x="383" y="61"/>
                  </a:cubicBezTo>
                  <a:close/>
                  <a:moveTo>
                    <a:pt x="363" y="126"/>
                  </a:moveTo>
                  <a:cubicBezTo>
                    <a:pt x="363" y="126"/>
                    <a:pt x="363" y="126"/>
                    <a:pt x="363" y="126"/>
                  </a:cubicBezTo>
                  <a:cubicBezTo>
                    <a:pt x="367" y="127"/>
                    <a:pt x="367" y="127"/>
                    <a:pt x="367" y="127"/>
                  </a:cubicBezTo>
                  <a:cubicBezTo>
                    <a:pt x="374" y="135"/>
                    <a:pt x="374" y="135"/>
                    <a:pt x="374" y="135"/>
                  </a:cubicBezTo>
                  <a:cubicBezTo>
                    <a:pt x="380" y="142"/>
                    <a:pt x="380" y="142"/>
                    <a:pt x="380" y="142"/>
                  </a:cubicBezTo>
                  <a:cubicBezTo>
                    <a:pt x="380" y="142"/>
                    <a:pt x="389" y="149"/>
                    <a:pt x="391" y="150"/>
                  </a:cubicBezTo>
                  <a:cubicBezTo>
                    <a:pt x="393" y="151"/>
                    <a:pt x="404" y="153"/>
                    <a:pt x="405" y="154"/>
                  </a:cubicBezTo>
                  <a:cubicBezTo>
                    <a:pt x="408" y="150"/>
                    <a:pt x="408" y="150"/>
                    <a:pt x="408" y="150"/>
                  </a:cubicBezTo>
                  <a:cubicBezTo>
                    <a:pt x="412" y="147"/>
                    <a:pt x="412" y="147"/>
                    <a:pt x="412" y="147"/>
                  </a:cubicBezTo>
                  <a:cubicBezTo>
                    <a:pt x="411" y="145"/>
                    <a:pt x="411" y="145"/>
                    <a:pt x="411" y="145"/>
                  </a:cubicBezTo>
                  <a:cubicBezTo>
                    <a:pt x="416" y="142"/>
                    <a:pt x="416" y="142"/>
                    <a:pt x="416" y="142"/>
                  </a:cubicBezTo>
                  <a:cubicBezTo>
                    <a:pt x="420" y="145"/>
                    <a:pt x="420" y="145"/>
                    <a:pt x="420" y="145"/>
                  </a:cubicBezTo>
                  <a:cubicBezTo>
                    <a:pt x="430" y="147"/>
                    <a:pt x="430" y="147"/>
                    <a:pt x="430" y="147"/>
                  </a:cubicBezTo>
                  <a:cubicBezTo>
                    <a:pt x="434" y="150"/>
                    <a:pt x="434" y="150"/>
                    <a:pt x="434" y="150"/>
                  </a:cubicBezTo>
                  <a:cubicBezTo>
                    <a:pt x="434" y="150"/>
                    <a:pt x="434" y="150"/>
                    <a:pt x="435" y="150"/>
                  </a:cubicBezTo>
                  <a:cubicBezTo>
                    <a:pt x="435" y="150"/>
                    <a:pt x="435" y="150"/>
                    <a:pt x="435" y="150"/>
                  </a:cubicBezTo>
                  <a:cubicBezTo>
                    <a:pt x="435" y="150"/>
                    <a:pt x="435" y="150"/>
                    <a:pt x="435" y="150"/>
                  </a:cubicBezTo>
                  <a:cubicBezTo>
                    <a:pt x="436" y="149"/>
                    <a:pt x="436" y="149"/>
                    <a:pt x="436" y="149"/>
                  </a:cubicBezTo>
                  <a:cubicBezTo>
                    <a:pt x="436" y="149"/>
                    <a:pt x="436" y="149"/>
                    <a:pt x="436" y="149"/>
                  </a:cubicBezTo>
                  <a:cubicBezTo>
                    <a:pt x="436" y="149"/>
                    <a:pt x="436" y="149"/>
                    <a:pt x="436" y="149"/>
                  </a:cubicBezTo>
                  <a:cubicBezTo>
                    <a:pt x="436" y="149"/>
                    <a:pt x="436" y="149"/>
                    <a:pt x="436" y="149"/>
                  </a:cubicBezTo>
                  <a:cubicBezTo>
                    <a:pt x="436" y="149"/>
                    <a:pt x="437" y="149"/>
                    <a:pt x="437" y="149"/>
                  </a:cubicBezTo>
                  <a:cubicBezTo>
                    <a:pt x="437" y="149"/>
                    <a:pt x="437" y="149"/>
                    <a:pt x="437" y="149"/>
                  </a:cubicBezTo>
                  <a:cubicBezTo>
                    <a:pt x="437" y="149"/>
                    <a:pt x="437" y="149"/>
                    <a:pt x="437" y="149"/>
                  </a:cubicBezTo>
                  <a:cubicBezTo>
                    <a:pt x="437" y="149"/>
                    <a:pt x="437" y="149"/>
                    <a:pt x="437" y="149"/>
                  </a:cubicBezTo>
                  <a:cubicBezTo>
                    <a:pt x="437" y="149"/>
                    <a:pt x="437" y="149"/>
                    <a:pt x="437" y="149"/>
                  </a:cubicBezTo>
                  <a:cubicBezTo>
                    <a:pt x="438" y="149"/>
                    <a:pt x="438" y="149"/>
                    <a:pt x="438" y="149"/>
                  </a:cubicBezTo>
                  <a:cubicBezTo>
                    <a:pt x="438" y="149"/>
                    <a:pt x="438" y="149"/>
                    <a:pt x="438" y="149"/>
                  </a:cubicBezTo>
                  <a:cubicBezTo>
                    <a:pt x="438" y="149"/>
                    <a:pt x="438" y="149"/>
                    <a:pt x="438" y="149"/>
                  </a:cubicBezTo>
                  <a:cubicBezTo>
                    <a:pt x="438" y="149"/>
                    <a:pt x="438" y="149"/>
                    <a:pt x="438" y="149"/>
                  </a:cubicBezTo>
                  <a:cubicBezTo>
                    <a:pt x="438" y="149"/>
                    <a:pt x="438" y="149"/>
                    <a:pt x="438" y="149"/>
                  </a:cubicBezTo>
                  <a:cubicBezTo>
                    <a:pt x="438" y="149"/>
                    <a:pt x="438" y="149"/>
                    <a:pt x="438" y="149"/>
                  </a:cubicBezTo>
                  <a:cubicBezTo>
                    <a:pt x="438" y="149"/>
                    <a:pt x="438" y="149"/>
                    <a:pt x="438" y="149"/>
                  </a:cubicBezTo>
                  <a:cubicBezTo>
                    <a:pt x="438" y="149"/>
                    <a:pt x="438" y="149"/>
                    <a:pt x="438" y="149"/>
                  </a:cubicBezTo>
                  <a:cubicBezTo>
                    <a:pt x="438" y="149"/>
                    <a:pt x="438" y="149"/>
                    <a:pt x="438" y="149"/>
                  </a:cubicBezTo>
                  <a:cubicBezTo>
                    <a:pt x="438" y="148"/>
                    <a:pt x="438" y="148"/>
                    <a:pt x="438" y="148"/>
                  </a:cubicBezTo>
                  <a:cubicBezTo>
                    <a:pt x="438" y="148"/>
                    <a:pt x="438" y="148"/>
                    <a:pt x="438" y="148"/>
                  </a:cubicBezTo>
                  <a:cubicBezTo>
                    <a:pt x="438" y="148"/>
                    <a:pt x="438" y="148"/>
                    <a:pt x="438" y="148"/>
                  </a:cubicBezTo>
                  <a:cubicBezTo>
                    <a:pt x="438" y="148"/>
                    <a:pt x="438" y="148"/>
                    <a:pt x="438" y="148"/>
                  </a:cubicBezTo>
                  <a:cubicBezTo>
                    <a:pt x="438" y="148"/>
                    <a:pt x="438" y="148"/>
                    <a:pt x="438" y="148"/>
                  </a:cubicBezTo>
                  <a:cubicBezTo>
                    <a:pt x="438" y="148"/>
                    <a:pt x="438" y="148"/>
                    <a:pt x="438" y="148"/>
                  </a:cubicBezTo>
                  <a:cubicBezTo>
                    <a:pt x="438" y="148"/>
                    <a:pt x="438" y="148"/>
                    <a:pt x="438" y="148"/>
                  </a:cubicBezTo>
                  <a:cubicBezTo>
                    <a:pt x="438" y="148"/>
                    <a:pt x="438" y="148"/>
                    <a:pt x="438" y="148"/>
                  </a:cubicBezTo>
                  <a:cubicBezTo>
                    <a:pt x="438" y="148"/>
                    <a:pt x="438" y="148"/>
                    <a:pt x="438" y="148"/>
                  </a:cubicBezTo>
                  <a:cubicBezTo>
                    <a:pt x="438" y="148"/>
                    <a:pt x="438" y="148"/>
                    <a:pt x="438" y="148"/>
                  </a:cubicBezTo>
                  <a:cubicBezTo>
                    <a:pt x="438" y="148"/>
                    <a:pt x="438" y="148"/>
                    <a:pt x="438" y="148"/>
                  </a:cubicBezTo>
                  <a:cubicBezTo>
                    <a:pt x="438" y="148"/>
                    <a:pt x="438" y="148"/>
                    <a:pt x="438" y="148"/>
                  </a:cubicBezTo>
                  <a:cubicBezTo>
                    <a:pt x="438" y="148"/>
                    <a:pt x="438" y="148"/>
                    <a:pt x="438" y="148"/>
                  </a:cubicBezTo>
                  <a:cubicBezTo>
                    <a:pt x="438" y="148"/>
                    <a:pt x="438" y="148"/>
                    <a:pt x="438" y="148"/>
                  </a:cubicBezTo>
                  <a:cubicBezTo>
                    <a:pt x="438" y="148"/>
                    <a:pt x="438" y="148"/>
                    <a:pt x="438" y="148"/>
                  </a:cubicBezTo>
                  <a:cubicBezTo>
                    <a:pt x="438" y="147"/>
                    <a:pt x="438" y="147"/>
                    <a:pt x="438" y="147"/>
                  </a:cubicBezTo>
                  <a:cubicBezTo>
                    <a:pt x="438" y="146"/>
                    <a:pt x="438" y="140"/>
                    <a:pt x="438" y="140"/>
                  </a:cubicBezTo>
                  <a:cubicBezTo>
                    <a:pt x="438" y="140"/>
                    <a:pt x="435" y="138"/>
                    <a:pt x="438" y="136"/>
                  </a:cubicBezTo>
                  <a:cubicBezTo>
                    <a:pt x="441" y="133"/>
                    <a:pt x="445" y="130"/>
                    <a:pt x="445" y="130"/>
                  </a:cubicBezTo>
                  <a:cubicBezTo>
                    <a:pt x="445" y="130"/>
                    <a:pt x="447" y="129"/>
                    <a:pt x="447" y="126"/>
                  </a:cubicBezTo>
                  <a:cubicBezTo>
                    <a:pt x="447" y="123"/>
                    <a:pt x="445" y="115"/>
                    <a:pt x="445" y="115"/>
                  </a:cubicBezTo>
                  <a:cubicBezTo>
                    <a:pt x="445" y="115"/>
                    <a:pt x="443" y="110"/>
                    <a:pt x="443" y="108"/>
                  </a:cubicBezTo>
                  <a:cubicBezTo>
                    <a:pt x="445" y="96"/>
                    <a:pt x="440" y="88"/>
                    <a:pt x="443" y="86"/>
                  </a:cubicBezTo>
                  <a:cubicBezTo>
                    <a:pt x="443" y="86"/>
                    <a:pt x="443" y="86"/>
                    <a:pt x="443" y="86"/>
                  </a:cubicBezTo>
                  <a:cubicBezTo>
                    <a:pt x="443" y="86"/>
                    <a:pt x="443" y="86"/>
                    <a:pt x="443" y="86"/>
                  </a:cubicBezTo>
                  <a:cubicBezTo>
                    <a:pt x="445" y="85"/>
                    <a:pt x="445" y="85"/>
                    <a:pt x="445" y="85"/>
                  </a:cubicBezTo>
                  <a:cubicBezTo>
                    <a:pt x="448" y="83"/>
                    <a:pt x="448" y="83"/>
                    <a:pt x="448" y="83"/>
                  </a:cubicBezTo>
                  <a:cubicBezTo>
                    <a:pt x="448" y="83"/>
                    <a:pt x="448" y="82"/>
                    <a:pt x="448" y="82"/>
                  </a:cubicBezTo>
                  <a:cubicBezTo>
                    <a:pt x="448" y="77"/>
                    <a:pt x="442" y="72"/>
                    <a:pt x="449" y="71"/>
                  </a:cubicBezTo>
                  <a:cubicBezTo>
                    <a:pt x="452" y="69"/>
                    <a:pt x="452" y="69"/>
                    <a:pt x="452" y="69"/>
                  </a:cubicBezTo>
                  <a:cubicBezTo>
                    <a:pt x="461" y="69"/>
                    <a:pt x="461" y="69"/>
                    <a:pt x="461" y="69"/>
                  </a:cubicBezTo>
                  <a:cubicBezTo>
                    <a:pt x="463" y="63"/>
                    <a:pt x="463" y="63"/>
                    <a:pt x="463" y="63"/>
                  </a:cubicBezTo>
                  <a:cubicBezTo>
                    <a:pt x="467" y="59"/>
                    <a:pt x="467" y="59"/>
                    <a:pt x="467" y="59"/>
                  </a:cubicBezTo>
                  <a:cubicBezTo>
                    <a:pt x="470" y="59"/>
                    <a:pt x="474" y="58"/>
                    <a:pt x="476" y="59"/>
                  </a:cubicBezTo>
                  <a:cubicBezTo>
                    <a:pt x="478" y="62"/>
                    <a:pt x="478" y="64"/>
                    <a:pt x="482" y="65"/>
                  </a:cubicBezTo>
                  <a:cubicBezTo>
                    <a:pt x="494" y="69"/>
                    <a:pt x="494" y="69"/>
                    <a:pt x="494" y="69"/>
                  </a:cubicBezTo>
                  <a:cubicBezTo>
                    <a:pt x="500" y="70"/>
                    <a:pt x="500" y="70"/>
                    <a:pt x="500" y="70"/>
                  </a:cubicBezTo>
                  <a:cubicBezTo>
                    <a:pt x="500" y="70"/>
                    <a:pt x="500" y="70"/>
                    <a:pt x="500" y="70"/>
                  </a:cubicBezTo>
                  <a:cubicBezTo>
                    <a:pt x="501" y="70"/>
                    <a:pt x="501" y="70"/>
                    <a:pt x="501" y="70"/>
                  </a:cubicBezTo>
                  <a:cubicBezTo>
                    <a:pt x="501" y="70"/>
                    <a:pt x="501" y="70"/>
                    <a:pt x="501" y="70"/>
                  </a:cubicBezTo>
                  <a:cubicBezTo>
                    <a:pt x="503" y="72"/>
                    <a:pt x="503" y="72"/>
                    <a:pt x="503" y="72"/>
                  </a:cubicBezTo>
                  <a:cubicBezTo>
                    <a:pt x="503" y="72"/>
                    <a:pt x="503" y="72"/>
                    <a:pt x="503" y="72"/>
                  </a:cubicBezTo>
                  <a:cubicBezTo>
                    <a:pt x="503" y="72"/>
                    <a:pt x="503" y="72"/>
                    <a:pt x="503" y="72"/>
                  </a:cubicBezTo>
                  <a:cubicBezTo>
                    <a:pt x="503" y="72"/>
                    <a:pt x="503" y="72"/>
                    <a:pt x="503" y="72"/>
                  </a:cubicBezTo>
                  <a:cubicBezTo>
                    <a:pt x="503" y="74"/>
                    <a:pt x="503" y="76"/>
                    <a:pt x="504" y="77"/>
                  </a:cubicBezTo>
                  <a:cubicBezTo>
                    <a:pt x="504" y="79"/>
                    <a:pt x="505" y="82"/>
                    <a:pt x="505" y="82"/>
                  </a:cubicBezTo>
                  <a:cubicBezTo>
                    <a:pt x="505" y="82"/>
                    <a:pt x="504" y="85"/>
                    <a:pt x="504" y="87"/>
                  </a:cubicBezTo>
                  <a:cubicBezTo>
                    <a:pt x="503" y="88"/>
                    <a:pt x="503" y="91"/>
                    <a:pt x="503" y="92"/>
                  </a:cubicBezTo>
                  <a:cubicBezTo>
                    <a:pt x="503" y="93"/>
                    <a:pt x="503" y="94"/>
                    <a:pt x="503" y="95"/>
                  </a:cubicBezTo>
                  <a:cubicBezTo>
                    <a:pt x="503" y="97"/>
                    <a:pt x="504" y="100"/>
                    <a:pt x="505" y="101"/>
                  </a:cubicBezTo>
                  <a:cubicBezTo>
                    <a:pt x="505" y="102"/>
                    <a:pt x="510" y="105"/>
                    <a:pt x="510" y="105"/>
                  </a:cubicBezTo>
                  <a:cubicBezTo>
                    <a:pt x="510" y="105"/>
                    <a:pt x="510" y="105"/>
                    <a:pt x="509" y="106"/>
                  </a:cubicBezTo>
                  <a:cubicBezTo>
                    <a:pt x="509" y="106"/>
                    <a:pt x="509" y="107"/>
                    <a:pt x="510" y="107"/>
                  </a:cubicBezTo>
                  <a:cubicBezTo>
                    <a:pt x="512" y="107"/>
                    <a:pt x="515" y="106"/>
                    <a:pt x="515" y="106"/>
                  </a:cubicBezTo>
                  <a:cubicBezTo>
                    <a:pt x="515" y="106"/>
                    <a:pt x="515" y="97"/>
                    <a:pt x="514" y="94"/>
                  </a:cubicBezTo>
                  <a:cubicBezTo>
                    <a:pt x="513" y="90"/>
                    <a:pt x="518" y="86"/>
                    <a:pt x="518" y="86"/>
                  </a:cubicBezTo>
                  <a:cubicBezTo>
                    <a:pt x="525" y="79"/>
                    <a:pt x="525" y="79"/>
                    <a:pt x="525" y="79"/>
                  </a:cubicBezTo>
                  <a:cubicBezTo>
                    <a:pt x="524" y="71"/>
                    <a:pt x="524" y="71"/>
                    <a:pt x="524" y="71"/>
                  </a:cubicBezTo>
                  <a:cubicBezTo>
                    <a:pt x="532" y="72"/>
                    <a:pt x="532" y="72"/>
                    <a:pt x="532" y="72"/>
                  </a:cubicBezTo>
                  <a:cubicBezTo>
                    <a:pt x="532" y="72"/>
                    <a:pt x="538" y="69"/>
                    <a:pt x="536" y="65"/>
                  </a:cubicBezTo>
                  <a:cubicBezTo>
                    <a:pt x="534" y="60"/>
                    <a:pt x="532" y="52"/>
                    <a:pt x="530" y="54"/>
                  </a:cubicBezTo>
                  <a:cubicBezTo>
                    <a:pt x="527" y="56"/>
                    <a:pt x="522" y="62"/>
                    <a:pt x="522" y="62"/>
                  </a:cubicBezTo>
                  <a:cubicBezTo>
                    <a:pt x="521" y="52"/>
                    <a:pt x="521" y="52"/>
                    <a:pt x="521" y="52"/>
                  </a:cubicBezTo>
                  <a:cubicBezTo>
                    <a:pt x="513" y="55"/>
                    <a:pt x="513" y="55"/>
                    <a:pt x="513" y="55"/>
                  </a:cubicBezTo>
                  <a:cubicBezTo>
                    <a:pt x="505" y="53"/>
                    <a:pt x="505" y="53"/>
                    <a:pt x="505" y="53"/>
                  </a:cubicBezTo>
                  <a:cubicBezTo>
                    <a:pt x="505" y="53"/>
                    <a:pt x="502" y="49"/>
                    <a:pt x="499" y="50"/>
                  </a:cubicBezTo>
                  <a:cubicBezTo>
                    <a:pt x="496" y="50"/>
                    <a:pt x="491" y="50"/>
                    <a:pt x="491" y="50"/>
                  </a:cubicBezTo>
                  <a:cubicBezTo>
                    <a:pt x="491" y="50"/>
                    <a:pt x="487" y="47"/>
                    <a:pt x="489" y="46"/>
                  </a:cubicBezTo>
                  <a:cubicBezTo>
                    <a:pt x="492" y="46"/>
                    <a:pt x="498" y="47"/>
                    <a:pt x="501" y="46"/>
                  </a:cubicBezTo>
                  <a:cubicBezTo>
                    <a:pt x="503" y="46"/>
                    <a:pt x="519" y="42"/>
                    <a:pt x="519" y="42"/>
                  </a:cubicBezTo>
                  <a:cubicBezTo>
                    <a:pt x="520" y="35"/>
                    <a:pt x="520" y="35"/>
                    <a:pt x="520" y="35"/>
                  </a:cubicBezTo>
                  <a:cubicBezTo>
                    <a:pt x="527" y="29"/>
                    <a:pt x="527" y="29"/>
                    <a:pt x="527" y="29"/>
                  </a:cubicBezTo>
                  <a:cubicBezTo>
                    <a:pt x="515" y="20"/>
                    <a:pt x="515" y="20"/>
                    <a:pt x="515" y="20"/>
                  </a:cubicBezTo>
                  <a:cubicBezTo>
                    <a:pt x="510" y="12"/>
                    <a:pt x="510" y="12"/>
                    <a:pt x="510" y="12"/>
                  </a:cubicBezTo>
                  <a:cubicBezTo>
                    <a:pt x="510" y="12"/>
                    <a:pt x="509" y="9"/>
                    <a:pt x="507" y="9"/>
                  </a:cubicBezTo>
                  <a:cubicBezTo>
                    <a:pt x="504" y="9"/>
                    <a:pt x="496" y="13"/>
                    <a:pt x="496" y="13"/>
                  </a:cubicBezTo>
                  <a:cubicBezTo>
                    <a:pt x="490" y="9"/>
                    <a:pt x="490" y="9"/>
                    <a:pt x="490" y="9"/>
                  </a:cubicBezTo>
                  <a:cubicBezTo>
                    <a:pt x="481" y="10"/>
                    <a:pt x="481" y="10"/>
                    <a:pt x="481" y="10"/>
                  </a:cubicBezTo>
                  <a:cubicBezTo>
                    <a:pt x="468" y="6"/>
                    <a:pt x="468" y="6"/>
                    <a:pt x="468" y="6"/>
                  </a:cubicBezTo>
                  <a:cubicBezTo>
                    <a:pt x="468" y="9"/>
                    <a:pt x="468" y="9"/>
                    <a:pt x="468" y="9"/>
                  </a:cubicBezTo>
                  <a:cubicBezTo>
                    <a:pt x="468" y="9"/>
                    <a:pt x="464" y="8"/>
                    <a:pt x="463" y="6"/>
                  </a:cubicBezTo>
                  <a:cubicBezTo>
                    <a:pt x="463" y="4"/>
                    <a:pt x="463" y="2"/>
                    <a:pt x="463" y="2"/>
                  </a:cubicBezTo>
                  <a:cubicBezTo>
                    <a:pt x="458" y="3"/>
                    <a:pt x="458" y="3"/>
                    <a:pt x="458" y="3"/>
                  </a:cubicBezTo>
                  <a:cubicBezTo>
                    <a:pt x="456" y="3"/>
                    <a:pt x="456" y="3"/>
                    <a:pt x="456" y="3"/>
                  </a:cubicBezTo>
                  <a:cubicBezTo>
                    <a:pt x="450" y="0"/>
                    <a:pt x="450" y="0"/>
                    <a:pt x="450" y="0"/>
                  </a:cubicBezTo>
                  <a:cubicBezTo>
                    <a:pt x="447" y="6"/>
                    <a:pt x="447" y="6"/>
                    <a:pt x="447" y="6"/>
                  </a:cubicBezTo>
                  <a:cubicBezTo>
                    <a:pt x="451" y="13"/>
                    <a:pt x="451" y="13"/>
                    <a:pt x="451" y="13"/>
                  </a:cubicBezTo>
                  <a:cubicBezTo>
                    <a:pt x="447" y="21"/>
                    <a:pt x="447" y="21"/>
                    <a:pt x="447" y="21"/>
                  </a:cubicBezTo>
                  <a:cubicBezTo>
                    <a:pt x="450" y="26"/>
                    <a:pt x="450" y="26"/>
                    <a:pt x="450" y="26"/>
                  </a:cubicBezTo>
                  <a:cubicBezTo>
                    <a:pt x="450" y="33"/>
                    <a:pt x="450" y="33"/>
                    <a:pt x="450" y="33"/>
                  </a:cubicBezTo>
                  <a:cubicBezTo>
                    <a:pt x="446" y="41"/>
                    <a:pt x="446" y="41"/>
                    <a:pt x="446" y="41"/>
                  </a:cubicBezTo>
                  <a:cubicBezTo>
                    <a:pt x="440" y="36"/>
                    <a:pt x="440" y="36"/>
                    <a:pt x="440" y="36"/>
                  </a:cubicBezTo>
                  <a:cubicBezTo>
                    <a:pt x="441" y="29"/>
                    <a:pt x="441" y="29"/>
                    <a:pt x="441" y="29"/>
                  </a:cubicBezTo>
                  <a:cubicBezTo>
                    <a:pt x="444" y="21"/>
                    <a:pt x="444" y="21"/>
                    <a:pt x="444" y="21"/>
                  </a:cubicBezTo>
                  <a:cubicBezTo>
                    <a:pt x="440" y="13"/>
                    <a:pt x="440" y="13"/>
                    <a:pt x="440" y="13"/>
                  </a:cubicBezTo>
                  <a:cubicBezTo>
                    <a:pt x="432" y="20"/>
                    <a:pt x="432" y="20"/>
                    <a:pt x="432" y="20"/>
                  </a:cubicBezTo>
                  <a:cubicBezTo>
                    <a:pt x="432" y="30"/>
                    <a:pt x="432" y="30"/>
                    <a:pt x="432" y="30"/>
                  </a:cubicBezTo>
                  <a:cubicBezTo>
                    <a:pt x="428" y="37"/>
                    <a:pt x="428" y="37"/>
                    <a:pt x="428" y="37"/>
                  </a:cubicBezTo>
                  <a:cubicBezTo>
                    <a:pt x="428" y="46"/>
                    <a:pt x="428" y="46"/>
                    <a:pt x="428" y="46"/>
                  </a:cubicBezTo>
                  <a:cubicBezTo>
                    <a:pt x="426" y="53"/>
                    <a:pt x="426" y="53"/>
                    <a:pt x="426" y="53"/>
                  </a:cubicBezTo>
                  <a:cubicBezTo>
                    <a:pt x="425" y="62"/>
                    <a:pt x="425" y="62"/>
                    <a:pt x="425" y="62"/>
                  </a:cubicBezTo>
                  <a:cubicBezTo>
                    <a:pt x="425" y="62"/>
                    <a:pt x="425" y="64"/>
                    <a:pt x="423" y="64"/>
                  </a:cubicBezTo>
                  <a:cubicBezTo>
                    <a:pt x="421" y="65"/>
                    <a:pt x="417" y="63"/>
                    <a:pt x="417" y="63"/>
                  </a:cubicBezTo>
                  <a:cubicBezTo>
                    <a:pt x="417" y="50"/>
                    <a:pt x="417" y="50"/>
                    <a:pt x="417" y="50"/>
                  </a:cubicBezTo>
                  <a:cubicBezTo>
                    <a:pt x="419" y="43"/>
                    <a:pt x="419" y="43"/>
                    <a:pt x="419" y="43"/>
                  </a:cubicBezTo>
                  <a:cubicBezTo>
                    <a:pt x="422" y="37"/>
                    <a:pt x="422" y="37"/>
                    <a:pt x="422" y="37"/>
                  </a:cubicBezTo>
                  <a:cubicBezTo>
                    <a:pt x="426" y="29"/>
                    <a:pt x="426" y="29"/>
                    <a:pt x="426" y="29"/>
                  </a:cubicBezTo>
                  <a:cubicBezTo>
                    <a:pt x="426" y="29"/>
                    <a:pt x="426" y="24"/>
                    <a:pt x="425" y="23"/>
                  </a:cubicBezTo>
                  <a:cubicBezTo>
                    <a:pt x="425" y="23"/>
                    <a:pt x="423" y="22"/>
                    <a:pt x="424" y="22"/>
                  </a:cubicBezTo>
                  <a:cubicBezTo>
                    <a:pt x="424" y="21"/>
                    <a:pt x="428" y="17"/>
                    <a:pt x="428" y="17"/>
                  </a:cubicBezTo>
                  <a:cubicBezTo>
                    <a:pt x="428" y="17"/>
                    <a:pt x="428" y="14"/>
                    <a:pt x="425" y="12"/>
                  </a:cubicBezTo>
                  <a:cubicBezTo>
                    <a:pt x="423" y="11"/>
                    <a:pt x="421" y="9"/>
                    <a:pt x="419" y="10"/>
                  </a:cubicBezTo>
                  <a:cubicBezTo>
                    <a:pt x="418" y="11"/>
                    <a:pt x="413" y="13"/>
                    <a:pt x="413" y="14"/>
                  </a:cubicBezTo>
                  <a:cubicBezTo>
                    <a:pt x="412" y="15"/>
                    <a:pt x="413" y="17"/>
                    <a:pt x="414" y="18"/>
                  </a:cubicBezTo>
                  <a:cubicBezTo>
                    <a:pt x="415" y="18"/>
                    <a:pt x="416" y="19"/>
                    <a:pt x="417" y="19"/>
                  </a:cubicBezTo>
                  <a:cubicBezTo>
                    <a:pt x="417" y="20"/>
                    <a:pt x="418" y="23"/>
                    <a:pt x="417" y="24"/>
                  </a:cubicBezTo>
                  <a:cubicBezTo>
                    <a:pt x="416" y="25"/>
                    <a:pt x="417" y="28"/>
                    <a:pt x="414" y="27"/>
                  </a:cubicBezTo>
                  <a:cubicBezTo>
                    <a:pt x="412" y="26"/>
                    <a:pt x="406" y="22"/>
                    <a:pt x="406" y="22"/>
                  </a:cubicBezTo>
                  <a:cubicBezTo>
                    <a:pt x="405" y="22"/>
                    <a:pt x="406" y="18"/>
                    <a:pt x="404" y="22"/>
                  </a:cubicBezTo>
                  <a:cubicBezTo>
                    <a:pt x="402" y="25"/>
                    <a:pt x="401" y="26"/>
                    <a:pt x="402" y="28"/>
                  </a:cubicBezTo>
                  <a:cubicBezTo>
                    <a:pt x="403" y="30"/>
                    <a:pt x="404" y="30"/>
                    <a:pt x="404" y="31"/>
                  </a:cubicBezTo>
                  <a:cubicBezTo>
                    <a:pt x="404" y="32"/>
                    <a:pt x="400" y="32"/>
                    <a:pt x="400" y="33"/>
                  </a:cubicBezTo>
                  <a:cubicBezTo>
                    <a:pt x="400" y="34"/>
                    <a:pt x="399" y="35"/>
                    <a:pt x="401" y="37"/>
                  </a:cubicBezTo>
                  <a:cubicBezTo>
                    <a:pt x="403" y="38"/>
                    <a:pt x="405" y="39"/>
                    <a:pt x="405" y="39"/>
                  </a:cubicBezTo>
                  <a:cubicBezTo>
                    <a:pt x="405" y="39"/>
                    <a:pt x="407" y="42"/>
                    <a:pt x="406" y="42"/>
                  </a:cubicBezTo>
                  <a:cubicBezTo>
                    <a:pt x="406" y="43"/>
                    <a:pt x="400" y="42"/>
                    <a:pt x="400" y="43"/>
                  </a:cubicBezTo>
                  <a:cubicBezTo>
                    <a:pt x="400" y="44"/>
                    <a:pt x="400" y="46"/>
                    <a:pt x="400" y="47"/>
                  </a:cubicBezTo>
                  <a:cubicBezTo>
                    <a:pt x="400" y="48"/>
                    <a:pt x="400" y="50"/>
                    <a:pt x="400" y="50"/>
                  </a:cubicBezTo>
                  <a:cubicBezTo>
                    <a:pt x="400" y="51"/>
                    <a:pt x="396" y="51"/>
                    <a:pt x="395" y="52"/>
                  </a:cubicBezTo>
                  <a:cubicBezTo>
                    <a:pt x="393" y="53"/>
                    <a:pt x="392" y="56"/>
                    <a:pt x="392" y="58"/>
                  </a:cubicBezTo>
                  <a:cubicBezTo>
                    <a:pt x="391" y="60"/>
                    <a:pt x="391" y="62"/>
                    <a:pt x="391" y="63"/>
                  </a:cubicBezTo>
                  <a:cubicBezTo>
                    <a:pt x="391" y="64"/>
                    <a:pt x="389" y="66"/>
                    <a:pt x="389" y="66"/>
                  </a:cubicBezTo>
                  <a:cubicBezTo>
                    <a:pt x="389" y="66"/>
                    <a:pt x="389" y="67"/>
                    <a:pt x="387" y="66"/>
                  </a:cubicBezTo>
                  <a:cubicBezTo>
                    <a:pt x="385" y="66"/>
                    <a:pt x="378" y="62"/>
                    <a:pt x="377" y="62"/>
                  </a:cubicBezTo>
                  <a:cubicBezTo>
                    <a:pt x="375" y="62"/>
                    <a:pt x="373" y="63"/>
                    <a:pt x="373" y="65"/>
                  </a:cubicBezTo>
                  <a:cubicBezTo>
                    <a:pt x="373" y="66"/>
                    <a:pt x="376" y="69"/>
                    <a:pt x="377" y="69"/>
                  </a:cubicBezTo>
                  <a:cubicBezTo>
                    <a:pt x="377" y="69"/>
                    <a:pt x="382" y="70"/>
                    <a:pt x="383" y="71"/>
                  </a:cubicBezTo>
                  <a:cubicBezTo>
                    <a:pt x="383" y="72"/>
                    <a:pt x="383" y="79"/>
                    <a:pt x="383" y="79"/>
                  </a:cubicBezTo>
                  <a:cubicBezTo>
                    <a:pt x="383" y="79"/>
                    <a:pt x="387" y="87"/>
                    <a:pt x="380" y="80"/>
                  </a:cubicBezTo>
                  <a:cubicBezTo>
                    <a:pt x="372" y="73"/>
                    <a:pt x="372" y="72"/>
                    <a:pt x="371" y="71"/>
                  </a:cubicBezTo>
                  <a:cubicBezTo>
                    <a:pt x="370" y="71"/>
                    <a:pt x="363" y="69"/>
                    <a:pt x="363" y="69"/>
                  </a:cubicBezTo>
                  <a:cubicBezTo>
                    <a:pt x="363" y="69"/>
                    <a:pt x="362" y="66"/>
                    <a:pt x="361" y="69"/>
                  </a:cubicBezTo>
                  <a:cubicBezTo>
                    <a:pt x="360" y="71"/>
                    <a:pt x="363" y="76"/>
                    <a:pt x="363" y="76"/>
                  </a:cubicBezTo>
                  <a:cubicBezTo>
                    <a:pt x="362" y="75"/>
                    <a:pt x="362" y="75"/>
                    <a:pt x="362" y="75"/>
                  </a:cubicBezTo>
                  <a:cubicBezTo>
                    <a:pt x="362" y="75"/>
                    <a:pt x="359" y="73"/>
                    <a:pt x="357" y="72"/>
                  </a:cubicBezTo>
                  <a:cubicBezTo>
                    <a:pt x="356" y="70"/>
                    <a:pt x="353" y="72"/>
                    <a:pt x="353" y="72"/>
                  </a:cubicBezTo>
                  <a:cubicBezTo>
                    <a:pt x="353" y="72"/>
                    <a:pt x="352" y="73"/>
                    <a:pt x="350" y="75"/>
                  </a:cubicBezTo>
                  <a:cubicBezTo>
                    <a:pt x="349" y="76"/>
                    <a:pt x="345" y="72"/>
                    <a:pt x="349" y="77"/>
                  </a:cubicBezTo>
                  <a:cubicBezTo>
                    <a:pt x="352" y="81"/>
                    <a:pt x="355" y="82"/>
                    <a:pt x="356" y="83"/>
                  </a:cubicBezTo>
                  <a:cubicBezTo>
                    <a:pt x="356" y="83"/>
                    <a:pt x="360" y="84"/>
                    <a:pt x="361" y="85"/>
                  </a:cubicBezTo>
                  <a:cubicBezTo>
                    <a:pt x="362" y="86"/>
                    <a:pt x="362" y="89"/>
                    <a:pt x="362" y="90"/>
                  </a:cubicBezTo>
                  <a:cubicBezTo>
                    <a:pt x="362" y="90"/>
                    <a:pt x="365" y="94"/>
                    <a:pt x="360" y="91"/>
                  </a:cubicBezTo>
                  <a:cubicBezTo>
                    <a:pt x="355" y="87"/>
                    <a:pt x="355" y="86"/>
                    <a:pt x="353" y="86"/>
                  </a:cubicBezTo>
                  <a:cubicBezTo>
                    <a:pt x="352" y="86"/>
                    <a:pt x="350" y="88"/>
                    <a:pt x="350" y="88"/>
                  </a:cubicBezTo>
                  <a:cubicBezTo>
                    <a:pt x="350" y="88"/>
                    <a:pt x="344" y="87"/>
                    <a:pt x="344" y="84"/>
                  </a:cubicBezTo>
                  <a:cubicBezTo>
                    <a:pt x="343" y="81"/>
                    <a:pt x="345" y="76"/>
                    <a:pt x="341" y="77"/>
                  </a:cubicBezTo>
                  <a:cubicBezTo>
                    <a:pt x="336" y="77"/>
                    <a:pt x="335" y="79"/>
                    <a:pt x="335" y="80"/>
                  </a:cubicBezTo>
                  <a:cubicBezTo>
                    <a:pt x="335" y="81"/>
                    <a:pt x="332" y="82"/>
                    <a:pt x="335" y="85"/>
                  </a:cubicBezTo>
                  <a:cubicBezTo>
                    <a:pt x="338" y="88"/>
                    <a:pt x="340" y="90"/>
                    <a:pt x="341" y="90"/>
                  </a:cubicBezTo>
                  <a:cubicBezTo>
                    <a:pt x="341" y="90"/>
                    <a:pt x="347" y="90"/>
                    <a:pt x="344" y="91"/>
                  </a:cubicBezTo>
                  <a:cubicBezTo>
                    <a:pt x="342" y="93"/>
                    <a:pt x="338" y="93"/>
                    <a:pt x="337" y="93"/>
                  </a:cubicBezTo>
                  <a:cubicBezTo>
                    <a:pt x="336" y="93"/>
                    <a:pt x="337" y="92"/>
                    <a:pt x="336" y="93"/>
                  </a:cubicBezTo>
                  <a:cubicBezTo>
                    <a:pt x="334" y="94"/>
                    <a:pt x="329" y="99"/>
                    <a:pt x="329" y="99"/>
                  </a:cubicBezTo>
                  <a:cubicBezTo>
                    <a:pt x="329" y="99"/>
                    <a:pt x="328" y="97"/>
                    <a:pt x="328" y="96"/>
                  </a:cubicBezTo>
                  <a:cubicBezTo>
                    <a:pt x="328" y="95"/>
                    <a:pt x="332" y="93"/>
                    <a:pt x="332" y="91"/>
                  </a:cubicBezTo>
                  <a:cubicBezTo>
                    <a:pt x="332" y="89"/>
                    <a:pt x="330" y="82"/>
                    <a:pt x="330" y="82"/>
                  </a:cubicBezTo>
                  <a:cubicBezTo>
                    <a:pt x="330" y="82"/>
                    <a:pt x="326" y="80"/>
                    <a:pt x="326" y="80"/>
                  </a:cubicBezTo>
                  <a:cubicBezTo>
                    <a:pt x="325" y="79"/>
                    <a:pt x="322" y="77"/>
                    <a:pt x="321" y="78"/>
                  </a:cubicBezTo>
                  <a:cubicBezTo>
                    <a:pt x="320" y="79"/>
                    <a:pt x="318" y="82"/>
                    <a:pt x="320" y="84"/>
                  </a:cubicBezTo>
                  <a:cubicBezTo>
                    <a:pt x="322" y="87"/>
                    <a:pt x="324" y="89"/>
                    <a:pt x="323" y="89"/>
                  </a:cubicBezTo>
                  <a:cubicBezTo>
                    <a:pt x="321" y="90"/>
                    <a:pt x="320" y="91"/>
                    <a:pt x="319" y="90"/>
                  </a:cubicBezTo>
                  <a:cubicBezTo>
                    <a:pt x="318" y="90"/>
                    <a:pt x="316" y="88"/>
                    <a:pt x="313" y="89"/>
                  </a:cubicBezTo>
                  <a:cubicBezTo>
                    <a:pt x="310" y="90"/>
                    <a:pt x="307" y="96"/>
                    <a:pt x="307" y="96"/>
                  </a:cubicBezTo>
                  <a:cubicBezTo>
                    <a:pt x="307" y="96"/>
                    <a:pt x="310" y="102"/>
                    <a:pt x="311" y="103"/>
                  </a:cubicBezTo>
                  <a:cubicBezTo>
                    <a:pt x="312" y="103"/>
                    <a:pt x="313" y="105"/>
                    <a:pt x="313" y="107"/>
                  </a:cubicBezTo>
                  <a:cubicBezTo>
                    <a:pt x="312" y="109"/>
                    <a:pt x="313" y="106"/>
                    <a:pt x="311" y="107"/>
                  </a:cubicBezTo>
                  <a:cubicBezTo>
                    <a:pt x="308" y="108"/>
                    <a:pt x="307" y="109"/>
                    <a:pt x="305" y="109"/>
                  </a:cubicBezTo>
                  <a:cubicBezTo>
                    <a:pt x="303" y="109"/>
                    <a:pt x="298" y="115"/>
                    <a:pt x="298" y="115"/>
                  </a:cubicBezTo>
                  <a:cubicBezTo>
                    <a:pt x="301" y="119"/>
                    <a:pt x="301" y="119"/>
                    <a:pt x="301" y="119"/>
                  </a:cubicBezTo>
                  <a:cubicBezTo>
                    <a:pt x="301" y="119"/>
                    <a:pt x="293" y="122"/>
                    <a:pt x="291" y="123"/>
                  </a:cubicBezTo>
                  <a:cubicBezTo>
                    <a:pt x="290" y="123"/>
                    <a:pt x="294" y="122"/>
                    <a:pt x="289" y="123"/>
                  </a:cubicBezTo>
                  <a:cubicBezTo>
                    <a:pt x="285" y="125"/>
                    <a:pt x="282" y="129"/>
                    <a:pt x="281" y="131"/>
                  </a:cubicBezTo>
                  <a:cubicBezTo>
                    <a:pt x="281" y="132"/>
                    <a:pt x="277" y="132"/>
                    <a:pt x="277" y="135"/>
                  </a:cubicBezTo>
                  <a:cubicBezTo>
                    <a:pt x="277" y="137"/>
                    <a:pt x="278" y="141"/>
                    <a:pt x="277" y="142"/>
                  </a:cubicBezTo>
                  <a:cubicBezTo>
                    <a:pt x="277" y="143"/>
                    <a:pt x="277" y="143"/>
                    <a:pt x="277" y="145"/>
                  </a:cubicBezTo>
                  <a:cubicBezTo>
                    <a:pt x="277" y="147"/>
                    <a:pt x="276" y="149"/>
                    <a:pt x="279" y="149"/>
                  </a:cubicBezTo>
                  <a:cubicBezTo>
                    <a:pt x="282" y="149"/>
                    <a:pt x="286" y="147"/>
                    <a:pt x="287" y="146"/>
                  </a:cubicBezTo>
                  <a:cubicBezTo>
                    <a:pt x="287" y="145"/>
                    <a:pt x="288" y="141"/>
                    <a:pt x="289" y="143"/>
                  </a:cubicBezTo>
                  <a:cubicBezTo>
                    <a:pt x="291" y="144"/>
                    <a:pt x="291" y="148"/>
                    <a:pt x="291" y="148"/>
                  </a:cubicBezTo>
                  <a:cubicBezTo>
                    <a:pt x="291" y="148"/>
                    <a:pt x="291" y="152"/>
                    <a:pt x="291" y="153"/>
                  </a:cubicBezTo>
                  <a:cubicBezTo>
                    <a:pt x="290" y="155"/>
                    <a:pt x="297" y="153"/>
                    <a:pt x="290" y="156"/>
                  </a:cubicBezTo>
                  <a:cubicBezTo>
                    <a:pt x="283" y="160"/>
                    <a:pt x="281" y="160"/>
                    <a:pt x="281" y="161"/>
                  </a:cubicBezTo>
                  <a:cubicBezTo>
                    <a:pt x="281" y="163"/>
                    <a:pt x="285" y="168"/>
                    <a:pt x="280" y="166"/>
                  </a:cubicBezTo>
                  <a:cubicBezTo>
                    <a:pt x="275" y="165"/>
                    <a:pt x="275" y="166"/>
                    <a:pt x="275" y="165"/>
                  </a:cubicBezTo>
                  <a:cubicBezTo>
                    <a:pt x="274" y="164"/>
                    <a:pt x="276" y="170"/>
                    <a:pt x="270" y="161"/>
                  </a:cubicBezTo>
                  <a:cubicBezTo>
                    <a:pt x="264" y="152"/>
                    <a:pt x="264" y="153"/>
                    <a:pt x="264" y="151"/>
                  </a:cubicBezTo>
                  <a:cubicBezTo>
                    <a:pt x="264" y="149"/>
                    <a:pt x="263" y="142"/>
                    <a:pt x="263" y="142"/>
                  </a:cubicBezTo>
                  <a:cubicBezTo>
                    <a:pt x="263" y="142"/>
                    <a:pt x="262" y="135"/>
                    <a:pt x="259" y="138"/>
                  </a:cubicBezTo>
                  <a:cubicBezTo>
                    <a:pt x="255" y="141"/>
                    <a:pt x="255" y="146"/>
                    <a:pt x="255" y="146"/>
                  </a:cubicBezTo>
                  <a:cubicBezTo>
                    <a:pt x="255" y="146"/>
                    <a:pt x="250" y="151"/>
                    <a:pt x="249" y="152"/>
                  </a:cubicBezTo>
                  <a:cubicBezTo>
                    <a:pt x="248" y="152"/>
                    <a:pt x="246" y="152"/>
                    <a:pt x="243" y="154"/>
                  </a:cubicBezTo>
                  <a:cubicBezTo>
                    <a:pt x="241" y="157"/>
                    <a:pt x="234" y="167"/>
                    <a:pt x="234" y="167"/>
                  </a:cubicBezTo>
                  <a:cubicBezTo>
                    <a:pt x="234" y="167"/>
                    <a:pt x="230" y="174"/>
                    <a:pt x="231" y="176"/>
                  </a:cubicBezTo>
                  <a:cubicBezTo>
                    <a:pt x="232" y="178"/>
                    <a:pt x="235" y="181"/>
                    <a:pt x="235" y="181"/>
                  </a:cubicBezTo>
                  <a:cubicBezTo>
                    <a:pt x="235" y="181"/>
                    <a:pt x="236" y="180"/>
                    <a:pt x="236" y="183"/>
                  </a:cubicBezTo>
                  <a:cubicBezTo>
                    <a:pt x="236" y="186"/>
                    <a:pt x="241" y="187"/>
                    <a:pt x="241" y="187"/>
                  </a:cubicBezTo>
                  <a:cubicBezTo>
                    <a:pt x="241" y="187"/>
                    <a:pt x="243" y="188"/>
                    <a:pt x="241" y="190"/>
                  </a:cubicBezTo>
                  <a:cubicBezTo>
                    <a:pt x="238" y="192"/>
                    <a:pt x="230" y="193"/>
                    <a:pt x="230" y="193"/>
                  </a:cubicBezTo>
                  <a:cubicBezTo>
                    <a:pt x="222" y="193"/>
                    <a:pt x="222" y="193"/>
                    <a:pt x="222" y="193"/>
                  </a:cubicBezTo>
                  <a:cubicBezTo>
                    <a:pt x="222" y="193"/>
                    <a:pt x="218" y="198"/>
                    <a:pt x="217" y="198"/>
                  </a:cubicBezTo>
                  <a:cubicBezTo>
                    <a:pt x="215" y="199"/>
                    <a:pt x="212" y="201"/>
                    <a:pt x="211" y="204"/>
                  </a:cubicBezTo>
                  <a:cubicBezTo>
                    <a:pt x="211" y="206"/>
                    <a:pt x="202" y="214"/>
                    <a:pt x="202" y="214"/>
                  </a:cubicBezTo>
                  <a:cubicBezTo>
                    <a:pt x="202" y="214"/>
                    <a:pt x="202" y="217"/>
                    <a:pt x="202" y="218"/>
                  </a:cubicBezTo>
                  <a:cubicBezTo>
                    <a:pt x="202" y="219"/>
                    <a:pt x="198" y="221"/>
                    <a:pt x="200" y="222"/>
                  </a:cubicBezTo>
                  <a:cubicBezTo>
                    <a:pt x="202" y="223"/>
                    <a:pt x="205" y="224"/>
                    <a:pt x="207" y="220"/>
                  </a:cubicBezTo>
                  <a:cubicBezTo>
                    <a:pt x="209" y="217"/>
                    <a:pt x="209" y="212"/>
                    <a:pt x="209" y="212"/>
                  </a:cubicBezTo>
                  <a:cubicBezTo>
                    <a:pt x="209" y="212"/>
                    <a:pt x="211" y="210"/>
                    <a:pt x="213" y="210"/>
                  </a:cubicBezTo>
                  <a:cubicBezTo>
                    <a:pt x="216" y="210"/>
                    <a:pt x="219" y="207"/>
                    <a:pt x="222" y="206"/>
                  </a:cubicBezTo>
                  <a:cubicBezTo>
                    <a:pt x="225" y="206"/>
                    <a:pt x="229" y="201"/>
                    <a:pt x="230" y="201"/>
                  </a:cubicBezTo>
                  <a:cubicBezTo>
                    <a:pt x="232" y="201"/>
                    <a:pt x="231" y="202"/>
                    <a:pt x="235" y="201"/>
                  </a:cubicBezTo>
                  <a:cubicBezTo>
                    <a:pt x="239" y="201"/>
                    <a:pt x="243" y="201"/>
                    <a:pt x="244" y="200"/>
                  </a:cubicBezTo>
                  <a:cubicBezTo>
                    <a:pt x="246" y="199"/>
                    <a:pt x="254" y="204"/>
                    <a:pt x="255" y="205"/>
                  </a:cubicBezTo>
                  <a:cubicBezTo>
                    <a:pt x="255" y="206"/>
                    <a:pt x="248" y="207"/>
                    <a:pt x="251" y="209"/>
                  </a:cubicBezTo>
                  <a:cubicBezTo>
                    <a:pt x="255" y="211"/>
                    <a:pt x="255" y="212"/>
                    <a:pt x="256" y="212"/>
                  </a:cubicBezTo>
                  <a:cubicBezTo>
                    <a:pt x="257" y="212"/>
                    <a:pt x="259" y="211"/>
                    <a:pt x="262" y="210"/>
                  </a:cubicBezTo>
                  <a:cubicBezTo>
                    <a:pt x="264" y="208"/>
                    <a:pt x="260" y="205"/>
                    <a:pt x="266" y="207"/>
                  </a:cubicBezTo>
                  <a:cubicBezTo>
                    <a:pt x="271" y="209"/>
                    <a:pt x="271" y="211"/>
                    <a:pt x="271" y="211"/>
                  </a:cubicBezTo>
                  <a:cubicBezTo>
                    <a:pt x="270" y="213"/>
                    <a:pt x="270" y="213"/>
                    <a:pt x="270" y="213"/>
                  </a:cubicBezTo>
                  <a:cubicBezTo>
                    <a:pt x="266" y="214"/>
                    <a:pt x="266" y="214"/>
                    <a:pt x="266" y="214"/>
                  </a:cubicBezTo>
                  <a:cubicBezTo>
                    <a:pt x="260" y="213"/>
                    <a:pt x="260" y="213"/>
                    <a:pt x="260" y="213"/>
                  </a:cubicBezTo>
                  <a:cubicBezTo>
                    <a:pt x="256" y="215"/>
                    <a:pt x="256" y="215"/>
                    <a:pt x="256" y="215"/>
                  </a:cubicBezTo>
                  <a:cubicBezTo>
                    <a:pt x="256" y="215"/>
                    <a:pt x="255" y="216"/>
                    <a:pt x="254" y="216"/>
                  </a:cubicBezTo>
                  <a:cubicBezTo>
                    <a:pt x="254" y="216"/>
                    <a:pt x="245" y="217"/>
                    <a:pt x="245" y="217"/>
                  </a:cubicBezTo>
                  <a:cubicBezTo>
                    <a:pt x="241" y="223"/>
                    <a:pt x="241" y="223"/>
                    <a:pt x="241" y="223"/>
                  </a:cubicBezTo>
                  <a:cubicBezTo>
                    <a:pt x="241" y="223"/>
                    <a:pt x="244" y="227"/>
                    <a:pt x="244" y="227"/>
                  </a:cubicBezTo>
                  <a:cubicBezTo>
                    <a:pt x="245" y="227"/>
                    <a:pt x="251" y="225"/>
                    <a:pt x="251" y="226"/>
                  </a:cubicBezTo>
                  <a:cubicBezTo>
                    <a:pt x="252" y="226"/>
                    <a:pt x="253" y="228"/>
                    <a:pt x="252" y="229"/>
                  </a:cubicBezTo>
                  <a:cubicBezTo>
                    <a:pt x="252" y="230"/>
                    <a:pt x="248" y="233"/>
                    <a:pt x="248" y="233"/>
                  </a:cubicBezTo>
                  <a:cubicBezTo>
                    <a:pt x="246" y="237"/>
                    <a:pt x="246" y="237"/>
                    <a:pt x="246" y="237"/>
                  </a:cubicBezTo>
                  <a:cubicBezTo>
                    <a:pt x="246" y="237"/>
                    <a:pt x="250" y="238"/>
                    <a:pt x="251" y="238"/>
                  </a:cubicBezTo>
                  <a:cubicBezTo>
                    <a:pt x="251" y="238"/>
                    <a:pt x="257" y="238"/>
                    <a:pt x="256" y="239"/>
                  </a:cubicBezTo>
                  <a:cubicBezTo>
                    <a:pt x="256" y="239"/>
                    <a:pt x="247" y="240"/>
                    <a:pt x="247" y="240"/>
                  </a:cubicBezTo>
                  <a:cubicBezTo>
                    <a:pt x="247" y="240"/>
                    <a:pt x="239" y="239"/>
                    <a:pt x="240" y="239"/>
                  </a:cubicBezTo>
                  <a:cubicBezTo>
                    <a:pt x="240" y="240"/>
                    <a:pt x="239" y="242"/>
                    <a:pt x="239" y="243"/>
                  </a:cubicBezTo>
                  <a:cubicBezTo>
                    <a:pt x="239" y="243"/>
                    <a:pt x="237" y="246"/>
                    <a:pt x="237" y="246"/>
                  </a:cubicBezTo>
                  <a:cubicBezTo>
                    <a:pt x="236" y="246"/>
                    <a:pt x="234" y="246"/>
                    <a:pt x="233" y="247"/>
                  </a:cubicBezTo>
                  <a:cubicBezTo>
                    <a:pt x="233" y="248"/>
                    <a:pt x="232" y="250"/>
                    <a:pt x="232" y="252"/>
                  </a:cubicBezTo>
                  <a:cubicBezTo>
                    <a:pt x="232" y="253"/>
                    <a:pt x="235" y="256"/>
                    <a:pt x="235" y="256"/>
                  </a:cubicBezTo>
                  <a:cubicBezTo>
                    <a:pt x="234" y="258"/>
                    <a:pt x="234" y="258"/>
                    <a:pt x="234" y="258"/>
                  </a:cubicBezTo>
                  <a:cubicBezTo>
                    <a:pt x="230" y="262"/>
                    <a:pt x="230" y="262"/>
                    <a:pt x="230" y="262"/>
                  </a:cubicBezTo>
                  <a:cubicBezTo>
                    <a:pt x="230" y="262"/>
                    <a:pt x="228" y="263"/>
                    <a:pt x="228" y="264"/>
                  </a:cubicBezTo>
                  <a:cubicBezTo>
                    <a:pt x="229" y="264"/>
                    <a:pt x="225" y="266"/>
                    <a:pt x="225" y="266"/>
                  </a:cubicBezTo>
                  <a:cubicBezTo>
                    <a:pt x="218" y="270"/>
                    <a:pt x="218" y="270"/>
                    <a:pt x="218" y="270"/>
                  </a:cubicBezTo>
                  <a:cubicBezTo>
                    <a:pt x="218" y="270"/>
                    <a:pt x="219" y="273"/>
                    <a:pt x="219" y="274"/>
                  </a:cubicBezTo>
                  <a:cubicBezTo>
                    <a:pt x="219" y="274"/>
                    <a:pt x="222" y="276"/>
                    <a:pt x="220" y="278"/>
                  </a:cubicBezTo>
                  <a:cubicBezTo>
                    <a:pt x="218" y="279"/>
                    <a:pt x="216" y="280"/>
                    <a:pt x="215" y="281"/>
                  </a:cubicBezTo>
                  <a:cubicBezTo>
                    <a:pt x="215" y="281"/>
                    <a:pt x="213" y="282"/>
                    <a:pt x="213" y="285"/>
                  </a:cubicBezTo>
                  <a:cubicBezTo>
                    <a:pt x="214" y="287"/>
                    <a:pt x="212" y="290"/>
                    <a:pt x="211" y="290"/>
                  </a:cubicBezTo>
                  <a:cubicBezTo>
                    <a:pt x="211" y="290"/>
                    <a:pt x="209" y="291"/>
                    <a:pt x="209" y="294"/>
                  </a:cubicBezTo>
                  <a:cubicBezTo>
                    <a:pt x="210" y="296"/>
                    <a:pt x="209" y="303"/>
                    <a:pt x="209" y="303"/>
                  </a:cubicBezTo>
                  <a:cubicBezTo>
                    <a:pt x="209" y="303"/>
                    <a:pt x="212" y="307"/>
                    <a:pt x="213" y="307"/>
                  </a:cubicBezTo>
                  <a:cubicBezTo>
                    <a:pt x="213" y="307"/>
                    <a:pt x="218" y="305"/>
                    <a:pt x="219" y="306"/>
                  </a:cubicBezTo>
                  <a:cubicBezTo>
                    <a:pt x="221" y="306"/>
                    <a:pt x="224" y="308"/>
                    <a:pt x="224" y="308"/>
                  </a:cubicBezTo>
                  <a:cubicBezTo>
                    <a:pt x="224" y="308"/>
                    <a:pt x="223" y="313"/>
                    <a:pt x="222" y="314"/>
                  </a:cubicBezTo>
                  <a:cubicBezTo>
                    <a:pt x="221" y="314"/>
                    <a:pt x="215" y="315"/>
                    <a:pt x="215" y="315"/>
                  </a:cubicBezTo>
                  <a:cubicBezTo>
                    <a:pt x="215" y="315"/>
                    <a:pt x="212" y="313"/>
                    <a:pt x="211" y="313"/>
                  </a:cubicBezTo>
                  <a:cubicBezTo>
                    <a:pt x="210" y="314"/>
                    <a:pt x="205" y="319"/>
                    <a:pt x="205" y="319"/>
                  </a:cubicBezTo>
                  <a:cubicBezTo>
                    <a:pt x="205" y="319"/>
                    <a:pt x="205" y="322"/>
                    <a:pt x="204" y="322"/>
                  </a:cubicBezTo>
                  <a:cubicBezTo>
                    <a:pt x="202" y="323"/>
                    <a:pt x="201" y="321"/>
                    <a:pt x="201" y="323"/>
                  </a:cubicBezTo>
                  <a:cubicBezTo>
                    <a:pt x="201" y="324"/>
                    <a:pt x="201" y="327"/>
                    <a:pt x="201" y="328"/>
                  </a:cubicBezTo>
                  <a:cubicBezTo>
                    <a:pt x="201" y="330"/>
                    <a:pt x="201" y="333"/>
                    <a:pt x="201" y="333"/>
                  </a:cubicBezTo>
                  <a:cubicBezTo>
                    <a:pt x="201" y="333"/>
                    <a:pt x="199" y="337"/>
                    <a:pt x="198" y="339"/>
                  </a:cubicBezTo>
                  <a:cubicBezTo>
                    <a:pt x="197" y="341"/>
                    <a:pt x="195" y="346"/>
                    <a:pt x="195" y="347"/>
                  </a:cubicBezTo>
                  <a:cubicBezTo>
                    <a:pt x="196" y="348"/>
                    <a:pt x="198" y="353"/>
                    <a:pt x="198" y="353"/>
                  </a:cubicBezTo>
                  <a:cubicBezTo>
                    <a:pt x="191" y="357"/>
                    <a:pt x="191" y="357"/>
                    <a:pt x="191" y="357"/>
                  </a:cubicBezTo>
                  <a:cubicBezTo>
                    <a:pt x="193" y="362"/>
                    <a:pt x="193" y="362"/>
                    <a:pt x="193" y="362"/>
                  </a:cubicBezTo>
                  <a:cubicBezTo>
                    <a:pt x="193" y="362"/>
                    <a:pt x="194" y="362"/>
                    <a:pt x="194" y="363"/>
                  </a:cubicBezTo>
                  <a:cubicBezTo>
                    <a:pt x="194" y="365"/>
                    <a:pt x="189" y="368"/>
                    <a:pt x="189" y="368"/>
                  </a:cubicBezTo>
                  <a:cubicBezTo>
                    <a:pt x="189" y="368"/>
                    <a:pt x="189" y="373"/>
                    <a:pt x="189" y="374"/>
                  </a:cubicBezTo>
                  <a:cubicBezTo>
                    <a:pt x="189" y="375"/>
                    <a:pt x="184" y="371"/>
                    <a:pt x="184" y="371"/>
                  </a:cubicBezTo>
                  <a:cubicBezTo>
                    <a:pt x="180" y="372"/>
                    <a:pt x="180" y="372"/>
                    <a:pt x="180" y="372"/>
                  </a:cubicBezTo>
                  <a:cubicBezTo>
                    <a:pt x="180" y="376"/>
                    <a:pt x="180" y="376"/>
                    <a:pt x="180" y="376"/>
                  </a:cubicBezTo>
                  <a:cubicBezTo>
                    <a:pt x="178" y="380"/>
                    <a:pt x="178" y="380"/>
                    <a:pt x="178" y="380"/>
                  </a:cubicBezTo>
                  <a:cubicBezTo>
                    <a:pt x="171" y="380"/>
                    <a:pt x="171" y="380"/>
                    <a:pt x="171" y="380"/>
                  </a:cubicBezTo>
                  <a:cubicBezTo>
                    <a:pt x="171" y="380"/>
                    <a:pt x="165" y="384"/>
                    <a:pt x="165" y="384"/>
                  </a:cubicBezTo>
                  <a:cubicBezTo>
                    <a:pt x="166" y="385"/>
                    <a:pt x="163" y="388"/>
                    <a:pt x="166" y="388"/>
                  </a:cubicBezTo>
                  <a:cubicBezTo>
                    <a:pt x="168" y="388"/>
                    <a:pt x="169" y="388"/>
                    <a:pt x="170" y="388"/>
                  </a:cubicBezTo>
                  <a:cubicBezTo>
                    <a:pt x="172" y="387"/>
                    <a:pt x="176" y="385"/>
                    <a:pt x="177" y="385"/>
                  </a:cubicBezTo>
                  <a:cubicBezTo>
                    <a:pt x="178" y="385"/>
                    <a:pt x="181" y="385"/>
                    <a:pt x="179" y="387"/>
                  </a:cubicBezTo>
                  <a:cubicBezTo>
                    <a:pt x="177" y="389"/>
                    <a:pt x="175" y="389"/>
                    <a:pt x="174" y="390"/>
                  </a:cubicBezTo>
                  <a:cubicBezTo>
                    <a:pt x="172" y="391"/>
                    <a:pt x="169" y="391"/>
                    <a:pt x="169" y="394"/>
                  </a:cubicBezTo>
                  <a:cubicBezTo>
                    <a:pt x="169" y="397"/>
                    <a:pt x="168" y="400"/>
                    <a:pt x="168" y="400"/>
                  </a:cubicBezTo>
                  <a:cubicBezTo>
                    <a:pt x="175" y="398"/>
                    <a:pt x="175" y="398"/>
                    <a:pt x="175" y="398"/>
                  </a:cubicBezTo>
                  <a:cubicBezTo>
                    <a:pt x="175" y="398"/>
                    <a:pt x="177" y="397"/>
                    <a:pt x="177" y="400"/>
                  </a:cubicBezTo>
                  <a:cubicBezTo>
                    <a:pt x="178" y="404"/>
                    <a:pt x="175" y="405"/>
                    <a:pt x="173" y="405"/>
                  </a:cubicBezTo>
                  <a:cubicBezTo>
                    <a:pt x="172" y="405"/>
                    <a:pt x="167" y="401"/>
                    <a:pt x="167" y="401"/>
                  </a:cubicBezTo>
                  <a:cubicBezTo>
                    <a:pt x="163" y="404"/>
                    <a:pt x="163" y="404"/>
                    <a:pt x="163" y="404"/>
                  </a:cubicBezTo>
                  <a:cubicBezTo>
                    <a:pt x="163" y="404"/>
                    <a:pt x="162" y="403"/>
                    <a:pt x="158" y="406"/>
                  </a:cubicBezTo>
                  <a:cubicBezTo>
                    <a:pt x="154" y="410"/>
                    <a:pt x="152" y="415"/>
                    <a:pt x="152" y="416"/>
                  </a:cubicBezTo>
                  <a:cubicBezTo>
                    <a:pt x="152" y="417"/>
                    <a:pt x="152" y="419"/>
                    <a:pt x="149" y="421"/>
                  </a:cubicBezTo>
                  <a:cubicBezTo>
                    <a:pt x="147" y="422"/>
                    <a:pt x="144" y="425"/>
                    <a:pt x="144" y="425"/>
                  </a:cubicBezTo>
                  <a:cubicBezTo>
                    <a:pt x="144" y="425"/>
                    <a:pt x="143" y="428"/>
                    <a:pt x="142" y="430"/>
                  </a:cubicBezTo>
                  <a:cubicBezTo>
                    <a:pt x="141" y="432"/>
                    <a:pt x="141" y="432"/>
                    <a:pt x="141" y="432"/>
                  </a:cubicBezTo>
                  <a:cubicBezTo>
                    <a:pt x="145" y="436"/>
                    <a:pt x="145" y="436"/>
                    <a:pt x="145" y="436"/>
                  </a:cubicBezTo>
                  <a:cubicBezTo>
                    <a:pt x="138" y="440"/>
                    <a:pt x="138" y="440"/>
                    <a:pt x="138" y="440"/>
                  </a:cubicBezTo>
                  <a:cubicBezTo>
                    <a:pt x="135" y="442"/>
                    <a:pt x="135" y="442"/>
                    <a:pt x="135" y="442"/>
                  </a:cubicBezTo>
                  <a:cubicBezTo>
                    <a:pt x="135" y="442"/>
                    <a:pt x="129" y="448"/>
                    <a:pt x="133" y="449"/>
                  </a:cubicBezTo>
                  <a:cubicBezTo>
                    <a:pt x="138" y="450"/>
                    <a:pt x="141" y="450"/>
                    <a:pt x="141" y="450"/>
                  </a:cubicBezTo>
                  <a:cubicBezTo>
                    <a:pt x="141" y="450"/>
                    <a:pt x="140" y="456"/>
                    <a:pt x="141" y="456"/>
                  </a:cubicBezTo>
                  <a:cubicBezTo>
                    <a:pt x="142" y="456"/>
                    <a:pt x="151" y="456"/>
                    <a:pt x="151" y="456"/>
                  </a:cubicBezTo>
                  <a:cubicBezTo>
                    <a:pt x="156" y="452"/>
                    <a:pt x="156" y="452"/>
                    <a:pt x="156" y="452"/>
                  </a:cubicBezTo>
                  <a:cubicBezTo>
                    <a:pt x="159" y="450"/>
                    <a:pt x="159" y="450"/>
                    <a:pt x="159" y="450"/>
                  </a:cubicBezTo>
                  <a:cubicBezTo>
                    <a:pt x="161" y="454"/>
                    <a:pt x="161" y="454"/>
                    <a:pt x="161" y="454"/>
                  </a:cubicBezTo>
                  <a:cubicBezTo>
                    <a:pt x="161" y="454"/>
                    <a:pt x="159" y="457"/>
                    <a:pt x="157" y="457"/>
                  </a:cubicBezTo>
                  <a:cubicBezTo>
                    <a:pt x="154" y="457"/>
                    <a:pt x="155" y="457"/>
                    <a:pt x="153" y="459"/>
                  </a:cubicBezTo>
                  <a:cubicBezTo>
                    <a:pt x="150" y="462"/>
                    <a:pt x="149" y="463"/>
                    <a:pt x="147" y="463"/>
                  </a:cubicBezTo>
                  <a:cubicBezTo>
                    <a:pt x="146" y="463"/>
                    <a:pt x="144" y="466"/>
                    <a:pt x="142" y="462"/>
                  </a:cubicBezTo>
                  <a:cubicBezTo>
                    <a:pt x="141" y="459"/>
                    <a:pt x="139" y="456"/>
                    <a:pt x="139" y="456"/>
                  </a:cubicBezTo>
                  <a:cubicBezTo>
                    <a:pt x="130" y="452"/>
                    <a:pt x="130" y="452"/>
                    <a:pt x="130" y="452"/>
                  </a:cubicBezTo>
                  <a:cubicBezTo>
                    <a:pt x="128" y="453"/>
                    <a:pt x="128" y="453"/>
                    <a:pt x="128" y="453"/>
                  </a:cubicBezTo>
                  <a:cubicBezTo>
                    <a:pt x="128" y="453"/>
                    <a:pt x="127" y="457"/>
                    <a:pt x="126" y="457"/>
                  </a:cubicBezTo>
                  <a:cubicBezTo>
                    <a:pt x="125" y="457"/>
                    <a:pt x="119" y="457"/>
                    <a:pt x="117" y="457"/>
                  </a:cubicBezTo>
                  <a:cubicBezTo>
                    <a:pt x="116" y="457"/>
                    <a:pt x="114" y="457"/>
                    <a:pt x="114" y="456"/>
                  </a:cubicBezTo>
                  <a:cubicBezTo>
                    <a:pt x="113" y="454"/>
                    <a:pt x="114" y="454"/>
                    <a:pt x="113" y="453"/>
                  </a:cubicBezTo>
                  <a:cubicBezTo>
                    <a:pt x="112" y="452"/>
                    <a:pt x="110" y="448"/>
                    <a:pt x="108" y="449"/>
                  </a:cubicBezTo>
                  <a:cubicBezTo>
                    <a:pt x="107" y="449"/>
                    <a:pt x="102" y="451"/>
                    <a:pt x="102" y="451"/>
                  </a:cubicBezTo>
                  <a:cubicBezTo>
                    <a:pt x="101" y="459"/>
                    <a:pt x="101" y="459"/>
                    <a:pt x="101" y="459"/>
                  </a:cubicBezTo>
                  <a:cubicBezTo>
                    <a:pt x="101" y="459"/>
                    <a:pt x="98" y="459"/>
                    <a:pt x="99" y="461"/>
                  </a:cubicBezTo>
                  <a:cubicBezTo>
                    <a:pt x="99" y="463"/>
                    <a:pt x="103" y="465"/>
                    <a:pt x="103" y="465"/>
                  </a:cubicBezTo>
                  <a:cubicBezTo>
                    <a:pt x="103" y="465"/>
                    <a:pt x="105" y="467"/>
                    <a:pt x="105" y="468"/>
                  </a:cubicBezTo>
                  <a:cubicBezTo>
                    <a:pt x="106" y="470"/>
                    <a:pt x="103" y="472"/>
                    <a:pt x="103" y="472"/>
                  </a:cubicBezTo>
                  <a:cubicBezTo>
                    <a:pt x="103" y="472"/>
                    <a:pt x="98" y="472"/>
                    <a:pt x="97" y="474"/>
                  </a:cubicBezTo>
                  <a:cubicBezTo>
                    <a:pt x="97" y="475"/>
                    <a:pt x="98" y="478"/>
                    <a:pt x="97" y="478"/>
                  </a:cubicBezTo>
                  <a:cubicBezTo>
                    <a:pt x="96" y="479"/>
                    <a:pt x="95" y="481"/>
                    <a:pt x="95" y="482"/>
                  </a:cubicBezTo>
                  <a:cubicBezTo>
                    <a:pt x="95" y="482"/>
                    <a:pt x="97" y="487"/>
                    <a:pt x="97" y="487"/>
                  </a:cubicBezTo>
                  <a:cubicBezTo>
                    <a:pt x="97" y="487"/>
                    <a:pt x="97" y="491"/>
                    <a:pt x="95" y="489"/>
                  </a:cubicBezTo>
                  <a:cubicBezTo>
                    <a:pt x="93" y="487"/>
                    <a:pt x="87" y="484"/>
                    <a:pt x="87" y="484"/>
                  </a:cubicBezTo>
                  <a:cubicBezTo>
                    <a:pt x="83" y="481"/>
                    <a:pt x="83" y="481"/>
                    <a:pt x="83" y="481"/>
                  </a:cubicBezTo>
                  <a:cubicBezTo>
                    <a:pt x="83" y="481"/>
                    <a:pt x="79" y="484"/>
                    <a:pt x="78" y="484"/>
                  </a:cubicBezTo>
                  <a:cubicBezTo>
                    <a:pt x="78" y="485"/>
                    <a:pt x="71" y="484"/>
                    <a:pt x="69" y="485"/>
                  </a:cubicBezTo>
                  <a:cubicBezTo>
                    <a:pt x="68" y="486"/>
                    <a:pt x="68" y="487"/>
                    <a:pt x="67" y="489"/>
                  </a:cubicBezTo>
                  <a:cubicBezTo>
                    <a:pt x="65" y="491"/>
                    <a:pt x="62" y="491"/>
                    <a:pt x="65" y="494"/>
                  </a:cubicBezTo>
                  <a:cubicBezTo>
                    <a:pt x="67" y="497"/>
                    <a:pt x="72" y="498"/>
                    <a:pt x="72" y="498"/>
                  </a:cubicBezTo>
                  <a:cubicBezTo>
                    <a:pt x="72" y="498"/>
                    <a:pt x="74" y="499"/>
                    <a:pt x="72" y="502"/>
                  </a:cubicBezTo>
                  <a:cubicBezTo>
                    <a:pt x="70" y="506"/>
                    <a:pt x="66" y="503"/>
                    <a:pt x="65" y="503"/>
                  </a:cubicBezTo>
                  <a:cubicBezTo>
                    <a:pt x="64" y="502"/>
                    <a:pt x="60" y="499"/>
                    <a:pt x="59" y="500"/>
                  </a:cubicBezTo>
                  <a:cubicBezTo>
                    <a:pt x="58" y="501"/>
                    <a:pt x="55" y="506"/>
                    <a:pt x="55" y="506"/>
                  </a:cubicBezTo>
                  <a:cubicBezTo>
                    <a:pt x="55" y="506"/>
                    <a:pt x="52" y="507"/>
                    <a:pt x="51" y="506"/>
                  </a:cubicBezTo>
                  <a:cubicBezTo>
                    <a:pt x="50" y="506"/>
                    <a:pt x="47" y="501"/>
                    <a:pt x="46" y="502"/>
                  </a:cubicBezTo>
                  <a:cubicBezTo>
                    <a:pt x="45" y="503"/>
                    <a:pt x="44" y="505"/>
                    <a:pt x="44" y="506"/>
                  </a:cubicBezTo>
                  <a:cubicBezTo>
                    <a:pt x="44" y="507"/>
                    <a:pt x="46" y="509"/>
                    <a:pt x="45" y="510"/>
                  </a:cubicBezTo>
                  <a:cubicBezTo>
                    <a:pt x="45" y="511"/>
                    <a:pt x="40" y="512"/>
                    <a:pt x="39" y="513"/>
                  </a:cubicBezTo>
                  <a:cubicBezTo>
                    <a:pt x="39" y="514"/>
                    <a:pt x="39" y="512"/>
                    <a:pt x="37" y="516"/>
                  </a:cubicBezTo>
                  <a:cubicBezTo>
                    <a:pt x="36" y="520"/>
                    <a:pt x="37" y="520"/>
                    <a:pt x="36" y="520"/>
                  </a:cubicBezTo>
                  <a:cubicBezTo>
                    <a:pt x="34" y="521"/>
                    <a:pt x="30" y="518"/>
                    <a:pt x="30" y="518"/>
                  </a:cubicBezTo>
                  <a:cubicBezTo>
                    <a:pt x="30" y="518"/>
                    <a:pt x="27" y="515"/>
                    <a:pt x="27" y="518"/>
                  </a:cubicBezTo>
                  <a:cubicBezTo>
                    <a:pt x="27" y="522"/>
                    <a:pt x="26" y="526"/>
                    <a:pt x="26" y="526"/>
                  </a:cubicBezTo>
                  <a:cubicBezTo>
                    <a:pt x="29" y="528"/>
                    <a:pt x="29" y="528"/>
                    <a:pt x="29" y="528"/>
                  </a:cubicBezTo>
                  <a:cubicBezTo>
                    <a:pt x="29" y="528"/>
                    <a:pt x="28" y="530"/>
                    <a:pt x="27" y="530"/>
                  </a:cubicBezTo>
                  <a:cubicBezTo>
                    <a:pt x="27" y="530"/>
                    <a:pt x="25" y="529"/>
                    <a:pt x="24" y="527"/>
                  </a:cubicBezTo>
                  <a:cubicBezTo>
                    <a:pt x="23" y="526"/>
                    <a:pt x="24" y="526"/>
                    <a:pt x="21" y="525"/>
                  </a:cubicBezTo>
                  <a:cubicBezTo>
                    <a:pt x="18" y="524"/>
                    <a:pt x="16" y="522"/>
                    <a:pt x="16" y="524"/>
                  </a:cubicBezTo>
                  <a:cubicBezTo>
                    <a:pt x="16" y="525"/>
                    <a:pt x="15" y="527"/>
                    <a:pt x="16" y="528"/>
                  </a:cubicBezTo>
                  <a:cubicBezTo>
                    <a:pt x="17" y="530"/>
                    <a:pt x="19" y="532"/>
                    <a:pt x="19" y="532"/>
                  </a:cubicBezTo>
                  <a:cubicBezTo>
                    <a:pt x="20" y="532"/>
                    <a:pt x="20" y="532"/>
                    <a:pt x="20" y="532"/>
                  </a:cubicBezTo>
                  <a:cubicBezTo>
                    <a:pt x="20" y="532"/>
                    <a:pt x="19" y="535"/>
                    <a:pt x="18" y="535"/>
                  </a:cubicBezTo>
                  <a:cubicBezTo>
                    <a:pt x="17" y="536"/>
                    <a:pt x="16" y="534"/>
                    <a:pt x="15" y="534"/>
                  </a:cubicBezTo>
                  <a:cubicBezTo>
                    <a:pt x="15" y="534"/>
                    <a:pt x="12" y="536"/>
                    <a:pt x="12" y="536"/>
                  </a:cubicBezTo>
                  <a:cubicBezTo>
                    <a:pt x="12" y="536"/>
                    <a:pt x="13" y="538"/>
                    <a:pt x="13" y="539"/>
                  </a:cubicBezTo>
                  <a:cubicBezTo>
                    <a:pt x="13" y="540"/>
                    <a:pt x="10" y="541"/>
                    <a:pt x="10" y="542"/>
                  </a:cubicBezTo>
                  <a:cubicBezTo>
                    <a:pt x="9" y="542"/>
                    <a:pt x="8" y="543"/>
                    <a:pt x="8" y="544"/>
                  </a:cubicBezTo>
                  <a:cubicBezTo>
                    <a:pt x="8" y="545"/>
                    <a:pt x="9" y="548"/>
                    <a:pt x="10" y="547"/>
                  </a:cubicBezTo>
                  <a:cubicBezTo>
                    <a:pt x="11" y="547"/>
                    <a:pt x="16" y="548"/>
                    <a:pt x="16" y="548"/>
                  </a:cubicBezTo>
                  <a:cubicBezTo>
                    <a:pt x="16" y="548"/>
                    <a:pt x="15" y="550"/>
                    <a:pt x="14" y="551"/>
                  </a:cubicBezTo>
                  <a:cubicBezTo>
                    <a:pt x="13" y="551"/>
                    <a:pt x="12" y="553"/>
                    <a:pt x="11" y="554"/>
                  </a:cubicBezTo>
                  <a:cubicBezTo>
                    <a:pt x="10" y="556"/>
                    <a:pt x="12" y="560"/>
                    <a:pt x="14" y="561"/>
                  </a:cubicBezTo>
                  <a:cubicBezTo>
                    <a:pt x="17" y="562"/>
                    <a:pt x="20" y="562"/>
                    <a:pt x="20" y="564"/>
                  </a:cubicBezTo>
                  <a:cubicBezTo>
                    <a:pt x="19" y="565"/>
                    <a:pt x="14" y="569"/>
                    <a:pt x="13" y="570"/>
                  </a:cubicBezTo>
                  <a:cubicBezTo>
                    <a:pt x="12" y="570"/>
                    <a:pt x="10" y="571"/>
                    <a:pt x="10" y="573"/>
                  </a:cubicBezTo>
                  <a:cubicBezTo>
                    <a:pt x="10" y="575"/>
                    <a:pt x="10" y="576"/>
                    <a:pt x="8" y="577"/>
                  </a:cubicBezTo>
                  <a:cubicBezTo>
                    <a:pt x="6" y="578"/>
                    <a:pt x="5" y="577"/>
                    <a:pt x="5" y="580"/>
                  </a:cubicBezTo>
                  <a:cubicBezTo>
                    <a:pt x="5" y="582"/>
                    <a:pt x="6" y="583"/>
                    <a:pt x="7" y="583"/>
                  </a:cubicBezTo>
                  <a:cubicBezTo>
                    <a:pt x="8" y="583"/>
                    <a:pt x="8" y="583"/>
                    <a:pt x="8" y="583"/>
                  </a:cubicBezTo>
                  <a:cubicBezTo>
                    <a:pt x="16" y="582"/>
                    <a:pt x="16" y="582"/>
                    <a:pt x="16" y="582"/>
                  </a:cubicBezTo>
                  <a:cubicBezTo>
                    <a:pt x="16" y="582"/>
                    <a:pt x="15" y="585"/>
                    <a:pt x="15" y="586"/>
                  </a:cubicBezTo>
                  <a:cubicBezTo>
                    <a:pt x="15" y="587"/>
                    <a:pt x="9" y="593"/>
                    <a:pt x="9" y="593"/>
                  </a:cubicBezTo>
                  <a:cubicBezTo>
                    <a:pt x="9" y="593"/>
                    <a:pt x="10" y="596"/>
                    <a:pt x="9" y="596"/>
                  </a:cubicBezTo>
                  <a:cubicBezTo>
                    <a:pt x="7" y="597"/>
                    <a:pt x="5" y="598"/>
                    <a:pt x="4" y="599"/>
                  </a:cubicBezTo>
                  <a:cubicBezTo>
                    <a:pt x="4" y="600"/>
                    <a:pt x="4" y="602"/>
                    <a:pt x="4" y="603"/>
                  </a:cubicBezTo>
                  <a:cubicBezTo>
                    <a:pt x="5" y="605"/>
                    <a:pt x="7" y="608"/>
                    <a:pt x="7" y="609"/>
                  </a:cubicBezTo>
                  <a:cubicBezTo>
                    <a:pt x="8" y="610"/>
                    <a:pt x="6" y="612"/>
                    <a:pt x="6" y="612"/>
                  </a:cubicBezTo>
                  <a:cubicBezTo>
                    <a:pt x="4" y="620"/>
                    <a:pt x="4" y="620"/>
                    <a:pt x="4" y="620"/>
                  </a:cubicBezTo>
                  <a:cubicBezTo>
                    <a:pt x="4" y="620"/>
                    <a:pt x="4" y="624"/>
                    <a:pt x="4" y="625"/>
                  </a:cubicBezTo>
                  <a:cubicBezTo>
                    <a:pt x="4" y="626"/>
                    <a:pt x="0" y="627"/>
                    <a:pt x="2" y="630"/>
                  </a:cubicBezTo>
                  <a:cubicBezTo>
                    <a:pt x="4" y="632"/>
                    <a:pt x="5" y="633"/>
                    <a:pt x="6" y="634"/>
                  </a:cubicBezTo>
                  <a:cubicBezTo>
                    <a:pt x="8" y="634"/>
                    <a:pt x="13" y="634"/>
                    <a:pt x="13" y="635"/>
                  </a:cubicBezTo>
                  <a:cubicBezTo>
                    <a:pt x="13" y="635"/>
                    <a:pt x="13" y="636"/>
                    <a:pt x="10" y="637"/>
                  </a:cubicBezTo>
                  <a:cubicBezTo>
                    <a:pt x="8" y="637"/>
                    <a:pt x="6" y="636"/>
                    <a:pt x="6" y="638"/>
                  </a:cubicBezTo>
                  <a:cubicBezTo>
                    <a:pt x="5" y="639"/>
                    <a:pt x="1" y="645"/>
                    <a:pt x="1" y="645"/>
                  </a:cubicBezTo>
                  <a:cubicBezTo>
                    <a:pt x="6" y="651"/>
                    <a:pt x="6" y="651"/>
                    <a:pt x="6" y="651"/>
                  </a:cubicBezTo>
                  <a:cubicBezTo>
                    <a:pt x="6" y="651"/>
                    <a:pt x="8" y="649"/>
                    <a:pt x="9" y="649"/>
                  </a:cubicBezTo>
                  <a:cubicBezTo>
                    <a:pt x="10" y="648"/>
                    <a:pt x="13" y="649"/>
                    <a:pt x="13" y="650"/>
                  </a:cubicBezTo>
                  <a:cubicBezTo>
                    <a:pt x="13" y="650"/>
                    <a:pt x="11" y="653"/>
                    <a:pt x="10" y="653"/>
                  </a:cubicBezTo>
                  <a:cubicBezTo>
                    <a:pt x="10" y="654"/>
                    <a:pt x="7" y="655"/>
                    <a:pt x="7" y="656"/>
                  </a:cubicBezTo>
                  <a:cubicBezTo>
                    <a:pt x="7" y="656"/>
                    <a:pt x="10" y="660"/>
                    <a:pt x="10" y="660"/>
                  </a:cubicBezTo>
                  <a:cubicBezTo>
                    <a:pt x="10" y="660"/>
                    <a:pt x="12" y="660"/>
                    <a:pt x="12" y="662"/>
                  </a:cubicBezTo>
                  <a:cubicBezTo>
                    <a:pt x="12" y="663"/>
                    <a:pt x="8" y="665"/>
                    <a:pt x="8" y="665"/>
                  </a:cubicBezTo>
                  <a:cubicBezTo>
                    <a:pt x="9" y="668"/>
                    <a:pt x="9" y="668"/>
                    <a:pt x="9" y="668"/>
                  </a:cubicBezTo>
                  <a:cubicBezTo>
                    <a:pt x="6" y="674"/>
                    <a:pt x="6" y="674"/>
                    <a:pt x="6" y="674"/>
                  </a:cubicBezTo>
                  <a:cubicBezTo>
                    <a:pt x="11" y="677"/>
                    <a:pt x="11" y="677"/>
                    <a:pt x="11" y="677"/>
                  </a:cubicBezTo>
                  <a:cubicBezTo>
                    <a:pt x="11" y="677"/>
                    <a:pt x="15" y="677"/>
                    <a:pt x="14" y="680"/>
                  </a:cubicBezTo>
                  <a:cubicBezTo>
                    <a:pt x="12" y="682"/>
                    <a:pt x="9" y="684"/>
                    <a:pt x="9" y="685"/>
                  </a:cubicBezTo>
                  <a:cubicBezTo>
                    <a:pt x="9" y="687"/>
                    <a:pt x="8" y="689"/>
                    <a:pt x="10" y="690"/>
                  </a:cubicBezTo>
                  <a:cubicBezTo>
                    <a:pt x="12" y="690"/>
                    <a:pt x="12" y="691"/>
                    <a:pt x="13" y="690"/>
                  </a:cubicBezTo>
                  <a:cubicBezTo>
                    <a:pt x="15" y="689"/>
                    <a:pt x="17" y="688"/>
                    <a:pt x="17" y="688"/>
                  </a:cubicBezTo>
                  <a:cubicBezTo>
                    <a:pt x="17" y="688"/>
                    <a:pt x="20" y="686"/>
                    <a:pt x="22" y="686"/>
                  </a:cubicBezTo>
                  <a:cubicBezTo>
                    <a:pt x="23" y="686"/>
                    <a:pt x="25" y="687"/>
                    <a:pt x="26" y="688"/>
                  </a:cubicBezTo>
                  <a:cubicBezTo>
                    <a:pt x="26" y="689"/>
                    <a:pt x="26" y="690"/>
                    <a:pt x="27" y="691"/>
                  </a:cubicBezTo>
                  <a:cubicBezTo>
                    <a:pt x="28" y="691"/>
                    <a:pt x="26" y="696"/>
                    <a:pt x="26" y="696"/>
                  </a:cubicBezTo>
                  <a:cubicBezTo>
                    <a:pt x="23" y="700"/>
                    <a:pt x="23" y="700"/>
                    <a:pt x="23" y="700"/>
                  </a:cubicBezTo>
                  <a:cubicBezTo>
                    <a:pt x="23" y="700"/>
                    <a:pt x="26" y="704"/>
                    <a:pt x="25" y="704"/>
                  </a:cubicBezTo>
                  <a:cubicBezTo>
                    <a:pt x="25" y="704"/>
                    <a:pt x="20" y="705"/>
                    <a:pt x="19" y="705"/>
                  </a:cubicBezTo>
                  <a:cubicBezTo>
                    <a:pt x="18" y="705"/>
                    <a:pt x="17" y="704"/>
                    <a:pt x="17" y="706"/>
                  </a:cubicBezTo>
                  <a:cubicBezTo>
                    <a:pt x="16" y="708"/>
                    <a:pt x="13" y="713"/>
                    <a:pt x="13" y="713"/>
                  </a:cubicBezTo>
                  <a:cubicBezTo>
                    <a:pt x="13" y="713"/>
                    <a:pt x="12" y="715"/>
                    <a:pt x="13" y="717"/>
                  </a:cubicBezTo>
                  <a:cubicBezTo>
                    <a:pt x="14" y="719"/>
                    <a:pt x="18" y="726"/>
                    <a:pt x="18" y="726"/>
                  </a:cubicBezTo>
                  <a:cubicBezTo>
                    <a:pt x="18" y="727"/>
                    <a:pt x="20" y="730"/>
                    <a:pt x="23" y="732"/>
                  </a:cubicBezTo>
                  <a:cubicBezTo>
                    <a:pt x="26" y="734"/>
                    <a:pt x="28" y="734"/>
                    <a:pt x="28" y="736"/>
                  </a:cubicBezTo>
                  <a:cubicBezTo>
                    <a:pt x="29" y="738"/>
                    <a:pt x="29" y="738"/>
                    <a:pt x="29" y="738"/>
                  </a:cubicBezTo>
                  <a:cubicBezTo>
                    <a:pt x="33" y="742"/>
                    <a:pt x="33" y="742"/>
                    <a:pt x="33" y="742"/>
                  </a:cubicBezTo>
                  <a:cubicBezTo>
                    <a:pt x="33" y="742"/>
                    <a:pt x="35" y="743"/>
                    <a:pt x="38" y="743"/>
                  </a:cubicBezTo>
                  <a:cubicBezTo>
                    <a:pt x="41" y="744"/>
                    <a:pt x="45" y="744"/>
                    <a:pt x="45" y="745"/>
                  </a:cubicBezTo>
                  <a:cubicBezTo>
                    <a:pt x="46" y="745"/>
                    <a:pt x="42" y="748"/>
                    <a:pt x="42" y="748"/>
                  </a:cubicBezTo>
                  <a:cubicBezTo>
                    <a:pt x="42" y="748"/>
                    <a:pt x="37" y="752"/>
                    <a:pt x="39" y="753"/>
                  </a:cubicBezTo>
                  <a:cubicBezTo>
                    <a:pt x="41" y="754"/>
                    <a:pt x="55" y="757"/>
                    <a:pt x="55" y="757"/>
                  </a:cubicBezTo>
                  <a:cubicBezTo>
                    <a:pt x="55" y="757"/>
                    <a:pt x="57" y="758"/>
                    <a:pt x="57" y="759"/>
                  </a:cubicBezTo>
                  <a:cubicBezTo>
                    <a:pt x="57" y="760"/>
                    <a:pt x="60" y="758"/>
                    <a:pt x="60" y="758"/>
                  </a:cubicBezTo>
                  <a:cubicBezTo>
                    <a:pt x="61" y="757"/>
                    <a:pt x="65" y="759"/>
                    <a:pt x="66" y="759"/>
                  </a:cubicBezTo>
                  <a:cubicBezTo>
                    <a:pt x="66" y="759"/>
                    <a:pt x="72" y="758"/>
                    <a:pt x="72" y="758"/>
                  </a:cubicBezTo>
                  <a:cubicBezTo>
                    <a:pt x="77" y="756"/>
                    <a:pt x="77" y="756"/>
                    <a:pt x="77" y="756"/>
                  </a:cubicBezTo>
                  <a:cubicBezTo>
                    <a:pt x="77" y="756"/>
                    <a:pt x="80" y="751"/>
                    <a:pt x="82" y="752"/>
                  </a:cubicBezTo>
                  <a:cubicBezTo>
                    <a:pt x="85" y="753"/>
                    <a:pt x="84" y="755"/>
                    <a:pt x="86" y="755"/>
                  </a:cubicBezTo>
                  <a:cubicBezTo>
                    <a:pt x="87" y="755"/>
                    <a:pt x="89" y="755"/>
                    <a:pt x="91" y="752"/>
                  </a:cubicBezTo>
                  <a:cubicBezTo>
                    <a:pt x="93" y="750"/>
                    <a:pt x="95" y="748"/>
                    <a:pt x="96" y="747"/>
                  </a:cubicBezTo>
                  <a:cubicBezTo>
                    <a:pt x="97" y="747"/>
                    <a:pt x="109" y="740"/>
                    <a:pt x="109" y="740"/>
                  </a:cubicBezTo>
                  <a:cubicBezTo>
                    <a:pt x="117" y="726"/>
                    <a:pt x="117" y="726"/>
                    <a:pt x="117" y="726"/>
                  </a:cubicBezTo>
                  <a:cubicBezTo>
                    <a:pt x="120" y="716"/>
                    <a:pt x="120" y="716"/>
                    <a:pt x="120" y="716"/>
                  </a:cubicBezTo>
                  <a:cubicBezTo>
                    <a:pt x="120" y="716"/>
                    <a:pt x="124" y="711"/>
                    <a:pt x="127" y="711"/>
                  </a:cubicBezTo>
                  <a:cubicBezTo>
                    <a:pt x="129" y="711"/>
                    <a:pt x="136" y="708"/>
                    <a:pt x="135" y="706"/>
                  </a:cubicBezTo>
                  <a:cubicBezTo>
                    <a:pt x="135" y="703"/>
                    <a:pt x="138" y="702"/>
                    <a:pt x="138" y="706"/>
                  </a:cubicBezTo>
                  <a:cubicBezTo>
                    <a:pt x="139" y="710"/>
                    <a:pt x="138" y="714"/>
                    <a:pt x="140" y="712"/>
                  </a:cubicBezTo>
                  <a:cubicBezTo>
                    <a:pt x="143" y="710"/>
                    <a:pt x="148" y="704"/>
                    <a:pt x="148" y="704"/>
                  </a:cubicBezTo>
                  <a:cubicBezTo>
                    <a:pt x="148" y="704"/>
                    <a:pt x="151" y="701"/>
                    <a:pt x="153" y="700"/>
                  </a:cubicBezTo>
                  <a:cubicBezTo>
                    <a:pt x="155" y="700"/>
                    <a:pt x="158" y="693"/>
                    <a:pt x="158" y="693"/>
                  </a:cubicBezTo>
                  <a:cubicBezTo>
                    <a:pt x="158" y="693"/>
                    <a:pt x="162" y="690"/>
                    <a:pt x="164" y="693"/>
                  </a:cubicBezTo>
                  <a:cubicBezTo>
                    <a:pt x="165" y="697"/>
                    <a:pt x="169" y="702"/>
                    <a:pt x="169" y="704"/>
                  </a:cubicBezTo>
                  <a:cubicBezTo>
                    <a:pt x="169" y="704"/>
                    <a:pt x="171" y="705"/>
                    <a:pt x="173" y="706"/>
                  </a:cubicBezTo>
                  <a:cubicBezTo>
                    <a:pt x="173" y="704"/>
                    <a:pt x="173" y="704"/>
                    <a:pt x="173" y="704"/>
                  </a:cubicBezTo>
                  <a:cubicBezTo>
                    <a:pt x="173" y="698"/>
                    <a:pt x="173" y="698"/>
                    <a:pt x="173" y="698"/>
                  </a:cubicBezTo>
                  <a:cubicBezTo>
                    <a:pt x="173" y="698"/>
                    <a:pt x="180" y="704"/>
                    <a:pt x="180" y="704"/>
                  </a:cubicBezTo>
                  <a:cubicBezTo>
                    <a:pt x="181" y="705"/>
                    <a:pt x="181" y="711"/>
                    <a:pt x="181" y="711"/>
                  </a:cubicBezTo>
                  <a:cubicBezTo>
                    <a:pt x="183" y="711"/>
                    <a:pt x="183" y="711"/>
                    <a:pt x="183" y="711"/>
                  </a:cubicBezTo>
                  <a:cubicBezTo>
                    <a:pt x="183" y="710"/>
                    <a:pt x="183" y="710"/>
                    <a:pt x="183" y="710"/>
                  </a:cubicBezTo>
                  <a:cubicBezTo>
                    <a:pt x="185" y="711"/>
                    <a:pt x="185" y="711"/>
                    <a:pt x="185" y="711"/>
                  </a:cubicBezTo>
                  <a:cubicBezTo>
                    <a:pt x="186" y="710"/>
                    <a:pt x="186" y="710"/>
                    <a:pt x="186" y="710"/>
                  </a:cubicBezTo>
                  <a:cubicBezTo>
                    <a:pt x="187" y="704"/>
                    <a:pt x="187" y="704"/>
                    <a:pt x="187" y="704"/>
                  </a:cubicBezTo>
                  <a:cubicBezTo>
                    <a:pt x="188" y="697"/>
                    <a:pt x="188" y="697"/>
                    <a:pt x="188" y="697"/>
                  </a:cubicBezTo>
                  <a:cubicBezTo>
                    <a:pt x="191" y="691"/>
                    <a:pt x="191" y="691"/>
                    <a:pt x="191" y="691"/>
                  </a:cubicBezTo>
                  <a:cubicBezTo>
                    <a:pt x="191" y="685"/>
                    <a:pt x="191" y="685"/>
                    <a:pt x="191" y="685"/>
                  </a:cubicBezTo>
                  <a:cubicBezTo>
                    <a:pt x="187" y="678"/>
                    <a:pt x="187" y="678"/>
                    <a:pt x="187" y="678"/>
                  </a:cubicBezTo>
                  <a:cubicBezTo>
                    <a:pt x="185" y="672"/>
                    <a:pt x="185" y="672"/>
                    <a:pt x="185" y="672"/>
                  </a:cubicBezTo>
                  <a:cubicBezTo>
                    <a:pt x="188" y="671"/>
                    <a:pt x="188" y="671"/>
                    <a:pt x="188" y="671"/>
                  </a:cubicBezTo>
                  <a:cubicBezTo>
                    <a:pt x="188" y="670"/>
                    <a:pt x="188" y="670"/>
                    <a:pt x="188" y="670"/>
                  </a:cubicBezTo>
                  <a:cubicBezTo>
                    <a:pt x="189" y="670"/>
                    <a:pt x="189" y="670"/>
                    <a:pt x="189" y="670"/>
                  </a:cubicBezTo>
                  <a:cubicBezTo>
                    <a:pt x="191" y="668"/>
                    <a:pt x="191" y="668"/>
                    <a:pt x="191" y="668"/>
                  </a:cubicBezTo>
                  <a:cubicBezTo>
                    <a:pt x="192" y="663"/>
                    <a:pt x="192" y="663"/>
                    <a:pt x="192" y="663"/>
                  </a:cubicBezTo>
                  <a:cubicBezTo>
                    <a:pt x="190" y="661"/>
                    <a:pt x="190" y="661"/>
                    <a:pt x="190" y="661"/>
                  </a:cubicBezTo>
                  <a:cubicBezTo>
                    <a:pt x="190" y="658"/>
                    <a:pt x="190" y="658"/>
                    <a:pt x="190" y="658"/>
                  </a:cubicBezTo>
                  <a:cubicBezTo>
                    <a:pt x="190" y="658"/>
                    <a:pt x="192" y="656"/>
                    <a:pt x="192" y="656"/>
                  </a:cubicBezTo>
                  <a:cubicBezTo>
                    <a:pt x="192" y="656"/>
                    <a:pt x="192" y="656"/>
                    <a:pt x="192" y="656"/>
                  </a:cubicBezTo>
                  <a:cubicBezTo>
                    <a:pt x="193" y="655"/>
                    <a:pt x="193" y="655"/>
                    <a:pt x="193" y="655"/>
                  </a:cubicBezTo>
                  <a:cubicBezTo>
                    <a:pt x="193" y="655"/>
                    <a:pt x="193" y="655"/>
                    <a:pt x="193" y="655"/>
                  </a:cubicBezTo>
                  <a:cubicBezTo>
                    <a:pt x="193" y="655"/>
                    <a:pt x="193" y="655"/>
                    <a:pt x="193" y="655"/>
                  </a:cubicBezTo>
                  <a:cubicBezTo>
                    <a:pt x="193" y="655"/>
                    <a:pt x="193" y="655"/>
                    <a:pt x="193" y="655"/>
                  </a:cubicBezTo>
                  <a:cubicBezTo>
                    <a:pt x="193" y="655"/>
                    <a:pt x="193" y="655"/>
                    <a:pt x="193" y="655"/>
                  </a:cubicBezTo>
                  <a:cubicBezTo>
                    <a:pt x="193" y="655"/>
                    <a:pt x="193" y="655"/>
                    <a:pt x="193" y="655"/>
                  </a:cubicBezTo>
                  <a:cubicBezTo>
                    <a:pt x="193" y="655"/>
                    <a:pt x="193" y="655"/>
                    <a:pt x="193" y="655"/>
                  </a:cubicBezTo>
                  <a:cubicBezTo>
                    <a:pt x="193" y="655"/>
                    <a:pt x="193" y="655"/>
                    <a:pt x="193" y="655"/>
                  </a:cubicBezTo>
                  <a:cubicBezTo>
                    <a:pt x="193" y="655"/>
                    <a:pt x="193" y="655"/>
                    <a:pt x="193" y="655"/>
                  </a:cubicBezTo>
                  <a:cubicBezTo>
                    <a:pt x="193" y="655"/>
                    <a:pt x="193" y="655"/>
                    <a:pt x="193" y="655"/>
                  </a:cubicBezTo>
                  <a:cubicBezTo>
                    <a:pt x="193" y="655"/>
                    <a:pt x="193" y="655"/>
                    <a:pt x="193" y="655"/>
                  </a:cubicBezTo>
                  <a:cubicBezTo>
                    <a:pt x="193" y="655"/>
                    <a:pt x="193" y="655"/>
                    <a:pt x="193" y="655"/>
                  </a:cubicBezTo>
                  <a:cubicBezTo>
                    <a:pt x="193" y="655"/>
                    <a:pt x="193" y="655"/>
                    <a:pt x="193" y="655"/>
                  </a:cubicBezTo>
                  <a:cubicBezTo>
                    <a:pt x="193" y="655"/>
                    <a:pt x="193" y="655"/>
                    <a:pt x="193" y="655"/>
                  </a:cubicBezTo>
                  <a:cubicBezTo>
                    <a:pt x="193" y="655"/>
                    <a:pt x="193" y="655"/>
                    <a:pt x="193" y="655"/>
                  </a:cubicBezTo>
                  <a:cubicBezTo>
                    <a:pt x="193" y="655"/>
                    <a:pt x="193" y="655"/>
                    <a:pt x="193" y="655"/>
                  </a:cubicBezTo>
                  <a:cubicBezTo>
                    <a:pt x="193" y="655"/>
                    <a:pt x="193" y="655"/>
                    <a:pt x="193" y="655"/>
                  </a:cubicBezTo>
                  <a:cubicBezTo>
                    <a:pt x="193" y="655"/>
                    <a:pt x="193" y="655"/>
                    <a:pt x="193" y="655"/>
                  </a:cubicBezTo>
                  <a:cubicBezTo>
                    <a:pt x="193" y="655"/>
                    <a:pt x="193" y="655"/>
                    <a:pt x="193" y="655"/>
                  </a:cubicBezTo>
                  <a:cubicBezTo>
                    <a:pt x="193" y="655"/>
                    <a:pt x="193" y="655"/>
                    <a:pt x="193" y="655"/>
                  </a:cubicBezTo>
                  <a:cubicBezTo>
                    <a:pt x="193" y="655"/>
                    <a:pt x="193" y="655"/>
                    <a:pt x="193" y="655"/>
                  </a:cubicBezTo>
                  <a:cubicBezTo>
                    <a:pt x="193" y="655"/>
                    <a:pt x="193" y="655"/>
                    <a:pt x="193" y="655"/>
                  </a:cubicBezTo>
                  <a:cubicBezTo>
                    <a:pt x="193" y="655"/>
                    <a:pt x="193" y="655"/>
                    <a:pt x="193" y="655"/>
                  </a:cubicBezTo>
                  <a:cubicBezTo>
                    <a:pt x="193" y="655"/>
                    <a:pt x="193" y="655"/>
                    <a:pt x="193" y="655"/>
                  </a:cubicBezTo>
                  <a:cubicBezTo>
                    <a:pt x="194" y="655"/>
                    <a:pt x="194" y="655"/>
                    <a:pt x="194" y="655"/>
                  </a:cubicBezTo>
                  <a:cubicBezTo>
                    <a:pt x="194" y="655"/>
                    <a:pt x="194" y="655"/>
                    <a:pt x="194" y="655"/>
                  </a:cubicBezTo>
                  <a:cubicBezTo>
                    <a:pt x="194" y="655"/>
                    <a:pt x="194" y="655"/>
                    <a:pt x="194" y="655"/>
                  </a:cubicBezTo>
                  <a:cubicBezTo>
                    <a:pt x="194" y="655"/>
                    <a:pt x="194" y="655"/>
                    <a:pt x="194" y="655"/>
                  </a:cubicBezTo>
                  <a:cubicBezTo>
                    <a:pt x="194" y="655"/>
                    <a:pt x="195" y="654"/>
                    <a:pt x="195" y="654"/>
                  </a:cubicBezTo>
                  <a:cubicBezTo>
                    <a:pt x="196" y="654"/>
                    <a:pt x="198" y="654"/>
                    <a:pt x="198" y="654"/>
                  </a:cubicBezTo>
                  <a:cubicBezTo>
                    <a:pt x="199" y="654"/>
                    <a:pt x="199" y="654"/>
                    <a:pt x="199" y="654"/>
                  </a:cubicBezTo>
                  <a:cubicBezTo>
                    <a:pt x="201" y="652"/>
                    <a:pt x="201" y="652"/>
                    <a:pt x="201" y="652"/>
                  </a:cubicBezTo>
                  <a:cubicBezTo>
                    <a:pt x="201" y="652"/>
                    <a:pt x="205" y="649"/>
                    <a:pt x="205" y="648"/>
                  </a:cubicBezTo>
                  <a:cubicBezTo>
                    <a:pt x="205" y="647"/>
                    <a:pt x="207" y="644"/>
                    <a:pt x="207" y="644"/>
                  </a:cubicBezTo>
                  <a:cubicBezTo>
                    <a:pt x="207" y="639"/>
                    <a:pt x="207" y="639"/>
                    <a:pt x="207" y="639"/>
                  </a:cubicBezTo>
                  <a:cubicBezTo>
                    <a:pt x="205" y="634"/>
                    <a:pt x="205" y="634"/>
                    <a:pt x="205" y="634"/>
                  </a:cubicBezTo>
                  <a:cubicBezTo>
                    <a:pt x="207" y="631"/>
                    <a:pt x="207" y="631"/>
                    <a:pt x="207" y="631"/>
                  </a:cubicBezTo>
                  <a:cubicBezTo>
                    <a:pt x="210" y="625"/>
                    <a:pt x="210" y="625"/>
                    <a:pt x="210" y="625"/>
                  </a:cubicBezTo>
                  <a:cubicBezTo>
                    <a:pt x="208" y="619"/>
                    <a:pt x="208" y="619"/>
                    <a:pt x="208" y="619"/>
                  </a:cubicBezTo>
                  <a:cubicBezTo>
                    <a:pt x="202" y="612"/>
                    <a:pt x="202" y="612"/>
                    <a:pt x="202" y="612"/>
                  </a:cubicBezTo>
                  <a:cubicBezTo>
                    <a:pt x="199" y="603"/>
                    <a:pt x="199" y="603"/>
                    <a:pt x="199" y="603"/>
                  </a:cubicBezTo>
                  <a:cubicBezTo>
                    <a:pt x="197" y="597"/>
                    <a:pt x="197" y="597"/>
                    <a:pt x="197" y="597"/>
                  </a:cubicBezTo>
                  <a:cubicBezTo>
                    <a:pt x="202" y="592"/>
                    <a:pt x="202" y="592"/>
                    <a:pt x="202" y="592"/>
                  </a:cubicBezTo>
                  <a:cubicBezTo>
                    <a:pt x="203" y="591"/>
                    <a:pt x="203" y="591"/>
                    <a:pt x="203" y="591"/>
                  </a:cubicBezTo>
                  <a:cubicBezTo>
                    <a:pt x="203" y="591"/>
                    <a:pt x="203" y="591"/>
                    <a:pt x="203" y="591"/>
                  </a:cubicBezTo>
                  <a:cubicBezTo>
                    <a:pt x="204" y="591"/>
                    <a:pt x="204" y="591"/>
                    <a:pt x="204" y="591"/>
                  </a:cubicBezTo>
                  <a:cubicBezTo>
                    <a:pt x="207" y="591"/>
                    <a:pt x="207" y="591"/>
                    <a:pt x="207" y="591"/>
                  </a:cubicBezTo>
                  <a:cubicBezTo>
                    <a:pt x="207" y="591"/>
                    <a:pt x="212" y="591"/>
                    <a:pt x="212" y="590"/>
                  </a:cubicBezTo>
                  <a:cubicBezTo>
                    <a:pt x="212" y="590"/>
                    <a:pt x="212" y="590"/>
                    <a:pt x="212" y="590"/>
                  </a:cubicBezTo>
                  <a:cubicBezTo>
                    <a:pt x="212" y="590"/>
                    <a:pt x="212" y="590"/>
                    <a:pt x="212" y="590"/>
                  </a:cubicBezTo>
                  <a:cubicBezTo>
                    <a:pt x="212" y="590"/>
                    <a:pt x="212" y="590"/>
                    <a:pt x="212" y="590"/>
                  </a:cubicBezTo>
                  <a:cubicBezTo>
                    <a:pt x="212" y="590"/>
                    <a:pt x="212" y="590"/>
                    <a:pt x="212" y="590"/>
                  </a:cubicBezTo>
                  <a:cubicBezTo>
                    <a:pt x="212" y="590"/>
                    <a:pt x="212" y="590"/>
                    <a:pt x="212" y="590"/>
                  </a:cubicBezTo>
                  <a:cubicBezTo>
                    <a:pt x="212" y="589"/>
                    <a:pt x="212" y="589"/>
                    <a:pt x="212" y="589"/>
                  </a:cubicBezTo>
                  <a:cubicBezTo>
                    <a:pt x="212" y="589"/>
                    <a:pt x="212" y="589"/>
                    <a:pt x="212" y="589"/>
                  </a:cubicBezTo>
                  <a:cubicBezTo>
                    <a:pt x="212" y="589"/>
                    <a:pt x="212" y="589"/>
                    <a:pt x="212" y="589"/>
                  </a:cubicBezTo>
                  <a:cubicBezTo>
                    <a:pt x="212" y="589"/>
                    <a:pt x="212" y="589"/>
                    <a:pt x="212" y="589"/>
                  </a:cubicBezTo>
                  <a:cubicBezTo>
                    <a:pt x="213" y="589"/>
                    <a:pt x="213" y="589"/>
                    <a:pt x="213" y="589"/>
                  </a:cubicBezTo>
                  <a:cubicBezTo>
                    <a:pt x="213" y="589"/>
                    <a:pt x="213" y="589"/>
                    <a:pt x="213" y="589"/>
                  </a:cubicBezTo>
                  <a:cubicBezTo>
                    <a:pt x="213" y="589"/>
                    <a:pt x="213" y="589"/>
                    <a:pt x="213" y="589"/>
                  </a:cubicBezTo>
                  <a:cubicBezTo>
                    <a:pt x="213" y="589"/>
                    <a:pt x="213" y="589"/>
                    <a:pt x="213" y="589"/>
                  </a:cubicBezTo>
                  <a:cubicBezTo>
                    <a:pt x="213" y="589"/>
                    <a:pt x="213" y="589"/>
                    <a:pt x="213" y="589"/>
                  </a:cubicBezTo>
                  <a:cubicBezTo>
                    <a:pt x="213" y="588"/>
                    <a:pt x="213" y="588"/>
                    <a:pt x="213" y="588"/>
                  </a:cubicBezTo>
                  <a:cubicBezTo>
                    <a:pt x="213" y="588"/>
                    <a:pt x="213" y="588"/>
                    <a:pt x="213" y="588"/>
                  </a:cubicBezTo>
                  <a:cubicBezTo>
                    <a:pt x="213" y="588"/>
                    <a:pt x="213" y="588"/>
                    <a:pt x="213" y="588"/>
                  </a:cubicBezTo>
                  <a:cubicBezTo>
                    <a:pt x="213" y="588"/>
                    <a:pt x="213" y="588"/>
                    <a:pt x="213" y="588"/>
                  </a:cubicBezTo>
                  <a:cubicBezTo>
                    <a:pt x="213" y="588"/>
                    <a:pt x="213" y="588"/>
                    <a:pt x="213" y="588"/>
                  </a:cubicBezTo>
                  <a:cubicBezTo>
                    <a:pt x="213" y="588"/>
                    <a:pt x="213" y="588"/>
                    <a:pt x="213" y="588"/>
                  </a:cubicBezTo>
                  <a:cubicBezTo>
                    <a:pt x="213" y="588"/>
                    <a:pt x="213" y="588"/>
                    <a:pt x="213" y="588"/>
                  </a:cubicBezTo>
                  <a:cubicBezTo>
                    <a:pt x="213" y="587"/>
                    <a:pt x="213" y="587"/>
                    <a:pt x="213" y="587"/>
                  </a:cubicBezTo>
                  <a:cubicBezTo>
                    <a:pt x="213" y="587"/>
                    <a:pt x="213" y="587"/>
                    <a:pt x="213" y="587"/>
                  </a:cubicBezTo>
                  <a:cubicBezTo>
                    <a:pt x="213" y="587"/>
                    <a:pt x="213" y="587"/>
                    <a:pt x="213" y="587"/>
                  </a:cubicBezTo>
                  <a:cubicBezTo>
                    <a:pt x="213" y="587"/>
                    <a:pt x="213" y="587"/>
                    <a:pt x="213" y="587"/>
                  </a:cubicBezTo>
                  <a:cubicBezTo>
                    <a:pt x="213" y="587"/>
                    <a:pt x="213" y="587"/>
                    <a:pt x="213" y="587"/>
                  </a:cubicBezTo>
                  <a:cubicBezTo>
                    <a:pt x="213" y="587"/>
                    <a:pt x="213" y="587"/>
                    <a:pt x="213" y="587"/>
                  </a:cubicBezTo>
                  <a:cubicBezTo>
                    <a:pt x="213" y="586"/>
                    <a:pt x="213" y="586"/>
                    <a:pt x="213" y="586"/>
                  </a:cubicBezTo>
                  <a:cubicBezTo>
                    <a:pt x="213" y="586"/>
                    <a:pt x="213" y="586"/>
                    <a:pt x="213" y="586"/>
                  </a:cubicBezTo>
                  <a:cubicBezTo>
                    <a:pt x="213" y="586"/>
                    <a:pt x="213" y="586"/>
                    <a:pt x="213" y="586"/>
                  </a:cubicBezTo>
                  <a:cubicBezTo>
                    <a:pt x="213" y="586"/>
                    <a:pt x="213" y="586"/>
                    <a:pt x="213" y="586"/>
                  </a:cubicBezTo>
                  <a:cubicBezTo>
                    <a:pt x="213" y="586"/>
                    <a:pt x="213" y="586"/>
                    <a:pt x="213" y="586"/>
                  </a:cubicBezTo>
                  <a:cubicBezTo>
                    <a:pt x="213" y="585"/>
                    <a:pt x="213" y="585"/>
                    <a:pt x="213" y="585"/>
                  </a:cubicBezTo>
                  <a:cubicBezTo>
                    <a:pt x="213" y="585"/>
                    <a:pt x="213" y="585"/>
                    <a:pt x="213" y="585"/>
                  </a:cubicBezTo>
                  <a:cubicBezTo>
                    <a:pt x="213" y="585"/>
                    <a:pt x="213" y="585"/>
                    <a:pt x="213" y="585"/>
                  </a:cubicBezTo>
                  <a:cubicBezTo>
                    <a:pt x="213" y="585"/>
                    <a:pt x="213" y="585"/>
                    <a:pt x="213" y="585"/>
                  </a:cubicBezTo>
                  <a:cubicBezTo>
                    <a:pt x="213" y="585"/>
                    <a:pt x="213" y="585"/>
                    <a:pt x="213" y="585"/>
                  </a:cubicBezTo>
                  <a:cubicBezTo>
                    <a:pt x="213" y="585"/>
                    <a:pt x="213" y="585"/>
                    <a:pt x="213" y="585"/>
                  </a:cubicBezTo>
                  <a:cubicBezTo>
                    <a:pt x="213" y="584"/>
                    <a:pt x="213" y="584"/>
                    <a:pt x="213" y="584"/>
                  </a:cubicBezTo>
                  <a:cubicBezTo>
                    <a:pt x="213" y="584"/>
                    <a:pt x="213" y="584"/>
                    <a:pt x="213" y="584"/>
                  </a:cubicBezTo>
                  <a:cubicBezTo>
                    <a:pt x="213" y="584"/>
                    <a:pt x="213" y="584"/>
                    <a:pt x="213" y="584"/>
                  </a:cubicBezTo>
                  <a:cubicBezTo>
                    <a:pt x="213" y="584"/>
                    <a:pt x="213" y="584"/>
                    <a:pt x="213" y="584"/>
                  </a:cubicBezTo>
                  <a:cubicBezTo>
                    <a:pt x="213" y="584"/>
                    <a:pt x="213" y="584"/>
                    <a:pt x="213" y="584"/>
                  </a:cubicBezTo>
                  <a:cubicBezTo>
                    <a:pt x="213" y="584"/>
                    <a:pt x="213" y="584"/>
                    <a:pt x="213" y="584"/>
                  </a:cubicBezTo>
                  <a:cubicBezTo>
                    <a:pt x="213" y="584"/>
                    <a:pt x="213" y="584"/>
                    <a:pt x="213" y="584"/>
                  </a:cubicBezTo>
                  <a:cubicBezTo>
                    <a:pt x="213" y="583"/>
                    <a:pt x="213" y="583"/>
                    <a:pt x="213" y="583"/>
                  </a:cubicBezTo>
                  <a:cubicBezTo>
                    <a:pt x="213" y="583"/>
                    <a:pt x="213" y="583"/>
                    <a:pt x="213" y="583"/>
                  </a:cubicBezTo>
                  <a:cubicBezTo>
                    <a:pt x="213" y="583"/>
                    <a:pt x="213" y="583"/>
                    <a:pt x="213" y="583"/>
                  </a:cubicBezTo>
                  <a:cubicBezTo>
                    <a:pt x="213" y="583"/>
                    <a:pt x="213" y="583"/>
                    <a:pt x="213" y="583"/>
                  </a:cubicBezTo>
                  <a:cubicBezTo>
                    <a:pt x="213" y="583"/>
                    <a:pt x="213" y="583"/>
                    <a:pt x="213" y="583"/>
                  </a:cubicBezTo>
                  <a:cubicBezTo>
                    <a:pt x="213" y="583"/>
                    <a:pt x="213" y="583"/>
                    <a:pt x="213" y="583"/>
                  </a:cubicBezTo>
                  <a:cubicBezTo>
                    <a:pt x="213" y="583"/>
                    <a:pt x="213" y="583"/>
                    <a:pt x="213" y="583"/>
                  </a:cubicBezTo>
                  <a:cubicBezTo>
                    <a:pt x="214" y="583"/>
                    <a:pt x="214" y="583"/>
                    <a:pt x="214" y="583"/>
                  </a:cubicBezTo>
                  <a:cubicBezTo>
                    <a:pt x="214" y="583"/>
                    <a:pt x="214" y="583"/>
                    <a:pt x="214" y="583"/>
                  </a:cubicBezTo>
                  <a:cubicBezTo>
                    <a:pt x="214" y="582"/>
                    <a:pt x="214" y="582"/>
                    <a:pt x="214" y="582"/>
                  </a:cubicBezTo>
                  <a:cubicBezTo>
                    <a:pt x="214" y="582"/>
                    <a:pt x="214" y="582"/>
                    <a:pt x="214" y="582"/>
                  </a:cubicBezTo>
                  <a:cubicBezTo>
                    <a:pt x="214" y="582"/>
                    <a:pt x="214" y="582"/>
                    <a:pt x="214" y="582"/>
                  </a:cubicBezTo>
                  <a:cubicBezTo>
                    <a:pt x="214" y="582"/>
                    <a:pt x="214" y="582"/>
                    <a:pt x="214" y="582"/>
                  </a:cubicBezTo>
                  <a:cubicBezTo>
                    <a:pt x="214" y="582"/>
                    <a:pt x="214" y="582"/>
                    <a:pt x="214" y="582"/>
                  </a:cubicBezTo>
                  <a:cubicBezTo>
                    <a:pt x="214" y="582"/>
                    <a:pt x="214" y="582"/>
                    <a:pt x="214" y="582"/>
                  </a:cubicBezTo>
                  <a:cubicBezTo>
                    <a:pt x="214" y="582"/>
                    <a:pt x="214" y="582"/>
                    <a:pt x="214" y="582"/>
                  </a:cubicBezTo>
                  <a:cubicBezTo>
                    <a:pt x="214" y="582"/>
                    <a:pt x="214" y="582"/>
                    <a:pt x="214" y="582"/>
                  </a:cubicBezTo>
                  <a:cubicBezTo>
                    <a:pt x="214" y="582"/>
                    <a:pt x="214" y="582"/>
                    <a:pt x="214" y="582"/>
                  </a:cubicBezTo>
                  <a:cubicBezTo>
                    <a:pt x="214" y="582"/>
                    <a:pt x="214" y="582"/>
                    <a:pt x="214" y="582"/>
                  </a:cubicBezTo>
                  <a:cubicBezTo>
                    <a:pt x="213" y="573"/>
                    <a:pt x="213" y="573"/>
                    <a:pt x="213" y="573"/>
                  </a:cubicBezTo>
                  <a:cubicBezTo>
                    <a:pt x="207" y="568"/>
                    <a:pt x="207" y="568"/>
                    <a:pt x="207" y="568"/>
                  </a:cubicBezTo>
                  <a:cubicBezTo>
                    <a:pt x="200" y="563"/>
                    <a:pt x="200" y="563"/>
                    <a:pt x="200" y="563"/>
                  </a:cubicBezTo>
                  <a:cubicBezTo>
                    <a:pt x="197" y="555"/>
                    <a:pt x="197" y="555"/>
                    <a:pt x="197" y="555"/>
                  </a:cubicBezTo>
                  <a:cubicBezTo>
                    <a:pt x="196" y="524"/>
                    <a:pt x="196" y="524"/>
                    <a:pt x="196" y="524"/>
                  </a:cubicBezTo>
                  <a:cubicBezTo>
                    <a:pt x="196" y="524"/>
                    <a:pt x="189" y="511"/>
                    <a:pt x="189" y="510"/>
                  </a:cubicBezTo>
                  <a:cubicBezTo>
                    <a:pt x="188" y="508"/>
                    <a:pt x="188" y="506"/>
                    <a:pt x="190" y="504"/>
                  </a:cubicBezTo>
                  <a:cubicBezTo>
                    <a:pt x="191" y="503"/>
                    <a:pt x="190" y="501"/>
                    <a:pt x="190" y="501"/>
                  </a:cubicBezTo>
                  <a:cubicBezTo>
                    <a:pt x="189" y="494"/>
                    <a:pt x="189" y="494"/>
                    <a:pt x="189" y="494"/>
                  </a:cubicBezTo>
                  <a:cubicBezTo>
                    <a:pt x="191" y="491"/>
                    <a:pt x="191" y="491"/>
                    <a:pt x="191" y="491"/>
                  </a:cubicBezTo>
                  <a:cubicBezTo>
                    <a:pt x="191" y="485"/>
                    <a:pt x="191" y="485"/>
                    <a:pt x="191" y="485"/>
                  </a:cubicBezTo>
                  <a:cubicBezTo>
                    <a:pt x="187" y="477"/>
                    <a:pt x="187" y="477"/>
                    <a:pt x="187" y="477"/>
                  </a:cubicBezTo>
                  <a:cubicBezTo>
                    <a:pt x="187" y="477"/>
                    <a:pt x="187" y="471"/>
                    <a:pt x="187" y="470"/>
                  </a:cubicBezTo>
                  <a:cubicBezTo>
                    <a:pt x="187" y="468"/>
                    <a:pt x="190" y="464"/>
                    <a:pt x="190" y="464"/>
                  </a:cubicBezTo>
                  <a:cubicBezTo>
                    <a:pt x="191" y="457"/>
                    <a:pt x="191" y="457"/>
                    <a:pt x="191" y="457"/>
                  </a:cubicBezTo>
                  <a:cubicBezTo>
                    <a:pt x="193" y="447"/>
                    <a:pt x="193" y="447"/>
                    <a:pt x="193" y="447"/>
                  </a:cubicBezTo>
                  <a:cubicBezTo>
                    <a:pt x="206" y="430"/>
                    <a:pt x="206" y="430"/>
                    <a:pt x="206" y="430"/>
                  </a:cubicBezTo>
                  <a:cubicBezTo>
                    <a:pt x="209" y="430"/>
                    <a:pt x="209" y="430"/>
                    <a:pt x="209" y="430"/>
                  </a:cubicBezTo>
                  <a:cubicBezTo>
                    <a:pt x="230" y="429"/>
                    <a:pt x="230" y="429"/>
                    <a:pt x="230" y="429"/>
                  </a:cubicBezTo>
                  <a:cubicBezTo>
                    <a:pt x="231" y="427"/>
                    <a:pt x="231" y="427"/>
                    <a:pt x="231" y="427"/>
                  </a:cubicBezTo>
                  <a:cubicBezTo>
                    <a:pt x="232" y="426"/>
                    <a:pt x="232" y="426"/>
                    <a:pt x="232" y="426"/>
                  </a:cubicBezTo>
                  <a:cubicBezTo>
                    <a:pt x="234" y="420"/>
                    <a:pt x="234" y="420"/>
                    <a:pt x="234" y="420"/>
                  </a:cubicBezTo>
                  <a:cubicBezTo>
                    <a:pt x="233" y="404"/>
                    <a:pt x="233" y="404"/>
                    <a:pt x="233" y="404"/>
                  </a:cubicBezTo>
                  <a:cubicBezTo>
                    <a:pt x="224" y="402"/>
                    <a:pt x="224" y="402"/>
                    <a:pt x="224" y="402"/>
                  </a:cubicBezTo>
                  <a:cubicBezTo>
                    <a:pt x="222" y="397"/>
                    <a:pt x="222" y="397"/>
                    <a:pt x="222" y="397"/>
                  </a:cubicBezTo>
                  <a:cubicBezTo>
                    <a:pt x="237" y="371"/>
                    <a:pt x="237" y="371"/>
                    <a:pt x="237" y="371"/>
                  </a:cubicBezTo>
                  <a:cubicBezTo>
                    <a:pt x="236" y="365"/>
                    <a:pt x="236" y="365"/>
                    <a:pt x="236" y="365"/>
                  </a:cubicBezTo>
                  <a:cubicBezTo>
                    <a:pt x="240" y="362"/>
                    <a:pt x="240" y="362"/>
                    <a:pt x="240" y="362"/>
                  </a:cubicBezTo>
                  <a:cubicBezTo>
                    <a:pt x="240" y="362"/>
                    <a:pt x="239" y="358"/>
                    <a:pt x="238" y="356"/>
                  </a:cubicBezTo>
                  <a:cubicBezTo>
                    <a:pt x="237" y="355"/>
                    <a:pt x="239" y="349"/>
                    <a:pt x="239" y="349"/>
                  </a:cubicBezTo>
                  <a:cubicBezTo>
                    <a:pt x="240" y="342"/>
                    <a:pt x="240" y="342"/>
                    <a:pt x="240" y="342"/>
                  </a:cubicBezTo>
                  <a:cubicBezTo>
                    <a:pt x="242" y="334"/>
                    <a:pt x="242" y="334"/>
                    <a:pt x="242" y="334"/>
                  </a:cubicBezTo>
                  <a:cubicBezTo>
                    <a:pt x="237" y="317"/>
                    <a:pt x="237" y="317"/>
                    <a:pt x="237" y="317"/>
                  </a:cubicBezTo>
                  <a:cubicBezTo>
                    <a:pt x="240" y="314"/>
                    <a:pt x="240" y="314"/>
                    <a:pt x="240" y="314"/>
                  </a:cubicBezTo>
                  <a:cubicBezTo>
                    <a:pt x="244" y="314"/>
                    <a:pt x="244" y="314"/>
                    <a:pt x="244" y="314"/>
                  </a:cubicBezTo>
                  <a:cubicBezTo>
                    <a:pt x="245" y="314"/>
                    <a:pt x="247" y="313"/>
                    <a:pt x="249" y="313"/>
                  </a:cubicBezTo>
                  <a:cubicBezTo>
                    <a:pt x="251" y="312"/>
                    <a:pt x="252" y="311"/>
                    <a:pt x="255" y="308"/>
                  </a:cubicBezTo>
                  <a:cubicBezTo>
                    <a:pt x="256" y="306"/>
                    <a:pt x="256" y="306"/>
                    <a:pt x="256" y="306"/>
                  </a:cubicBezTo>
                  <a:cubicBezTo>
                    <a:pt x="257" y="301"/>
                    <a:pt x="257" y="301"/>
                    <a:pt x="257" y="301"/>
                  </a:cubicBezTo>
                  <a:cubicBezTo>
                    <a:pt x="257" y="292"/>
                    <a:pt x="257" y="292"/>
                    <a:pt x="257" y="292"/>
                  </a:cubicBezTo>
                  <a:cubicBezTo>
                    <a:pt x="262" y="279"/>
                    <a:pt x="262" y="279"/>
                    <a:pt x="262" y="279"/>
                  </a:cubicBezTo>
                  <a:cubicBezTo>
                    <a:pt x="262" y="279"/>
                    <a:pt x="270" y="269"/>
                    <a:pt x="271" y="267"/>
                  </a:cubicBezTo>
                  <a:cubicBezTo>
                    <a:pt x="272" y="265"/>
                    <a:pt x="275" y="258"/>
                    <a:pt x="275" y="258"/>
                  </a:cubicBezTo>
                  <a:cubicBezTo>
                    <a:pt x="275" y="258"/>
                    <a:pt x="273" y="250"/>
                    <a:pt x="272" y="248"/>
                  </a:cubicBezTo>
                  <a:cubicBezTo>
                    <a:pt x="270" y="247"/>
                    <a:pt x="267" y="241"/>
                    <a:pt x="267" y="241"/>
                  </a:cubicBezTo>
                  <a:cubicBezTo>
                    <a:pt x="267" y="236"/>
                    <a:pt x="267" y="236"/>
                    <a:pt x="267" y="236"/>
                  </a:cubicBezTo>
                  <a:cubicBezTo>
                    <a:pt x="273" y="232"/>
                    <a:pt x="273" y="232"/>
                    <a:pt x="273" y="232"/>
                  </a:cubicBezTo>
                  <a:cubicBezTo>
                    <a:pt x="275" y="228"/>
                    <a:pt x="275" y="228"/>
                    <a:pt x="275" y="228"/>
                  </a:cubicBezTo>
                  <a:cubicBezTo>
                    <a:pt x="275" y="228"/>
                    <a:pt x="275" y="221"/>
                    <a:pt x="275" y="220"/>
                  </a:cubicBezTo>
                  <a:cubicBezTo>
                    <a:pt x="275" y="220"/>
                    <a:pt x="275" y="220"/>
                    <a:pt x="275" y="220"/>
                  </a:cubicBezTo>
                  <a:cubicBezTo>
                    <a:pt x="275" y="220"/>
                    <a:pt x="275" y="220"/>
                    <a:pt x="275" y="220"/>
                  </a:cubicBezTo>
                  <a:cubicBezTo>
                    <a:pt x="275" y="220"/>
                    <a:pt x="275" y="220"/>
                    <a:pt x="275" y="220"/>
                  </a:cubicBezTo>
                  <a:cubicBezTo>
                    <a:pt x="275" y="220"/>
                    <a:pt x="275" y="220"/>
                    <a:pt x="275" y="220"/>
                  </a:cubicBezTo>
                  <a:cubicBezTo>
                    <a:pt x="275" y="220"/>
                    <a:pt x="275" y="220"/>
                    <a:pt x="275" y="220"/>
                  </a:cubicBezTo>
                  <a:cubicBezTo>
                    <a:pt x="275" y="220"/>
                    <a:pt x="275" y="220"/>
                    <a:pt x="275" y="220"/>
                  </a:cubicBezTo>
                  <a:cubicBezTo>
                    <a:pt x="275" y="220"/>
                    <a:pt x="275" y="220"/>
                    <a:pt x="275" y="220"/>
                  </a:cubicBezTo>
                  <a:cubicBezTo>
                    <a:pt x="275" y="220"/>
                    <a:pt x="275" y="220"/>
                    <a:pt x="275" y="220"/>
                  </a:cubicBezTo>
                  <a:cubicBezTo>
                    <a:pt x="275" y="220"/>
                    <a:pt x="275" y="220"/>
                    <a:pt x="275" y="220"/>
                  </a:cubicBezTo>
                  <a:cubicBezTo>
                    <a:pt x="275" y="220"/>
                    <a:pt x="275" y="220"/>
                    <a:pt x="275" y="220"/>
                  </a:cubicBezTo>
                  <a:cubicBezTo>
                    <a:pt x="275" y="220"/>
                    <a:pt x="275" y="220"/>
                    <a:pt x="275" y="220"/>
                  </a:cubicBezTo>
                  <a:cubicBezTo>
                    <a:pt x="275" y="220"/>
                    <a:pt x="275" y="220"/>
                    <a:pt x="275" y="220"/>
                  </a:cubicBezTo>
                  <a:cubicBezTo>
                    <a:pt x="275" y="220"/>
                    <a:pt x="275" y="220"/>
                    <a:pt x="275" y="220"/>
                  </a:cubicBezTo>
                  <a:cubicBezTo>
                    <a:pt x="275" y="220"/>
                    <a:pt x="275" y="220"/>
                    <a:pt x="275" y="220"/>
                  </a:cubicBezTo>
                  <a:cubicBezTo>
                    <a:pt x="275" y="220"/>
                    <a:pt x="275" y="220"/>
                    <a:pt x="275" y="220"/>
                  </a:cubicBezTo>
                  <a:cubicBezTo>
                    <a:pt x="275" y="219"/>
                    <a:pt x="275" y="219"/>
                    <a:pt x="275" y="219"/>
                  </a:cubicBezTo>
                  <a:cubicBezTo>
                    <a:pt x="275" y="219"/>
                    <a:pt x="275" y="219"/>
                    <a:pt x="275" y="219"/>
                  </a:cubicBezTo>
                  <a:cubicBezTo>
                    <a:pt x="275" y="219"/>
                    <a:pt x="275" y="219"/>
                    <a:pt x="275" y="219"/>
                  </a:cubicBezTo>
                  <a:cubicBezTo>
                    <a:pt x="275" y="219"/>
                    <a:pt x="275" y="219"/>
                    <a:pt x="275" y="219"/>
                  </a:cubicBezTo>
                  <a:cubicBezTo>
                    <a:pt x="275" y="219"/>
                    <a:pt x="275" y="219"/>
                    <a:pt x="275" y="219"/>
                  </a:cubicBezTo>
                  <a:cubicBezTo>
                    <a:pt x="275" y="219"/>
                    <a:pt x="275" y="219"/>
                    <a:pt x="275" y="219"/>
                  </a:cubicBezTo>
                  <a:cubicBezTo>
                    <a:pt x="275" y="219"/>
                    <a:pt x="275" y="219"/>
                    <a:pt x="275" y="219"/>
                  </a:cubicBezTo>
                  <a:cubicBezTo>
                    <a:pt x="275" y="219"/>
                    <a:pt x="275" y="219"/>
                    <a:pt x="275" y="219"/>
                  </a:cubicBezTo>
                  <a:cubicBezTo>
                    <a:pt x="275" y="219"/>
                    <a:pt x="275" y="219"/>
                    <a:pt x="275" y="219"/>
                  </a:cubicBezTo>
                  <a:cubicBezTo>
                    <a:pt x="275" y="218"/>
                    <a:pt x="275" y="218"/>
                    <a:pt x="275" y="218"/>
                  </a:cubicBezTo>
                  <a:cubicBezTo>
                    <a:pt x="275" y="218"/>
                    <a:pt x="275" y="218"/>
                    <a:pt x="275" y="218"/>
                  </a:cubicBezTo>
                  <a:cubicBezTo>
                    <a:pt x="275" y="218"/>
                    <a:pt x="275" y="218"/>
                    <a:pt x="275" y="218"/>
                  </a:cubicBezTo>
                  <a:cubicBezTo>
                    <a:pt x="275" y="218"/>
                    <a:pt x="275" y="218"/>
                    <a:pt x="275" y="218"/>
                  </a:cubicBezTo>
                  <a:cubicBezTo>
                    <a:pt x="276" y="218"/>
                    <a:pt x="276" y="218"/>
                    <a:pt x="276" y="218"/>
                  </a:cubicBezTo>
                  <a:cubicBezTo>
                    <a:pt x="276" y="218"/>
                    <a:pt x="276" y="218"/>
                    <a:pt x="276" y="218"/>
                  </a:cubicBezTo>
                  <a:cubicBezTo>
                    <a:pt x="276" y="218"/>
                    <a:pt x="276" y="218"/>
                    <a:pt x="276" y="218"/>
                  </a:cubicBezTo>
                  <a:cubicBezTo>
                    <a:pt x="276" y="218"/>
                    <a:pt x="276" y="218"/>
                    <a:pt x="276" y="218"/>
                  </a:cubicBezTo>
                  <a:cubicBezTo>
                    <a:pt x="276" y="218"/>
                    <a:pt x="276" y="218"/>
                    <a:pt x="276" y="218"/>
                  </a:cubicBezTo>
                  <a:cubicBezTo>
                    <a:pt x="276" y="217"/>
                    <a:pt x="276" y="217"/>
                    <a:pt x="276" y="217"/>
                  </a:cubicBezTo>
                  <a:cubicBezTo>
                    <a:pt x="276" y="217"/>
                    <a:pt x="276" y="217"/>
                    <a:pt x="276" y="217"/>
                  </a:cubicBezTo>
                  <a:cubicBezTo>
                    <a:pt x="276" y="217"/>
                    <a:pt x="276" y="217"/>
                    <a:pt x="276" y="217"/>
                  </a:cubicBezTo>
                  <a:cubicBezTo>
                    <a:pt x="276" y="217"/>
                    <a:pt x="276" y="217"/>
                    <a:pt x="276" y="217"/>
                  </a:cubicBezTo>
                  <a:cubicBezTo>
                    <a:pt x="276" y="217"/>
                    <a:pt x="276" y="217"/>
                    <a:pt x="276" y="217"/>
                  </a:cubicBezTo>
                  <a:cubicBezTo>
                    <a:pt x="276" y="217"/>
                    <a:pt x="276" y="217"/>
                    <a:pt x="276" y="217"/>
                  </a:cubicBezTo>
                  <a:cubicBezTo>
                    <a:pt x="276" y="217"/>
                    <a:pt x="276" y="217"/>
                    <a:pt x="276" y="217"/>
                  </a:cubicBezTo>
                  <a:cubicBezTo>
                    <a:pt x="276" y="217"/>
                    <a:pt x="276" y="217"/>
                    <a:pt x="276" y="217"/>
                  </a:cubicBezTo>
                  <a:cubicBezTo>
                    <a:pt x="276" y="216"/>
                    <a:pt x="276" y="216"/>
                    <a:pt x="276" y="216"/>
                  </a:cubicBezTo>
                  <a:cubicBezTo>
                    <a:pt x="276" y="216"/>
                    <a:pt x="276" y="216"/>
                    <a:pt x="276" y="216"/>
                  </a:cubicBezTo>
                  <a:cubicBezTo>
                    <a:pt x="276" y="216"/>
                    <a:pt x="276" y="216"/>
                    <a:pt x="276" y="216"/>
                  </a:cubicBezTo>
                  <a:cubicBezTo>
                    <a:pt x="276" y="216"/>
                    <a:pt x="276" y="216"/>
                    <a:pt x="276" y="216"/>
                  </a:cubicBezTo>
                  <a:cubicBezTo>
                    <a:pt x="276" y="216"/>
                    <a:pt x="276" y="216"/>
                    <a:pt x="276" y="216"/>
                  </a:cubicBezTo>
                  <a:cubicBezTo>
                    <a:pt x="276" y="216"/>
                    <a:pt x="276" y="216"/>
                    <a:pt x="276" y="216"/>
                  </a:cubicBezTo>
                  <a:cubicBezTo>
                    <a:pt x="276" y="216"/>
                    <a:pt x="276" y="216"/>
                    <a:pt x="276" y="216"/>
                  </a:cubicBezTo>
                  <a:cubicBezTo>
                    <a:pt x="277" y="216"/>
                    <a:pt x="277" y="216"/>
                    <a:pt x="277" y="216"/>
                  </a:cubicBezTo>
                  <a:cubicBezTo>
                    <a:pt x="277" y="216"/>
                    <a:pt x="277" y="216"/>
                    <a:pt x="277" y="216"/>
                  </a:cubicBezTo>
                  <a:cubicBezTo>
                    <a:pt x="277" y="215"/>
                    <a:pt x="277" y="215"/>
                    <a:pt x="277" y="215"/>
                  </a:cubicBezTo>
                  <a:cubicBezTo>
                    <a:pt x="277" y="215"/>
                    <a:pt x="277" y="215"/>
                    <a:pt x="277" y="215"/>
                  </a:cubicBezTo>
                  <a:cubicBezTo>
                    <a:pt x="277" y="215"/>
                    <a:pt x="277" y="215"/>
                    <a:pt x="277" y="215"/>
                  </a:cubicBezTo>
                  <a:cubicBezTo>
                    <a:pt x="277" y="215"/>
                    <a:pt x="277" y="215"/>
                    <a:pt x="277" y="215"/>
                  </a:cubicBezTo>
                  <a:cubicBezTo>
                    <a:pt x="277" y="215"/>
                    <a:pt x="277" y="215"/>
                    <a:pt x="277" y="215"/>
                  </a:cubicBezTo>
                  <a:cubicBezTo>
                    <a:pt x="277" y="215"/>
                    <a:pt x="277" y="215"/>
                    <a:pt x="277" y="215"/>
                  </a:cubicBezTo>
                  <a:cubicBezTo>
                    <a:pt x="277" y="215"/>
                    <a:pt x="277" y="215"/>
                    <a:pt x="277" y="215"/>
                  </a:cubicBezTo>
                  <a:cubicBezTo>
                    <a:pt x="277" y="215"/>
                    <a:pt x="277" y="215"/>
                    <a:pt x="277" y="215"/>
                  </a:cubicBezTo>
                  <a:cubicBezTo>
                    <a:pt x="277" y="215"/>
                    <a:pt x="277" y="215"/>
                    <a:pt x="277" y="215"/>
                  </a:cubicBezTo>
                  <a:cubicBezTo>
                    <a:pt x="277" y="215"/>
                    <a:pt x="277" y="215"/>
                    <a:pt x="277" y="215"/>
                  </a:cubicBezTo>
                  <a:cubicBezTo>
                    <a:pt x="277" y="215"/>
                    <a:pt x="277" y="215"/>
                    <a:pt x="277" y="215"/>
                  </a:cubicBezTo>
                  <a:cubicBezTo>
                    <a:pt x="277" y="215"/>
                    <a:pt x="277" y="215"/>
                    <a:pt x="277" y="215"/>
                  </a:cubicBezTo>
                  <a:cubicBezTo>
                    <a:pt x="277" y="215"/>
                    <a:pt x="277" y="215"/>
                    <a:pt x="277" y="215"/>
                  </a:cubicBezTo>
                  <a:cubicBezTo>
                    <a:pt x="277" y="215"/>
                    <a:pt x="277" y="215"/>
                    <a:pt x="277" y="215"/>
                  </a:cubicBezTo>
                  <a:cubicBezTo>
                    <a:pt x="277" y="213"/>
                    <a:pt x="281" y="209"/>
                    <a:pt x="281" y="209"/>
                  </a:cubicBezTo>
                  <a:cubicBezTo>
                    <a:pt x="285" y="201"/>
                    <a:pt x="285" y="201"/>
                    <a:pt x="285" y="201"/>
                  </a:cubicBezTo>
                  <a:cubicBezTo>
                    <a:pt x="295" y="206"/>
                    <a:pt x="295" y="206"/>
                    <a:pt x="295" y="206"/>
                  </a:cubicBezTo>
                  <a:cubicBezTo>
                    <a:pt x="300" y="206"/>
                    <a:pt x="300" y="206"/>
                    <a:pt x="300" y="206"/>
                  </a:cubicBezTo>
                  <a:cubicBezTo>
                    <a:pt x="302" y="202"/>
                    <a:pt x="302" y="202"/>
                    <a:pt x="302" y="202"/>
                  </a:cubicBezTo>
                  <a:cubicBezTo>
                    <a:pt x="301" y="199"/>
                    <a:pt x="300" y="178"/>
                    <a:pt x="303" y="174"/>
                  </a:cubicBezTo>
                  <a:cubicBezTo>
                    <a:pt x="303" y="174"/>
                    <a:pt x="317" y="175"/>
                    <a:pt x="319" y="174"/>
                  </a:cubicBezTo>
                  <a:cubicBezTo>
                    <a:pt x="320" y="174"/>
                    <a:pt x="325" y="176"/>
                    <a:pt x="326" y="177"/>
                  </a:cubicBezTo>
                  <a:cubicBezTo>
                    <a:pt x="326" y="177"/>
                    <a:pt x="326" y="177"/>
                    <a:pt x="326" y="177"/>
                  </a:cubicBezTo>
                  <a:cubicBezTo>
                    <a:pt x="326" y="177"/>
                    <a:pt x="326" y="177"/>
                    <a:pt x="326" y="177"/>
                  </a:cubicBezTo>
                  <a:cubicBezTo>
                    <a:pt x="327" y="178"/>
                    <a:pt x="328" y="178"/>
                    <a:pt x="329" y="178"/>
                  </a:cubicBezTo>
                  <a:cubicBezTo>
                    <a:pt x="331" y="179"/>
                    <a:pt x="333" y="179"/>
                    <a:pt x="333" y="179"/>
                  </a:cubicBezTo>
                  <a:cubicBezTo>
                    <a:pt x="339" y="178"/>
                    <a:pt x="339" y="178"/>
                    <a:pt x="339" y="178"/>
                  </a:cubicBezTo>
                  <a:cubicBezTo>
                    <a:pt x="343" y="173"/>
                    <a:pt x="343" y="173"/>
                    <a:pt x="343" y="173"/>
                  </a:cubicBezTo>
                  <a:cubicBezTo>
                    <a:pt x="339" y="169"/>
                    <a:pt x="339" y="169"/>
                    <a:pt x="339" y="169"/>
                  </a:cubicBezTo>
                  <a:cubicBezTo>
                    <a:pt x="343" y="164"/>
                    <a:pt x="343" y="157"/>
                    <a:pt x="342" y="156"/>
                  </a:cubicBezTo>
                  <a:cubicBezTo>
                    <a:pt x="341" y="154"/>
                    <a:pt x="339" y="145"/>
                    <a:pt x="338" y="144"/>
                  </a:cubicBezTo>
                  <a:cubicBezTo>
                    <a:pt x="338" y="143"/>
                    <a:pt x="340" y="142"/>
                    <a:pt x="340" y="142"/>
                  </a:cubicBezTo>
                  <a:cubicBezTo>
                    <a:pt x="342" y="142"/>
                    <a:pt x="342" y="142"/>
                    <a:pt x="342" y="142"/>
                  </a:cubicBezTo>
                  <a:cubicBezTo>
                    <a:pt x="342" y="142"/>
                    <a:pt x="343" y="141"/>
                    <a:pt x="344" y="141"/>
                  </a:cubicBezTo>
                  <a:cubicBezTo>
                    <a:pt x="349" y="137"/>
                    <a:pt x="349" y="137"/>
                    <a:pt x="349" y="137"/>
                  </a:cubicBezTo>
                  <a:cubicBezTo>
                    <a:pt x="354" y="138"/>
                    <a:pt x="354" y="138"/>
                    <a:pt x="354" y="138"/>
                  </a:cubicBezTo>
                  <a:cubicBezTo>
                    <a:pt x="354" y="138"/>
                    <a:pt x="354" y="137"/>
                    <a:pt x="355" y="137"/>
                  </a:cubicBezTo>
                  <a:cubicBezTo>
                    <a:pt x="356" y="137"/>
                    <a:pt x="356" y="136"/>
                    <a:pt x="356" y="136"/>
                  </a:cubicBezTo>
                  <a:cubicBezTo>
                    <a:pt x="356" y="136"/>
                    <a:pt x="353" y="130"/>
                    <a:pt x="355" y="127"/>
                  </a:cubicBezTo>
                  <a:cubicBezTo>
                    <a:pt x="356" y="125"/>
                    <a:pt x="357" y="125"/>
                    <a:pt x="359" y="125"/>
                  </a:cubicBezTo>
                  <a:cubicBezTo>
                    <a:pt x="359" y="125"/>
                    <a:pt x="359" y="125"/>
                    <a:pt x="359" y="125"/>
                  </a:cubicBezTo>
                  <a:cubicBezTo>
                    <a:pt x="359" y="125"/>
                    <a:pt x="359" y="125"/>
                    <a:pt x="359" y="125"/>
                  </a:cubicBezTo>
                  <a:cubicBezTo>
                    <a:pt x="359" y="125"/>
                    <a:pt x="359" y="125"/>
                    <a:pt x="359" y="125"/>
                  </a:cubicBezTo>
                  <a:cubicBezTo>
                    <a:pt x="359" y="125"/>
                    <a:pt x="359" y="125"/>
                    <a:pt x="359" y="125"/>
                  </a:cubicBezTo>
                  <a:cubicBezTo>
                    <a:pt x="359" y="125"/>
                    <a:pt x="359" y="125"/>
                    <a:pt x="359" y="125"/>
                  </a:cubicBezTo>
                  <a:cubicBezTo>
                    <a:pt x="359" y="125"/>
                    <a:pt x="359" y="125"/>
                    <a:pt x="359" y="125"/>
                  </a:cubicBezTo>
                  <a:cubicBezTo>
                    <a:pt x="360" y="125"/>
                    <a:pt x="360" y="125"/>
                    <a:pt x="360" y="125"/>
                  </a:cubicBezTo>
                  <a:cubicBezTo>
                    <a:pt x="360" y="125"/>
                    <a:pt x="360" y="125"/>
                    <a:pt x="360" y="125"/>
                  </a:cubicBezTo>
                  <a:cubicBezTo>
                    <a:pt x="360" y="125"/>
                    <a:pt x="360" y="125"/>
                    <a:pt x="360" y="125"/>
                  </a:cubicBezTo>
                  <a:cubicBezTo>
                    <a:pt x="360" y="125"/>
                    <a:pt x="360" y="125"/>
                    <a:pt x="360" y="125"/>
                  </a:cubicBezTo>
                  <a:cubicBezTo>
                    <a:pt x="360" y="125"/>
                    <a:pt x="360" y="125"/>
                    <a:pt x="360" y="125"/>
                  </a:cubicBezTo>
                  <a:cubicBezTo>
                    <a:pt x="360" y="125"/>
                    <a:pt x="360" y="125"/>
                    <a:pt x="360" y="125"/>
                  </a:cubicBezTo>
                  <a:cubicBezTo>
                    <a:pt x="360" y="125"/>
                    <a:pt x="360" y="125"/>
                    <a:pt x="360" y="125"/>
                  </a:cubicBezTo>
                  <a:cubicBezTo>
                    <a:pt x="360" y="125"/>
                    <a:pt x="360" y="125"/>
                    <a:pt x="360" y="125"/>
                  </a:cubicBezTo>
                  <a:cubicBezTo>
                    <a:pt x="361" y="125"/>
                    <a:pt x="361" y="125"/>
                    <a:pt x="361" y="125"/>
                  </a:cubicBezTo>
                  <a:cubicBezTo>
                    <a:pt x="361" y="125"/>
                    <a:pt x="361" y="125"/>
                    <a:pt x="361" y="125"/>
                  </a:cubicBezTo>
                  <a:cubicBezTo>
                    <a:pt x="361" y="125"/>
                    <a:pt x="361" y="125"/>
                    <a:pt x="361" y="125"/>
                  </a:cubicBezTo>
                  <a:cubicBezTo>
                    <a:pt x="361" y="125"/>
                    <a:pt x="361" y="125"/>
                    <a:pt x="361" y="125"/>
                  </a:cubicBezTo>
                  <a:cubicBezTo>
                    <a:pt x="361" y="125"/>
                    <a:pt x="361" y="125"/>
                    <a:pt x="361" y="125"/>
                  </a:cubicBezTo>
                  <a:cubicBezTo>
                    <a:pt x="361" y="125"/>
                    <a:pt x="361" y="125"/>
                    <a:pt x="361" y="125"/>
                  </a:cubicBezTo>
                  <a:cubicBezTo>
                    <a:pt x="361" y="125"/>
                    <a:pt x="361" y="125"/>
                    <a:pt x="361" y="125"/>
                  </a:cubicBezTo>
                  <a:cubicBezTo>
                    <a:pt x="361" y="125"/>
                    <a:pt x="361" y="125"/>
                    <a:pt x="361" y="125"/>
                  </a:cubicBezTo>
                  <a:cubicBezTo>
                    <a:pt x="361" y="125"/>
                    <a:pt x="361" y="125"/>
                    <a:pt x="361" y="125"/>
                  </a:cubicBezTo>
                  <a:cubicBezTo>
                    <a:pt x="361" y="125"/>
                    <a:pt x="361" y="125"/>
                    <a:pt x="361" y="125"/>
                  </a:cubicBezTo>
                  <a:cubicBezTo>
                    <a:pt x="361" y="125"/>
                    <a:pt x="361" y="125"/>
                    <a:pt x="361" y="125"/>
                  </a:cubicBezTo>
                  <a:cubicBezTo>
                    <a:pt x="361" y="125"/>
                    <a:pt x="361" y="125"/>
                    <a:pt x="361" y="125"/>
                  </a:cubicBezTo>
                  <a:cubicBezTo>
                    <a:pt x="361" y="125"/>
                    <a:pt x="361" y="125"/>
                    <a:pt x="361" y="125"/>
                  </a:cubicBezTo>
                  <a:cubicBezTo>
                    <a:pt x="361" y="125"/>
                    <a:pt x="361" y="125"/>
                    <a:pt x="361" y="125"/>
                  </a:cubicBezTo>
                  <a:cubicBezTo>
                    <a:pt x="362" y="125"/>
                    <a:pt x="362" y="125"/>
                    <a:pt x="362" y="125"/>
                  </a:cubicBezTo>
                  <a:cubicBezTo>
                    <a:pt x="362" y="125"/>
                    <a:pt x="362" y="125"/>
                    <a:pt x="362" y="125"/>
                  </a:cubicBezTo>
                  <a:cubicBezTo>
                    <a:pt x="362" y="125"/>
                    <a:pt x="362" y="125"/>
                    <a:pt x="362" y="125"/>
                  </a:cubicBezTo>
                  <a:cubicBezTo>
                    <a:pt x="362" y="125"/>
                    <a:pt x="362" y="125"/>
                    <a:pt x="362" y="125"/>
                  </a:cubicBezTo>
                  <a:cubicBezTo>
                    <a:pt x="363" y="125"/>
                    <a:pt x="363" y="125"/>
                    <a:pt x="363" y="125"/>
                  </a:cubicBezTo>
                  <a:cubicBezTo>
                    <a:pt x="363" y="125"/>
                    <a:pt x="363" y="125"/>
                    <a:pt x="363" y="125"/>
                  </a:cubicBezTo>
                  <a:cubicBezTo>
                    <a:pt x="363" y="125"/>
                    <a:pt x="363" y="125"/>
                    <a:pt x="363" y="125"/>
                  </a:cubicBezTo>
                  <a:cubicBezTo>
                    <a:pt x="363" y="125"/>
                    <a:pt x="363" y="125"/>
                    <a:pt x="363" y="125"/>
                  </a:cubicBezTo>
                  <a:cubicBezTo>
                    <a:pt x="363" y="126"/>
                    <a:pt x="363" y="126"/>
                    <a:pt x="363" y="126"/>
                  </a:cubicBezTo>
                  <a:cubicBezTo>
                    <a:pt x="363" y="126"/>
                    <a:pt x="363" y="126"/>
                    <a:pt x="363" y="126"/>
                  </a:cubicBezTo>
                  <a:cubicBezTo>
                    <a:pt x="363" y="126"/>
                    <a:pt x="363" y="126"/>
                    <a:pt x="363" y="126"/>
                  </a:cubicBezTo>
                  <a:cubicBezTo>
                    <a:pt x="363" y="126"/>
                    <a:pt x="363" y="126"/>
                    <a:pt x="363" y="126"/>
                  </a:cubicBezTo>
                  <a:cubicBezTo>
                    <a:pt x="363" y="126"/>
                    <a:pt x="363" y="126"/>
                    <a:pt x="363" y="126"/>
                  </a:cubicBezTo>
                  <a:cubicBezTo>
                    <a:pt x="363" y="126"/>
                    <a:pt x="363" y="126"/>
                    <a:pt x="363" y="126"/>
                  </a:cubicBezTo>
                  <a:cubicBezTo>
                    <a:pt x="363" y="126"/>
                    <a:pt x="363" y="126"/>
                    <a:pt x="363" y="126"/>
                  </a:cubicBezTo>
                  <a:cubicBezTo>
                    <a:pt x="363" y="126"/>
                    <a:pt x="363" y="126"/>
                    <a:pt x="363" y="126"/>
                  </a:cubicBezTo>
                  <a:close/>
                </a:path>
              </a:pathLst>
            </a:custGeom>
            <a:solidFill>
              <a:srgbClr val="E6EFF1"/>
            </a:solidFill>
            <a:ln w="12700" cap="rnd" cmpd="sng">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Lato Light"/>
              </a:endParaRPr>
            </a:p>
          </p:txBody>
        </p:sp>
        <p:sp>
          <p:nvSpPr>
            <p:cNvPr id="238" name="Freeform 109">
              <a:extLst>
                <a:ext uri="{FF2B5EF4-FFF2-40B4-BE49-F238E27FC236}">
                  <a16:creationId xmlns:a16="http://schemas.microsoft.com/office/drawing/2014/main" id="{74D67633-CD6E-9B74-7706-52BFA7BC80DC}"/>
                </a:ext>
              </a:extLst>
            </p:cNvPr>
            <p:cNvSpPr>
              <a:spLocks noEditPoints="1"/>
            </p:cNvSpPr>
            <p:nvPr/>
          </p:nvSpPr>
          <p:spPr bwMode="auto">
            <a:xfrm>
              <a:off x="2297028" y="2412908"/>
              <a:ext cx="839081" cy="1537796"/>
            </a:xfrm>
            <a:custGeom>
              <a:avLst/>
              <a:gdLst>
                <a:gd name="T0" fmla="*/ 29 w 291"/>
                <a:gd name="T1" fmla="*/ 540 h 550"/>
                <a:gd name="T2" fmla="*/ 96 w 291"/>
                <a:gd name="T3" fmla="*/ 541 h 550"/>
                <a:gd name="T4" fmla="*/ 173 w 291"/>
                <a:gd name="T5" fmla="*/ 531 h 550"/>
                <a:gd name="T6" fmla="*/ 212 w 291"/>
                <a:gd name="T7" fmla="*/ 534 h 550"/>
                <a:gd name="T8" fmla="*/ 254 w 291"/>
                <a:gd name="T9" fmla="*/ 506 h 550"/>
                <a:gd name="T10" fmla="*/ 285 w 291"/>
                <a:gd name="T11" fmla="*/ 469 h 550"/>
                <a:gd name="T12" fmla="*/ 250 w 291"/>
                <a:gd name="T13" fmla="*/ 407 h 550"/>
                <a:gd name="T14" fmla="*/ 238 w 291"/>
                <a:gd name="T15" fmla="*/ 368 h 550"/>
                <a:gd name="T16" fmla="*/ 207 w 291"/>
                <a:gd name="T17" fmla="*/ 282 h 550"/>
                <a:gd name="T18" fmla="*/ 158 w 291"/>
                <a:gd name="T19" fmla="*/ 243 h 550"/>
                <a:gd name="T20" fmla="*/ 165 w 291"/>
                <a:gd name="T21" fmla="*/ 227 h 550"/>
                <a:gd name="T22" fmla="*/ 220 w 291"/>
                <a:gd name="T23" fmla="*/ 173 h 550"/>
                <a:gd name="T24" fmla="*/ 167 w 291"/>
                <a:gd name="T25" fmla="*/ 157 h 550"/>
                <a:gd name="T26" fmla="*/ 143 w 291"/>
                <a:gd name="T27" fmla="*/ 156 h 550"/>
                <a:gd name="T28" fmla="*/ 166 w 291"/>
                <a:gd name="T29" fmla="*/ 136 h 550"/>
                <a:gd name="T30" fmla="*/ 157 w 291"/>
                <a:gd name="T31" fmla="*/ 107 h 550"/>
                <a:gd name="T32" fmla="*/ 136 w 291"/>
                <a:gd name="T33" fmla="*/ 106 h 550"/>
                <a:gd name="T34" fmla="*/ 128 w 291"/>
                <a:gd name="T35" fmla="*/ 138 h 550"/>
                <a:gd name="T36" fmla="*/ 111 w 291"/>
                <a:gd name="T37" fmla="*/ 142 h 550"/>
                <a:gd name="T38" fmla="*/ 107 w 291"/>
                <a:gd name="T39" fmla="*/ 165 h 550"/>
                <a:gd name="T40" fmla="*/ 90 w 291"/>
                <a:gd name="T41" fmla="*/ 144 h 550"/>
                <a:gd name="T42" fmla="*/ 84 w 291"/>
                <a:gd name="T43" fmla="*/ 159 h 550"/>
                <a:gd name="T44" fmla="*/ 104 w 291"/>
                <a:gd name="T45" fmla="*/ 172 h 550"/>
                <a:gd name="T46" fmla="*/ 84 w 291"/>
                <a:gd name="T47" fmla="*/ 191 h 550"/>
                <a:gd name="T48" fmla="*/ 95 w 291"/>
                <a:gd name="T49" fmla="*/ 210 h 550"/>
                <a:gd name="T50" fmla="*/ 65 w 291"/>
                <a:gd name="T51" fmla="*/ 241 h 550"/>
                <a:gd name="T52" fmla="*/ 87 w 291"/>
                <a:gd name="T53" fmla="*/ 231 h 550"/>
                <a:gd name="T54" fmla="*/ 83 w 291"/>
                <a:gd name="T55" fmla="*/ 256 h 550"/>
                <a:gd name="T56" fmla="*/ 101 w 291"/>
                <a:gd name="T57" fmla="*/ 237 h 550"/>
                <a:gd name="T58" fmla="*/ 98 w 291"/>
                <a:gd name="T59" fmla="*/ 306 h 550"/>
                <a:gd name="T60" fmla="*/ 133 w 291"/>
                <a:gd name="T61" fmla="*/ 306 h 550"/>
                <a:gd name="T62" fmla="*/ 142 w 291"/>
                <a:gd name="T63" fmla="*/ 337 h 550"/>
                <a:gd name="T64" fmla="*/ 144 w 291"/>
                <a:gd name="T65" fmla="*/ 382 h 550"/>
                <a:gd name="T66" fmla="*/ 97 w 291"/>
                <a:gd name="T67" fmla="*/ 376 h 550"/>
                <a:gd name="T68" fmla="*/ 103 w 291"/>
                <a:gd name="T69" fmla="*/ 422 h 550"/>
                <a:gd name="T70" fmla="*/ 62 w 291"/>
                <a:gd name="T71" fmla="*/ 461 h 550"/>
                <a:gd name="T72" fmla="*/ 101 w 291"/>
                <a:gd name="T73" fmla="*/ 472 h 550"/>
                <a:gd name="T74" fmla="*/ 139 w 291"/>
                <a:gd name="T75" fmla="*/ 482 h 550"/>
                <a:gd name="T76" fmla="*/ 50 w 291"/>
                <a:gd name="T77" fmla="*/ 266 h 550"/>
                <a:gd name="T78" fmla="*/ 80 w 291"/>
                <a:gd name="T79" fmla="*/ 314 h 550"/>
                <a:gd name="T80" fmla="*/ 41 w 291"/>
                <a:gd name="T81" fmla="*/ 324 h 550"/>
                <a:gd name="T82" fmla="*/ 13 w 291"/>
                <a:gd name="T83" fmla="*/ 287 h 550"/>
                <a:gd name="T84" fmla="*/ 75 w 291"/>
                <a:gd name="T85" fmla="*/ 227 h 550"/>
                <a:gd name="T86" fmla="*/ 103 w 291"/>
                <a:gd name="T87" fmla="*/ 263 h 550"/>
                <a:gd name="T88" fmla="*/ 65 w 291"/>
                <a:gd name="T89" fmla="*/ 199 h 550"/>
                <a:gd name="T90" fmla="*/ 78 w 291"/>
                <a:gd name="T91" fmla="*/ 171 h 550"/>
                <a:gd name="T92" fmla="*/ 46 w 291"/>
                <a:gd name="T93" fmla="*/ 177 h 550"/>
                <a:gd name="T94" fmla="*/ 59 w 291"/>
                <a:gd name="T95" fmla="*/ 158 h 550"/>
                <a:gd name="T96" fmla="*/ 69 w 291"/>
                <a:gd name="T97" fmla="*/ 132 h 550"/>
                <a:gd name="T98" fmla="*/ 80 w 291"/>
                <a:gd name="T99" fmla="*/ 106 h 550"/>
                <a:gd name="T100" fmla="*/ 94 w 291"/>
                <a:gd name="T101" fmla="*/ 116 h 550"/>
                <a:gd name="T102" fmla="*/ 267 w 291"/>
                <a:gd name="T103" fmla="*/ 15 h 550"/>
                <a:gd name="T104" fmla="*/ 245 w 291"/>
                <a:gd name="T105" fmla="*/ 27 h 550"/>
                <a:gd name="T106" fmla="*/ 269 w 291"/>
                <a:gd name="T107" fmla="*/ 2 h 550"/>
                <a:gd name="T108" fmla="*/ 259 w 291"/>
                <a:gd name="T109" fmla="*/ 29 h 550"/>
                <a:gd name="T110" fmla="*/ 243 w 291"/>
                <a:gd name="T111" fmla="*/ 64 h 550"/>
                <a:gd name="T112" fmla="*/ 221 w 291"/>
                <a:gd name="T113" fmla="*/ 72 h 550"/>
                <a:gd name="T114" fmla="*/ 205 w 291"/>
                <a:gd name="T115" fmla="*/ 80 h 550"/>
                <a:gd name="T116" fmla="*/ 204 w 291"/>
                <a:gd name="T117" fmla="*/ 75 h 550"/>
                <a:gd name="T118" fmla="*/ 191 w 291"/>
                <a:gd name="T119" fmla="*/ 91 h 550"/>
                <a:gd name="T120" fmla="*/ 187 w 291"/>
                <a:gd name="T121" fmla="*/ 92 h 5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91" h="550">
                  <a:moveTo>
                    <a:pt x="73" y="501"/>
                  </a:moveTo>
                  <a:cubicBezTo>
                    <a:pt x="69" y="504"/>
                    <a:pt x="69" y="504"/>
                    <a:pt x="69" y="504"/>
                  </a:cubicBezTo>
                  <a:cubicBezTo>
                    <a:pt x="69" y="508"/>
                    <a:pt x="69" y="508"/>
                    <a:pt x="69" y="508"/>
                  </a:cubicBezTo>
                  <a:cubicBezTo>
                    <a:pt x="67" y="512"/>
                    <a:pt x="67" y="512"/>
                    <a:pt x="67" y="512"/>
                  </a:cubicBezTo>
                  <a:cubicBezTo>
                    <a:pt x="67" y="512"/>
                    <a:pt x="65" y="513"/>
                    <a:pt x="65" y="514"/>
                  </a:cubicBezTo>
                  <a:cubicBezTo>
                    <a:pt x="64" y="515"/>
                    <a:pt x="60" y="518"/>
                    <a:pt x="60" y="518"/>
                  </a:cubicBezTo>
                  <a:cubicBezTo>
                    <a:pt x="60" y="518"/>
                    <a:pt x="60" y="519"/>
                    <a:pt x="59" y="519"/>
                  </a:cubicBezTo>
                  <a:cubicBezTo>
                    <a:pt x="58" y="519"/>
                    <a:pt x="51" y="522"/>
                    <a:pt x="51" y="522"/>
                  </a:cubicBezTo>
                  <a:cubicBezTo>
                    <a:pt x="49" y="526"/>
                    <a:pt x="49" y="526"/>
                    <a:pt x="49" y="526"/>
                  </a:cubicBezTo>
                  <a:cubicBezTo>
                    <a:pt x="45" y="527"/>
                    <a:pt x="45" y="527"/>
                    <a:pt x="45" y="527"/>
                  </a:cubicBezTo>
                  <a:cubicBezTo>
                    <a:pt x="42" y="532"/>
                    <a:pt x="42" y="532"/>
                    <a:pt x="42" y="532"/>
                  </a:cubicBezTo>
                  <a:cubicBezTo>
                    <a:pt x="37" y="534"/>
                    <a:pt x="37" y="534"/>
                    <a:pt x="37" y="534"/>
                  </a:cubicBezTo>
                  <a:cubicBezTo>
                    <a:pt x="33" y="535"/>
                    <a:pt x="33" y="535"/>
                    <a:pt x="33" y="535"/>
                  </a:cubicBezTo>
                  <a:cubicBezTo>
                    <a:pt x="29" y="533"/>
                    <a:pt x="29" y="533"/>
                    <a:pt x="29" y="533"/>
                  </a:cubicBezTo>
                  <a:cubicBezTo>
                    <a:pt x="26" y="535"/>
                    <a:pt x="26" y="535"/>
                    <a:pt x="26" y="535"/>
                  </a:cubicBezTo>
                  <a:cubicBezTo>
                    <a:pt x="23" y="537"/>
                    <a:pt x="23" y="537"/>
                    <a:pt x="23" y="537"/>
                  </a:cubicBezTo>
                  <a:cubicBezTo>
                    <a:pt x="24" y="541"/>
                    <a:pt x="24" y="541"/>
                    <a:pt x="24" y="541"/>
                  </a:cubicBezTo>
                  <a:cubicBezTo>
                    <a:pt x="27" y="543"/>
                    <a:pt x="27" y="543"/>
                    <a:pt x="27" y="543"/>
                  </a:cubicBezTo>
                  <a:cubicBezTo>
                    <a:pt x="29" y="540"/>
                    <a:pt x="29" y="540"/>
                    <a:pt x="29" y="540"/>
                  </a:cubicBezTo>
                  <a:cubicBezTo>
                    <a:pt x="35" y="542"/>
                    <a:pt x="35" y="542"/>
                    <a:pt x="35" y="542"/>
                  </a:cubicBezTo>
                  <a:cubicBezTo>
                    <a:pt x="35" y="542"/>
                    <a:pt x="37" y="545"/>
                    <a:pt x="38" y="546"/>
                  </a:cubicBezTo>
                  <a:cubicBezTo>
                    <a:pt x="38" y="547"/>
                    <a:pt x="38" y="550"/>
                    <a:pt x="39" y="550"/>
                  </a:cubicBezTo>
                  <a:cubicBezTo>
                    <a:pt x="40" y="549"/>
                    <a:pt x="45" y="546"/>
                    <a:pt x="45" y="546"/>
                  </a:cubicBezTo>
                  <a:cubicBezTo>
                    <a:pt x="43" y="542"/>
                    <a:pt x="43" y="542"/>
                    <a:pt x="43" y="542"/>
                  </a:cubicBezTo>
                  <a:cubicBezTo>
                    <a:pt x="43" y="542"/>
                    <a:pt x="46" y="541"/>
                    <a:pt x="48" y="541"/>
                  </a:cubicBezTo>
                  <a:cubicBezTo>
                    <a:pt x="50" y="541"/>
                    <a:pt x="52" y="542"/>
                    <a:pt x="53" y="540"/>
                  </a:cubicBezTo>
                  <a:cubicBezTo>
                    <a:pt x="53" y="539"/>
                    <a:pt x="56" y="539"/>
                    <a:pt x="56" y="539"/>
                  </a:cubicBezTo>
                  <a:cubicBezTo>
                    <a:pt x="56" y="539"/>
                    <a:pt x="58" y="536"/>
                    <a:pt x="58" y="536"/>
                  </a:cubicBezTo>
                  <a:cubicBezTo>
                    <a:pt x="58" y="535"/>
                    <a:pt x="61" y="533"/>
                    <a:pt x="61" y="533"/>
                  </a:cubicBezTo>
                  <a:cubicBezTo>
                    <a:pt x="61" y="533"/>
                    <a:pt x="68" y="536"/>
                    <a:pt x="69" y="536"/>
                  </a:cubicBezTo>
                  <a:cubicBezTo>
                    <a:pt x="70" y="536"/>
                    <a:pt x="77" y="534"/>
                    <a:pt x="77" y="534"/>
                  </a:cubicBezTo>
                  <a:cubicBezTo>
                    <a:pt x="80" y="537"/>
                    <a:pt x="80" y="537"/>
                    <a:pt x="80" y="537"/>
                  </a:cubicBezTo>
                  <a:cubicBezTo>
                    <a:pt x="80" y="537"/>
                    <a:pt x="80" y="539"/>
                    <a:pt x="82" y="540"/>
                  </a:cubicBezTo>
                  <a:cubicBezTo>
                    <a:pt x="84" y="540"/>
                    <a:pt x="85" y="540"/>
                    <a:pt x="85" y="540"/>
                  </a:cubicBezTo>
                  <a:cubicBezTo>
                    <a:pt x="88" y="544"/>
                    <a:pt x="88" y="544"/>
                    <a:pt x="88" y="544"/>
                  </a:cubicBezTo>
                  <a:cubicBezTo>
                    <a:pt x="91" y="546"/>
                    <a:pt x="91" y="546"/>
                    <a:pt x="91" y="546"/>
                  </a:cubicBezTo>
                  <a:cubicBezTo>
                    <a:pt x="91" y="546"/>
                    <a:pt x="94" y="546"/>
                    <a:pt x="94" y="545"/>
                  </a:cubicBezTo>
                  <a:cubicBezTo>
                    <a:pt x="94" y="544"/>
                    <a:pt x="95" y="542"/>
                    <a:pt x="96" y="541"/>
                  </a:cubicBezTo>
                  <a:cubicBezTo>
                    <a:pt x="97" y="541"/>
                    <a:pt x="100" y="540"/>
                    <a:pt x="100" y="540"/>
                  </a:cubicBezTo>
                  <a:cubicBezTo>
                    <a:pt x="100" y="540"/>
                    <a:pt x="100" y="538"/>
                    <a:pt x="100" y="537"/>
                  </a:cubicBezTo>
                  <a:cubicBezTo>
                    <a:pt x="100" y="535"/>
                    <a:pt x="100" y="532"/>
                    <a:pt x="101" y="531"/>
                  </a:cubicBezTo>
                  <a:cubicBezTo>
                    <a:pt x="101" y="531"/>
                    <a:pt x="104" y="527"/>
                    <a:pt x="104" y="527"/>
                  </a:cubicBezTo>
                  <a:cubicBezTo>
                    <a:pt x="109" y="526"/>
                    <a:pt x="109" y="526"/>
                    <a:pt x="109" y="526"/>
                  </a:cubicBezTo>
                  <a:cubicBezTo>
                    <a:pt x="121" y="525"/>
                    <a:pt x="121" y="525"/>
                    <a:pt x="121" y="525"/>
                  </a:cubicBezTo>
                  <a:cubicBezTo>
                    <a:pt x="125" y="525"/>
                    <a:pt x="125" y="525"/>
                    <a:pt x="125" y="525"/>
                  </a:cubicBezTo>
                  <a:cubicBezTo>
                    <a:pt x="130" y="529"/>
                    <a:pt x="130" y="529"/>
                    <a:pt x="130" y="529"/>
                  </a:cubicBezTo>
                  <a:cubicBezTo>
                    <a:pt x="135" y="534"/>
                    <a:pt x="135" y="534"/>
                    <a:pt x="135" y="534"/>
                  </a:cubicBezTo>
                  <a:cubicBezTo>
                    <a:pt x="135" y="534"/>
                    <a:pt x="138" y="538"/>
                    <a:pt x="138" y="537"/>
                  </a:cubicBezTo>
                  <a:cubicBezTo>
                    <a:pt x="139" y="535"/>
                    <a:pt x="140" y="531"/>
                    <a:pt x="141" y="531"/>
                  </a:cubicBezTo>
                  <a:cubicBezTo>
                    <a:pt x="142" y="531"/>
                    <a:pt x="145" y="535"/>
                    <a:pt x="145" y="535"/>
                  </a:cubicBezTo>
                  <a:cubicBezTo>
                    <a:pt x="149" y="536"/>
                    <a:pt x="149" y="536"/>
                    <a:pt x="149" y="536"/>
                  </a:cubicBezTo>
                  <a:cubicBezTo>
                    <a:pt x="152" y="536"/>
                    <a:pt x="152" y="536"/>
                    <a:pt x="152" y="536"/>
                  </a:cubicBezTo>
                  <a:cubicBezTo>
                    <a:pt x="155" y="533"/>
                    <a:pt x="155" y="533"/>
                    <a:pt x="155" y="533"/>
                  </a:cubicBezTo>
                  <a:cubicBezTo>
                    <a:pt x="153" y="530"/>
                    <a:pt x="153" y="530"/>
                    <a:pt x="153" y="530"/>
                  </a:cubicBezTo>
                  <a:cubicBezTo>
                    <a:pt x="157" y="531"/>
                    <a:pt x="157" y="531"/>
                    <a:pt x="157" y="531"/>
                  </a:cubicBezTo>
                  <a:cubicBezTo>
                    <a:pt x="168" y="532"/>
                    <a:pt x="168" y="532"/>
                    <a:pt x="168" y="532"/>
                  </a:cubicBezTo>
                  <a:cubicBezTo>
                    <a:pt x="173" y="531"/>
                    <a:pt x="173" y="531"/>
                    <a:pt x="173" y="531"/>
                  </a:cubicBezTo>
                  <a:cubicBezTo>
                    <a:pt x="177" y="530"/>
                    <a:pt x="177" y="530"/>
                    <a:pt x="177" y="530"/>
                  </a:cubicBezTo>
                  <a:cubicBezTo>
                    <a:pt x="177" y="532"/>
                    <a:pt x="177" y="532"/>
                    <a:pt x="177" y="532"/>
                  </a:cubicBezTo>
                  <a:cubicBezTo>
                    <a:pt x="171" y="534"/>
                    <a:pt x="171" y="534"/>
                    <a:pt x="171" y="534"/>
                  </a:cubicBezTo>
                  <a:cubicBezTo>
                    <a:pt x="171" y="534"/>
                    <a:pt x="168" y="534"/>
                    <a:pt x="169" y="535"/>
                  </a:cubicBezTo>
                  <a:cubicBezTo>
                    <a:pt x="170" y="537"/>
                    <a:pt x="175" y="539"/>
                    <a:pt x="175" y="539"/>
                  </a:cubicBezTo>
                  <a:cubicBezTo>
                    <a:pt x="175" y="539"/>
                    <a:pt x="172" y="540"/>
                    <a:pt x="176" y="540"/>
                  </a:cubicBezTo>
                  <a:cubicBezTo>
                    <a:pt x="180" y="540"/>
                    <a:pt x="182" y="539"/>
                    <a:pt x="182" y="539"/>
                  </a:cubicBezTo>
                  <a:cubicBezTo>
                    <a:pt x="185" y="536"/>
                    <a:pt x="185" y="536"/>
                    <a:pt x="185" y="536"/>
                  </a:cubicBezTo>
                  <a:cubicBezTo>
                    <a:pt x="183" y="534"/>
                    <a:pt x="183" y="534"/>
                    <a:pt x="183" y="534"/>
                  </a:cubicBezTo>
                  <a:cubicBezTo>
                    <a:pt x="178" y="533"/>
                    <a:pt x="178" y="533"/>
                    <a:pt x="178" y="533"/>
                  </a:cubicBezTo>
                  <a:cubicBezTo>
                    <a:pt x="179" y="529"/>
                    <a:pt x="179" y="529"/>
                    <a:pt x="179" y="529"/>
                  </a:cubicBezTo>
                  <a:cubicBezTo>
                    <a:pt x="180" y="529"/>
                    <a:pt x="180" y="529"/>
                    <a:pt x="180" y="529"/>
                  </a:cubicBezTo>
                  <a:cubicBezTo>
                    <a:pt x="183" y="532"/>
                    <a:pt x="183" y="532"/>
                    <a:pt x="183" y="532"/>
                  </a:cubicBezTo>
                  <a:cubicBezTo>
                    <a:pt x="186" y="530"/>
                    <a:pt x="186" y="530"/>
                    <a:pt x="186" y="530"/>
                  </a:cubicBezTo>
                  <a:cubicBezTo>
                    <a:pt x="190" y="531"/>
                    <a:pt x="190" y="531"/>
                    <a:pt x="190" y="531"/>
                  </a:cubicBezTo>
                  <a:cubicBezTo>
                    <a:pt x="192" y="535"/>
                    <a:pt x="192" y="535"/>
                    <a:pt x="192" y="535"/>
                  </a:cubicBezTo>
                  <a:cubicBezTo>
                    <a:pt x="192" y="535"/>
                    <a:pt x="194" y="537"/>
                    <a:pt x="196" y="535"/>
                  </a:cubicBezTo>
                  <a:cubicBezTo>
                    <a:pt x="198" y="534"/>
                    <a:pt x="200" y="533"/>
                    <a:pt x="200" y="533"/>
                  </a:cubicBezTo>
                  <a:cubicBezTo>
                    <a:pt x="212" y="534"/>
                    <a:pt x="212" y="534"/>
                    <a:pt x="212" y="534"/>
                  </a:cubicBezTo>
                  <a:cubicBezTo>
                    <a:pt x="212" y="534"/>
                    <a:pt x="218" y="533"/>
                    <a:pt x="219" y="535"/>
                  </a:cubicBezTo>
                  <a:cubicBezTo>
                    <a:pt x="220" y="536"/>
                    <a:pt x="223" y="538"/>
                    <a:pt x="223" y="538"/>
                  </a:cubicBezTo>
                  <a:cubicBezTo>
                    <a:pt x="228" y="539"/>
                    <a:pt x="228" y="539"/>
                    <a:pt x="228" y="539"/>
                  </a:cubicBezTo>
                  <a:cubicBezTo>
                    <a:pt x="233" y="539"/>
                    <a:pt x="233" y="539"/>
                    <a:pt x="233" y="539"/>
                  </a:cubicBezTo>
                  <a:cubicBezTo>
                    <a:pt x="233" y="539"/>
                    <a:pt x="235" y="537"/>
                    <a:pt x="236" y="536"/>
                  </a:cubicBezTo>
                  <a:cubicBezTo>
                    <a:pt x="238" y="536"/>
                    <a:pt x="241" y="534"/>
                    <a:pt x="242" y="534"/>
                  </a:cubicBezTo>
                  <a:cubicBezTo>
                    <a:pt x="244" y="534"/>
                    <a:pt x="249" y="533"/>
                    <a:pt x="249" y="533"/>
                  </a:cubicBezTo>
                  <a:cubicBezTo>
                    <a:pt x="250" y="533"/>
                    <a:pt x="251" y="534"/>
                    <a:pt x="253" y="533"/>
                  </a:cubicBezTo>
                  <a:cubicBezTo>
                    <a:pt x="254" y="533"/>
                    <a:pt x="257" y="528"/>
                    <a:pt x="257" y="528"/>
                  </a:cubicBezTo>
                  <a:cubicBezTo>
                    <a:pt x="257" y="528"/>
                    <a:pt x="258" y="526"/>
                    <a:pt x="260" y="526"/>
                  </a:cubicBezTo>
                  <a:cubicBezTo>
                    <a:pt x="262" y="526"/>
                    <a:pt x="265" y="526"/>
                    <a:pt x="266" y="525"/>
                  </a:cubicBezTo>
                  <a:cubicBezTo>
                    <a:pt x="267" y="523"/>
                    <a:pt x="268" y="522"/>
                    <a:pt x="269" y="521"/>
                  </a:cubicBezTo>
                  <a:cubicBezTo>
                    <a:pt x="270" y="520"/>
                    <a:pt x="272" y="517"/>
                    <a:pt x="271" y="516"/>
                  </a:cubicBezTo>
                  <a:cubicBezTo>
                    <a:pt x="271" y="515"/>
                    <a:pt x="272" y="511"/>
                    <a:pt x="272" y="511"/>
                  </a:cubicBezTo>
                  <a:cubicBezTo>
                    <a:pt x="272" y="511"/>
                    <a:pt x="269" y="511"/>
                    <a:pt x="268" y="511"/>
                  </a:cubicBezTo>
                  <a:cubicBezTo>
                    <a:pt x="267" y="510"/>
                    <a:pt x="263" y="511"/>
                    <a:pt x="262" y="510"/>
                  </a:cubicBezTo>
                  <a:cubicBezTo>
                    <a:pt x="261" y="510"/>
                    <a:pt x="257" y="510"/>
                    <a:pt x="257" y="510"/>
                  </a:cubicBezTo>
                  <a:cubicBezTo>
                    <a:pt x="256" y="508"/>
                    <a:pt x="256" y="508"/>
                    <a:pt x="256" y="508"/>
                  </a:cubicBezTo>
                  <a:cubicBezTo>
                    <a:pt x="256" y="508"/>
                    <a:pt x="255" y="507"/>
                    <a:pt x="254" y="506"/>
                  </a:cubicBezTo>
                  <a:cubicBezTo>
                    <a:pt x="253" y="506"/>
                    <a:pt x="254" y="506"/>
                    <a:pt x="252" y="505"/>
                  </a:cubicBezTo>
                  <a:cubicBezTo>
                    <a:pt x="251" y="505"/>
                    <a:pt x="249" y="503"/>
                    <a:pt x="249" y="503"/>
                  </a:cubicBezTo>
                  <a:cubicBezTo>
                    <a:pt x="246" y="502"/>
                    <a:pt x="246" y="502"/>
                    <a:pt x="246" y="502"/>
                  </a:cubicBezTo>
                  <a:cubicBezTo>
                    <a:pt x="242" y="502"/>
                    <a:pt x="242" y="502"/>
                    <a:pt x="242" y="502"/>
                  </a:cubicBezTo>
                  <a:cubicBezTo>
                    <a:pt x="246" y="500"/>
                    <a:pt x="246" y="500"/>
                    <a:pt x="246" y="500"/>
                  </a:cubicBezTo>
                  <a:cubicBezTo>
                    <a:pt x="246" y="500"/>
                    <a:pt x="250" y="500"/>
                    <a:pt x="251" y="500"/>
                  </a:cubicBezTo>
                  <a:cubicBezTo>
                    <a:pt x="252" y="501"/>
                    <a:pt x="256" y="501"/>
                    <a:pt x="256" y="500"/>
                  </a:cubicBezTo>
                  <a:cubicBezTo>
                    <a:pt x="257" y="500"/>
                    <a:pt x="260" y="495"/>
                    <a:pt x="260" y="495"/>
                  </a:cubicBezTo>
                  <a:cubicBezTo>
                    <a:pt x="259" y="492"/>
                    <a:pt x="259" y="492"/>
                    <a:pt x="259" y="492"/>
                  </a:cubicBezTo>
                  <a:cubicBezTo>
                    <a:pt x="257" y="490"/>
                    <a:pt x="257" y="490"/>
                    <a:pt x="257" y="490"/>
                  </a:cubicBezTo>
                  <a:cubicBezTo>
                    <a:pt x="253" y="491"/>
                    <a:pt x="253" y="491"/>
                    <a:pt x="253" y="491"/>
                  </a:cubicBezTo>
                  <a:cubicBezTo>
                    <a:pt x="259" y="488"/>
                    <a:pt x="259" y="488"/>
                    <a:pt x="259" y="488"/>
                  </a:cubicBezTo>
                  <a:cubicBezTo>
                    <a:pt x="261" y="486"/>
                    <a:pt x="261" y="486"/>
                    <a:pt x="261" y="486"/>
                  </a:cubicBezTo>
                  <a:cubicBezTo>
                    <a:pt x="264" y="488"/>
                    <a:pt x="264" y="488"/>
                    <a:pt x="264" y="488"/>
                  </a:cubicBezTo>
                  <a:cubicBezTo>
                    <a:pt x="264" y="488"/>
                    <a:pt x="269" y="489"/>
                    <a:pt x="269" y="488"/>
                  </a:cubicBezTo>
                  <a:cubicBezTo>
                    <a:pt x="270" y="487"/>
                    <a:pt x="271" y="485"/>
                    <a:pt x="271" y="485"/>
                  </a:cubicBezTo>
                  <a:cubicBezTo>
                    <a:pt x="271" y="482"/>
                    <a:pt x="271" y="482"/>
                    <a:pt x="271" y="482"/>
                  </a:cubicBezTo>
                  <a:cubicBezTo>
                    <a:pt x="281" y="475"/>
                    <a:pt x="281" y="475"/>
                    <a:pt x="281" y="475"/>
                  </a:cubicBezTo>
                  <a:cubicBezTo>
                    <a:pt x="285" y="469"/>
                    <a:pt x="285" y="469"/>
                    <a:pt x="285" y="469"/>
                  </a:cubicBezTo>
                  <a:cubicBezTo>
                    <a:pt x="286" y="463"/>
                    <a:pt x="286" y="463"/>
                    <a:pt x="286" y="463"/>
                  </a:cubicBezTo>
                  <a:cubicBezTo>
                    <a:pt x="291" y="454"/>
                    <a:pt x="291" y="454"/>
                    <a:pt x="291" y="454"/>
                  </a:cubicBezTo>
                  <a:cubicBezTo>
                    <a:pt x="290" y="442"/>
                    <a:pt x="290" y="442"/>
                    <a:pt x="290" y="442"/>
                  </a:cubicBezTo>
                  <a:cubicBezTo>
                    <a:pt x="285" y="434"/>
                    <a:pt x="285" y="434"/>
                    <a:pt x="285" y="434"/>
                  </a:cubicBezTo>
                  <a:cubicBezTo>
                    <a:pt x="285" y="434"/>
                    <a:pt x="279" y="429"/>
                    <a:pt x="277" y="428"/>
                  </a:cubicBezTo>
                  <a:cubicBezTo>
                    <a:pt x="275" y="428"/>
                    <a:pt x="264" y="425"/>
                    <a:pt x="264" y="425"/>
                  </a:cubicBezTo>
                  <a:cubicBezTo>
                    <a:pt x="256" y="423"/>
                    <a:pt x="256" y="423"/>
                    <a:pt x="256" y="423"/>
                  </a:cubicBezTo>
                  <a:cubicBezTo>
                    <a:pt x="252" y="425"/>
                    <a:pt x="252" y="425"/>
                    <a:pt x="252" y="425"/>
                  </a:cubicBezTo>
                  <a:cubicBezTo>
                    <a:pt x="251" y="428"/>
                    <a:pt x="251" y="428"/>
                    <a:pt x="251" y="428"/>
                  </a:cubicBezTo>
                  <a:cubicBezTo>
                    <a:pt x="248" y="430"/>
                    <a:pt x="248" y="430"/>
                    <a:pt x="248" y="430"/>
                  </a:cubicBezTo>
                  <a:cubicBezTo>
                    <a:pt x="248" y="430"/>
                    <a:pt x="245" y="432"/>
                    <a:pt x="245" y="432"/>
                  </a:cubicBezTo>
                  <a:cubicBezTo>
                    <a:pt x="244" y="432"/>
                    <a:pt x="242" y="429"/>
                    <a:pt x="242" y="429"/>
                  </a:cubicBezTo>
                  <a:cubicBezTo>
                    <a:pt x="242" y="429"/>
                    <a:pt x="239" y="426"/>
                    <a:pt x="239" y="426"/>
                  </a:cubicBezTo>
                  <a:cubicBezTo>
                    <a:pt x="238" y="426"/>
                    <a:pt x="235" y="425"/>
                    <a:pt x="235" y="425"/>
                  </a:cubicBezTo>
                  <a:cubicBezTo>
                    <a:pt x="239" y="422"/>
                    <a:pt x="239" y="422"/>
                    <a:pt x="239" y="422"/>
                  </a:cubicBezTo>
                  <a:cubicBezTo>
                    <a:pt x="244" y="420"/>
                    <a:pt x="244" y="420"/>
                    <a:pt x="244" y="420"/>
                  </a:cubicBezTo>
                  <a:cubicBezTo>
                    <a:pt x="244" y="420"/>
                    <a:pt x="246" y="418"/>
                    <a:pt x="246" y="417"/>
                  </a:cubicBezTo>
                  <a:cubicBezTo>
                    <a:pt x="247" y="417"/>
                    <a:pt x="249" y="415"/>
                    <a:pt x="249" y="415"/>
                  </a:cubicBezTo>
                  <a:cubicBezTo>
                    <a:pt x="250" y="407"/>
                    <a:pt x="250" y="407"/>
                    <a:pt x="250" y="407"/>
                  </a:cubicBezTo>
                  <a:cubicBezTo>
                    <a:pt x="248" y="399"/>
                    <a:pt x="248" y="399"/>
                    <a:pt x="248" y="399"/>
                  </a:cubicBezTo>
                  <a:cubicBezTo>
                    <a:pt x="245" y="395"/>
                    <a:pt x="245" y="395"/>
                    <a:pt x="245" y="395"/>
                  </a:cubicBezTo>
                  <a:cubicBezTo>
                    <a:pt x="243" y="391"/>
                    <a:pt x="243" y="391"/>
                    <a:pt x="243" y="391"/>
                  </a:cubicBezTo>
                  <a:cubicBezTo>
                    <a:pt x="241" y="391"/>
                    <a:pt x="241" y="391"/>
                    <a:pt x="241" y="391"/>
                  </a:cubicBezTo>
                  <a:cubicBezTo>
                    <a:pt x="237" y="388"/>
                    <a:pt x="237" y="388"/>
                    <a:pt x="237" y="388"/>
                  </a:cubicBezTo>
                  <a:cubicBezTo>
                    <a:pt x="234" y="384"/>
                    <a:pt x="234" y="384"/>
                    <a:pt x="234" y="384"/>
                  </a:cubicBezTo>
                  <a:cubicBezTo>
                    <a:pt x="233" y="381"/>
                    <a:pt x="233" y="381"/>
                    <a:pt x="233" y="381"/>
                  </a:cubicBezTo>
                  <a:cubicBezTo>
                    <a:pt x="234" y="379"/>
                    <a:pt x="234" y="379"/>
                    <a:pt x="234" y="379"/>
                  </a:cubicBezTo>
                  <a:cubicBezTo>
                    <a:pt x="235" y="380"/>
                    <a:pt x="235" y="380"/>
                    <a:pt x="235" y="380"/>
                  </a:cubicBezTo>
                  <a:cubicBezTo>
                    <a:pt x="235" y="380"/>
                    <a:pt x="235" y="382"/>
                    <a:pt x="236" y="382"/>
                  </a:cubicBezTo>
                  <a:cubicBezTo>
                    <a:pt x="236" y="383"/>
                    <a:pt x="237" y="384"/>
                    <a:pt x="237" y="384"/>
                  </a:cubicBezTo>
                  <a:cubicBezTo>
                    <a:pt x="238" y="385"/>
                    <a:pt x="242" y="387"/>
                    <a:pt x="242" y="387"/>
                  </a:cubicBezTo>
                  <a:cubicBezTo>
                    <a:pt x="244" y="387"/>
                    <a:pt x="244" y="387"/>
                    <a:pt x="244" y="387"/>
                  </a:cubicBezTo>
                  <a:cubicBezTo>
                    <a:pt x="246" y="390"/>
                    <a:pt x="246" y="390"/>
                    <a:pt x="246" y="390"/>
                  </a:cubicBezTo>
                  <a:cubicBezTo>
                    <a:pt x="246" y="390"/>
                    <a:pt x="247" y="387"/>
                    <a:pt x="247" y="387"/>
                  </a:cubicBezTo>
                  <a:cubicBezTo>
                    <a:pt x="247" y="386"/>
                    <a:pt x="244" y="382"/>
                    <a:pt x="244" y="382"/>
                  </a:cubicBezTo>
                  <a:cubicBezTo>
                    <a:pt x="243" y="382"/>
                    <a:pt x="242" y="378"/>
                    <a:pt x="242" y="378"/>
                  </a:cubicBezTo>
                  <a:cubicBezTo>
                    <a:pt x="241" y="377"/>
                    <a:pt x="239" y="371"/>
                    <a:pt x="239" y="371"/>
                  </a:cubicBezTo>
                  <a:cubicBezTo>
                    <a:pt x="239" y="371"/>
                    <a:pt x="238" y="369"/>
                    <a:pt x="238" y="368"/>
                  </a:cubicBezTo>
                  <a:cubicBezTo>
                    <a:pt x="238" y="368"/>
                    <a:pt x="238" y="363"/>
                    <a:pt x="238" y="363"/>
                  </a:cubicBezTo>
                  <a:cubicBezTo>
                    <a:pt x="240" y="362"/>
                    <a:pt x="240" y="362"/>
                    <a:pt x="240" y="362"/>
                  </a:cubicBezTo>
                  <a:cubicBezTo>
                    <a:pt x="242" y="360"/>
                    <a:pt x="242" y="360"/>
                    <a:pt x="242" y="360"/>
                  </a:cubicBezTo>
                  <a:cubicBezTo>
                    <a:pt x="242" y="360"/>
                    <a:pt x="241" y="360"/>
                    <a:pt x="241" y="359"/>
                  </a:cubicBezTo>
                  <a:cubicBezTo>
                    <a:pt x="240" y="357"/>
                    <a:pt x="238" y="355"/>
                    <a:pt x="238" y="355"/>
                  </a:cubicBezTo>
                  <a:cubicBezTo>
                    <a:pt x="238" y="355"/>
                    <a:pt x="236" y="354"/>
                    <a:pt x="235" y="353"/>
                  </a:cubicBezTo>
                  <a:cubicBezTo>
                    <a:pt x="235" y="351"/>
                    <a:pt x="234" y="349"/>
                    <a:pt x="234" y="349"/>
                  </a:cubicBezTo>
                  <a:cubicBezTo>
                    <a:pt x="234" y="348"/>
                    <a:pt x="233" y="342"/>
                    <a:pt x="233" y="342"/>
                  </a:cubicBezTo>
                  <a:cubicBezTo>
                    <a:pt x="228" y="337"/>
                    <a:pt x="228" y="337"/>
                    <a:pt x="228" y="337"/>
                  </a:cubicBezTo>
                  <a:cubicBezTo>
                    <a:pt x="228" y="337"/>
                    <a:pt x="226" y="335"/>
                    <a:pt x="225" y="334"/>
                  </a:cubicBezTo>
                  <a:cubicBezTo>
                    <a:pt x="225" y="334"/>
                    <a:pt x="222" y="333"/>
                    <a:pt x="222" y="333"/>
                  </a:cubicBezTo>
                  <a:cubicBezTo>
                    <a:pt x="221" y="333"/>
                    <a:pt x="216" y="330"/>
                    <a:pt x="216" y="330"/>
                  </a:cubicBezTo>
                  <a:cubicBezTo>
                    <a:pt x="216" y="330"/>
                    <a:pt x="212" y="325"/>
                    <a:pt x="212" y="324"/>
                  </a:cubicBezTo>
                  <a:cubicBezTo>
                    <a:pt x="212" y="323"/>
                    <a:pt x="210" y="317"/>
                    <a:pt x="210" y="317"/>
                  </a:cubicBezTo>
                  <a:cubicBezTo>
                    <a:pt x="210" y="313"/>
                    <a:pt x="210" y="313"/>
                    <a:pt x="210" y="313"/>
                  </a:cubicBezTo>
                  <a:cubicBezTo>
                    <a:pt x="208" y="305"/>
                    <a:pt x="208" y="305"/>
                    <a:pt x="208" y="305"/>
                  </a:cubicBezTo>
                  <a:cubicBezTo>
                    <a:pt x="207" y="297"/>
                    <a:pt x="207" y="297"/>
                    <a:pt x="207" y="297"/>
                  </a:cubicBezTo>
                  <a:cubicBezTo>
                    <a:pt x="207" y="289"/>
                    <a:pt x="207" y="289"/>
                    <a:pt x="207" y="289"/>
                  </a:cubicBezTo>
                  <a:cubicBezTo>
                    <a:pt x="207" y="282"/>
                    <a:pt x="207" y="282"/>
                    <a:pt x="207" y="282"/>
                  </a:cubicBezTo>
                  <a:cubicBezTo>
                    <a:pt x="207" y="276"/>
                    <a:pt x="207" y="276"/>
                    <a:pt x="207" y="276"/>
                  </a:cubicBezTo>
                  <a:cubicBezTo>
                    <a:pt x="202" y="270"/>
                    <a:pt x="202" y="270"/>
                    <a:pt x="202" y="270"/>
                  </a:cubicBezTo>
                  <a:cubicBezTo>
                    <a:pt x="200" y="264"/>
                    <a:pt x="200" y="264"/>
                    <a:pt x="200" y="264"/>
                  </a:cubicBezTo>
                  <a:cubicBezTo>
                    <a:pt x="194" y="258"/>
                    <a:pt x="194" y="258"/>
                    <a:pt x="194" y="258"/>
                  </a:cubicBezTo>
                  <a:cubicBezTo>
                    <a:pt x="190" y="253"/>
                    <a:pt x="190" y="253"/>
                    <a:pt x="190" y="253"/>
                  </a:cubicBezTo>
                  <a:cubicBezTo>
                    <a:pt x="187" y="252"/>
                    <a:pt x="187" y="252"/>
                    <a:pt x="187" y="252"/>
                  </a:cubicBezTo>
                  <a:cubicBezTo>
                    <a:pt x="182" y="246"/>
                    <a:pt x="182" y="246"/>
                    <a:pt x="182" y="246"/>
                  </a:cubicBezTo>
                  <a:cubicBezTo>
                    <a:pt x="178" y="245"/>
                    <a:pt x="178" y="245"/>
                    <a:pt x="178" y="245"/>
                  </a:cubicBezTo>
                  <a:cubicBezTo>
                    <a:pt x="174" y="247"/>
                    <a:pt x="174" y="247"/>
                    <a:pt x="174" y="247"/>
                  </a:cubicBezTo>
                  <a:cubicBezTo>
                    <a:pt x="170" y="248"/>
                    <a:pt x="170" y="248"/>
                    <a:pt x="170" y="248"/>
                  </a:cubicBezTo>
                  <a:cubicBezTo>
                    <a:pt x="166" y="249"/>
                    <a:pt x="166" y="249"/>
                    <a:pt x="166" y="249"/>
                  </a:cubicBezTo>
                  <a:cubicBezTo>
                    <a:pt x="159" y="246"/>
                    <a:pt x="159" y="246"/>
                    <a:pt x="159" y="246"/>
                  </a:cubicBezTo>
                  <a:cubicBezTo>
                    <a:pt x="156" y="243"/>
                    <a:pt x="156" y="243"/>
                    <a:pt x="156" y="243"/>
                  </a:cubicBezTo>
                  <a:cubicBezTo>
                    <a:pt x="152" y="242"/>
                    <a:pt x="152" y="242"/>
                    <a:pt x="152" y="242"/>
                  </a:cubicBezTo>
                  <a:cubicBezTo>
                    <a:pt x="150" y="242"/>
                    <a:pt x="150" y="242"/>
                    <a:pt x="150" y="242"/>
                  </a:cubicBezTo>
                  <a:cubicBezTo>
                    <a:pt x="150" y="242"/>
                    <a:pt x="150" y="241"/>
                    <a:pt x="150" y="241"/>
                  </a:cubicBezTo>
                  <a:cubicBezTo>
                    <a:pt x="150" y="241"/>
                    <a:pt x="152" y="241"/>
                    <a:pt x="152" y="241"/>
                  </a:cubicBezTo>
                  <a:cubicBezTo>
                    <a:pt x="152" y="241"/>
                    <a:pt x="154" y="242"/>
                    <a:pt x="155" y="242"/>
                  </a:cubicBezTo>
                  <a:cubicBezTo>
                    <a:pt x="155" y="242"/>
                    <a:pt x="158" y="243"/>
                    <a:pt x="158" y="243"/>
                  </a:cubicBezTo>
                  <a:cubicBezTo>
                    <a:pt x="158" y="243"/>
                    <a:pt x="159" y="244"/>
                    <a:pt x="160" y="244"/>
                  </a:cubicBezTo>
                  <a:cubicBezTo>
                    <a:pt x="161" y="244"/>
                    <a:pt x="164" y="244"/>
                    <a:pt x="164" y="244"/>
                  </a:cubicBezTo>
                  <a:cubicBezTo>
                    <a:pt x="167" y="242"/>
                    <a:pt x="167" y="242"/>
                    <a:pt x="167" y="242"/>
                  </a:cubicBezTo>
                  <a:cubicBezTo>
                    <a:pt x="168" y="239"/>
                    <a:pt x="168" y="239"/>
                    <a:pt x="168" y="239"/>
                  </a:cubicBezTo>
                  <a:cubicBezTo>
                    <a:pt x="171" y="238"/>
                    <a:pt x="171" y="238"/>
                    <a:pt x="171" y="238"/>
                  </a:cubicBezTo>
                  <a:cubicBezTo>
                    <a:pt x="173" y="237"/>
                    <a:pt x="173" y="237"/>
                    <a:pt x="173" y="237"/>
                  </a:cubicBezTo>
                  <a:cubicBezTo>
                    <a:pt x="175" y="237"/>
                    <a:pt x="175" y="237"/>
                    <a:pt x="175" y="237"/>
                  </a:cubicBezTo>
                  <a:cubicBezTo>
                    <a:pt x="175" y="237"/>
                    <a:pt x="176" y="239"/>
                    <a:pt x="178" y="238"/>
                  </a:cubicBezTo>
                  <a:cubicBezTo>
                    <a:pt x="180" y="238"/>
                    <a:pt x="181" y="237"/>
                    <a:pt x="181" y="237"/>
                  </a:cubicBezTo>
                  <a:cubicBezTo>
                    <a:pt x="181" y="237"/>
                    <a:pt x="185" y="235"/>
                    <a:pt x="184" y="235"/>
                  </a:cubicBezTo>
                  <a:cubicBezTo>
                    <a:pt x="184" y="234"/>
                    <a:pt x="184" y="233"/>
                    <a:pt x="183" y="233"/>
                  </a:cubicBezTo>
                  <a:cubicBezTo>
                    <a:pt x="183" y="232"/>
                    <a:pt x="181" y="230"/>
                    <a:pt x="181" y="230"/>
                  </a:cubicBezTo>
                  <a:cubicBezTo>
                    <a:pt x="181" y="230"/>
                    <a:pt x="180" y="230"/>
                    <a:pt x="180" y="229"/>
                  </a:cubicBezTo>
                  <a:cubicBezTo>
                    <a:pt x="180" y="228"/>
                    <a:pt x="180" y="226"/>
                    <a:pt x="180" y="226"/>
                  </a:cubicBezTo>
                  <a:cubicBezTo>
                    <a:pt x="178" y="224"/>
                    <a:pt x="178" y="224"/>
                    <a:pt x="178" y="224"/>
                  </a:cubicBezTo>
                  <a:cubicBezTo>
                    <a:pt x="178" y="224"/>
                    <a:pt x="177" y="224"/>
                    <a:pt x="176" y="224"/>
                  </a:cubicBezTo>
                  <a:cubicBezTo>
                    <a:pt x="175" y="224"/>
                    <a:pt x="174" y="225"/>
                    <a:pt x="174" y="225"/>
                  </a:cubicBezTo>
                  <a:cubicBezTo>
                    <a:pt x="170" y="226"/>
                    <a:pt x="170" y="226"/>
                    <a:pt x="170" y="226"/>
                  </a:cubicBezTo>
                  <a:cubicBezTo>
                    <a:pt x="165" y="227"/>
                    <a:pt x="165" y="227"/>
                    <a:pt x="165" y="227"/>
                  </a:cubicBezTo>
                  <a:cubicBezTo>
                    <a:pt x="165" y="226"/>
                    <a:pt x="165" y="226"/>
                    <a:pt x="165" y="226"/>
                  </a:cubicBezTo>
                  <a:cubicBezTo>
                    <a:pt x="170" y="225"/>
                    <a:pt x="170" y="225"/>
                    <a:pt x="170" y="225"/>
                  </a:cubicBezTo>
                  <a:cubicBezTo>
                    <a:pt x="173" y="223"/>
                    <a:pt x="173" y="223"/>
                    <a:pt x="173" y="223"/>
                  </a:cubicBezTo>
                  <a:cubicBezTo>
                    <a:pt x="173" y="223"/>
                    <a:pt x="173" y="222"/>
                    <a:pt x="174" y="222"/>
                  </a:cubicBezTo>
                  <a:cubicBezTo>
                    <a:pt x="175" y="222"/>
                    <a:pt x="178" y="223"/>
                    <a:pt x="178" y="223"/>
                  </a:cubicBezTo>
                  <a:cubicBezTo>
                    <a:pt x="179" y="223"/>
                    <a:pt x="183" y="223"/>
                    <a:pt x="183" y="223"/>
                  </a:cubicBezTo>
                  <a:cubicBezTo>
                    <a:pt x="183" y="223"/>
                    <a:pt x="186" y="221"/>
                    <a:pt x="186" y="220"/>
                  </a:cubicBezTo>
                  <a:cubicBezTo>
                    <a:pt x="187" y="220"/>
                    <a:pt x="191" y="218"/>
                    <a:pt x="191" y="218"/>
                  </a:cubicBezTo>
                  <a:cubicBezTo>
                    <a:pt x="191" y="215"/>
                    <a:pt x="191" y="215"/>
                    <a:pt x="191" y="215"/>
                  </a:cubicBezTo>
                  <a:cubicBezTo>
                    <a:pt x="191" y="215"/>
                    <a:pt x="192" y="212"/>
                    <a:pt x="193" y="212"/>
                  </a:cubicBezTo>
                  <a:cubicBezTo>
                    <a:pt x="193" y="212"/>
                    <a:pt x="197" y="209"/>
                    <a:pt x="197" y="209"/>
                  </a:cubicBezTo>
                  <a:cubicBezTo>
                    <a:pt x="201" y="205"/>
                    <a:pt x="201" y="205"/>
                    <a:pt x="201" y="205"/>
                  </a:cubicBezTo>
                  <a:cubicBezTo>
                    <a:pt x="203" y="200"/>
                    <a:pt x="203" y="200"/>
                    <a:pt x="203" y="200"/>
                  </a:cubicBezTo>
                  <a:cubicBezTo>
                    <a:pt x="205" y="196"/>
                    <a:pt x="205" y="196"/>
                    <a:pt x="205" y="196"/>
                  </a:cubicBezTo>
                  <a:cubicBezTo>
                    <a:pt x="205" y="196"/>
                    <a:pt x="209" y="193"/>
                    <a:pt x="208" y="192"/>
                  </a:cubicBezTo>
                  <a:cubicBezTo>
                    <a:pt x="208" y="190"/>
                    <a:pt x="208" y="187"/>
                    <a:pt x="208" y="187"/>
                  </a:cubicBezTo>
                  <a:cubicBezTo>
                    <a:pt x="208" y="187"/>
                    <a:pt x="211" y="185"/>
                    <a:pt x="212" y="184"/>
                  </a:cubicBezTo>
                  <a:cubicBezTo>
                    <a:pt x="212" y="183"/>
                    <a:pt x="219" y="178"/>
                    <a:pt x="219" y="178"/>
                  </a:cubicBezTo>
                  <a:cubicBezTo>
                    <a:pt x="220" y="173"/>
                    <a:pt x="220" y="173"/>
                    <a:pt x="220" y="173"/>
                  </a:cubicBezTo>
                  <a:cubicBezTo>
                    <a:pt x="219" y="171"/>
                    <a:pt x="219" y="171"/>
                    <a:pt x="219" y="171"/>
                  </a:cubicBezTo>
                  <a:cubicBezTo>
                    <a:pt x="218" y="168"/>
                    <a:pt x="218" y="168"/>
                    <a:pt x="218" y="168"/>
                  </a:cubicBezTo>
                  <a:cubicBezTo>
                    <a:pt x="216" y="165"/>
                    <a:pt x="216" y="165"/>
                    <a:pt x="216" y="165"/>
                  </a:cubicBezTo>
                  <a:cubicBezTo>
                    <a:pt x="214" y="162"/>
                    <a:pt x="214" y="162"/>
                    <a:pt x="214" y="162"/>
                  </a:cubicBezTo>
                  <a:cubicBezTo>
                    <a:pt x="210" y="162"/>
                    <a:pt x="210" y="162"/>
                    <a:pt x="210" y="162"/>
                  </a:cubicBezTo>
                  <a:cubicBezTo>
                    <a:pt x="210" y="162"/>
                    <a:pt x="209" y="164"/>
                    <a:pt x="209" y="163"/>
                  </a:cubicBezTo>
                  <a:cubicBezTo>
                    <a:pt x="208" y="163"/>
                    <a:pt x="206" y="161"/>
                    <a:pt x="206" y="161"/>
                  </a:cubicBezTo>
                  <a:cubicBezTo>
                    <a:pt x="202" y="162"/>
                    <a:pt x="202" y="162"/>
                    <a:pt x="202" y="162"/>
                  </a:cubicBezTo>
                  <a:cubicBezTo>
                    <a:pt x="197" y="161"/>
                    <a:pt x="197" y="161"/>
                    <a:pt x="197" y="161"/>
                  </a:cubicBezTo>
                  <a:cubicBezTo>
                    <a:pt x="196" y="159"/>
                    <a:pt x="196" y="159"/>
                    <a:pt x="196" y="159"/>
                  </a:cubicBezTo>
                  <a:cubicBezTo>
                    <a:pt x="192" y="159"/>
                    <a:pt x="192" y="159"/>
                    <a:pt x="192" y="159"/>
                  </a:cubicBezTo>
                  <a:cubicBezTo>
                    <a:pt x="190" y="158"/>
                    <a:pt x="190" y="158"/>
                    <a:pt x="190" y="158"/>
                  </a:cubicBezTo>
                  <a:cubicBezTo>
                    <a:pt x="186" y="159"/>
                    <a:pt x="186" y="159"/>
                    <a:pt x="186" y="159"/>
                  </a:cubicBezTo>
                  <a:cubicBezTo>
                    <a:pt x="183" y="159"/>
                    <a:pt x="183" y="159"/>
                    <a:pt x="183" y="159"/>
                  </a:cubicBezTo>
                  <a:cubicBezTo>
                    <a:pt x="181" y="158"/>
                    <a:pt x="181" y="158"/>
                    <a:pt x="181" y="158"/>
                  </a:cubicBezTo>
                  <a:cubicBezTo>
                    <a:pt x="178" y="155"/>
                    <a:pt x="178" y="155"/>
                    <a:pt x="178" y="155"/>
                  </a:cubicBezTo>
                  <a:cubicBezTo>
                    <a:pt x="172" y="155"/>
                    <a:pt x="172" y="155"/>
                    <a:pt x="172" y="155"/>
                  </a:cubicBezTo>
                  <a:cubicBezTo>
                    <a:pt x="171" y="157"/>
                    <a:pt x="171" y="157"/>
                    <a:pt x="171" y="157"/>
                  </a:cubicBezTo>
                  <a:cubicBezTo>
                    <a:pt x="167" y="157"/>
                    <a:pt x="167" y="157"/>
                    <a:pt x="167" y="157"/>
                  </a:cubicBezTo>
                  <a:cubicBezTo>
                    <a:pt x="167" y="157"/>
                    <a:pt x="166" y="157"/>
                    <a:pt x="165" y="157"/>
                  </a:cubicBezTo>
                  <a:cubicBezTo>
                    <a:pt x="165" y="157"/>
                    <a:pt x="163" y="158"/>
                    <a:pt x="163" y="158"/>
                  </a:cubicBezTo>
                  <a:cubicBezTo>
                    <a:pt x="161" y="159"/>
                    <a:pt x="161" y="159"/>
                    <a:pt x="161" y="159"/>
                  </a:cubicBezTo>
                  <a:cubicBezTo>
                    <a:pt x="159" y="159"/>
                    <a:pt x="159" y="159"/>
                    <a:pt x="159" y="159"/>
                  </a:cubicBezTo>
                  <a:cubicBezTo>
                    <a:pt x="155" y="158"/>
                    <a:pt x="155" y="158"/>
                    <a:pt x="155" y="158"/>
                  </a:cubicBezTo>
                  <a:cubicBezTo>
                    <a:pt x="153" y="161"/>
                    <a:pt x="153" y="161"/>
                    <a:pt x="153" y="161"/>
                  </a:cubicBezTo>
                  <a:cubicBezTo>
                    <a:pt x="150" y="162"/>
                    <a:pt x="150" y="162"/>
                    <a:pt x="150" y="162"/>
                  </a:cubicBezTo>
                  <a:cubicBezTo>
                    <a:pt x="147" y="165"/>
                    <a:pt x="147" y="165"/>
                    <a:pt x="147" y="165"/>
                  </a:cubicBezTo>
                  <a:cubicBezTo>
                    <a:pt x="148" y="162"/>
                    <a:pt x="148" y="162"/>
                    <a:pt x="148" y="162"/>
                  </a:cubicBezTo>
                  <a:cubicBezTo>
                    <a:pt x="150" y="160"/>
                    <a:pt x="150" y="160"/>
                    <a:pt x="150" y="160"/>
                  </a:cubicBezTo>
                  <a:cubicBezTo>
                    <a:pt x="153" y="159"/>
                    <a:pt x="153" y="159"/>
                    <a:pt x="153" y="159"/>
                  </a:cubicBezTo>
                  <a:cubicBezTo>
                    <a:pt x="155" y="156"/>
                    <a:pt x="155" y="156"/>
                    <a:pt x="155" y="156"/>
                  </a:cubicBezTo>
                  <a:cubicBezTo>
                    <a:pt x="155" y="156"/>
                    <a:pt x="157" y="155"/>
                    <a:pt x="157" y="154"/>
                  </a:cubicBezTo>
                  <a:cubicBezTo>
                    <a:pt x="158" y="154"/>
                    <a:pt x="160" y="152"/>
                    <a:pt x="160" y="152"/>
                  </a:cubicBezTo>
                  <a:cubicBezTo>
                    <a:pt x="157" y="151"/>
                    <a:pt x="157" y="151"/>
                    <a:pt x="157" y="151"/>
                  </a:cubicBezTo>
                  <a:cubicBezTo>
                    <a:pt x="154" y="153"/>
                    <a:pt x="154" y="153"/>
                    <a:pt x="154" y="153"/>
                  </a:cubicBezTo>
                  <a:cubicBezTo>
                    <a:pt x="154" y="153"/>
                    <a:pt x="153" y="153"/>
                    <a:pt x="152" y="153"/>
                  </a:cubicBezTo>
                  <a:cubicBezTo>
                    <a:pt x="152" y="153"/>
                    <a:pt x="149" y="154"/>
                    <a:pt x="149" y="154"/>
                  </a:cubicBezTo>
                  <a:cubicBezTo>
                    <a:pt x="143" y="156"/>
                    <a:pt x="143" y="156"/>
                    <a:pt x="143" y="156"/>
                  </a:cubicBezTo>
                  <a:cubicBezTo>
                    <a:pt x="149" y="153"/>
                    <a:pt x="149" y="153"/>
                    <a:pt x="149" y="153"/>
                  </a:cubicBezTo>
                  <a:cubicBezTo>
                    <a:pt x="149" y="153"/>
                    <a:pt x="151" y="152"/>
                    <a:pt x="152" y="151"/>
                  </a:cubicBezTo>
                  <a:cubicBezTo>
                    <a:pt x="153" y="151"/>
                    <a:pt x="155" y="150"/>
                    <a:pt x="155" y="150"/>
                  </a:cubicBezTo>
                  <a:cubicBezTo>
                    <a:pt x="156" y="150"/>
                    <a:pt x="158" y="149"/>
                    <a:pt x="158" y="149"/>
                  </a:cubicBezTo>
                  <a:cubicBezTo>
                    <a:pt x="159" y="150"/>
                    <a:pt x="161" y="151"/>
                    <a:pt x="162" y="150"/>
                  </a:cubicBezTo>
                  <a:cubicBezTo>
                    <a:pt x="162" y="150"/>
                    <a:pt x="163" y="148"/>
                    <a:pt x="164" y="148"/>
                  </a:cubicBezTo>
                  <a:cubicBezTo>
                    <a:pt x="164" y="147"/>
                    <a:pt x="166" y="145"/>
                    <a:pt x="166" y="145"/>
                  </a:cubicBezTo>
                  <a:cubicBezTo>
                    <a:pt x="160" y="145"/>
                    <a:pt x="160" y="145"/>
                    <a:pt x="160" y="145"/>
                  </a:cubicBezTo>
                  <a:cubicBezTo>
                    <a:pt x="160" y="145"/>
                    <a:pt x="159" y="146"/>
                    <a:pt x="158" y="146"/>
                  </a:cubicBezTo>
                  <a:cubicBezTo>
                    <a:pt x="157" y="145"/>
                    <a:pt x="155" y="145"/>
                    <a:pt x="154" y="144"/>
                  </a:cubicBezTo>
                  <a:cubicBezTo>
                    <a:pt x="154" y="144"/>
                    <a:pt x="153" y="143"/>
                    <a:pt x="153" y="143"/>
                  </a:cubicBezTo>
                  <a:cubicBezTo>
                    <a:pt x="152" y="143"/>
                    <a:pt x="150" y="141"/>
                    <a:pt x="150" y="141"/>
                  </a:cubicBezTo>
                  <a:cubicBezTo>
                    <a:pt x="151" y="140"/>
                    <a:pt x="151" y="140"/>
                    <a:pt x="151" y="140"/>
                  </a:cubicBezTo>
                  <a:cubicBezTo>
                    <a:pt x="153" y="142"/>
                    <a:pt x="153" y="142"/>
                    <a:pt x="153" y="142"/>
                  </a:cubicBezTo>
                  <a:cubicBezTo>
                    <a:pt x="153" y="142"/>
                    <a:pt x="154" y="143"/>
                    <a:pt x="155" y="143"/>
                  </a:cubicBezTo>
                  <a:cubicBezTo>
                    <a:pt x="156" y="143"/>
                    <a:pt x="157" y="142"/>
                    <a:pt x="159" y="142"/>
                  </a:cubicBezTo>
                  <a:cubicBezTo>
                    <a:pt x="160" y="143"/>
                    <a:pt x="162" y="140"/>
                    <a:pt x="162" y="140"/>
                  </a:cubicBezTo>
                  <a:cubicBezTo>
                    <a:pt x="162" y="140"/>
                    <a:pt x="160" y="140"/>
                    <a:pt x="163" y="139"/>
                  </a:cubicBezTo>
                  <a:cubicBezTo>
                    <a:pt x="165" y="137"/>
                    <a:pt x="164" y="138"/>
                    <a:pt x="166" y="136"/>
                  </a:cubicBezTo>
                  <a:cubicBezTo>
                    <a:pt x="168" y="135"/>
                    <a:pt x="173" y="132"/>
                    <a:pt x="173" y="132"/>
                  </a:cubicBezTo>
                  <a:cubicBezTo>
                    <a:pt x="179" y="130"/>
                    <a:pt x="179" y="130"/>
                    <a:pt x="179" y="130"/>
                  </a:cubicBezTo>
                  <a:cubicBezTo>
                    <a:pt x="183" y="125"/>
                    <a:pt x="183" y="125"/>
                    <a:pt x="183" y="125"/>
                  </a:cubicBezTo>
                  <a:cubicBezTo>
                    <a:pt x="186" y="125"/>
                    <a:pt x="186" y="125"/>
                    <a:pt x="186" y="125"/>
                  </a:cubicBezTo>
                  <a:cubicBezTo>
                    <a:pt x="190" y="121"/>
                    <a:pt x="190" y="121"/>
                    <a:pt x="190" y="121"/>
                  </a:cubicBezTo>
                  <a:cubicBezTo>
                    <a:pt x="192" y="119"/>
                    <a:pt x="192" y="119"/>
                    <a:pt x="192" y="119"/>
                  </a:cubicBezTo>
                  <a:cubicBezTo>
                    <a:pt x="191" y="114"/>
                    <a:pt x="191" y="114"/>
                    <a:pt x="191" y="114"/>
                  </a:cubicBezTo>
                  <a:cubicBezTo>
                    <a:pt x="193" y="110"/>
                    <a:pt x="193" y="110"/>
                    <a:pt x="193" y="110"/>
                  </a:cubicBezTo>
                  <a:cubicBezTo>
                    <a:pt x="193" y="107"/>
                    <a:pt x="193" y="107"/>
                    <a:pt x="193" y="107"/>
                  </a:cubicBezTo>
                  <a:cubicBezTo>
                    <a:pt x="190" y="106"/>
                    <a:pt x="190" y="106"/>
                    <a:pt x="190" y="106"/>
                  </a:cubicBezTo>
                  <a:cubicBezTo>
                    <a:pt x="184" y="106"/>
                    <a:pt x="184" y="106"/>
                    <a:pt x="184" y="106"/>
                  </a:cubicBezTo>
                  <a:cubicBezTo>
                    <a:pt x="184" y="106"/>
                    <a:pt x="183" y="109"/>
                    <a:pt x="182" y="108"/>
                  </a:cubicBezTo>
                  <a:cubicBezTo>
                    <a:pt x="182" y="108"/>
                    <a:pt x="178" y="105"/>
                    <a:pt x="177" y="105"/>
                  </a:cubicBezTo>
                  <a:cubicBezTo>
                    <a:pt x="177" y="105"/>
                    <a:pt x="173" y="108"/>
                    <a:pt x="173" y="108"/>
                  </a:cubicBezTo>
                  <a:cubicBezTo>
                    <a:pt x="171" y="108"/>
                    <a:pt x="171" y="108"/>
                    <a:pt x="171" y="108"/>
                  </a:cubicBezTo>
                  <a:cubicBezTo>
                    <a:pt x="171" y="108"/>
                    <a:pt x="170" y="108"/>
                    <a:pt x="168" y="108"/>
                  </a:cubicBezTo>
                  <a:cubicBezTo>
                    <a:pt x="166" y="107"/>
                    <a:pt x="162" y="106"/>
                    <a:pt x="162" y="106"/>
                  </a:cubicBezTo>
                  <a:cubicBezTo>
                    <a:pt x="159" y="108"/>
                    <a:pt x="159" y="108"/>
                    <a:pt x="159" y="108"/>
                  </a:cubicBezTo>
                  <a:cubicBezTo>
                    <a:pt x="157" y="107"/>
                    <a:pt x="157" y="107"/>
                    <a:pt x="157" y="107"/>
                  </a:cubicBezTo>
                  <a:cubicBezTo>
                    <a:pt x="153" y="110"/>
                    <a:pt x="153" y="110"/>
                    <a:pt x="153" y="110"/>
                  </a:cubicBezTo>
                  <a:cubicBezTo>
                    <a:pt x="153" y="108"/>
                    <a:pt x="153" y="108"/>
                    <a:pt x="153" y="108"/>
                  </a:cubicBezTo>
                  <a:cubicBezTo>
                    <a:pt x="155" y="105"/>
                    <a:pt x="155" y="105"/>
                    <a:pt x="155" y="105"/>
                  </a:cubicBezTo>
                  <a:cubicBezTo>
                    <a:pt x="155" y="105"/>
                    <a:pt x="154" y="104"/>
                    <a:pt x="153" y="104"/>
                  </a:cubicBezTo>
                  <a:cubicBezTo>
                    <a:pt x="153" y="104"/>
                    <a:pt x="151" y="103"/>
                    <a:pt x="151" y="103"/>
                  </a:cubicBezTo>
                  <a:cubicBezTo>
                    <a:pt x="149" y="106"/>
                    <a:pt x="149" y="106"/>
                    <a:pt x="149" y="106"/>
                  </a:cubicBezTo>
                  <a:cubicBezTo>
                    <a:pt x="145" y="108"/>
                    <a:pt x="145" y="108"/>
                    <a:pt x="145" y="108"/>
                  </a:cubicBezTo>
                  <a:cubicBezTo>
                    <a:pt x="146" y="107"/>
                    <a:pt x="146" y="107"/>
                    <a:pt x="146" y="107"/>
                  </a:cubicBezTo>
                  <a:cubicBezTo>
                    <a:pt x="149" y="105"/>
                    <a:pt x="149" y="105"/>
                    <a:pt x="149" y="105"/>
                  </a:cubicBezTo>
                  <a:cubicBezTo>
                    <a:pt x="149" y="103"/>
                    <a:pt x="149" y="103"/>
                    <a:pt x="149" y="103"/>
                  </a:cubicBezTo>
                  <a:cubicBezTo>
                    <a:pt x="149" y="103"/>
                    <a:pt x="148" y="103"/>
                    <a:pt x="148" y="103"/>
                  </a:cubicBezTo>
                  <a:cubicBezTo>
                    <a:pt x="147" y="103"/>
                    <a:pt x="146" y="102"/>
                    <a:pt x="146" y="102"/>
                  </a:cubicBezTo>
                  <a:cubicBezTo>
                    <a:pt x="144" y="101"/>
                    <a:pt x="144" y="101"/>
                    <a:pt x="144" y="101"/>
                  </a:cubicBezTo>
                  <a:cubicBezTo>
                    <a:pt x="143" y="99"/>
                    <a:pt x="143" y="99"/>
                    <a:pt x="143" y="99"/>
                  </a:cubicBezTo>
                  <a:cubicBezTo>
                    <a:pt x="140" y="100"/>
                    <a:pt x="140" y="100"/>
                    <a:pt x="140" y="100"/>
                  </a:cubicBezTo>
                  <a:cubicBezTo>
                    <a:pt x="139" y="102"/>
                    <a:pt x="139" y="102"/>
                    <a:pt x="139" y="102"/>
                  </a:cubicBezTo>
                  <a:cubicBezTo>
                    <a:pt x="137" y="103"/>
                    <a:pt x="137" y="103"/>
                    <a:pt x="137" y="103"/>
                  </a:cubicBezTo>
                  <a:cubicBezTo>
                    <a:pt x="135" y="103"/>
                    <a:pt x="135" y="103"/>
                    <a:pt x="135" y="103"/>
                  </a:cubicBezTo>
                  <a:cubicBezTo>
                    <a:pt x="136" y="106"/>
                    <a:pt x="136" y="106"/>
                    <a:pt x="136" y="106"/>
                  </a:cubicBezTo>
                  <a:cubicBezTo>
                    <a:pt x="135" y="109"/>
                    <a:pt x="135" y="109"/>
                    <a:pt x="135" y="109"/>
                  </a:cubicBezTo>
                  <a:cubicBezTo>
                    <a:pt x="132" y="109"/>
                    <a:pt x="132" y="109"/>
                    <a:pt x="132" y="109"/>
                  </a:cubicBezTo>
                  <a:cubicBezTo>
                    <a:pt x="132" y="109"/>
                    <a:pt x="132" y="113"/>
                    <a:pt x="133" y="113"/>
                  </a:cubicBezTo>
                  <a:cubicBezTo>
                    <a:pt x="133" y="113"/>
                    <a:pt x="134" y="115"/>
                    <a:pt x="134" y="115"/>
                  </a:cubicBezTo>
                  <a:cubicBezTo>
                    <a:pt x="134" y="117"/>
                    <a:pt x="134" y="117"/>
                    <a:pt x="134" y="117"/>
                  </a:cubicBezTo>
                  <a:cubicBezTo>
                    <a:pt x="135" y="118"/>
                    <a:pt x="135" y="118"/>
                    <a:pt x="135" y="118"/>
                  </a:cubicBezTo>
                  <a:cubicBezTo>
                    <a:pt x="135" y="118"/>
                    <a:pt x="134" y="118"/>
                    <a:pt x="133" y="118"/>
                  </a:cubicBezTo>
                  <a:cubicBezTo>
                    <a:pt x="133" y="118"/>
                    <a:pt x="132" y="116"/>
                    <a:pt x="132" y="116"/>
                  </a:cubicBezTo>
                  <a:cubicBezTo>
                    <a:pt x="128" y="116"/>
                    <a:pt x="128" y="116"/>
                    <a:pt x="128" y="116"/>
                  </a:cubicBezTo>
                  <a:cubicBezTo>
                    <a:pt x="127" y="116"/>
                    <a:pt x="127" y="116"/>
                    <a:pt x="127" y="116"/>
                  </a:cubicBezTo>
                  <a:cubicBezTo>
                    <a:pt x="126" y="119"/>
                    <a:pt x="126" y="119"/>
                    <a:pt x="126" y="119"/>
                  </a:cubicBezTo>
                  <a:cubicBezTo>
                    <a:pt x="127" y="122"/>
                    <a:pt x="127" y="122"/>
                    <a:pt x="127" y="122"/>
                  </a:cubicBezTo>
                  <a:cubicBezTo>
                    <a:pt x="126" y="124"/>
                    <a:pt x="126" y="124"/>
                    <a:pt x="126" y="124"/>
                  </a:cubicBezTo>
                  <a:cubicBezTo>
                    <a:pt x="125" y="125"/>
                    <a:pt x="125" y="125"/>
                    <a:pt x="125" y="125"/>
                  </a:cubicBezTo>
                  <a:cubicBezTo>
                    <a:pt x="125" y="125"/>
                    <a:pt x="123" y="127"/>
                    <a:pt x="123" y="127"/>
                  </a:cubicBezTo>
                  <a:cubicBezTo>
                    <a:pt x="123" y="128"/>
                    <a:pt x="124" y="131"/>
                    <a:pt x="124" y="131"/>
                  </a:cubicBezTo>
                  <a:cubicBezTo>
                    <a:pt x="124" y="131"/>
                    <a:pt x="125" y="133"/>
                    <a:pt x="126" y="133"/>
                  </a:cubicBezTo>
                  <a:cubicBezTo>
                    <a:pt x="126" y="134"/>
                    <a:pt x="128" y="135"/>
                    <a:pt x="128" y="135"/>
                  </a:cubicBezTo>
                  <a:cubicBezTo>
                    <a:pt x="128" y="138"/>
                    <a:pt x="128" y="138"/>
                    <a:pt x="128" y="138"/>
                  </a:cubicBezTo>
                  <a:cubicBezTo>
                    <a:pt x="126" y="135"/>
                    <a:pt x="126" y="135"/>
                    <a:pt x="126" y="135"/>
                  </a:cubicBezTo>
                  <a:cubicBezTo>
                    <a:pt x="126" y="135"/>
                    <a:pt x="125" y="134"/>
                    <a:pt x="124" y="133"/>
                  </a:cubicBezTo>
                  <a:cubicBezTo>
                    <a:pt x="124" y="133"/>
                    <a:pt x="123" y="131"/>
                    <a:pt x="123" y="131"/>
                  </a:cubicBezTo>
                  <a:cubicBezTo>
                    <a:pt x="123" y="131"/>
                    <a:pt x="121" y="132"/>
                    <a:pt x="121" y="132"/>
                  </a:cubicBezTo>
                  <a:cubicBezTo>
                    <a:pt x="121" y="132"/>
                    <a:pt x="120" y="132"/>
                    <a:pt x="121" y="133"/>
                  </a:cubicBezTo>
                  <a:cubicBezTo>
                    <a:pt x="121" y="134"/>
                    <a:pt x="119" y="135"/>
                    <a:pt x="119" y="135"/>
                  </a:cubicBezTo>
                  <a:cubicBezTo>
                    <a:pt x="119" y="135"/>
                    <a:pt x="116" y="136"/>
                    <a:pt x="116" y="135"/>
                  </a:cubicBezTo>
                  <a:cubicBezTo>
                    <a:pt x="116" y="134"/>
                    <a:pt x="116" y="133"/>
                    <a:pt x="115" y="132"/>
                  </a:cubicBezTo>
                  <a:cubicBezTo>
                    <a:pt x="115" y="132"/>
                    <a:pt x="114" y="132"/>
                    <a:pt x="114" y="132"/>
                  </a:cubicBezTo>
                  <a:cubicBezTo>
                    <a:pt x="114" y="133"/>
                    <a:pt x="113" y="134"/>
                    <a:pt x="113" y="134"/>
                  </a:cubicBezTo>
                  <a:cubicBezTo>
                    <a:pt x="114" y="137"/>
                    <a:pt x="114" y="137"/>
                    <a:pt x="114" y="137"/>
                  </a:cubicBezTo>
                  <a:cubicBezTo>
                    <a:pt x="114" y="137"/>
                    <a:pt x="113" y="139"/>
                    <a:pt x="113" y="139"/>
                  </a:cubicBezTo>
                  <a:cubicBezTo>
                    <a:pt x="113" y="138"/>
                    <a:pt x="112" y="136"/>
                    <a:pt x="112" y="135"/>
                  </a:cubicBezTo>
                  <a:cubicBezTo>
                    <a:pt x="112" y="135"/>
                    <a:pt x="112" y="133"/>
                    <a:pt x="111" y="133"/>
                  </a:cubicBezTo>
                  <a:cubicBezTo>
                    <a:pt x="111" y="133"/>
                    <a:pt x="109" y="135"/>
                    <a:pt x="109" y="135"/>
                  </a:cubicBezTo>
                  <a:cubicBezTo>
                    <a:pt x="109" y="135"/>
                    <a:pt x="108" y="135"/>
                    <a:pt x="108" y="136"/>
                  </a:cubicBezTo>
                  <a:cubicBezTo>
                    <a:pt x="108" y="136"/>
                    <a:pt x="107" y="139"/>
                    <a:pt x="108" y="140"/>
                  </a:cubicBezTo>
                  <a:cubicBezTo>
                    <a:pt x="109" y="141"/>
                    <a:pt x="109" y="141"/>
                    <a:pt x="110" y="141"/>
                  </a:cubicBezTo>
                  <a:cubicBezTo>
                    <a:pt x="111" y="141"/>
                    <a:pt x="111" y="142"/>
                    <a:pt x="111" y="142"/>
                  </a:cubicBezTo>
                  <a:cubicBezTo>
                    <a:pt x="107" y="142"/>
                    <a:pt x="107" y="142"/>
                    <a:pt x="107" y="142"/>
                  </a:cubicBezTo>
                  <a:cubicBezTo>
                    <a:pt x="107" y="142"/>
                    <a:pt x="106" y="143"/>
                    <a:pt x="107" y="144"/>
                  </a:cubicBezTo>
                  <a:cubicBezTo>
                    <a:pt x="107" y="144"/>
                    <a:pt x="107" y="146"/>
                    <a:pt x="107" y="146"/>
                  </a:cubicBezTo>
                  <a:cubicBezTo>
                    <a:pt x="107" y="146"/>
                    <a:pt x="109" y="148"/>
                    <a:pt x="109" y="148"/>
                  </a:cubicBezTo>
                  <a:cubicBezTo>
                    <a:pt x="109" y="148"/>
                    <a:pt x="108" y="150"/>
                    <a:pt x="108" y="150"/>
                  </a:cubicBezTo>
                  <a:cubicBezTo>
                    <a:pt x="108" y="150"/>
                    <a:pt x="106" y="149"/>
                    <a:pt x="106" y="149"/>
                  </a:cubicBezTo>
                  <a:cubicBezTo>
                    <a:pt x="105" y="148"/>
                    <a:pt x="105" y="149"/>
                    <a:pt x="104" y="149"/>
                  </a:cubicBezTo>
                  <a:cubicBezTo>
                    <a:pt x="104" y="150"/>
                    <a:pt x="103" y="151"/>
                    <a:pt x="103" y="152"/>
                  </a:cubicBezTo>
                  <a:cubicBezTo>
                    <a:pt x="103" y="152"/>
                    <a:pt x="104" y="153"/>
                    <a:pt x="104" y="154"/>
                  </a:cubicBezTo>
                  <a:cubicBezTo>
                    <a:pt x="103" y="156"/>
                    <a:pt x="103" y="158"/>
                    <a:pt x="103" y="158"/>
                  </a:cubicBezTo>
                  <a:cubicBezTo>
                    <a:pt x="103" y="158"/>
                    <a:pt x="102" y="158"/>
                    <a:pt x="103" y="159"/>
                  </a:cubicBezTo>
                  <a:cubicBezTo>
                    <a:pt x="104" y="160"/>
                    <a:pt x="106" y="160"/>
                    <a:pt x="107" y="160"/>
                  </a:cubicBezTo>
                  <a:cubicBezTo>
                    <a:pt x="108" y="160"/>
                    <a:pt x="108" y="160"/>
                    <a:pt x="108" y="160"/>
                  </a:cubicBezTo>
                  <a:cubicBezTo>
                    <a:pt x="109" y="160"/>
                    <a:pt x="110" y="160"/>
                    <a:pt x="111" y="161"/>
                  </a:cubicBezTo>
                  <a:cubicBezTo>
                    <a:pt x="111" y="161"/>
                    <a:pt x="112" y="161"/>
                    <a:pt x="112" y="161"/>
                  </a:cubicBezTo>
                  <a:cubicBezTo>
                    <a:pt x="112" y="161"/>
                    <a:pt x="111" y="163"/>
                    <a:pt x="110" y="162"/>
                  </a:cubicBezTo>
                  <a:cubicBezTo>
                    <a:pt x="109" y="161"/>
                    <a:pt x="107" y="161"/>
                    <a:pt x="106" y="161"/>
                  </a:cubicBezTo>
                  <a:cubicBezTo>
                    <a:pt x="105" y="161"/>
                    <a:pt x="106" y="163"/>
                    <a:pt x="106" y="163"/>
                  </a:cubicBezTo>
                  <a:cubicBezTo>
                    <a:pt x="107" y="165"/>
                    <a:pt x="107" y="165"/>
                    <a:pt x="107" y="165"/>
                  </a:cubicBezTo>
                  <a:cubicBezTo>
                    <a:pt x="107" y="165"/>
                    <a:pt x="108" y="166"/>
                    <a:pt x="107" y="166"/>
                  </a:cubicBezTo>
                  <a:cubicBezTo>
                    <a:pt x="106" y="166"/>
                    <a:pt x="104" y="165"/>
                    <a:pt x="104" y="165"/>
                  </a:cubicBezTo>
                  <a:cubicBezTo>
                    <a:pt x="104" y="165"/>
                    <a:pt x="104" y="165"/>
                    <a:pt x="103" y="165"/>
                  </a:cubicBezTo>
                  <a:cubicBezTo>
                    <a:pt x="103" y="165"/>
                    <a:pt x="102" y="166"/>
                    <a:pt x="101" y="166"/>
                  </a:cubicBezTo>
                  <a:cubicBezTo>
                    <a:pt x="100" y="166"/>
                    <a:pt x="100" y="166"/>
                    <a:pt x="99" y="165"/>
                  </a:cubicBezTo>
                  <a:cubicBezTo>
                    <a:pt x="98" y="165"/>
                    <a:pt x="96" y="163"/>
                    <a:pt x="96" y="163"/>
                  </a:cubicBezTo>
                  <a:cubicBezTo>
                    <a:pt x="96" y="163"/>
                    <a:pt x="95" y="163"/>
                    <a:pt x="95" y="162"/>
                  </a:cubicBezTo>
                  <a:cubicBezTo>
                    <a:pt x="95" y="161"/>
                    <a:pt x="96" y="159"/>
                    <a:pt x="96" y="159"/>
                  </a:cubicBezTo>
                  <a:cubicBezTo>
                    <a:pt x="97" y="158"/>
                    <a:pt x="96" y="158"/>
                    <a:pt x="97" y="158"/>
                  </a:cubicBezTo>
                  <a:cubicBezTo>
                    <a:pt x="98" y="158"/>
                    <a:pt x="101" y="158"/>
                    <a:pt x="99" y="156"/>
                  </a:cubicBezTo>
                  <a:cubicBezTo>
                    <a:pt x="98" y="154"/>
                    <a:pt x="98" y="154"/>
                    <a:pt x="97" y="154"/>
                  </a:cubicBezTo>
                  <a:cubicBezTo>
                    <a:pt x="96" y="155"/>
                    <a:pt x="94" y="156"/>
                    <a:pt x="94" y="156"/>
                  </a:cubicBezTo>
                  <a:cubicBezTo>
                    <a:pt x="94" y="156"/>
                    <a:pt x="93" y="155"/>
                    <a:pt x="94" y="152"/>
                  </a:cubicBezTo>
                  <a:cubicBezTo>
                    <a:pt x="95" y="149"/>
                    <a:pt x="94" y="149"/>
                    <a:pt x="95" y="148"/>
                  </a:cubicBezTo>
                  <a:cubicBezTo>
                    <a:pt x="96" y="147"/>
                    <a:pt x="97" y="146"/>
                    <a:pt x="97" y="146"/>
                  </a:cubicBezTo>
                  <a:cubicBezTo>
                    <a:pt x="97" y="146"/>
                    <a:pt x="97" y="145"/>
                    <a:pt x="95" y="143"/>
                  </a:cubicBezTo>
                  <a:cubicBezTo>
                    <a:pt x="94" y="141"/>
                    <a:pt x="93" y="139"/>
                    <a:pt x="93" y="139"/>
                  </a:cubicBezTo>
                  <a:cubicBezTo>
                    <a:pt x="92" y="138"/>
                    <a:pt x="90" y="140"/>
                    <a:pt x="90" y="140"/>
                  </a:cubicBezTo>
                  <a:cubicBezTo>
                    <a:pt x="90" y="141"/>
                    <a:pt x="89" y="143"/>
                    <a:pt x="90" y="144"/>
                  </a:cubicBezTo>
                  <a:cubicBezTo>
                    <a:pt x="90" y="145"/>
                    <a:pt x="90" y="146"/>
                    <a:pt x="89" y="147"/>
                  </a:cubicBezTo>
                  <a:cubicBezTo>
                    <a:pt x="88" y="147"/>
                    <a:pt x="88" y="148"/>
                    <a:pt x="87" y="147"/>
                  </a:cubicBezTo>
                  <a:cubicBezTo>
                    <a:pt x="86" y="146"/>
                    <a:pt x="87" y="147"/>
                    <a:pt x="86" y="145"/>
                  </a:cubicBezTo>
                  <a:cubicBezTo>
                    <a:pt x="85" y="144"/>
                    <a:pt x="86" y="144"/>
                    <a:pt x="85" y="144"/>
                  </a:cubicBezTo>
                  <a:cubicBezTo>
                    <a:pt x="84" y="143"/>
                    <a:pt x="83" y="142"/>
                    <a:pt x="83" y="142"/>
                  </a:cubicBezTo>
                  <a:cubicBezTo>
                    <a:pt x="83" y="142"/>
                    <a:pt x="80" y="141"/>
                    <a:pt x="80" y="142"/>
                  </a:cubicBezTo>
                  <a:cubicBezTo>
                    <a:pt x="80" y="143"/>
                    <a:pt x="80" y="143"/>
                    <a:pt x="81" y="144"/>
                  </a:cubicBezTo>
                  <a:cubicBezTo>
                    <a:pt x="81" y="145"/>
                    <a:pt x="82" y="145"/>
                    <a:pt x="82" y="146"/>
                  </a:cubicBezTo>
                  <a:cubicBezTo>
                    <a:pt x="82" y="147"/>
                    <a:pt x="81" y="147"/>
                    <a:pt x="81" y="147"/>
                  </a:cubicBezTo>
                  <a:cubicBezTo>
                    <a:pt x="81" y="147"/>
                    <a:pt x="80" y="146"/>
                    <a:pt x="79" y="146"/>
                  </a:cubicBezTo>
                  <a:cubicBezTo>
                    <a:pt x="79" y="146"/>
                    <a:pt x="77" y="148"/>
                    <a:pt x="77" y="148"/>
                  </a:cubicBezTo>
                  <a:cubicBezTo>
                    <a:pt x="77" y="148"/>
                    <a:pt x="77" y="149"/>
                    <a:pt x="77" y="150"/>
                  </a:cubicBezTo>
                  <a:cubicBezTo>
                    <a:pt x="77" y="150"/>
                    <a:pt x="77" y="151"/>
                    <a:pt x="77" y="152"/>
                  </a:cubicBezTo>
                  <a:cubicBezTo>
                    <a:pt x="78" y="153"/>
                    <a:pt x="78" y="155"/>
                    <a:pt x="79" y="155"/>
                  </a:cubicBezTo>
                  <a:cubicBezTo>
                    <a:pt x="81" y="155"/>
                    <a:pt x="85" y="153"/>
                    <a:pt x="85" y="153"/>
                  </a:cubicBezTo>
                  <a:cubicBezTo>
                    <a:pt x="85" y="154"/>
                    <a:pt x="87" y="155"/>
                    <a:pt x="88" y="156"/>
                  </a:cubicBezTo>
                  <a:cubicBezTo>
                    <a:pt x="88" y="156"/>
                    <a:pt x="88" y="158"/>
                    <a:pt x="88" y="158"/>
                  </a:cubicBezTo>
                  <a:cubicBezTo>
                    <a:pt x="88" y="158"/>
                    <a:pt x="87" y="159"/>
                    <a:pt x="86" y="159"/>
                  </a:cubicBezTo>
                  <a:cubicBezTo>
                    <a:pt x="85" y="159"/>
                    <a:pt x="84" y="157"/>
                    <a:pt x="84" y="159"/>
                  </a:cubicBezTo>
                  <a:cubicBezTo>
                    <a:pt x="84" y="160"/>
                    <a:pt x="83" y="162"/>
                    <a:pt x="84" y="163"/>
                  </a:cubicBezTo>
                  <a:cubicBezTo>
                    <a:pt x="85" y="164"/>
                    <a:pt x="85" y="166"/>
                    <a:pt x="87" y="166"/>
                  </a:cubicBezTo>
                  <a:cubicBezTo>
                    <a:pt x="89" y="167"/>
                    <a:pt x="89" y="168"/>
                    <a:pt x="90" y="167"/>
                  </a:cubicBezTo>
                  <a:cubicBezTo>
                    <a:pt x="91" y="166"/>
                    <a:pt x="91" y="165"/>
                    <a:pt x="92" y="166"/>
                  </a:cubicBezTo>
                  <a:cubicBezTo>
                    <a:pt x="93" y="166"/>
                    <a:pt x="94" y="166"/>
                    <a:pt x="95" y="167"/>
                  </a:cubicBezTo>
                  <a:cubicBezTo>
                    <a:pt x="95" y="168"/>
                    <a:pt x="94" y="168"/>
                    <a:pt x="94" y="168"/>
                  </a:cubicBezTo>
                  <a:cubicBezTo>
                    <a:pt x="94" y="168"/>
                    <a:pt x="93" y="168"/>
                    <a:pt x="93" y="169"/>
                  </a:cubicBezTo>
                  <a:cubicBezTo>
                    <a:pt x="93" y="169"/>
                    <a:pt x="92" y="170"/>
                    <a:pt x="93" y="170"/>
                  </a:cubicBezTo>
                  <a:cubicBezTo>
                    <a:pt x="95" y="170"/>
                    <a:pt x="96" y="170"/>
                    <a:pt x="96" y="170"/>
                  </a:cubicBezTo>
                  <a:cubicBezTo>
                    <a:pt x="96" y="170"/>
                    <a:pt x="97" y="168"/>
                    <a:pt x="98" y="169"/>
                  </a:cubicBezTo>
                  <a:cubicBezTo>
                    <a:pt x="98" y="170"/>
                    <a:pt x="97" y="170"/>
                    <a:pt x="96" y="171"/>
                  </a:cubicBezTo>
                  <a:cubicBezTo>
                    <a:pt x="95" y="172"/>
                    <a:pt x="95" y="172"/>
                    <a:pt x="95" y="173"/>
                  </a:cubicBezTo>
                  <a:cubicBezTo>
                    <a:pt x="95" y="174"/>
                    <a:pt x="94" y="174"/>
                    <a:pt x="94" y="175"/>
                  </a:cubicBezTo>
                  <a:cubicBezTo>
                    <a:pt x="94" y="176"/>
                    <a:pt x="92" y="180"/>
                    <a:pt x="95" y="177"/>
                  </a:cubicBezTo>
                  <a:cubicBezTo>
                    <a:pt x="99" y="174"/>
                    <a:pt x="99" y="175"/>
                    <a:pt x="99" y="174"/>
                  </a:cubicBezTo>
                  <a:cubicBezTo>
                    <a:pt x="99" y="173"/>
                    <a:pt x="99" y="173"/>
                    <a:pt x="101" y="172"/>
                  </a:cubicBezTo>
                  <a:cubicBezTo>
                    <a:pt x="102" y="171"/>
                    <a:pt x="103" y="171"/>
                    <a:pt x="104" y="171"/>
                  </a:cubicBezTo>
                  <a:cubicBezTo>
                    <a:pt x="104" y="170"/>
                    <a:pt x="106" y="170"/>
                    <a:pt x="105" y="171"/>
                  </a:cubicBezTo>
                  <a:cubicBezTo>
                    <a:pt x="104" y="172"/>
                    <a:pt x="103" y="171"/>
                    <a:pt x="104" y="172"/>
                  </a:cubicBezTo>
                  <a:cubicBezTo>
                    <a:pt x="105" y="173"/>
                    <a:pt x="105" y="174"/>
                    <a:pt x="106" y="174"/>
                  </a:cubicBezTo>
                  <a:cubicBezTo>
                    <a:pt x="107" y="174"/>
                    <a:pt x="107" y="174"/>
                    <a:pt x="107" y="174"/>
                  </a:cubicBezTo>
                  <a:cubicBezTo>
                    <a:pt x="107" y="174"/>
                    <a:pt x="105" y="174"/>
                    <a:pt x="104" y="174"/>
                  </a:cubicBezTo>
                  <a:cubicBezTo>
                    <a:pt x="104" y="174"/>
                    <a:pt x="103" y="174"/>
                    <a:pt x="103" y="174"/>
                  </a:cubicBezTo>
                  <a:cubicBezTo>
                    <a:pt x="102" y="174"/>
                    <a:pt x="102" y="175"/>
                    <a:pt x="102" y="175"/>
                  </a:cubicBezTo>
                  <a:cubicBezTo>
                    <a:pt x="101" y="176"/>
                    <a:pt x="101" y="176"/>
                    <a:pt x="101" y="176"/>
                  </a:cubicBezTo>
                  <a:cubicBezTo>
                    <a:pt x="101" y="176"/>
                    <a:pt x="102" y="177"/>
                    <a:pt x="102" y="178"/>
                  </a:cubicBezTo>
                  <a:cubicBezTo>
                    <a:pt x="102" y="178"/>
                    <a:pt x="102" y="178"/>
                    <a:pt x="101" y="178"/>
                  </a:cubicBezTo>
                  <a:cubicBezTo>
                    <a:pt x="100" y="178"/>
                    <a:pt x="101" y="177"/>
                    <a:pt x="99" y="178"/>
                  </a:cubicBezTo>
                  <a:cubicBezTo>
                    <a:pt x="97" y="178"/>
                    <a:pt x="98" y="176"/>
                    <a:pt x="97" y="179"/>
                  </a:cubicBezTo>
                  <a:cubicBezTo>
                    <a:pt x="96" y="182"/>
                    <a:pt x="95" y="182"/>
                    <a:pt x="95" y="182"/>
                  </a:cubicBezTo>
                  <a:cubicBezTo>
                    <a:pt x="95" y="182"/>
                    <a:pt x="95" y="182"/>
                    <a:pt x="95" y="183"/>
                  </a:cubicBezTo>
                  <a:cubicBezTo>
                    <a:pt x="95" y="183"/>
                    <a:pt x="96" y="184"/>
                    <a:pt x="97" y="185"/>
                  </a:cubicBezTo>
                  <a:cubicBezTo>
                    <a:pt x="99" y="186"/>
                    <a:pt x="100" y="187"/>
                    <a:pt x="100" y="187"/>
                  </a:cubicBezTo>
                  <a:cubicBezTo>
                    <a:pt x="100" y="187"/>
                    <a:pt x="99" y="187"/>
                    <a:pt x="98" y="187"/>
                  </a:cubicBezTo>
                  <a:cubicBezTo>
                    <a:pt x="96" y="188"/>
                    <a:pt x="95" y="188"/>
                    <a:pt x="94" y="189"/>
                  </a:cubicBezTo>
                  <a:cubicBezTo>
                    <a:pt x="94" y="189"/>
                    <a:pt x="93" y="190"/>
                    <a:pt x="92" y="190"/>
                  </a:cubicBezTo>
                  <a:cubicBezTo>
                    <a:pt x="91" y="190"/>
                    <a:pt x="88" y="189"/>
                    <a:pt x="87" y="190"/>
                  </a:cubicBezTo>
                  <a:cubicBezTo>
                    <a:pt x="86" y="190"/>
                    <a:pt x="85" y="190"/>
                    <a:pt x="84" y="191"/>
                  </a:cubicBezTo>
                  <a:cubicBezTo>
                    <a:pt x="84" y="191"/>
                    <a:pt x="84" y="192"/>
                    <a:pt x="84" y="192"/>
                  </a:cubicBezTo>
                  <a:cubicBezTo>
                    <a:pt x="84" y="192"/>
                    <a:pt x="83" y="193"/>
                    <a:pt x="84" y="193"/>
                  </a:cubicBezTo>
                  <a:cubicBezTo>
                    <a:pt x="85" y="193"/>
                    <a:pt x="89" y="193"/>
                    <a:pt x="89" y="193"/>
                  </a:cubicBezTo>
                  <a:cubicBezTo>
                    <a:pt x="90" y="193"/>
                    <a:pt x="90" y="194"/>
                    <a:pt x="90" y="194"/>
                  </a:cubicBezTo>
                  <a:cubicBezTo>
                    <a:pt x="88" y="194"/>
                    <a:pt x="88" y="194"/>
                    <a:pt x="88" y="194"/>
                  </a:cubicBezTo>
                  <a:cubicBezTo>
                    <a:pt x="88" y="194"/>
                    <a:pt x="86" y="194"/>
                    <a:pt x="85" y="194"/>
                  </a:cubicBezTo>
                  <a:cubicBezTo>
                    <a:pt x="85" y="194"/>
                    <a:pt x="82" y="195"/>
                    <a:pt x="82" y="195"/>
                  </a:cubicBezTo>
                  <a:cubicBezTo>
                    <a:pt x="82" y="195"/>
                    <a:pt x="80" y="197"/>
                    <a:pt x="80" y="198"/>
                  </a:cubicBezTo>
                  <a:cubicBezTo>
                    <a:pt x="80" y="198"/>
                    <a:pt x="80" y="199"/>
                    <a:pt x="81" y="201"/>
                  </a:cubicBezTo>
                  <a:cubicBezTo>
                    <a:pt x="83" y="202"/>
                    <a:pt x="83" y="203"/>
                    <a:pt x="83" y="204"/>
                  </a:cubicBezTo>
                  <a:cubicBezTo>
                    <a:pt x="83" y="204"/>
                    <a:pt x="83" y="204"/>
                    <a:pt x="83" y="205"/>
                  </a:cubicBezTo>
                  <a:cubicBezTo>
                    <a:pt x="82" y="205"/>
                    <a:pt x="80" y="207"/>
                    <a:pt x="80" y="207"/>
                  </a:cubicBezTo>
                  <a:cubicBezTo>
                    <a:pt x="80" y="207"/>
                    <a:pt x="80" y="207"/>
                    <a:pt x="80" y="209"/>
                  </a:cubicBezTo>
                  <a:cubicBezTo>
                    <a:pt x="79" y="210"/>
                    <a:pt x="77" y="213"/>
                    <a:pt x="79" y="213"/>
                  </a:cubicBezTo>
                  <a:cubicBezTo>
                    <a:pt x="81" y="214"/>
                    <a:pt x="80" y="215"/>
                    <a:pt x="82" y="214"/>
                  </a:cubicBezTo>
                  <a:cubicBezTo>
                    <a:pt x="85" y="213"/>
                    <a:pt x="82" y="212"/>
                    <a:pt x="86" y="213"/>
                  </a:cubicBezTo>
                  <a:cubicBezTo>
                    <a:pt x="90" y="214"/>
                    <a:pt x="91" y="213"/>
                    <a:pt x="92" y="213"/>
                  </a:cubicBezTo>
                  <a:cubicBezTo>
                    <a:pt x="93" y="212"/>
                    <a:pt x="93" y="212"/>
                    <a:pt x="94" y="211"/>
                  </a:cubicBezTo>
                  <a:cubicBezTo>
                    <a:pt x="94" y="211"/>
                    <a:pt x="92" y="210"/>
                    <a:pt x="95" y="210"/>
                  </a:cubicBezTo>
                  <a:cubicBezTo>
                    <a:pt x="98" y="209"/>
                    <a:pt x="98" y="209"/>
                    <a:pt x="98" y="209"/>
                  </a:cubicBezTo>
                  <a:cubicBezTo>
                    <a:pt x="98" y="209"/>
                    <a:pt x="96" y="206"/>
                    <a:pt x="98" y="208"/>
                  </a:cubicBezTo>
                  <a:cubicBezTo>
                    <a:pt x="101" y="210"/>
                    <a:pt x="101" y="211"/>
                    <a:pt x="101" y="211"/>
                  </a:cubicBezTo>
                  <a:cubicBezTo>
                    <a:pt x="99" y="213"/>
                    <a:pt x="99" y="213"/>
                    <a:pt x="99" y="213"/>
                  </a:cubicBezTo>
                  <a:cubicBezTo>
                    <a:pt x="99" y="214"/>
                    <a:pt x="99" y="214"/>
                    <a:pt x="99" y="214"/>
                  </a:cubicBezTo>
                  <a:cubicBezTo>
                    <a:pt x="99" y="214"/>
                    <a:pt x="97" y="214"/>
                    <a:pt x="96" y="216"/>
                  </a:cubicBezTo>
                  <a:cubicBezTo>
                    <a:pt x="95" y="218"/>
                    <a:pt x="92" y="221"/>
                    <a:pt x="92" y="222"/>
                  </a:cubicBezTo>
                  <a:cubicBezTo>
                    <a:pt x="92" y="222"/>
                    <a:pt x="93" y="221"/>
                    <a:pt x="91" y="223"/>
                  </a:cubicBezTo>
                  <a:cubicBezTo>
                    <a:pt x="88" y="225"/>
                    <a:pt x="87" y="225"/>
                    <a:pt x="85" y="226"/>
                  </a:cubicBezTo>
                  <a:cubicBezTo>
                    <a:pt x="84" y="228"/>
                    <a:pt x="84" y="227"/>
                    <a:pt x="83" y="228"/>
                  </a:cubicBezTo>
                  <a:cubicBezTo>
                    <a:pt x="83" y="229"/>
                    <a:pt x="82" y="230"/>
                    <a:pt x="82" y="230"/>
                  </a:cubicBezTo>
                  <a:cubicBezTo>
                    <a:pt x="81" y="232"/>
                    <a:pt x="81" y="232"/>
                    <a:pt x="81" y="232"/>
                  </a:cubicBezTo>
                  <a:cubicBezTo>
                    <a:pt x="78" y="233"/>
                    <a:pt x="78" y="233"/>
                    <a:pt x="78" y="233"/>
                  </a:cubicBezTo>
                  <a:cubicBezTo>
                    <a:pt x="75" y="232"/>
                    <a:pt x="75" y="232"/>
                    <a:pt x="75" y="232"/>
                  </a:cubicBezTo>
                  <a:cubicBezTo>
                    <a:pt x="73" y="234"/>
                    <a:pt x="73" y="234"/>
                    <a:pt x="73" y="234"/>
                  </a:cubicBezTo>
                  <a:cubicBezTo>
                    <a:pt x="73" y="234"/>
                    <a:pt x="70" y="233"/>
                    <a:pt x="69" y="233"/>
                  </a:cubicBezTo>
                  <a:cubicBezTo>
                    <a:pt x="68" y="234"/>
                    <a:pt x="67" y="235"/>
                    <a:pt x="67" y="235"/>
                  </a:cubicBezTo>
                  <a:cubicBezTo>
                    <a:pt x="67" y="235"/>
                    <a:pt x="66" y="235"/>
                    <a:pt x="66" y="237"/>
                  </a:cubicBezTo>
                  <a:cubicBezTo>
                    <a:pt x="66" y="238"/>
                    <a:pt x="65" y="241"/>
                    <a:pt x="65" y="241"/>
                  </a:cubicBezTo>
                  <a:cubicBezTo>
                    <a:pt x="63" y="243"/>
                    <a:pt x="63" y="243"/>
                    <a:pt x="63" y="243"/>
                  </a:cubicBezTo>
                  <a:cubicBezTo>
                    <a:pt x="63" y="243"/>
                    <a:pt x="62" y="245"/>
                    <a:pt x="64" y="244"/>
                  </a:cubicBezTo>
                  <a:cubicBezTo>
                    <a:pt x="66" y="243"/>
                    <a:pt x="67" y="242"/>
                    <a:pt x="68" y="241"/>
                  </a:cubicBezTo>
                  <a:cubicBezTo>
                    <a:pt x="68" y="241"/>
                    <a:pt x="70" y="240"/>
                    <a:pt x="70" y="240"/>
                  </a:cubicBezTo>
                  <a:cubicBezTo>
                    <a:pt x="70" y="242"/>
                    <a:pt x="70" y="242"/>
                    <a:pt x="70" y="242"/>
                  </a:cubicBezTo>
                  <a:cubicBezTo>
                    <a:pt x="69" y="246"/>
                    <a:pt x="69" y="246"/>
                    <a:pt x="69" y="246"/>
                  </a:cubicBezTo>
                  <a:cubicBezTo>
                    <a:pt x="68" y="247"/>
                    <a:pt x="68" y="247"/>
                    <a:pt x="68" y="247"/>
                  </a:cubicBezTo>
                  <a:cubicBezTo>
                    <a:pt x="67" y="248"/>
                    <a:pt x="67" y="248"/>
                    <a:pt x="67" y="248"/>
                  </a:cubicBezTo>
                  <a:cubicBezTo>
                    <a:pt x="67" y="248"/>
                    <a:pt x="65" y="252"/>
                    <a:pt x="67" y="252"/>
                  </a:cubicBezTo>
                  <a:cubicBezTo>
                    <a:pt x="69" y="251"/>
                    <a:pt x="68" y="251"/>
                    <a:pt x="70" y="250"/>
                  </a:cubicBezTo>
                  <a:cubicBezTo>
                    <a:pt x="72" y="250"/>
                    <a:pt x="71" y="249"/>
                    <a:pt x="75" y="248"/>
                  </a:cubicBezTo>
                  <a:cubicBezTo>
                    <a:pt x="78" y="248"/>
                    <a:pt x="78" y="246"/>
                    <a:pt x="78" y="245"/>
                  </a:cubicBezTo>
                  <a:cubicBezTo>
                    <a:pt x="78" y="245"/>
                    <a:pt x="78" y="244"/>
                    <a:pt x="78" y="243"/>
                  </a:cubicBezTo>
                  <a:cubicBezTo>
                    <a:pt x="78" y="242"/>
                    <a:pt x="76" y="241"/>
                    <a:pt x="79" y="240"/>
                  </a:cubicBezTo>
                  <a:cubicBezTo>
                    <a:pt x="81" y="240"/>
                    <a:pt x="80" y="241"/>
                    <a:pt x="81" y="240"/>
                  </a:cubicBezTo>
                  <a:cubicBezTo>
                    <a:pt x="82" y="239"/>
                    <a:pt x="82" y="241"/>
                    <a:pt x="82" y="238"/>
                  </a:cubicBezTo>
                  <a:cubicBezTo>
                    <a:pt x="82" y="236"/>
                    <a:pt x="82" y="236"/>
                    <a:pt x="84" y="235"/>
                  </a:cubicBezTo>
                  <a:cubicBezTo>
                    <a:pt x="86" y="233"/>
                    <a:pt x="85" y="234"/>
                    <a:pt x="86" y="233"/>
                  </a:cubicBezTo>
                  <a:cubicBezTo>
                    <a:pt x="87" y="232"/>
                    <a:pt x="86" y="232"/>
                    <a:pt x="87" y="231"/>
                  </a:cubicBezTo>
                  <a:cubicBezTo>
                    <a:pt x="89" y="230"/>
                    <a:pt x="89" y="230"/>
                    <a:pt x="89" y="230"/>
                  </a:cubicBezTo>
                  <a:cubicBezTo>
                    <a:pt x="89" y="229"/>
                    <a:pt x="92" y="227"/>
                    <a:pt x="92" y="227"/>
                  </a:cubicBezTo>
                  <a:cubicBezTo>
                    <a:pt x="92" y="225"/>
                    <a:pt x="92" y="225"/>
                    <a:pt x="92" y="225"/>
                  </a:cubicBezTo>
                  <a:cubicBezTo>
                    <a:pt x="96" y="223"/>
                    <a:pt x="96" y="223"/>
                    <a:pt x="96" y="223"/>
                  </a:cubicBezTo>
                  <a:cubicBezTo>
                    <a:pt x="96" y="223"/>
                    <a:pt x="97" y="222"/>
                    <a:pt x="97" y="223"/>
                  </a:cubicBezTo>
                  <a:cubicBezTo>
                    <a:pt x="96" y="224"/>
                    <a:pt x="95" y="226"/>
                    <a:pt x="95" y="226"/>
                  </a:cubicBezTo>
                  <a:cubicBezTo>
                    <a:pt x="95" y="228"/>
                    <a:pt x="95" y="228"/>
                    <a:pt x="95" y="228"/>
                  </a:cubicBezTo>
                  <a:cubicBezTo>
                    <a:pt x="92" y="230"/>
                    <a:pt x="92" y="230"/>
                    <a:pt x="92" y="230"/>
                  </a:cubicBezTo>
                  <a:cubicBezTo>
                    <a:pt x="92" y="230"/>
                    <a:pt x="94" y="231"/>
                    <a:pt x="93" y="232"/>
                  </a:cubicBezTo>
                  <a:cubicBezTo>
                    <a:pt x="92" y="233"/>
                    <a:pt x="90" y="234"/>
                    <a:pt x="90" y="234"/>
                  </a:cubicBezTo>
                  <a:cubicBezTo>
                    <a:pt x="90" y="236"/>
                    <a:pt x="90" y="236"/>
                    <a:pt x="90" y="236"/>
                  </a:cubicBezTo>
                  <a:cubicBezTo>
                    <a:pt x="91" y="237"/>
                    <a:pt x="91" y="237"/>
                    <a:pt x="91" y="237"/>
                  </a:cubicBezTo>
                  <a:cubicBezTo>
                    <a:pt x="89" y="241"/>
                    <a:pt x="89" y="241"/>
                    <a:pt x="89" y="241"/>
                  </a:cubicBezTo>
                  <a:cubicBezTo>
                    <a:pt x="91" y="243"/>
                    <a:pt x="91" y="243"/>
                    <a:pt x="91" y="243"/>
                  </a:cubicBezTo>
                  <a:cubicBezTo>
                    <a:pt x="92" y="245"/>
                    <a:pt x="92" y="245"/>
                    <a:pt x="92" y="245"/>
                  </a:cubicBezTo>
                  <a:cubicBezTo>
                    <a:pt x="92" y="245"/>
                    <a:pt x="91" y="246"/>
                    <a:pt x="90" y="247"/>
                  </a:cubicBezTo>
                  <a:cubicBezTo>
                    <a:pt x="89" y="247"/>
                    <a:pt x="87" y="250"/>
                    <a:pt x="87" y="250"/>
                  </a:cubicBezTo>
                  <a:cubicBezTo>
                    <a:pt x="85" y="253"/>
                    <a:pt x="85" y="253"/>
                    <a:pt x="85" y="253"/>
                  </a:cubicBezTo>
                  <a:cubicBezTo>
                    <a:pt x="83" y="256"/>
                    <a:pt x="83" y="256"/>
                    <a:pt x="83" y="256"/>
                  </a:cubicBezTo>
                  <a:cubicBezTo>
                    <a:pt x="83" y="259"/>
                    <a:pt x="83" y="259"/>
                    <a:pt x="83" y="259"/>
                  </a:cubicBezTo>
                  <a:cubicBezTo>
                    <a:pt x="82" y="263"/>
                    <a:pt x="82" y="263"/>
                    <a:pt x="82" y="263"/>
                  </a:cubicBezTo>
                  <a:cubicBezTo>
                    <a:pt x="80" y="264"/>
                    <a:pt x="80" y="264"/>
                    <a:pt x="80" y="264"/>
                  </a:cubicBezTo>
                  <a:cubicBezTo>
                    <a:pt x="80" y="264"/>
                    <a:pt x="79" y="267"/>
                    <a:pt x="81" y="267"/>
                  </a:cubicBezTo>
                  <a:cubicBezTo>
                    <a:pt x="83" y="268"/>
                    <a:pt x="83" y="268"/>
                    <a:pt x="84" y="268"/>
                  </a:cubicBezTo>
                  <a:cubicBezTo>
                    <a:pt x="86" y="268"/>
                    <a:pt x="85" y="268"/>
                    <a:pt x="86" y="268"/>
                  </a:cubicBezTo>
                  <a:cubicBezTo>
                    <a:pt x="87" y="268"/>
                    <a:pt x="89" y="268"/>
                    <a:pt x="89" y="266"/>
                  </a:cubicBezTo>
                  <a:cubicBezTo>
                    <a:pt x="89" y="264"/>
                    <a:pt x="89" y="262"/>
                    <a:pt x="89" y="261"/>
                  </a:cubicBezTo>
                  <a:cubicBezTo>
                    <a:pt x="89" y="261"/>
                    <a:pt x="91" y="258"/>
                    <a:pt x="91" y="258"/>
                  </a:cubicBezTo>
                  <a:cubicBezTo>
                    <a:pt x="91" y="254"/>
                    <a:pt x="91" y="254"/>
                    <a:pt x="91" y="254"/>
                  </a:cubicBezTo>
                  <a:cubicBezTo>
                    <a:pt x="91" y="254"/>
                    <a:pt x="91" y="253"/>
                    <a:pt x="93" y="251"/>
                  </a:cubicBezTo>
                  <a:cubicBezTo>
                    <a:pt x="95" y="250"/>
                    <a:pt x="94" y="250"/>
                    <a:pt x="95" y="250"/>
                  </a:cubicBezTo>
                  <a:cubicBezTo>
                    <a:pt x="96" y="249"/>
                    <a:pt x="96" y="248"/>
                    <a:pt x="96" y="247"/>
                  </a:cubicBezTo>
                  <a:cubicBezTo>
                    <a:pt x="97" y="246"/>
                    <a:pt x="97" y="246"/>
                    <a:pt x="97" y="246"/>
                  </a:cubicBezTo>
                  <a:cubicBezTo>
                    <a:pt x="98" y="244"/>
                    <a:pt x="98" y="244"/>
                    <a:pt x="98" y="244"/>
                  </a:cubicBezTo>
                  <a:cubicBezTo>
                    <a:pt x="98" y="236"/>
                    <a:pt x="98" y="236"/>
                    <a:pt x="98" y="236"/>
                  </a:cubicBezTo>
                  <a:cubicBezTo>
                    <a:pt x="98" y="236"/>
                    <a:pt x="98" y="234"/>
                    <a:pt x="99" y="234"/>
                  </a:cubicBezTo>
                  <a:cubicBezTo>
                    <a:pt x="100" y="234"/>
                    <a:pt x="101" y="234"/>
                    <a:pt x="101" y="234"/>
                  </a:cubicBezTo>
                  <a:cubicBezTo>
                    <a:pt x="101" y="234"/>
                    <a:pt x="101" y="235"/>
                    <a:pt x="101" y="237"/>
                  </a:cubicBezTo>
                  <a:cubicBezTo>
                    <a:pt x="100" y="239"/>
                    <a:pt x="101" y="242"/>
                    <a:pt x="101" y="242"/>
                  </a:cubicBezTo>
                  <a:cubicBezTo>
                    <a:pt x="108" y="248"/>
                    <a:pt x="108" y="248"/>
                    <a:pt x="108" y="248"/>
                  </a:cubicBezTo>
                  <a:cubicBezTo>
                    <a:pt x="108" y="248"/>
                    <a:pt x="111" y="253"/>
                    <a:pt x="111" y="254"/>
                  </a:cubicBezTo>
                  <a:cubicBezTo>
                    <a:pt x="111" y="254"/>
                    <a:pt x="116" y="258"/>
                    <a:pt x="116" y="258"/>
                  </a:cubicBezTo>
                  <a:cubicBezTo>
                    <a:pt x="116" y="258"/>
                    <a:pt x="117" y="259"/>
                    <a:pt x="116" y="260"/>
                  </a:cubicBezTo>
                  <a:cubicBezTo>
                    <a:pt x="116" y="261"/>
                    <a:pt x="117" y="262"/>
                    <a:pt x="117" y="263"/>
                  </a:cubicBezTo>
                  <a:cubicBezTo>
                    <a:pt x="116" y="264"/>
                    <a:pt x="115" y="267"/>
                    <a:pt x="115" y="267"/>
                  </a:cubicBezTo>
                  <a:cubicBezTo>
                    <a:pt x="113" y="268"/>
                    <a:pt x="113" y="268"/>
                    <a:pt x="113" y="268"/>
                  </a:cubicBezTo>
                  <a:cubicBezTo>
                    <a:pt x="110" y="271"/>
                    <a:pt x="110" y="271"/>
                    <a:pt x="110" y="271"/>
                  </a:cubicBezTo>
                  <a:cubicBezTo>
                    <a:pt x="109" y="275"/>
                    <a:pt x="109" y="275"/>
                    <a:pt x="109" y="275"/>
                  </a:cubicBezTo>
                  <a:cubicBezTo>
                    <a:pt x="107" y="278"/>
                    <a:pt x="107" y="278"/>
                    <a:pt x="107" y="278"/>
                  </a:cubicBezTo>
                  <a:cubicBezTo>
                    <a:pt x="103" y="280"/>
                    <a:pt x="103" y="280"/>
                    <a:pt x="103" y="280"/>
                  </a:cubicBezTo>
                  <a:cubicBezTo>
                    <a:pt x="98" y="285"/>
                    <a:pt x="98" y="285"/>
                    <a:pt x="98" y="285"/>
                  </a:cubicBezTo>
                  <a:cubicBezTo>
                    <a:pt x="96" y="289"/>
                    <a:pt x="96" y="289"/>
                    <a:pt x="96" y="289"/>
                  </a:cubicBezTo>
                  <a:cubicBezTo>
                    <a:pt x="93" y="293"/>
                    <a:pt x="93" y="293"/>
                    <a:pt x="93" y="293"/>
                  </a:cubicBezTo>
                  <a:cubicBezTo>
                    <a:pt x="93" y="296"/>
                    <a:pt x="93" y="296"/>
                    <a:pt x="93" y="296"/>
                  </a:cubicBezTo>
                  <a:cubicBezTo>
                    <a:pt x="93" y="296"/>
                    <a:pt x="95" y="300"/>
                    <a:pt x="96" y="300"/>
                  </a:cubicBezTo>
                  <a:cubicBezTo>
                    <a:pt x="96" y="300"/>
                    <a:pt x="97" y="301"/>
                    <a:pt x="97" y="301"/>
                  </a:cubicBezTo>
                  <a:cubicBezTo>
                    <a:pt x="98" y="306"/>
                    <a:pt x="98" y="306"/>
                    <a:pt x="98" y="306"/>
                  </a:cubicBezTo>
                  <a:cubicBezTo>
                    <a:pt x="98" y="306"/>
                    <a:pt x="98" y="309"/>
                    <a:pt x="99" y="309"/>
                  </a:cubicBezTo>
                  <a:cubicBezTo>
                    <a:pt x="100" y="308"/>
                    <a:pt x="101" y="305"/>
                    <a:pt x="101" y="305"/>
                  </a:cubicBezTo>
                  <a:cubicBezTo>
                    <a:pt x="101" y="305"/>
                    <a:pt x="99" y="303"/>
                    <a:pt x="99" y="301"/>
                  </a:cubicBezTo>
                  <a:cubicBezTo>
                    <a:pt x="99" y="299"/>
                    <a:pt x="101" y="296"/>
                    <a:pt x="101" y="296"/>
                  </a:cubicBezTo>
                  <a:cubicBezTo>
                    <a:pt x="103" y="295"/>
                    <a:pt x="103" y="295"/>
                    <a:pt x="103" y="295"/>
                  </a:cubicBezTo>
                  <a:cubicBezTo>
                    <a:pt x="103" y="295"/>
                    <a:pt x="102" y="295"/>
                    <a:pt x="103" y="296"/>
                  </a:cubicBezTo>
                  <a:cubicBezTo>
                    <a:pt x="104" y="298"/>
                    <a:pt x="104" y="297"/>
                    <a:pt x="105" y="298"/>
                  </a:cubicBezTo>
                  <a:cubicBezTo>
                    <a:pt x="105" y="299"/>
                    <a:pt x="108" y="302"/>
                    <a:pt x="108" y="302"/>
                  </a:cubicBezTo>
                  <a:cubicBezTo>
                    <a:pt x="108" y="302"/>
                    <a:pt x="111" y="305"/>
                    <a:pt x="112" y="306"/>
                  </a:cubicBezTo>
                  <a:cubicBezTo>
                    <a:pt x="113" y="307"/>
                    <a:pt x="114" y="309"/>
                    <a:pt x="115" y="309"/>
                  </a:cubicBezTo>
                  <a:cubicBezTo>
                    <a:pt x="116" y="308"/>
                    <a:pt x="117" y="309"/>
                    <a:pt x="117" y="307"/>
                  </a:cubicBezTo>
                  <a:cubicBezTo>
                    <a:pt x="117" y="305"/>
                    <a:pt x="118" y="305"/>
                    <a:pt x="118" y="303"/>
                  </a:cubicBezTo>
                  <a:cubicBezTo>
                    <a:pt x="117" y="302"/>
                    <a:pt x="117" y="299"/>
                    <a:pt x="117" y="299"/>
                  </a:cubicBezTo>
                  <a:cubicBezTo>
                    <a:pt x="117" y="299"/>
                    <a:pt x="117" y="298"/>
                    <a:pt x="118" y="298"/>
                  </a:cubicBezTo>
                  <a:cubicBezTo>
                    <a:pt x="120" y="298"/>
                    <a:pt x="120" y="300"/>
                    <a:pt x="120" y="300"/>
                  </a:cubicBezTo>
                  <a:cubicBezTo>
                    <a:pt x="120" y="300"/>
                    <a:pt x="121" y="303"/>
                    <a:pt x="122" y="304"/>
                  </a:cubicBezTo>
                  <a:cubicBezTo>
                    <a:pt x="123" y="304"/>
                    <a:pt x="124" y="304"/>
                    <a:pt x="125" y="305"/>
                  </a:cubicBezTo>
                  <a:cubicBezTo>
                    <a:pt x="126" y="307"/>
                    <a:pt x="131" y="308"/>
                    <a:pt x="131" y="308"/>
                  </a:cubicBezTo>
                  <a:cubicBezTo>
                    <a:pt x="131" y="308"/>
                    <a:pt x="132" y="307"/>
                    <a:pt x="133" y="306"/>
                  </a:cubicBezTo>
                  <a:cubicBezTo>
                    <a:pt x="133" y="305"/>
                    <a:pt x="135" y="305"/>
                    <a:pt x="135" y="305"/>
                  </a:cubicBezTo>
                  <a:cubicBezTo>
                    <a:pt x="135" y="305"/>
                    <a:pt x="134" y="303"/>
                    <a:pt x="137" y="304"/>
                  </a:cubicBezTo>
                  <a:cubicBezTo>
                    <a:pt x="139" y="304"/>
                    <a:pt x="140" y="305"/>
                    <a:pt x="140" y="304"/>
                  </a:cubicBezTo>
                  <a:cubicBezTo>
                    <a:pt x="141" y="303"/>
                    <a:pt x="143" y="299"/>
                    <a:pt x="143" y="299"/>
                  </a:cubicBezTo>
                  <a:cubicBezTo>
                    <a:pt x="143" y="299"/>
                    <a:pt x="142" y="296"/>
                    <a:pt x="145" y="297"/>
                  </a:cubicBezTo>
                  <a:cubicBezTo>
                    <a:pt x="147" y="299"/>
                    <a:pt x="158" y="301"/>
                    <a:pt x="158" y="301"/>
                  </a:cubicBezTo>
                  <a:cubicBezTo>
                    <a:pt x="157" y="303"/>
                    <a:pt x="157" y="303"/>
                    <a:pt x="157" y="303"/>
                  </a:cubicBezTo>
                  <a:cubicBezTo>
                    <a:pt x="153" y="302"/>
                    <a:pt x="153" y="302"/>
                    <a:pt x="153" y="302"/>
                  </a:cubicBezTo>
                  <a:cubicBezTo>
                    <a:pt x="150" y="303"/>
                    <a:pt x="150" y="303"/>
                    <a:pt x="150" y="303"/>
                  </a:cubicBezTo>
                  <a:cubicBezTo>
                    <a:pt x="150" y="303"/>
                    <a:pt x="149" y="303"/>
                    <a:pt x="148" y="305"/>
                  </a:cubicBezTo>
                  <a:cubicBezTo>
                    <a:pt x="148" y="306"/>
                    <a:pt x="148" y="307"/>
                    <a:pt x="147" y="308"/>
                  </a:cubicBezTo>
                  <a:cubicBezTo>
                    <a:pt x="147" y="309"/>
                    <a:pt x="146" y="310"/>
                    <a:pt x="145" y="310"/>
                  </a:cubicBezTo>
                  <a:cubicBezTo>
                    <a:pt x="145" y="311"/>
                    <a:pt x="141" y="314"/>
                    <a:pt x="141" y="314"/>
                  </a:cubicBezTo>
                  <a:cubicBezTo>
                    <a:pt x="139" y="317"/>
                    <a:pt x="139" y="317"/>
                    <a:pt x="139" y="317"/>
                  </a:cubicBezTo>
                  <a:cubicBezTo>
                    <a:pt x="137" y="322"/>
                    <a:pt x="137" y="322"/>
                    <a:pt x="137" y="322"/>
                  </a:cubicBezTo>
                  <a:cubicBezTo>
                    <a:pt x="137" y="322"/>
                    <a:pt x="137" y="326"/>
                    <a:pt x="138" y="326"/>
                  </a:cubicBezTo>
                  <a:cubicBezTo>
                    <a:pt x="139" y="327"/>
                    <a:pt x="141" y="330"/>
                    <a:pt x="141" y="330"/>
                  </a:cubicBezTo>
                  <a:cubicBezTo>
                    <a:pt x="141" y="330"/>
                    <a:pt x="141" y="332"/>
                    <a:pt x="141" y="333"/>
                  </a:cubicBezTo>
                  <a:cubicBezTo>
                    <a:pt x="141" y="334"/>
                    <a:pt x="141" y="335"/>
                    <a:pt x="142" y="337"/>
                  </a:cubicBezTo>
                  <a:cubicBezTo>
                    <a:pt x="143" y="338"/>
                    <a:pt x="144" y="342"/>
                    <a:pt x="144" y="342"/>
                  </a:cubicBezTo>
                  <a:cubicBezTo>
                    <a:pt x="145" y="342"/>
                    <a:pt x="145" y="342"/>
                    <a:pt x="145" y="342"/>
                  </a:cubicBezTo>
                  <a:cubicBezTo>
                    <a:pt x="145" y="345"/>
                    <a:pt x="145" y="345"/>
                    <a:pt x="145" y="345"/>
                  </a:cubicBezTo>
                  <a:cubicBezTo>
                    <a:pt x="145" y="345"/>
                    <a:pt x="145" y="348"/>
                    <a:pt x="146" y="348"/>
                  </a:cubicBezTo>
                  <a:cubicBezTo>
                    <a:pt x="148" y="348"/>
                    <a:pt x="151" y="346"/>
                    <a:pt x="151" y="346"/>
                  </a:cubicBezTo>
                  <a:cubicBezTo>
                    <a:pt x="159" y="344"/>
                    <a:pt x="159" y="344"/>
                    <a:pt x="159" y="344"/>
                  </a:cubicBezTo>
                  <a:cubicBezTo>
                    <a:pt x="159" y="344"/>
                    <a:pt x="158" y="348"/>
                    <a:pt x="158" y="349"/>
                  </a:cubicBezTo>
                  <a:cubicBezTo>
                    <a:pt x="158" y="350"/>
                    <a:pt x="156" y="350"/>
                    <a:pt x="155" y="351"/>
                  </a:cubicBezTo>
                  <a:cubicBezTo>
                    <a:pt x="155" y="352"/>
                    <a:pt x="155" y="353"/>
                    <a:pt x="155" y="353"/>
                  </a:cubicBezTo>
                  <a:cubicBezTo>
                    <a:pt x="155" y="353"/>
                    <a:pt x="154" y="356"/>
                    <a:pt x="153" y="356"/>
                  </a:cubicBezTo>
                  <a:cubicBezTo>
                    <a:pt x="151" y="356"/>
                    <a:pt x="149" y="357"/>
                    <a:pt x="149" y="357"/>
                  </a:cubicBezTo>
                  <a:cubicBezTo>
                    <a:pt x="149" y="357"/>
                    <a:pt x="148" y="355"/>
                    <a:pt x="148" y="358"/>
                  </a:cubicBezTo>
                  <a:cubicBezTo>
                    <a:pt x="147" y="360"/>
                    <a:pt x="146" y="362"/>
                    <a:pt x="146" y="363"/>
                  </a:cubicBezTo>
                  <a:cubicBezTo>
                    <a:pt x="146" y="364"/>
                    <a:pt x="144" y="365"/>
                    <a:pt x="147" y="366"/>
                  </a:cubicBezTo>
                  <a:cubicBezTo>
                    <a:pt x="149" y="366"/>
                    <a:pt x="149" y="369"/>
                    <a:pt x="149" y="369"/>
                  </a:cubicBezTo>
                  <a:cubicBezTo>
                    <a:pt x="149" y="369"/>
                    <a:pt x="147" y="371"/>
                    <a:pt x="146" y="372"/>
                  </a:cubicBezTo>
                  <a:cubicBezTo>
                    <a:pt x="145" y="373"/>
                    <a:pt x="144" y="372"/>
                    <a:pt x="144" y="373"/>
                  </a:cubicBezTo>
                  <a:cubicBezTo>
                    <a:pt x="144" y="374"/>
                    <a:pt x="146" y="379"/>
                    <a:pt x="146" y="379"/>
                  </a:cubicBezTo>
                  <a:cubicBezTo>
                    <a:pt x="146" y="379"/>
                    <a:pt x="146" y="382"/>
                    <a:pt x="144" y="382"/>
                  </a:cubicBezTo>
                  <a:cubicBezTo>
                    <a:pt x="142" y="382"/>
                    <a:pt x="142" y="382"/>
                    <a:pt x="141" y="382"/>
                  </a:cubicBezTo>
                  <a:cubicBezTo>
                    <a:pt x="140" y="382"/>
                    <a:pt x="139" y="382"/>
                    <a:pt x="139" y="382"/>
                  </a:cubicBezTo>
                  <a:cubicBezTo>
                    <a:pt x="139" y="382"/>
                    <a:pt x="140" y="383"/>
                    <a:pt x="140" y="385"/>
                  </a:cubicBezTo>
                  <a:cubicBezTo>
                    <a:pt x="140" y="387"/>
                    <a:pt x="140" y="389"/>
                    <a:pt x="140" y="389"/>
                  </a:cubicBezTo>
                  <a:cubicBezTo>
                    <a:pt x="137" y="388"/>
                    <a:pt x="137" y="388"/>
                    <a:pt x="137" y="388"/>
                  </a:cubicBezTo>
                  <a:cubicBezTo>
                    <a:pt x="134" y="385"/>
                    <a:pt x="134" y="385"/>
                    <a:pt x="134" y="385"/>
                  </a:cubicBezTo>
                  <a:cubicBezTo>
                    <a:pt x="134" y="385"/>
                    <a:pt x="131" y="385"/>
                    <a:pt x="130" y="385"/>
                  </a:cubicBezTo>
                  <a:cubicBezTo>
                    <a:pt x="129" y="386"/>
                    <a:pt x="126" y="386"/>
                    <a:pt x="126" y="386"/>
                  </a:cubicBezTo>
                  <a:cubicBezTo>
                    <a:pt x="126" y="386"/>
                    <a:pt x="121" y="384"/>
                    <a:pt x="120" y="383"/>
                  </a:cubicBezTo>
                  <a:cubicBezTo>
                    <a:pt x="120" y="382"/>
                    <a:pt x="120" y="382"/>
                    <a:pt x="119" y="383"/>
                  </a:cubicBezTo>
                  <a:cubicBezTo>
                    <a:pt x="119" y="383"/>
                    <a:pt x="120" y="383"/>
                    <a:pt x="119" y="383"/>
                  </a:cubicBezTo>
                  <a:cubicBezTo>
                    <a:pt x="118" y="384"/>
                    <a:pt x="120" y="384"/>
                    <a:pt x="116" y="384"/>
                  </a:cubicBezTo>
                  <a:cubicBezTo>
                    <a:pt x="112" y="385"/>
                    <a:pt x="108" y="386"/>
                    <a:pt x="108" y="386"/>
                  </a:cubicBezTo>
                  <a:cubicBezTo>
                    <a:pt x="108" y="386"/>
                    <a:pt x="111" y="383"/>
                    <a:pt x="110" y="382"/>
                  </a:cubicBezTo>
                  <a:cubicBezTo>
                    <a:pt x="109" y="381"/>
                    <a:pt x="110" y="382"/>
                    <a:pt x="108" y="381"/>
                  </a:cubicBezTo>
                  <a:cubicBezTo>
                    <a:pt x="107" y="380"/>
                    <a:pt x="105" y="378"/>
                    <a:pt x="105" y="377"/>
                  </a:cubicBezTo>
                  <a:cubicBezTo>
                    <a:pt x="105" y="376"/>
                    <a:pt x="105" y="374"/>
                    <a:pt x="103" y="374"/>
                  </a:cubicBezTo>
                  <a:cubicBezTo>
                    <a:pt x="102" y="374"/>
                    <a:pt x="101" y="372"/>
                    <a:pt x="99" y="374"/>
                  </a:cubicBezTo>
                  <a:cubicBezTo>
                    <a:pt x="98" y="375"/>
                    <a:pt x="97" y="375"/>
                    <a:pt x="97" y="376"/>
                  </a:cubicBezTo>
                  <a:cubicBezTo>
                    <a:pt x="96" y="377"/>
                    <a:pt x="92" y="378"/>
                    <a:pt x="92" y="378"/>
                  </a:cubicBezTo>
                  <a:cubicBezTo>
                    <a:pt x="92" y="378"/>
                    <a:pt x="95" y="382"/>
                    <a:pt x="95" y="383"/>
                  </a:cubicBezTo>
                  <a:cubicBezTo>
                    <a:pt x="95" y="384"/>
                    <a:pt x="97" y="388"/>
                    <a:pt x="97" y="388"/>
                  </a:cubicBezTo>
                  <a:cubicBezTo>
                    <a:pt x="104" y="388"/>
                    <a:pt x="104" y="388"/>
                    <a:pt x="104" y="388"/>
                  </a:cubicBezTo>
                  <a:cubicBezTo>
                    <a:pt x="104" y="388"/>
                    <a:pt x="99" y="390"/>
                    <a:pt x="99" y="392"/>
                  </a:cubicBezTo>
                  <a:cubicBezTo>
                    <a:pt x="98" y="393"/>
                    <a:pt x="98" y="394"/>
                    <a:pt x="97" y="395"/>
                  </a:cubicBezTo>
                  <a:cubicBezTo>
                    <a:pt x="96" y="396"/>
                    <a:pt x="96" y="397"/>
                    <a:pt x="94" y="398"/>
                  </a:cubicBezTo>
                  <a:cubicBezTo>
                    <a:pt x="91" y="398"/>
                    <a:pt x="88" y="399"/>
                    <a:pt x="86" y="400"/>
                  </a:cubicBezTo>
                  <a:cubicBezTo>
                    <a:pt x="85" y="401"/>
                    <a:pt x="84" y="401"/>
                    <a:pt x="84" y="402"/>
                  </a:cubicBezTo>
                  <a:cubicBezTo>
                    <a:pt x="84" y="404"/>
                    <a:pt x="78" y="403"/>
                    <a:pt x="84" y="405"/>
                  </a:cubicBezTo>
                  <a:cubicBezTo>
                    <a:pt x="90" y="406"/>
                    <a:pt x="91" y="407"/>
                    <a:pt x="91" y="407"/>
                  </a:cubicBezTo>
                  <a:cubicBezTo>
                    <a:pt x="91" y="407"/>
                    <a:pt x="94" y="404"/>
                    <a:pt x="95" y="403"/>
                  </a:cubicBezTo>
                  <a:cubicBezTo>
                    <a:pt x="97" y="401"/>
                    <a:pt x="97" y="401"/>
                    <a:pt x="101" y="401"/>
                  </a:cubicBezTo>
                  <a:cubicBezTo>
                    <a:pt x="105" y="402"/>
                    <a:pt x="105" y="401"/>
                    <a:pt x="105" y="402"/>
                  </a:cubicBezTo>
                  <a:cubicBezTo>
                    <a:pt x="105" y="404"/>
                    <a:pt x="105" y="405"/>
                    <a:pt x="105" y="407"/>
                  </a:cubicBezTo>
                  <a:cubicBezTo>
                    <a:pt x="104" y="409"/>
                    <a:pt x="102" y="410"/>
                    <a:pt x="104" y="413"/>
                  </a:cubicBezTo>
                  <a:cubicBezTo>
                    <a:pt x="106" y="415"/>
                    <a:pt x="103" y="417"/>
                    <a:pt x="103" y="418"/>
                  </a:cubicBezTo>
                  <a:cubicBezTo>
                    <a:pt x="103" y="418"/>
                    <a:pt x="101" y="421"/>
                    <a:pt x="102" y="421"/>
                  </a:cubicBezTo>
                  <a:cubicBezTo>
                    <a:pt x="103" y="422"/>
                    <a:pt x="103" y="422"/>
                    <a:pt x="103" y="422"/>
                  </a:cubicBezTo>
                  <a:cubicBezTo>
                    <a:pt x="103" y="422"/>
                    <a:pt x="101" y="427"/>
                    <a:pt x="101" y="428"/>
                  </a:cubicBezTo>
                  <a:cubicBezTo>
                    <a:pt x="101" y="428"/>
                    <a:pt x="98" y="434"/>
                    <a:pt x="97" y="434"/>
                  </a:cubicBezTo>
                  <a:cubicBezTo>
                    <a:pt x="96" y="435"/>
                    <a:pt x="98" y="435"/>
                    <a:pt x="92" y="437"/>
                  </a:cubicBezTo>
                  <a:cubicBezTo>
                    <a:pt x="86" y="438"/>
                    <a:pt x="83" y="439"/>
                    <a:pt x="83" y="439"/>
                  </a:cubicBezTo>
                  <a:cubicBezTo>
                    <a:pt x="78" y="441"/>
                    <a:pt x="78" y="441"/>
                    <a:pt x="78" y="441"/>
                  </a:cubicBezTo>
                  <a:cubicBezTo>
                    <a:pt x="74" y="444"/>
                    <a:pt x="74" y="444"/>
                    <a:pt x="74" y="444"/>
                  </a:cubicBezTo>
                  <a:cubicBezTo>
                    <a:pt x="71" y="444"/>
                    <a:pt x="71" y="444"/>
                    <a:pt x="71" y="444"/>
                  </a:cubicBezTo>
                  <a:cubicBezTo>
                    <a:pt x="66" y="443"/>
                    <a:pt x="66" y="443"/>
                    <a:pt x="66" y="443"/>
                  </a:cubicBezTo>
                  <a:cubicBezTo>
                    <a:pt x="66" y="443"/>
                    <a:pt x="61" y="446"/>
                    <a:pt x="61" y="447"/>
                  </a:cubicBezTo>
                  <a:cubicBezTo>
                    <a:pt x="61" y="447"/>
                    <a:pt x="58" y="448"/>
                    <a:pt x="57" y="449"/>
                  </a:cubicBezTo>
                  <a:cubicBezTo>
                    <a:pt x="57" y="450"/>
                    <a:pt x="62" y="452"/>
                    <a:pt x="62" y="452"/>
                  </a:cubicBezTo>
                  <a:cubicBezTo>
                    <a:pt x="63" y="455"/>
                    <a:pt x="63" y="455"/>
                    <a:pt x="63" y="455"/>
                  </a:cubicBezTo>
                  <a:cubicBezTo>
                    <a:pt x="61" y="455"/>
                    <a:pt x="61" y="455"/>
                    <a:pt x="61" y="455"/>
                  </a:cubicBezTo>
                  <a:cubicBezTo>
                    <a:pt x="57" y="456"/>
                    <a:pt x="57" y="456"/>
                    <a:pt x="57" y="456"/>
                  </a:cubicBezTo>
                  <a:cubicBezTo>
                    <a:pt x="57" y="458"/>
                    <a:pt x="57" y="458"/>
                    <a:pt x="57" y="458"/>
                  </a:cubicBezTo>
                  <a:cubicBezTo>
                    <a:pt x="59" y="459"/>
                    <a:pt x="59" y="459"/>
                    <a:pt x="59" y="459"/>
                  </a:cubicBezTo>
                  <a:cubicBezTo>
                    <a:pt x="59" y="459"/>
                    <a:pt x="60" y="460"/>
                    <a:pt x="61" y="460"/>
                  </a:cubicBezTo>
                  <a:cubicBezTo>
                    <a:pt x="63" y="460"/>
                    <a:pt x="67" y="458"/>
                    <a:pt x="67" y="458"/>
                  </a:cubicBezTo>
                  <a:cubicBezTo>
                    <a:pt x="62" y="461"/>
                    <a:pt x="62" y="461"/>
                    <a:pt x="62" y="461"/>
                  </a:cubicBezTo>
                  <a:cubicBezTo>
                    <a:pt x="61" y="464"/>
                    <a:pt x="61" y="464"/>
                    <a:pt x="61" y="464"/>
                  </a:cubicBezTo>
                  <a:cubicBezTo>
                    <a:pt x="61" y="464"/>
                    <a:pt x="60" y="466"/>
                    <a:pt x="62" y="466"/>
                  </a:cubicBezTo>
                  <a:cubicBezTo>
                    <a:pt x="64" y="466"/>
                    <a:pt x="66" y="466"/>
                    <a:pt x="66" y="466"/>
                  </a:cubicBezTo>
                  <a:cubicBezTo>
                    <a:pt x="66" y="466"/>
                    <a:pt x="67" y="464"/>
                    <a:pt x="69" y="464"/>
                  </a:cubicBezTo>
                  <a:cubicBezTo>
                    <a:pt x="72" y="465"/>
                    <a:pt x="72" y="465"/>
                    <a:pt x="72" y="465"/>
                  </a:cubicBezTo>
                  <a:cubicBezTo>
                    <a:pt x="72" y="465"/>
                    <a:pt x="73" y="462"/>
                    <a:pt x="74" y="462"/>
                  </a:cubicBezTo>
                  <a:cubicBezTo>
                    <a:pt x="74" y="462"/>
                    <a:pt x="73" y="462"/>
                    <a:pt x="76" y="462"/>
                  </a:cubicBezTo>
                  <a:cubicBezTo>
                    <a:pt x="78" y="463"/>
                    <a:pt x="85" y="462"/>
                    <a:pt x="85" y="462"/>
                  </a:cubicBezTo>
                  <a:cubicBezTo>
                    <a:pt x="85" y="462"/>
                    <a:pt x="86" y="462"/>
                    <a:pt x="86" y="463"/>
                  </a:cubicBezTo>
                  <a:cubicBezTo>
                    <a:pt x="86" y="465"/>
                    <a:pt x="88" y="465"/>
                    <a:pt x="89" y="467"/>
                  </a:cubicBezTo>
                  <a:cubicBezTo>
                    <a:pt x="91" y="468"/>
                    <a:pt x="95" y="469"/>
                    <a:pt x="95" y="469"/>
                  </a:cubicBezTo>
                  <a:cubicBezTo>
                    <a:pt x="92" y="470"/>
                    <a:pt x="92" y="470"/>
                    <a:pt x="92" y="470"/>
                  </a:cubicBezTo>
                  <a:cubicBezTo>
                    <a:pt x="88" y="469"/>
                    <a:pt x="88" y="469"/>
                    <a:pt x="88" y="469"/>
                  </a:cubicBezTo>
                  <a:cubicBezTo>
                    <a:pt x="88" y="469"/>
                    <a:pt x="86" y="468"/>
                    <a:pt x="86" y="469"/>
                  </a:cubicBezTo>
                  <a:cubicBezTo>
                    <a:pt x="86" y="471"/>
                    <a:pt x="85" y="474"/>
                    <a:pt x="85" y="474"/>
                  </a:cubicBezTo>
                  <a:cubicBezTo>
                    <a:pt x="86" y="474"/>
                    <a:pt x="91" y="475"/>
                    <a:pt x="91" y="475"/>
                  </a:cubicBezTo>
                  <a:cubicBezTo>
                    <a:pt x="96" y="475"/>
                    <a:pt x="96" y="475"/>
                    <a:pt x="96" y="475"/>
                  </a:cubicBezTo>
                  <a:cubicBezTo>
                    <a:pt x="98" y="474"/>
                    <a:pt x="98" y="474"/>
                    <a:pt x="98" y="474"/>
                  </a:cubicBezTo>
                  <a:cubicBezTo>
                    <a:pt x="101" y="472"/>
                    <a:pt x="101" y="472"/>
                    <a:pt x="101" y="472"/>
                  </a:cubicBezTo>
                  <a:cubicBezTo>
                    <a:pt x="101" y="472"/>
                    <a:pt x="102" y="474"/>
                    <a:pt x="101" y="474"/>
                  </a:cubicBezTo>
                  <a:cubicBezTo>
                    <a:pt x="101" y="475"/>
                    <a:pt x="102" y="477"/>
                    <a:pt x="102" y="477"/>
                  </a:cubicBezTo>
                  <a:cubicBezTo>
                    <a:pt x="102" y="477"/>
                    <a:pt x="102" y="480"/>
                    <a:pt x="103" y="480"/>
                  </a:cubicBezTo>
                  <a:cubicBezTo>
                    <a:pt x="104" y="480"/>
                    <a:pt x="106" y="483"/>
                    <a:pt x="106" y="483"/>
                  </a:cubicBezTo>
                  <a:cubicBezTo>
                    <a:pt x="108" y="486"/>
                    <a:pt x="108" y="486"/>
                    <a:pt x="108" y="486"/>
                  </a:cubicBezTo>
                  <a:cubicBezTo>
                    <a:pt x="112" y="487"/>
                    <a:pt x="112" y="487"/>
                    <a:pt x="112" y="487"/>
                  </a:cubicBezTo>
                  <a:cubicBezTo>
                    <a:pt x="112" y="487"/>
                    <a:pt x="115" y="487"/>
                    <a:pt x="116" y="487"/>
                  </a:cubicBezTo>
                  <a:cubicBezTo>
                    <a:pt x="117" y="488"/>
                    <a:pt x="119" y="489"/>
                    <a:pt x="119" y="488"/>
                  </a:cubicBezTo>
                  <a:cubicBezTo>
                    <a:pt x="120" y="487"/>
                    <a:pt x="122" y="485"/>
                    <a:pt x="122" y="485"/>
                  </a:cubicBezTo>
                  <a:cubicBezTo>
                    <a:pt x="126" y="482"/>
                    <a:pt x="126" y="482"/>
                    <a:pt x="126" y="482"/>
                  </a:cubicBezTo>
                  <a:cubicBezTo>
                    <a:pt x="126" y="482"/>
                    <a:pt x="128" y="482"/>
                    <a:pt x="130" y="482"/>
                  </a:cubicBezTo>
                  <a:cubicBezTo>
                    <a:pt x="131" y="482"/>
                    <a:pt x="138" y="481"/>
                    <a:pt x="138" y="481"/>
                  </a:cubicBezTo>
                  <a:cubicBezTo>
                    <a:pt x="138" y="481"/>
                    <a:pt x="139" y="479"/>
                    <a:pt x="141" y="478"/>
                  </a:cubicBezTo>
                  <a:cubicBezTo>
                    <a:pt x="142" y="477"/>
                    <a:pt x="146" y="475"/>
                    <a:pt x="146" y="475"/>
                  </a:cubicBezTo>
                  <a:cubicBezTo>
                    <a:pt x="153" y="473"/>
                    <a:pt x="153" y="473"/>
                    <a:pt x="153" y="473"/>
                  </a:cubicBezTo>
                  <a:cubicBezTo>
                    <a:pt x="147" y="475"/>
                    <a:pt x="147" y="475"/>
                    <a:pt x="147" y="475"/>
                  </a:cubicBezTo>
                  <a:cubicBezTo>
                    <a:pt x="145" y="477"/>
                    <a:pt x="145" y="477"/>
                    <a:pt x="145" y="477"/>
                  </a:cubicBezTo>
                  <a:cubicBezTo>
                    <a:pt x="141" y="480"/>
                    <a:pt x="141" y="480"/>
                    <a:pt x="141" y="480"/>
                  </a:cubicBezTo>
                  <a:cubicBezTo>
                    <a:pt x="139" y="482"/>
                    <a:pt x="139" y="482"/>
                    <a:pt x="139" y="482"/>
                  </a:cubicBezTo>
                  <a:cubicBezTo>
                    <a:pt x="139" y="482"/>
                    <a:pt x="137" y="483"/>
                    <a:pt x="136" y="484"/>
                  </a:cubicBezTo>
                  <a:cubicBezTo>
                    <a:pt x="136" y="484"/>
                    <a:pt x="133" y="489"/>
                    <a:pt x="133" y="489"/>
                  </a:cubicBezTo>
                  <a:cubicBezTo>
                    <a:pt x="130" y="490"/>
                    <a:pt x="130" y="490"/>
                    <a:pt x="130" y="490"/>
                  </a:cubicBezTo>
                  <a:cubicBezTo>
                    <a:pt x="130" y="490"/>
                    <a:pt x="127" y="492"/>
                    <a:pt x="126" y="494"/>
                  </a:cubicBezTo>
                  <a:cubicBezTo>
                    <a:pt x="125" y="495"/>
                    <a:pt x="124" y="496"/>
                    <a:pt x="124" y="496"/>
                  </a:cubicBezTo>
                  <a:cubicBezTo>
                    <a:pt x="124" y="496"/>
                    <a:pt x="125" y="498"/>
                    <a:pt x="120" y="498"/>
                  </a:cubicBezTo>
                  <a:cubicBezTo>
                    <a:pt x="115" y="497"/>
                    <a:pt x="111" y="496"/>
                    <a:pt x="111" y="496"/>
                  </a:cubicBezTo>
                  <a:cubicBezTo>
                    <a:pt x="111" y="496"/>
                    <a:pt x="106" y="495"/>
                    <a:pt x="105" y="495"/>
                  </a:cubicBezTo>
                  <a:cubicBezTo>
                    <a:pt x="104" y="494"/>
                    <a:pt x="104" y="494"/>
                    <a:pt x="101" y="494"/>
                  </a:cubicBezTo>
                  <a:cubicBezTo>
                    <a:pt x="99" y="494"/>
                    <a:pt x="89" y="491"/>
                    <a:pt x="89" y="491"/>
                  </a:cubicBezTo>
                  <a:cubicBezTo>
                    <a:pt x="89" y="491"/>
                    <a:pt x="87" y="491"/>
                    <a:pt x="86" y="492"/>
                  </a:cubicBezTo>
                  <a:cubicBezTo>
                    <a:pt x="85" y="493"/>
                    <a:pt x="83" y="493"/>
                    <a:pt x="83" y="494"/>
                  </a:cubicBezTo>
                  <a:cubicBezTo>
                    <a:pt x="83" y="496"/>
                    <a:pt x="83" y="497"/>
                    <a:pt x="83" y="497"/>
                  </a:cubicBezTo>
                  <a:cubicBezTo>
                    <a:pt x="82" y="500"/>
                    <a:pt x="82" y="500"/>
                    <a:pt x="82" y="500"/>
                  </a:cubicBezTo>
                  <a:cubicBezTo>
                    <a:pt x="78" y="501"/>
                    <a:pt x="78" y="501"/>
                    <a:pt x="78" y="501"/>
                  </a:cubicBezTo>
                  <a:cubicBezTo>
                    <a:pt x="73" y="501"/>
                    <a:pt x="73" y="501"/>
                    <a:pt x="73" y="501"/>
                  </a:cubicBezTo>
                  <a:close/>
                  <a:moveTo>
                    <a:pt x="43" y="266"/>
                  </a:moveTo>
                  <a:cubicBezTo>
                    <a:pt x="43" y="266"/>
                    <a:pt x="43" y="266"/>
                    <a:pt x="43" y="266"/>
                  </a:cubicBezTo>
                  <a:cubicBezTo>
                    <a:pt x="44" y="266"/>
                    <a:pt x="50" y="266"/>
                    <a:pt x="50" y="266"/>
                  </a:cubicBezTo>
                  <a:cubicBezTo>
                    <a:pt x="54" y="266"/>
                    <a:pt x="54" y="266"/>
                    <a:pt x="54" y="266"/>
                  </a:cubicBezTo>
                  <a:cubicBezTo>
                    <a:pt x="54" y="266"/>
                    <a:pt x="59" y="266"/>
                    <a:pt x="60" y="266"/>
                  </a:cubicBezTo>
                  <a:cubicBezTo>
                    <a:pt x="61" y="266"/>
                    <a:pt x="62" y="267"/>
                    <a:pt x="62" y="267"/>
                  </a:cubicBezTo>
                  <a:cubicBezTo>
                    <a:pt x="62" y="267"/>
                    <a:pt x="64" y="265"/>
                    <a:pt x="65" y="266"/>
                  </a:cubicBezTo>
                  <a:cubicBezTo>
                    <a:pt x="66" y="266"/>
                    <a:pt x="68" y="269"/>
                    <a:pt x="68" y="269"/>
                  </a:cubicBezTo>
                  <a:cubicBezTo>
                    <a:pt x="70" y="274"/>
                    <a:pt x="70" y="274"/>
                    <a:pt x="70" y="274"/>
                  </a:cubicBezTo>
                  <a:cubicBezTo>
                    <a:pt x="71" y="280"/>
                    <a:pt x="71" y="280"/>
                    <a:pt x="71" y="280"/>
                  </a:cubicBezTo>
                  <a:cubicBezTo>
                    <a:pt x="72" y="285"/>
                    <a:pt x="72" y="285"/>
                    <a:pt x="72" y="285"/>
                  </a:cubicBezTo>
                  <a:cubicBezTo>
                    <a:pt x="76" y="290"/>
                    <a:pt x="76" y="290"/>
                    <a:pt x="76" y="290"/>
                  </a:cubicBezTo>
                  <a:cubicBezTo>
                    <a:pt x="74" y="293"/>
                    <a:pt x="74" y="293"/>
                    <a:pt x="74" y="293"/>
                  </a:cubicBezTo>
                  <a:cubicBezTo>
                    <a:pt x="74" y="293"/>
                    <a:pt x="74" y="297"/>
                    <a:pt x="74" y="297"/>
                  </a:cubicBezTo>
                  <a:cubicBezTo>
                    <a:pt x="73" y="297"/>
                    <a:pt x="70" y="298"/>
                    <a:pt x="70" y="298"/>
                  </a:cubicBezTo>
                  <a:cubicBezTo>
                    <a:pt x="69" y="299"/>
                    <a:pt x="68" y="302"/>
                    <a:pt x="68" y="302"/>
                  </a:cubicBezTo>
                  <a:cubicBezTo>
                    <a:pt x="68" y="302"/>
                    <a:pt x="72" y="298"/>
                    <a:pt x="73" y="299"/>
                  </a:cubicBezTo>
                  <a:cubicBezTo>
                    <a:pt x="74" y="299"/>
                    <a:pt x="77" y="299"/>
                    <a:pt x="77" y="299"/>
                  </a:cubicBezTo>
                  <a:cubicBezTo>
                    <a:pt x="79" y="301"/>
                    <a:pt x="79" y="301"/>
                    <a:pt x="79" y="301"/>
                  </a:cubicBezTo>
                  <a:cubicBezTo>
                    <a:pt x="81" y="305"/>
                    <a:pt x="81" y="305"/>
                    <a:pt x="81" y="305"/>
                  </a:cubicBezTo>
                  <a:cubicBezTo>
                    <a:pt x="81" y="310"/>
                    <a:pt x="81" y="310"/>
                    <a:pt x="81" y="310"/>
                  </a:cubicBezTo>
                  <a:cubicBezTo>
                    <a:pt x="81" y="310"/>
                    <a:pt x="81" y="314"/>
                    <a:pt x="80" y="314"/>
                  </a:cubicBezTo>
                  <a:cubicBezTo>
                    <a:pt x="80" y="315"/>
                    <a:pt x="79" y="316"/>
                    <a:pt x="78" y="316"/>
                  </a:cubicBezTo>
                  <a:cubicBezTo>
                    <a:pt x="77" y="316"/>
                    <a:pt x="76" y="316"/>
                    <a:pt x="77" y="314"/>
                  </a:cubicBezTo>
                  <a:cubicBezTo>
                    <a:pt x="77" y="312"/>
                    <a:pt x="78" y="310"/>
                    <a:pt x="78" y="310"/>
                  </a:cubicBezTo>
                  <a:cubicBezTo>
                    <a:pt x="78" y="309"/>
                    <a:pt x="79" y="305"/>
                    <a:pt x="78" y="305"/>
                  </a:cubicBezTo>
                  <a:cubicBezTo>
                    <a:pt x="76" y="305"/>
                    <a:pt x="75" y="303"/>
                    <a:pt x="75" y="305"/>
                  </a:cubicBezTo>
                  <a:cubicBezTo>
                    <a:pt x="74" y="306"/>
                    <a:pt x="75" y="310"/>
                    <a:pt x="75" y="310"/>
                  </a:cubicBezTo>
                  <a:cubicBezTo>
                    <a:pt x="75" y="310"/>
                    <a:pt x="76" y="311"/>
                    <a:pt x="76" y="312"/>
                  </a:cubicBezTo>
                  <a:cubicBezTo>
                    <a:pt x="75" y="313"/>
                    <a:pt x="75" y="312"/>
                    <a:pt x="74" y="314"/>
                  </a:cubicBezTo>
                  <a:cubicBezTo>
                    <a:pt x="72" y="315"/>
                    <a:pt x="75" y="316"/>
                    <a:pt x="75" y="316"/>
                  </a:cubicBezTo>
                  <a:cubicBezTo>
                    <a:pt x="76" y="318"/>
                    <a:pt x="76" y="318"/>
                    <a:pt x="76" y="318"/>
                  </a:cubicBezTo>
                  <a:cubicBezTo>
                    <a:pt x="76" y="318"/>
                    <a:pt x="76" y="321"/>
                    <a:pt x="75" y="321"/>
                  </a:cubicBezTo>
                  <a:cubicBezTo>
                    <a:pt x="74" y="322"/>
                    <a:pt x="74" y="323"/>
                    <a:pt x="70" y="321"/>
                  </a:cubicBezTo>
                  <a:cubicBezTo>
                    <a:pt x="66" y="320"/>
                    <a:pt x="65" y="319"/>
                    <a:pt x="65" y="319"/>
                  </a:cubicBezTo>
                  <a:cubicBezTo>
                    <a:pt x="64" y="324"/>
                    <a:pt x="64" y="324"/>
                    <a:pt x="64" y="324"/>
                  </a:cubicBezTo>
                  <a:cubicBezTo>
                    <a:pt x="62" y="328"/>
                    <a:pt x="62" y="328"/>
                    <a:pt x="62" y="328"/>
                  </a:cubicBezTo>
                  <a:cubicBezTo>
                    <a:pt x="55" y="330"/>
                    <a:pt x="55" y="330"/>
                    <a:pt x="55" y="330"/>
                  </a:cubicBezTo>
                  <a:cubicBezTo>
                    <a:pt x="51" y="325"/>
                    <a:pt x="51" y="325"/>
                    <a:pt x="51" y="325"/>
                  </a:cubicBezTo>
                  <a:cubicBezTo>
                    <a:pt x="51" y="325"/>
                    <a:pt x="48" y="326"/>
                    <a:pt x="47" y="326"/>
                  </a:cubicBezTo>
                  <a:cubicBezTo>
                    <a:pt x="46" y="325"/>
                    <a:pt x="41" y="324"/>
                    <a:pt x="41" y="324"/>
                  </a:cubicBezTo>
                  <a:cubicBezTo>
                    <a:pt x="40" y="319"/>
                    <a:pt x="40" y="319"/>
                    <a:pt x="40" y="319"/>
                  </a:cubicBezTo>
                  <a:cubicBezTo>
                    <a:pt x="35" y="314"/>
                    <a:pt x="35" y="314"/>
                    <a:pt x="35" y="314"/>
                  </a:cubicBezTo>
                  <a:cubicBezTo>
                    <a:pt x="36" y="310"/>
                    <a:pt x="36" y="310"/>
                    <a:pt x="36" y="310"/>
                  </a:cubicBezTo>
                  <a:cubicBezTo>
                    <a:pt x="33" y="304"/>
                    <a:pt x="33" y="304"/>
                    <a:pt x="33" y="304"/>
                  </a:cubicBezTo>
                  <a:cubicBezTo>
                    <a:pt x="27" y="305"/>
                    <a:pt x="27" y="305"/>
                    <a:pt x="27" y="305"/>
                  </a:cubicBezTo>
                  <a:cubicBezTo>
                    <a:pt x="25" y="310"/>
                    <a:pt x="25" y="310"/>
                    <a:pt x="25" y="310"/>
                  </a:cubicBezTo>
                  <a:cubicBezTo>
                    <a:pt x="25" y="310"/>
                    <a:pt x="27" y="312"/>
                    <a:pt x="25" y="313"/>
                  </a:cubicBezTo>
                  <a:cubicBezTo>
                    <a:pt x="23" y="313"/>
                    <a:pt x="19" y="314"/>
                    <a:pt x="19" y="314"/>
                  </a:cubicBezTo>
                  <a:cubicBezTo>
                    <a:pt x="19" y="314"/>
                    <a:pt x="14" y="315"/>
                    <a:pt x="13" y="315"/>
                  </a:cubicBezTo>
                  <a:cubicBezTo>
                    <a:pt x="13" y="315"/>
                    <a:pt x="9" y="309"/>
                    <a:pt x="9" y="309"/>
                  </a:cubicBezTo>
                  <a:cubicBezTo>
                    <a:pt x="9" y="309"/>
                    <a:pt x="7" y="309"/>
                    <a:pt x="6" y="309"/>
                  </a:cubicBezTo>
                  <a:cubicBezTo>
                    <a:pt x="5" y="309"/>
                    <a:pt x="5" y="310"/>
                    <a:pt x="5" y="308"/>
                  </a:cubicBezTo>
                  <a:cubicBezTo>
                    <a:pt x="5" y="306"/>
                    <a:pt x="4" y="303"/>
                    <a:pt x="4" y="303"/>
                  </a:cubicBezTo>
                  <a:cubicBezTo>
                    <a:pt x="4" y="303"/>
                    <a:pt x="7" y="306"/>
                    <a:pt x="4" y="302"/>
                  </a:cubicBezTo>
                  <a:cubicBezTo>
                    <a:pt x="1" y="298"/>
                    <a:pt x="0" y="294"/>
                    <a:pt x="0" y="294"/>
                  </a:cubicBezTo>
                  <a:cubicBezTo>
                    <a:pt x="5" y="291"/>
                    <a:pt x="5" y="291"/>
                    <a:pt x="5" y="291"/>
                  </a:cubicBezTo>
                  <a:cubicBezTo>
                    <a:pt x="5" y="291"/>
                    <a:pt x="10" y="291"/>
                    <a:pt x="11" y="292"/>
                  </a:cubicBezTo>
                  <a:cubicBezTo>
                    <a:pt x="12" y="292"/>
                    <a:pt x="13" y="290"/>
                    <a:pt x="13" y="290"/>
                  </a:cubicBezTo>
                  <a:cubicBezTo>
                    <a:pt x="13" y="290"/>
                    <a:pt x="15" y="288"/>
                    <a:pt x="13" y="287"/>
                  </a:cubicBezTo>
                  <a:cubicBezTo>
                    <a:pt x="12" y="287"/>
                    <a:pt x="10" y="285"/>
                    <a:pt x="10" y="285"/>
                  </a:cubicBezTo>
                  <a:cubicBezTo>
                    <a:pt x="10" y="285"/>
                    <a:pt x="8" y="283"/>
                    <a:pt x="11" y="282"/>
                  </a:cubicBezTo>
                  <a:cubicBezTo>
                    <a:pt x="14" y="282"/>
                    <a:pt x="14" y="282"/>
                    <a:pt x="16" y="282"/>
                  </a:cubicBezTo>
                  <a:cubicBezTo>
                    <a:pt x="18" y="283"/>
                    <a:pt x="19" y="286"/>
                    <a:pt x="20" y="282"/>
                  </a:cubicBezTo>
                  <a:cubicBezTo>
                    <a:pt x="21" y="279"/>
                    <a:pt x="19" y="279"/>
                    <a:pt x="22" y="278"/>
                  </a:cubicBezTo>
                  <a:cubicBezTo>
                    <a:pt x="25" y="278"/>
                    <a:pt x="27" y="277"/>
                    <a:pt x="27" y="276"/>
                  </a:cubicBezTo>
                  <a:cubicBezTo>
                    <a:pt x="27" y="275"/>
                    <a:pt x="27" y="271"/>
                    <a:pt x="28" y="271"/>
                  </a:cubicBezTo>
                  <a:cubicBezTo>
                    <a:pt x="29" y="271"/>
                    <a:pt x="34" y="272"/>
                    <a:pt x="34" y="272"/>
                  </a:cubicBezTo>
                  <a:cubicBezTo>
                    <a:pt x="34" y="272"/>
                    <a:pt x="36" y="270"/>
                    <a:pt x="38" y="271"/>
                  </a:cubicBezTo>
                  <a:cubicBezTo>
                    <a:pt x="40" y="271"/>
                    <a:pt x="41" y="270"/>
                    <a:pt x="41" y="270"/>
                  </a:cubicBezTo>
                  <a:cubicBezTo>
                    <a:pt x="41" y="270"/>
                    <a:pt x="43" y="266"/>
                    <a:pt x="43" y="266"/>
                  </a:cubicBezTo>
                  <a:close/>
                  <a:moveTo>
                    <a:pt x="74" y="227"/>
                  </a:moveTo>
                  <a:cubicBezTo>
                    <a:pt x="74" y="227"/>
                    <a:pt x="74" y="227"/>
                    <a:pt x="74" y="227"/>
                  </a:cubicBezTo>
                  <a:cubicBezTo>
                    <a:pt x="74" y="227"/>
                    <a:pt x="73" y="224"/>
                    <a:pt x="74" y="224"/>
                  </a:cubicBezTo>
                  <a:cubicBezTo>
                    <a:pt x="75" y="224"/>
                    <a:pt x="78" y="223"/>
                    <a:pt x="78" y="223"/>
                  </a:cubicBezTo>
                  <a:cubicBezTo>
                    <a:pt x="78" y="223"/>
                    <a:pt x="79" y="221"/>
                    <a:pt x="79" y="222"/>
                  </a:cubicBezTo>
                  <a:cubicBezTo>
                    <a:pt x="80" y="222"/>
                    <a:pt x="80" y="224"/>
                    <a:pt x="79" y="224"/>
                  </a:cubicBezTo>
                  <a:cubicBezTo>
                    <a:pt x="79" y="224"/>
                    <a:pt x="77" y="226"/>
                    <a:pt x="77" y="226"/>
                  </a:cubicBezTo>
                  <a:cubicBezTo>
                    <a:pt x="77" y="226"/>
                    <a:pt x="75" y="227"/>
                    <a:pt x="75" y="227"/>
                  </a:cubicBezTo>
                  <a:cubicBezTo>
                    <a:pt x="74" y="227"/>
                    <a:pt x="74" y="227"/>
                    <a:pt x="74" y="227"/>
                  </a:cubicBezTo>
                  <a:close/>
                  <a:moveTo>
                    <a:pt x="87" y="248"/>
                  </a:moveTo>
                  <a:cubicBezTo>
                    <a:pt x="87" y="248"/>
                    <a:pt x="87" y="248"/>
                    <a:pt x="87" y="248"/>
                  </a:cubicBezTo>
                  <a:cubicBezTo>
                    <a:pt x="87" y="248"/>
                    <a:pt x="87" y="249"/>
                    <a:pt x="86" y="249"/>
                  </a:cubicBezTo>
                  <a:cubicBezTo>
                    <a:pt x="85" y="249"/>
                    <a:pt x="83" y="249"/>
                    <a:pt x="83" y="248"/>
                  </a:cubicBezTo>
                  <a:cubicBezTo>
                    <a:pt x="83" y="248"/>
                    <a:pt x="84" y="246"/>
                    <a:pt x="85" y="246"/>
                  </a:cubicBezTo>
                  <a:cubicBezTo>
                    <a:pt x="85" y="246"/>
                    <a:pt x="86" y="245"/>
                    <a:pt x="86" y="245"/>
                  </a:cubicBezTo>
                  <a:cubicBezTo>
                    <a:pt x="86" y="245"/>
                    <a:pt x="86" y="244"/>
                    <a:pt x="86" y="244"/>
                  </a:cubicBezTo>
                  <a:cubicBezTo>
                    <a:pt x="87" y="244"/>
                    <a:pt x="88" y="246"/>
                    <a:pt x="88" y="246"/>
                  </a:cubicBezTo>
                  <a:cubicBezTo>
                    <a:pt x="87" y="248"/>
                    <a:pt x="87" y="248"/>
                    <a:pt x="87" y="248"/>
                  </a:cubicBezTo>
                  <a:close/>
                  <a:moveTo>
                    <a:pt x="95" y="255"/>
                  </a:moveTo>
                  <a:cubicBezTo>
                    <a:pt x="95" y="255"/>
                    <a:pt x="95" y="255"/>
                    <a:pt x="95" y="255"/>
                  </a:cubicBezTo>
                  <a:cubicBezTo>
                    <a:pt x="95" y="254"/>
                    <a:pt x="97" y="252"/>
                    <a:pt x="97" y="251"/>
                  </a:cubicBezTo>
                  <a:cubicBezTo>
                    <a:pt x="98" y="251"/>
                    <a:pt x="98" y="250"/>
                    <a:pt x="98" y="250"/>
                  </a:cubicBezTo>
                  <a:cubicBezTo>
                    <a:pt x="99" y="249"/>
                    <a:pt x="100" y="249"/>
                    <a:pt x="101" y="249"/>
                  </a:cubicBezTo>
                  <a:cubicBezTo>
                    <a:pt x="103" y="250"/>
                    <a:pt x="105" y="252"/>
                    <a:pt x="104" y="252"/>
                  </a:cubicBezTo>
                  <a:cubicBezTo>
                    <a:pt x="104" y="253"/>
                    <a:pt x="103" y="252"/>
                    <a:pt x="103" y="255"/>
                  </a:cubicBezTo>
                  <a:cubicBezTo>
                    <a:pt x="103" y="258"/>
                    <a:pt x="103" y="258"/>
                    <a:pt x="103" y="259"/>
                  </a:cubicBezTo>
                  <a:cubicBezTo>
                    <a:pt x="104" y="260"/>
                    <a:pt x="103" y="263"/>
                    <a:pt x="103" y="263"/>
                  </a:cubicBezTo>
                  <a:cubicBezTo>
                    <a:pt x="103" y="263"/>
                    <a:pt x="102" y="265"/>
                    <a:pt x="101" y="265"/>
                  </a:cubicBezTo>
                  <a:cubicBezTo>
                    <a:pt x="101" y="265"/>
                    <a:pt x="101" y="265"/>
                    <a:pt x="99" y="264"/>
                  </a:cubicBezTo>
                  <a:cubicBezTo>
                    <a:pt x="98" y="264"/>
                    <a:pt x="95" y="262"/>
                    <a:pt x="95" y="262"/>
                  </a:cubicBezTo>
                  <a:cubicBezTo>
                    <a:pt x="95" y="262"/>
                    <a:pt x="95" y="257"/>
                    <a:pt x="95" y="257"/>
                  </a:cubicBezTo>
                  <a:cubicBezTo>
                    <a:pt x="95" y="256"/>
                    <a:pt x="94" y="255"/>
                    <a:pt x="94" y="255"/>
                  </a:cubicBezTo>
                  <a:cubicBezTo>
                    <a:pt x="95" y="255"/>
                    <a:pt x="95" y="255"/>
                    <a:pt x="95" y="255"/>
                  </a:cubicBezTo>
                  <a:close/>
                  <a:moveTo>
                    <a:pt x="74" y="210"/>
                  </a:moveTo>
                  <a:cubicBezTo>
                    <a:pt x="74" y="210"/>
                    <a:pt x="74" y="210"/>
                    <a:pt x="74" y="210"/>
                  </a:cubicBezTo>
                  <a:cubicBezTo>
                    <a:pt x="74" y="210"/>
                    <a:pt x="74" y="209"/>
                    <a:pt x="76" y="209"/>
                  </a:cubicBezTo>
                  <a:cubicBezTo>
                    <a:pt x="77" y="210"/>
                    <a:pt x="77" y="211"/>
                    <a:pt x="77" y="212"/>
                  </a:cubicBezTo>
                  <a:cubicBezTo>
                    <a:pt x="77" y="213"/>
                    <a:pt x="80" y="213"/>
                    <a:pt x="79" y="214"/>
                  </a:cubicBezTo>
                  <a:cubicBezTo>
                    <a:pt x="77" y="215"/>
                    <a:pt x="76" y="215"/>
                    <a:pt x="76" y="215"/>
                  </a:cubicBezTo>
                  <a:cubicBezTo>
                    <a:pt x="76" y="214"/>
                    <a:pt x="75" y="215"/>
                    <a:pt x="75" y="214"/>
                  </a:cubicBezTo>
                  <a:cubicBezTo>
                    <a:pt x="75" y="213"/>
                    <a:pt x="73" y="212"/>
                    <a:pt x="73" y="212"/>
                  </a:cubicBezTo>
                  <a:cubicBezTo>
                    <a:pt x="73" y="212"/>
                    <a:pt x="74" y="210"/>
                    <a:pt x="74" y="210"/>
                  </a:cubicBezTo>
                  <a:close/>
                  <a:moveTo>
                    <a:pt x="61" y="196"/>
                  </a:moveTo>
                  <a:cubicBezTo>
                    <a:pt x="61" y="196"/>
                    <a:pt x="61" y="196"/>
                    <a:pt x="61" y="196"/>
                  </a:cubicBezTo>
                  <a:cubicBezTo>
                    <a:pt x="63" y="197"/>
                    <a:pt x="64" y="196"/>
                    <a:pt x="64" y="197"/>
                  </a:cubicBezTo>
                  <a:cubicBezTo>
                    <a:pt x="65" y="197"/>
                    <a:pt x="66" y="198"/>
                    <a:pt x="65" y="199"/>
                  </a:cubicBezTo>
                  <a:cubicBezTo>
                    <a:pt x="63" y="200"/>
                    <a:pt x="63" y="200"/>
                    <a:pt x="61" y="200"/>
                  </a:cubicBezTo>
                  <a:cubicBezTo>
                    <a:pt x="60" y="200"/>
                    <a:pt x="62" y="200"/>
                    <a:pt x="60" y="200"/>
                  </a:cubicBezTo>
                  <a:cubicBezTo>
                    <a:pt x="58" y="200"/>
                    <a:pt x="55" y="202"/>
                    <a:pt x="57" y="199"/>
                  </a:cubicBezTo>
                  <a:cubicBezTo>
                    <a:pt x="59" y="197"/>
                    <a:pt x="61" y="196"/>
                    <a:pt x="61" y="196"/>
                  </a:cubicBezTo>
                  <a:close/>
                  <a:moveTo>
                    <a:pt x="72" y="191"/>
                  </a:moveTo>
                  <a:cubicBezTo>
                    <a:pt x="72" y="191"/>
                    <a:pt x="72" y="191"/>
                    <a:pt x="72" y="191"/>
                  </a:cubicBezTo>
                  <a:cubicBezTo>
                    <a:pt x="73" y="191"/>
                    <a:pt x="74" y="189"/>
                    <a:pt x="75" y="190"/>
                  </a:cubicBezTo>
                  <a:cubicBezTo>
                    <a:pt x="76" y="191"/>
                    <a:pt x="78" y="192"/>
                    <a:pt x="76" y="193"/>
                  </a:cubicBezTo>
                  <a:cubicBezTo>
                    <a:pt x="74" y="194"/>
                    <a:pt x="74" y="194"/>
                    <a:pt x="73" y="195"/>
                  </a:cubicBezTo>
                  <a:cubicBezTo>
                    <a:pt x="71" y="196"/>
                    <a:pt x="69" y="197"/>
                    <a:pt x="68" y="197"/>
                  </a:cubicBezTo>
                  <a:cubicBezTo>
                    <a:pt x="67" y="197"/>
                    <a:pt x="66" y="195"/>
                    <a:pt x="67" y="195"/>
                  </a:cubicBezTo>
                  <a:cubicBezTo>
                    <a:pt x="68" y="195"/>
                    <a:pt x="69" y="194"/>
                    <a:pt x="70" y="194"/>
                  </a:cubicBezTo>
                  <a:cubicBezTo>
                    <a:pt x="70" y="193"/>
                    <a:pt x="72" y="191"/>
                    <a:pt x="72" y="191"/>
                  </a:cubicBezTo>
                  <a:close/>
                  <a:moveTo>
                    <a:pt x="78" y="171"/>
                  </a:moveTo>
                  <a:cubicBezTo>
                    <a:pt x="78" y="171"/>
                    <a:pt x="78" y="171"/>
                    <a:pt x="78" y="171"/>
                  </a:cubicBezTo>
                  <a:cubicBezTo>
                    <a:pt x="78" y="171"/>
                    <a:pt x="78" y="168"/>
                    <a:pt x="79" y="169"/>
                  </a:cubicBezTo>
                  <a:cubicBezTo>
                    <a:pt x="81" y="169"/>
                    <a:pt x="81" y="169"/>
                    <a:pt x="81" y="170"/>
                  </a:cubicBezTo>
                  <a:cubicBezTo>
                    <a:pt x="81" y="171"/>
                    <a:pt x="83" y="170"/>
                    <a:pt x="81" y="171"/>
                  </a:cubicBezTo>
                  <a:cubicBezTo>
                    <a:pt x="80" y="171"/>
                    <a:pt x="78" y="171"/>
                    <a:pt x="78" y="171"/>
                  </a:cubicBezTo>
                  <a:close/>
                  <a:moveTo>
                    <a:pt x="87" y="181"/>
                  </a:moveTo>
                  <a:cubicBezTo>
                    <a:pt x="87" y="181"/>
                    <a:pt x="87" y="181"/>
                    <a:pt x="87" y="181"/>
                  </a:cubicBezTo>
                  <a:cubicBezTo>
                    <a:pt x="87" y="181"/>
                    <a:pt x="88" y="179"/>
                    <a:pt x="89" y="179"/>
                  </a:cubicBezTo>
                  <a:cubicBezTo>
                    <a:pt x="89" y="179"/>
                    <a:pt x="90" y="179"/>
                    <a:pt x="90" y="180"/>
                  </a:cubicBezTo>
                  <a:cubicBezTo>
                    <a:pt x="90" y="181"/>
                    <a:pt x="90" y="183"/>
                    <a:pt x="89" y="183"/>
                  </a:cubicBezTo>
                  <a:cubicBezTo>
                    <a:pt x="88" y="183"/>
                    <a:pt x="88" y="184"/>
                    <a:pt x="87" y="183"/>
                  </a:cubicBezTo>
                  <a:cubicBezTo>
                    <a:pt x="86" y="183"/>
                    <a:pt x="87" y="181"/>
                    <a:pt x="87" y="181"/>
                  </a:cubicBezTo>
                  <a:close/>
                  <a:moveTo>
                    <a:pt x="82" y="177"/>
                  </a:moveTo>
                  <a:cubicBezTo>
                    <a:pt x="82" y="177"/>
                    <a:pt x="82" y="177"/>
                    <a:pt x="82" y="177"/>
                  </a:cubicBezTo>
                  <a:cubicBezTo>
                    <a:pt x="82" y="177"/>
                    <a:pt x="81" y="173"/>
                    <a:pt x="83" y="173"/>
                  </a:cubicBezTo>
                  <a:cubicBezTo>
                    <a:pt x="85" y="172"/>
                    <a:pt x="86" y="172"/>
                    <a:pt x="86" y="172"/>
                  </a:cubicBezTo>
                  <a:cubicBezTo>
                    <a:pt x="86" y="172"/>
                    <a:pt x="89" y="176"/>
                    <a:pt x="89" y="176"/>
                  </a:cubicBezTo>
                  <a:cubicBezTo>
                    <a:pt x="88" y="177"/>
                    <a:pt x="88" y="178"/>
                    <a:pt x="86" y="178"/>
                  </a:cubicBezTo>
                  <a:cubicBezTo>
                    <a:pt x="85" y="178"/>
                    <a:pt x="84" y="179"/>
                    <a:pt x="84" y="178"/>
                  </a:cubicBezTo>
                  <a:cubicBezTo>
                    <a:pt x="83" y="177"/>
                    <a:pt x="82" y="177"/>
                    <a:pt x="82" y="177"/>
                  </a:cubicBezTo>
                  <a:close/>
                  <a:moveTo>
                    <a:pt x="45" y="174"/>
                  </a:moveTo>
                  <a:cubicBezTo>
                    <a:pt x="45" y="174"/>
                    <a:pt x="45" y="174"/>
                    <a:pt x="45" y="174"/>
                  </a:cubicBezTo>
                  <a:cubicBezTo>
                    <a:pt x="46" y="174"/>
                    <a:pt x="46" y="173"/>
                    <a:pt x="46" y="175"/>
                  </a:cubicBezTo>
                  <a:cubicBezTo>
                    <a:pt x="46" y="176"/>
                    <a:pt x="46" y="177"/>
                    <a:pt x="46" y="177"/>
                  </a:cubicBezTo>
                  <a:cubicBezTo>
                    <a:pt x="46" y="177"/>
                    <a:pt x="45" y="179"/>
                    <a:pt x="44" y="178"/>
                  </a:cubicBezTo>
                  <a:cubicBezTo>
                    <a:pt x="43" y="177"/>
                    <a:pt x="43" y="176"/>
                    <a:pt x="43" y="176"/>
                  </a:cubicBezTo>
                  <a:cubicBezTo>
                    <a:pt x="45" y="174"/>
                    <a:pt x="45" y="174"/>
                    <a:pt x="45" y="174"/>
                  </a:cubicBezTo>
                  <a:close/>
                  <a:moveTo>
                    <a:pt x="53" y="164"/>
                  </a:moveTo>
                  <a:cubicBezTo>
                    <a:pt x="53" y="164"/>
                    <a:pt x="53" y="164"/>
                    <a:pt x="53" y="164"/>
                  </a:cubicBezTo>
                  <a:cubicBezTo>
                    <a:pt x="54" y="165"/>
                    <a:pt x="56" y="167"/>
                    <a:pt x="56" y="167"/>
                  </a:cubicBezTo>
                  <a:cubicBezTo>
                    <a:pt x="53" y="170"/>
                    <a:pt x="53" y="170"/>
                    <a:pt x="53" y="170"/>
                  </a:cubicBezTo>
                  <a:cubicBezTo>
                    <a:pt x="53" y="170"/>
                    <a:pt x="50" y="171"/>
                    <a:pt x="50" y="172"/>
                  </a:cubicBezTo>
                  <a:cubicBezTo>
                    <a:pt x="49" y="172"/>
                    <a:pt x="51" y="175"/>
                    <a:pt x="49" y="174"/>
                  </a:cubicBezTo>
                  <a:cubicBezTo>
                    <a:pt x="47" y="173"/>
                    <a:pt x="46" y="171"/>
                    <a:pt x="47" y="171"/>
                  </a:cubicBezTo>
                  <a:cubicBezTo>
                    <a:pt x="48" y="170"/>
                    <a:pt x="48" y="170"/>
                    <a:pt x="49" y="169"/>
                  </a:cubicBezTo>
                  <a:cubicBezTo>
                    <a:pt x="50" y="168"/>
                    <a:pt x="52" y="165"/>
                    <a:pt x="52" y="165"/>
                  </a:cubicBezTo>
                  <a:cubicBezTo>
                    <a:pt x="53" y="164"/>
                    <a:pt x="53" y="164"/>
                    <a:pt x="53" y="164"/>
                  </a:cubicBezTo>
                  <a:close/>
                  <a:moveTo>
                    <a:pt x="58" y="150"/>
                  </a:moveTo>
                  <a:cubicBezTo>
                    <a:pt x="58" y="150"/>
                    <a:pt x="58" y="150"/>
                    <a:pt x="58" y="150"/>
                  </a:cubicBezTo>
                  <a:cubicBezTo>
                    <a:pt x="58" y="150"/>
                    <a:pt x="60" y="150"/>
                    <a:pt x="61" y="151"/>
                  </a:cubicBezTo>
                  <a:cubicBezTo>
                    <a:pt x="61" y="151"/>
                    <a:pt x="62" y="154"/>
                    <a:pt x="62" y="154"/>
                  </a:cubicBezTo>
                  <a:cubicBezTo>
                    <a:pt x="62" y="154"/>
                    <a:pt x="63" y="155"/>
                    <a:pt x="62" y="156"/>
                  </a:cubicBezTo>
                  <a:cubicBezTo>
                    <a:pt x="61" y="157"/>
                    <a:pt x="59" y="158"/>
                    <a:pt x="59" y="158"/>
                  </a:cubicBezTo>
                  <a:cubicBezTo>
                    <a:pt x="59" y="163"/>
                    <a:pt x="59" y="163"/>
                    <a:pt x="59" y="163"/>
                  </a:cubicBezTo>
                  <a:cubicBezTo>
                    <a:pt x="58" y="165"/>
                    <a:pt x="58" y="165"/>
                    <a:pt x="58" y="165"/>
                  </a:cubicBezTo>
                  <a:cubicBezTo>
                    <a:pt x="55" y="164"/>
                    <a:pt x="55" y="164"/>
                    <a:pt x="55" y="164"/>
                  </a:cubicBezTo>
                  <a:cubicBezTo>
                    <a:pt x="55" y="158"/>
                    <a:pt x="55" y="158"/>
                    <a:pt x="55" y="158"/>
                  </a:cubicBezTo>
                  <a:cubicBezTo>
                    <a:pt x="54" y="155"/>
                    <a:pt x="54" y="155"/>
                    <a:pt x="54" y="155"/>
                  </a:cubicBezTo>
                  <a:cubicBezTo>
                    <a:pt x="57" y="152"/>
                    <a:pt x="57" y="152"/>
                    <a:pt x="57" y="152"/>
                  </a:cubicBezTo>
                  <a:cubicBezTo>
                    <a:pt x="58" y="150"/>
                    <a:pt x="58" y="150"/>
                    <a:pt x="58" y="150"/>
                  </a:cubicBezTo>
                  <a:close/>
                  <a:moveTo>
                    <a:pt x="60" y="142"/>
                  </a:moveTo>
                  <a:cubicBezTo>
                    <a:pt x="60" y="142"/>
                    <a:pt x="60" y="142"/>
                    <a:pt x="60" y="142"/>
                  </a:cubicBezTo>
                  <a:cubicBezTo>
                    <a:pt x="60" y="142"/>
                    <a:pt x="62" y="141"/>
                    <a:pt x="63" y="142"/>
                  </a:cubicBezTo>
                  <a:cubicBezTo>
                    <a:pt x="64" y="143"/>
                    <a:pt x="64" y="141"/>
                    <a:pt x="65" y="143"/>
                  </a:cubicBezTo>
                  <a:cubicBezTo>
                    <a:pt x="66" y="145"/>
                    <a:pt x="67" y="145"/>
                    <a:pt x="66" y="146"/>
                  </a:cubicBezTo>
                  <a:cubicBezTo>
                    <a:pt x="66" y="147"/>
                    <a:pt x="66" y="148"/>
                    <a:pt x="65" y="149"/>
                  </a:cubicBezTo>
                  <a:cubicBezTo>
                    <a:pt x="64" y="150"/>
                    <a:pt x="65" y="151"/>
                    <a:pt x="63" y="150"/>
                  </a:cubicBezTo>
                  <a:cubicBezTo>
                    <a:pt x="61" y="149"/>
                    <a:pt x="61" y="149"/>
                    <a:pt x="60" y="148"/>
                  </a:cubicBezTo>
                  <a:cubicBezTo>
                    <a:pt x="59" y="147"/>
                    <a:pt x="59" y="147"/>
                    <a:pt x="59" y="147"/>
                  </a:cubicBezTo>
                  <a:cubicBezTo>
                    <a:pt x="60" y="142"/>
                    <a:pt x="60" y="142"/>
                    <a:pt x="60" y="142"/>
                  </a:cubicBezTo>
                  <a:close/>
                  <a:moveTo>
                    <a:pt x="69" y="132"/>
                  </a:moveTo>
                  <a:cubicBezTo>
                    <a:pt x="69" y="132"/>
                    <a:pt x="69" y="132"/>
                    <a:pt x="69" y="132"/>
                  </a:cubicBezTo>
                  <a:cubicBezTo>
                    <a:pt x="69" y="132"/>
                    <a:pt x="70" y="131"/>
                    <a:pt x="69" y="133"/>
                  </a:cubicBezTo>
                  <a:cubicBezTo>
                    <a:pt x="67" y="136"/>
                    <a:pt x="67" y="137"/>
                    <a:pt x="68" y="137"/>
                  </a:cubicBezTo>
                  <a:cubicBezTo>
                    <a:pt x="68" y="137"/>
                    <a:pt x="69" y="137"/>
                    <a:pt x="69" y="137"/>
                  </a:cubicBezTo>
                  <a:cubicBezTo>
                    <a:pt x="69" y="141"/>
                    <a:pt x="69" y="141"/>
                    <a:pt x="69" y="141"/>
                  </a:cubicBezTo>
                  <a:cubicBezTo>
                    <a:pt x="69" y="141"/>
                    <a:pt x="69" y="142"/>
                    <a:pt x="66" y="141"/>
                  </a:cubicBezTo>
                  <a:cubicBezTo>
                    <a:pt x="63" y="141"/>
                    <a:pt x="61" y="140"/>
                    <a:pt x="61" y="140"/>
                  </a:cubicBezTo>
                  <a:cubicBezTo>
                    <a:pt x="58" y="137"/>
                    <a:pt x="58" y="137"/>
                    <a:pt x="58" y="137"/>
                  </a:cubicBezTo>
                  <a:cubicBezTo>
                    <a:pt x="58" y="137"/>
                    <a:pt x="57" y="136"/>
                    <a:pt x="59" y="134"/>
                  </a:cubicBezTo>
                  <a:cubicBezTo>
                    <a:pt x="60" y="132"/>
                    <a:pt x="63" y="133"/>
                    <a:pt x="63" y="133"/>
                  </a:cubicBezTo>
                  <a:cubicBezTo>
                    <a:pt x="63" y="133"/>
                    <a:pt x="64" y="135"/>
                    <a:pt x="65" y="133"/>
                  </a:cubicBezTo>
                  <a:cubicBezTo>
                    <a:pt x="66" y="131"/>
                    <a:pt x="66" y="129"/>
                    <a:pt x="67" y="130"/>
                  </a:cubicBezTo>
                  <a:cubicBezTo>
                    <a:pt x="68" y="131"/>
                    <a:pt x="69" y="132"/>
                    <a:pt x="69" y="132"/>
                  </a:cubicBezTo>
                  <a:close/>
                  <a:moveTo>
                    <a:pt x="77" y="121"/>
                  </a:moveTo>
                  <a:cubicBezTo>
                    <a:pt x="77" y="121"/>
                    <a:pt x="77" y="121"/>
                    <a:pt x="77" y="121"/>
                  </a:cubicBezTo>
                  <a:cubicBezTo>
                    <a:pt x="76" y="120"/>
                    <a:pt x="76" y="118"/>
                    <a:pt x="76" y="118"/>
                  </a:cubicBezTo>
                  <a:cubicBezTo>
                    <a:pt x="77" y="116"/>
                    <a:pt x="77" y="116"/>
                    <a:pt x="77" y="116"/>
                  </a:cubicBezTo>
                  <a:cubicBezTo>
                    <a:pt x="77" y="116"/>
                    <a:pt x="75" y="114"/>
                    <a:pt x="75" y="113"/>
                  </a:cubicBezTo>
                  <a:cubicBezTo>
                    <a:pt x="75" y="112"/>
                    <a:pt x="75" y="110"/>
                    <a:pt x="77" y="109"/>
                  </a:cubicBezTo>
                  <a:cubicBezTo>
                    <a:pt x="78" y="108"/>
                    <a:pt x="79" y="106"/>
                    <a:pt x="80" y="106"/>
                  </a:cubicBezTo>
                  <a:cubicBezTo>
                    <a:pt x="80" y="107"/>
                    <a:pt x="80" y="107"/>
                    <a:pt x="81" y="109"/>
                  </a:cubicBezTo>
                  <a:cubicBezTo>
                    <a:pt x="82" y="110"/>
                    <a:pt x="82" y="112"/>
                    <a:pt x="83" y="111"/>
                  </a:cubicBezTo>
                  <a:cubicBezTo>
                    <a:pt x="84" y="110"/>
                    <a:pt x="84" y="109"/>
                    <a:pt x="85" y="108"/>
                  </a:cubicBezTo>
                  <a:cubicBezTo>
                    <a:pt x="86" y="107"/>
                    <a:pt x="87" y="104"/>
                    <a:pt x="87" y="104"/>
                  </a:cubicBezTo>
                  <a:cubicBezTo>
                    <a:pt x="87" y="104"/>
                    <a:pt x="89" y="105"/>
                    <a:pt x="90" y="104"/>
                  </a:cubicBezTo>
                  <a:cubicBezTo>
                    <a:pt x="92" y="103"/>
                    <a:pt x="90" y="103"/>
                    <a:pt x="93" y="102"/>
                  </a:cubicBezTo>
                  <a:cubicBezTo>
                    <a:pt x="96" y="102"/>
                    <a:pt x="97" y="102"/>
                    <a:pt x="98" y="100"/>
                  </a:cubicBezTo>
                  <a:cubicBezTo>
                    <a:pt x="99" y="99"/>
                    <a:pt x="99" y="100"/>
                    <a:pt x="100" y="99"/>
                  </a:cubicBezTo>
                  <a:cubicBezTo>
                    <a:pt x="101" y="98"/>
                    <a:pt x="102" y="97"/>
                    <a:pt x="103" y="97"/>
                  </a:cubicBezTo>
                  <a:cubicBezTo>
                    <a:pt x="104" y="98"/>
                    <a:pt x="105" y="99"/>
                    <a:pt x="105" y="100"/>
                  </a:cubicBezTo>
                  <a:cubicBezTo>
                    <a:pt x="105" y="101"/>
                    <a:pt x="106" y="103"/>
                    <a:pt x="105" y="104"/>
                  </a:cubicBezTo>
                  <a:cubicBezTo>
                    <a:pt x="104" y="105"/>
                    <a:pt x="104" y="106"/>
                    <a:pt x="103" y="106"/>
                  </a:cubicBezTo>
                  <a:cubicBezTo>
                    <a:pt x="102" y="107"/>
                    <a:pt x="99" y="109"/>
                    <a:pt x="99" y="109"/>
                  </a:cubicBezTo>
                  <a:cubicBezTo>
                    <a:pt x="99" y="109"/>
                    <a:pt x="99" y="111"/>
                    <a:pt x="100" y="111"/>
                  </a:cubicBezTo>
                  <a:cubicBezTo>
                    <a:pt x="101" y="111"/>
                    <a:pt x="103" y="108"/>
                    <a:pt x="103" y="110"/>
                  </a:cubicBezTo>
                  <a:cubicBezTo>
                    <a:pt x="102" y="112"/>
                    <a:pt x="105" y="113"/>
                    <a:pt x="102" y="114"/>
                  </a:cubicBezTo>
                  <a:cubicBezTo>
                    <a:pt x="100" y="114"/>
                    <a:pt x="98" y="113"/>
                    <a:pt x="98" y="113"/>
                  </a:cubicBezTo>
                  <a:cubicBezTo>
                    <a:pt x="96" y="116"/>
                    <a:pt x="96" y="116"/>
                    <a:pt x="96" y="116"/>
                  </a:cubicBezTo>
                  <a:cubicBezTo>
                    <a:pt x="96" y="116"/>
                    <a:pt x="94" y="115"/>
                    <a:pt x="94" y="116"/>
                  </a:cubicBezTo>
                  <a:cubicBezTo>
                    <a:pt x="94" y="117"/>
                    <a:pt x="95" y="119"/>
                    <a:pt x="95" y="119"/>
                  </a:cubicBezTo>
                  <a:cubicBezTo>
                    <a:pt x="93" y="121"/>
                    <a:pt x="93" y="121"/>
                    <a:pt x="93" y="121"/>
                  </a:cubicBezTo>
                  <a:cubicBezTo>
                    <a:pt x="93" y="121"/>
                    <a:pt x="90" y="120"/>
                    <a:pt x="90" y="121"/>
                  </a:cubicBezTo>
                  <a:cubicBezTo>
                    <a:pt x="91" y="122"/>
                    <a:pt x="92" y="124"/>
                    <a:pt x="92" y="124"/>
                  </a:cubicBezTo>
                  <a:cubicBezTo>
                    <a:pt x="92" y="124"/>
                    <a:pt x="92" y="126"/>
                    <a:pt x="90" y="126"/>
                  </a:cubicBezTo>
                  <a:cubicBezTo>
                    <a:pt x="88" y="126"/>
                    <a:pt x="86" y="126"/>
                    <a:pt x="85" y="126"/>
                  </a:cubicBezTo>
                  <a:cubicBezTo>
                    <a:pt x="84" y="125"/>
                    <a:pt x="84" y="125"/>
                    <a:pt x="84" y="125"/>
                  </a:cubicBezTo>
                  <a:cubicBezTo>
                    <a:pt x="83" y="128"/>
                    <a:pt x="83" y="128"/>
                    <a:pt x="83" y="128"/>
                  </a:cubicBezTo>
                  <a:cubicBezTo>
                    <a:pt x="83" y="128"/>
                    <a:pt x="84" y="129"/>
                    <a:pt x="83" y="130"/>
                  </a:cubicBezTo>
                  <a:cubicBezTo>
                    <a:pt x="82" y="131"/>
                    <a:pt x="79" y="131"/>
                    <a:pt x="79" y="131"/>
                  </a:cubicBezTo>
                  <a:cubicBezTo>
                    <a:pt x="79" y="131"/>
                    <a:pt x="78" y="131"/>
                    <a:pt x="78" y="131"/>
                  </a:cubicBezTo>
                  <a:cubicBezTo>
                    <a:pt x="78" y="132"/>
                    <a:pt x="77" y="134"/>
                    <a:pt x="76" y="134"/>
                  </a:cubicBezTo>
                  <a:cubicBezTo>
                    <a:pt x="75" y="133"/>
                    <a:pt x="73" y="132"/>
                    <a:pt x="72" y="131"/>
                  </a:cubicBezTo>
                  <a:cubicBezTo>
                    <a:pt x="72" y="130"/>
                    <a:pt x="71" y="126"/>
                    <a:pt x="73" y="127"/>
                  </a:cubicBezTo>
                  <a:cubicBezTo>
                    <a:pt x="75" y="127"/>
                    <a:pt x="77" y="128"/>
                    <a:pt x="77" y="126"/>
                  </a:cubicBezTo>
                  <a:cubicBezTo>
                    <a:pt x="77" y="124"/>
                    <a:pt x="76" y="123"/>
                    <a:pt x="76" y="123"/>
                  </a:cubicBezTo>
                  <a:cubicBezTo>
                    <a:pt x="77" y="121"/>
                    <a:pt x="77" y="121"/>
                    <a:pt x="77" y="121"/>
                  </a:cubicBezTo>
                  <a:close/>
                  <a:moveTo>
                    <a:pt x="267" y="15"/>
                  </a:moveTo>
                  <a:cubicBezTo>
                    <a:pt x="267" y="15"/>
                    <a:pt x="267" y="15"/>
                    <a:pt x="267" y="15"/>
                  </a:cubicBezTo>
                  <a:cubicBezTo>
                    <a:pt x="268" y="15"/>
                    <a:pt x="271" y="16"/>
                    <a:pt x="271" y="15"/>
                  </a:cubicBezTo>
                  <a:cubicBezTo>
                    <a:pt x="271" y="15"/>
                    <a:pt x="272" y="13"/>
                    <a:pt x="272" y="13"/>
                  </a:cubicBezTo>
                  <a:cubicBezTo>
                    <a:pt x="271" y="12"/>
                    <a:pt x="270" y="11"/>
                    <a:pt x="269" y="12"/>
                  </a:cubicBezTo>
                  <a:cubicBezTo>
                    <a:pt x="268" y="12"/>
                    <a:pt x="267" y="13"/>
                    <a:pt x="267" y="13"/>
                  </a:cubicBezTo>
                  <a:cubicBezTo>
                    <a:pt x="267" y="14"/>
                    <a:pt x="267" y="15"/>
                    <a:pt x="267" y="15"/>
                  </a:cubicBezTo>
                  <a:close/>
                  <a:moveTo>
                    <a:pt x="235" y="32"/>
                  </a:moveTo>
                  <a:cubicBezTo>
                    <a:pt x="235" y="32"/>
                    <a:pt x="235" y="32"/>
                    <a:pt x="235" y="32"/>
                  </a:cubicBezTo>
                  <a:cubicBezTo>
                    <a:pt x="236" y="32"/>
                    <a:pt x="237" y="30"/>
                    <a:pt x="237" y="31"/>
                  </a:cubicBezTo>
                  <a:cubicBezTo>
                    <a:pt x="237" y="33"/>
                    <a:pt x="238" y="33"/>
                    <a:pt x="237" y="34"/>
                  </a:cubicBezTo>
                  <a:cubicBezTo>
                    <a:pt x="236" y="34"/>
                    <a:pt x="234" y="36"/>
                    <a:pt x="233" y="35"/>
                  </a:cubicBezTo>
                  <a:cubicBezTo>
                    <a:pt x="233" y="35"/>
                    <a:pt x="234" y="31"/>
                    <a:pt x="234" y="31"/>
                  </a:cubicBezTo>
                  <a:cubicBezTo>
                    <a:pt x="235" y="32"/>
                    <a:pt x="235" y="32"/>
                    <a:pt x="235" y="32"/>
                  </a:cubicBezTo>
                  <a:close/>
                  <a:moveTo>
                    <a:pt x="254" y="34"/>
                  </a:moveTo>
                  <a:cubicBezTo>
                    <a:pt x="254" y="34"/>
                    <a:pt x="254" y="34"/>
                    <a:pt x="254" y="34"/>
                  </a:cubicBezTo>
                  <a:cubicBezTo>
                    <a:pt x="254" y="34"/>
                    <a:pt x="254" y="35"/>
                    <a:pt x="252" y="34"/>
                  </a:cubicBezTo>
                  <a:cubicBezTo>
                    <a:pt x="249" y="34"/>
                    <a:pt x="248" y="35"/>
                    <a:pt x="248" y="33"/>
                  </a:cubicBezTo>
                  <a:cubicBezTo>
                    <a:pt x="248" y="32"/>
                    <a:pt x="249" y="31"/>
                    <a:pt x="247" y="30"/>
                  </a:cubicBezTo>
                  <a:cubicBezTo>
                    <a:pt x="245" y="30"/>
                    <a:pt x="245" y="30"/>
                    <a:pt x="245" y="30"/>
                  </a:cubicBezTo>
                  <a:cubicBezTo>
                    <a:pt x="245" y="30"/>
                    <a:pt x="244" y="28"/>
                    <a:pt x="245" y="27"/>
                  </a:cubicBezTo>
                  <a:cubicBezTo>
                    <a:pt x="247" y="25"/>
                    <a:pt x="247" y="26"/>
                    <a:pt x="248" y="26"/>
                  </a:cubicBezTo>
                  <a:cubicBezTo>
                    <a:pt x="250" y="26"/>
                    <a:pt x="249" y="26"/>
                    <a:pt x="251" y="27"/>
                  </a:cubicBezTo>
                  <a:cubicBezTo>
                    <a:pt x="253" y="27"/>
                    <a:pt x="254" y="28"/>
                    <a:pt x="254" y="26"/>
                  </a:cubicBezTo>
                  <a:cubicBezTo>
                    <a:pt x="254" y="25"/>
                    <a:pt x="255" y="25"/>
                    <a:pt x="253" y="23"/>
                  </a:cubicBezTo>
                  <a:cubicBezTo>
                    <a:pt x="252" y="21"/>
                    <a:pt x="252" y="22"/>
                    <a:pt x="251" y="21"/>
                  </a:cubicBezTo>
                  <a:cubicBezTo>
                    <a:pt x="250" y="19"/>
                    <a:pt x="248" y="17"/>
                    <a:pt x="249" y="16"/>
                  </a:cubicBezTo>
                  <a:cubicBezTo>
                    <a:pt x="249" y="15"/>
                    <a:pt x="248" y="15"/>
                    <a:pt x="250" y="13"/>
                  </a:cubicBezTo>
                  <a:cubicBezTo>
                    <a:pt x="253" y="12"/>
                    <a:pt x="255" y="10"/>
                    <a:pt x="256" y="10"/>
                  </a:cubicBezTo>
                  <a:cubicBezTo>
                    <a:pt x="257" y="10"/>
                    <a:pt x="258" y="10"/>
                    <a:pt x="258" y="11"/>
                  </a:cubicBezTo>
                  <a:cubicBezTo>
                    <a:pt x="258" y="13"/>
                    <a:pt x="258" y="14"/>
                    <a:pt x="257" y="15"/>
                  </a:cubicBezTo>
                  <a:cubicBezTo>
                    <a:pt x="256" y="15"/>
                    <a:pt x="256" y="16"/>
                    <a:pt x="256" y="16"/>
                  </a:cubicBezTo>
                  <a:cubicBezTo>
                    <a:pt x="256" y="16"/>
                    <a:pt x="255" y="19"/>
                    <a:pt x="257" y="19"/>
                  </a:cubicBezTo>
                  <a:cubicBezTo>
                    <a:pt x="259" y="18"/>
                    <a:pt x="260" y="16"/>
                    <a:pt x="260" y="15"/>
                  </a:cubicBezTo>
                  <a:cubicBezTo>
                    <a:pt x="261" y="14"/>
                    <a:pt x="262" y="15"/>
                    <a:pt x="261" y="13"/>
                  </a:cubicBezTo>
                  <a:cubicBezTo>
                    <a:pt x="261" y="11"/>
                    <a:pt x="260" y="10"/>
                    <a:pt x="261" y="10"/>
                  </a:cubicBezTo>
                  <a:cubicBezTo>
                    <a:pt x="262" y="10"/>
                    <a:pt x="263" y="12"/>
                    <a:pt x="264" y="10"/>
                  </a:cubicBezTo>
                  <a:cubicBezTo>
                    <a:pt x="266" y="7"/>
                    <a:pt x="266" y="6"/>
                    <a:pt x="266" y="6"/>
                  </a:cubicBezTo>
                  <a:cubicBezTo>
                    <a:pt x="266" y="6"/>
                    <a:pt x="265" y="6"/>
                    <a:pt x="267" y="5"/>
                  </a:cubicBezTo>
                  <a:cubicBezTo>
                    <a:pt x="269" y="4"/>
                    <a:pt x="268" y="3"/>
                    <a:pt x="269" y="2"/>
                  </a:cubicBezTo>
                  <a:cubicBezTo>
                    <a:pt x="270" y="1"/>
                    <a:pt x="268" y="0"/>
                    <a:pt x="271" y="0"/>
                  </a:cubicBezTo>
                  <a:cubicBezTo>
                    <a:pt x="273" y="1"/>
                    <a:pt x="273" y="1"/>
                    <a:pt x="274" y="2"/>
                  </a:cubicBezTo>
                  <a:cubicBezTo>
                    <a:pt x="275" y="2"/>
                    <a:pt x="273" y="6"/>
                    <a:pt x="272" y="6"/>
                  </a:cubicBezTo>
                  <a:cubicBezTo>
                    <a:pt x="271" y="6"/>
                    <a:pt x="271" y="5"/>
                    <a:pt x="269" y="6"/>
                  </a:cubicBezTo>
                  <a:cubicBezTo>
                    <a:pt x="268" y="7"/>
                    <a:pt x="270" y="9"/>
                    <a:pt x="269" y="10"/>
                  </a:cubicBezTo>
                  <a:cubicBezTo>
                    <a:pt x="268" y="11"/>
                    <a:pt x="267" y="10"/>
                    <a:pt x="266" y="11"/>
                  </a:cubicBezTo>
                  <a:cubicBezTo>
                    <a:pt x="265" y="12"/>
                    <a:pt x="265" y="12"/>
                    <a:pt x="265" y="13"/>
                  </a:cubicBezTo>
                  <a:cubicBezTo>
                    <a:pt x="265" y="14"/>
                    <a:pt x="264" y="15"/>
                    <a:pt x="263" y="16"/>
                  </a:cubicBezTo>
                  <a:cubicBezTo>
                    <a:pt x="263" y="16"/>
                    <a:pt x="260" y="14"/>
                    <a:pt x="263" y="16"/>
                  </a:cubicBezTo>
                  <a:cubicBezTo>
                    <a:pt x="266" y="18"/>
                    <a:pt x="267" y="18"/>
                    <a:pt x="266" y="19"/>
                  </a:cubicBezTo>
                  <a:cubicBezTo>
                    <a:pt x="265" y="19"/>
                    <a:pt x="263" y="19"/>
                    <a:pt x="262" y="20"/>
                  </a:cubicBezTo>
                  <a:cubicBezTo>
                    <a:pt x="261" y="20"/>
                    <a:pt x="260" y="21"/>
                    <a:pt x="262" y="22"/>
                  </a:cubicBezTo>
                  <a:cubicBezTo>
                    <a:pt x="264" y="23"/>
                    <a:pt x="263" y="23"/>
                    <a:pt x="264" y="23"/>
                  </a:cubicBezTo>
                  <a:cubicBezTo>
                    <a:pt x="265" y="22"/>
                    <a:pt x="270" y="22"/>
                    <a:pt x="270" y="23"/>
                  </a:cubicBezTo>
                  <a:cubicBezTo>
                    <a:pt x="269" y="25"/>
                    <a:pt x="270" y="25"/>
                    <a:pt x="268" y="26"/>
                  </a:cubicBezTo>
                  <a:cubicBezTo>
                    <a:pt x="265" y="27"/>
                    <a:pt x="263" y="26"/>
                    <a:pt x="262" y="25"/>
                  </a:cubicBezTo>
                  <a:cubicBezTo>
                    <a:pt x="261" y="25"/>
                    <a:pt x="261" y="23"/>
                    <a:pt x="261" y="26"/>
                  </a:cubicBezTo>
                  <a:cubicBezTo>
                    <a:pt x="262" y="29"/>
                    <a:pt x="264" y="29"/>
                    <a:pt x="263" y="29"/>
                  </a:cubicBezTo>
                  <a:cubicBezTo>
                    <a:pt x="261" y="29"/>
                    <a:pt x="259" y="29"/>
                    <a:pt x="259" y="29"/>
                  </a:cubicBezTo>
                  <a:cubicBezTo>
                    <a:pt x="259" y="29"/>
                    <a:pt x="258" y="27"/>
                    <a:pt x="259" y="30"/>
                  </a:cubicBezTo>
                  <a:cubicBezTo>
                    <a:pt x="260" y="33"/>
                    <a:pt x="260" y="33"/>
                    <a:pt x="260" y="33"/>
                  </a:cubicBezTo>
                  <a:cubicBezTo>
                    <a:pt x="260" y="33"/>
                    <a:pt x="258" y="34"/>
                    <a:pt x="258" y="34"/>
                  </a:cubicBezTo>
                  <a:cubicBezTo>
                    <a:pt x="258" y="35"/>
                    <a:pt x="259" y="37"/>
                    <a:pt x="260" y="38"/>
                  </a:cubicBezTo>
                  <a:cubicBezTo>
                    <a:pt x="260" y="38"/>
                    <a:pt x="259" y="42"/>
                    <a:pt x="258" y="42"/>
                  </a:cubicBezTo>
                  <a:cubicBezTo>
                    <a:pt x="258" y="42"/>
                    <a:pt x="258" y="43"/>
                    <a:pt x="257" y="44"/>
                  </a:cubicBezTo>
                  <a:cubicBezTo>
                    <a:pt x="256" y="45"/>
                    <a:pt x="255" y="46"/>
                    <a:pt x="255" y="46"/>
                  </a:cubicBezTo>
                  <a:cubicBezTo>
                    <a:pt x="253" y="52"/>
                    <a:pt x="253" y="52"/>
                    <a:pt x="253" y="52"/>
                  </a:cubicBezTo>
                  <a:cubicBezTo>
                    <a:pt x="253" y="52"/>
                    <a:pt x="252" y="54"/>
                    <a:pt x="251" y="52"/>
                  </a:cubicBezTo>
                  <a:cubicBezTo>
                    <a:pt x="251" y="50"/>
                    <a:pt x="250" y="50"/>
                    <a:pt x="251" y="49"/>
                  </a:cubicBezTo>
                  <a:cubicBezTo>
                    <a:pt x="252" y="49"/>
                    <a:pt x="252" y="47"/>
                    <a:pt x="253" y="46"/>
                  </a:cubicBezTo>
                  <a:cubicBezTo>
                    <a:pt x="253" y="45"/>
                    <a:pt x="254" y="41"/>
                    <a:pt x="254" y="41"/>
                  </a:cubicBezTo>
                  <a:cubicBezTo>
                    <a:pt x="254" y="41"/>
                    <a:pt x="256" y="41"/>
                    <a:pt x="257" y="40"/>
                  </a:cubicBezTo>
                  <a:cubicBezTo>
                    <a:pt x="257" y="40"/>
                    <a:pt x="255" y="36"/>
                    <a:pt x="255" y="36"/>
                  </a:cubicBezTo>
                  <a:cubicBezTo>
                    <a:pt x="256" y="34"/>
                    <a:pt x="256" y="34"/>
                    <a:pt x="256" y="34"/>
                  </a:cubicBezTo>
                  <a:cubicBezTo>
                    <a:pt x="254" y="34"/>
                    <a:pt x="254" y="34"/>
                    <a:pt x="254" y="34"/>
                  </a:cubicBezTo>
                  <a:close/>
                  <a:moveTo>
                    <a:pt x="239" y="67"/>
                  </a:moveTo>
                  <a:cubicBezTo>
                    <a:pt x="239" y="67"/>
                    <a:pt x="239" y="67"/>
                    <a:pt x="239" y="67"/>
                  </a:cubicBezTo>
                  <a:cubicBezTo>
                    <a:pt x="239" y="67"/>
                    <a:pt x="242" y="63"/>
                    <a:pt x="243" y="64"/>
                  </a:cubicBezTo>
                  <a:cubicBezTo>
                    <a:pt x="243" y="64"/>
                    <a:pt x="243" y="65"/>
                    <a:pt x="243" y="66"/>
                  </a:cubicBezTo>
                  <a:cubicBezTo>
                    <a:pt x="243" y="66"/>
                    <a:pt x="244" y="68"/>
                    <a:pt x="243" y="68"/>
                  </a:cubicBezTo>
                  <a:cubicBezTo>
                    <a:pt x="242" y="68"/>
                    <a:pt x="241" y="68"/>
                    <a:pt x="240" y="68"/>
                  </a:cubicBezTo>
                  <a:cubicBezTo>
                    <a:pt x="240" y="68"/>
                    <a:pt x="239" y="67"/>
                    <a:pt x="239" y="67"/>
                  </a:cubicBezTo>
                  <a:close/>
                  <a:moveTo>
                    <a:pt x="196" y="98"/>
                  </a:moveTo>
                  <a:cubicBezTo>
                    <a:pt x="196" y="98"/>
                    <a:pt x="196" y="98"/>
                    <a:pt x="196" y="98"/>
                  </a:cubicBezTo>
                  <a:cubicBezTo>
                    <a:pt x="198" y="96"/>
                    <a:pt x="198" y="96"/>
                    <a:pt x="198" y="96"/>
                  </a:cubicBezTo>
                  <a:cubicBezTo>
                    <a:pt x="201" y="97"/>
                    <a:pt x="201" y="97"/>
                    <a:pt x="201" y="97"/>
                  </a:cubicBezTo>
                  <a:cubicBezTo>
                    <a:pt x="201" y="97"/>
                    <a:pt x="202" y="95"/>
                    <a:pt x="202" y="97"/>
                  </a:cubicBezTo>
                  <a:cubicBezTo>
                    <a:pt x="201" y="99"/>
                    <a:pt x="199" y="102"/>
                    <a:pt x="199" y="102"/>
                  </a:cubicBezTo>
                  <a:cubicBezTo>
                    <a:pt x="199" y="102"/>
                    <a:pt x="200" y="102"/>
                    <a:pt x="198" y="103"/>
                  </a:cubicBezTo>
                  <a:cubicBezTo>
                    <a:pt x="196" y="104"/>
                    <a:pt x="196" y="105"/>
                    <a:pt x="195" y="103"/>
                  </a:cubicBezTo>
                  <a:cubicBezTo>
                    <a:pt x="194" y="102"/>
                    <a:pt x="193" y="102"/>
                    <a:pt x="193" y="101"/>
                  </a:cubicBezTo>
                  <a:cubicBezTo>
                    <a:pt x="194" y="100"/>
                    <a:pt x="194" y="98"/>
                    <a:pt x="194" y="98"/>
                  </a:cubicBezTo>
                  <a:cubicBezTo>
                    <a:pt x="196" y="98"/>
                    <a:pt x="196" y="98"/>
                    <a:pt x="196" y="98"/>
                  </a:cubicBezTo>
                  <a:close/>
                  <a:moveTo>
                    <a:pt x="217" y="72"/>
                  </a:moveTo>
                  <a:cubicBezTo>
                    <a:pt x="217" y="72"/>
                    <a:pt x="217" y="72"/>
                    <a:pt x="217" y="72"/>
                  </a:cubicBezTo>
                  <a:cubicBezTo>
                    <a:pt x="217" y="72"/>
                    <a:pt x="218" y="70"/>
                    <a:pt x="219" y="70"/>
                  </a:cubicBezTo>
                  <a:cubicBezTo>
                    <a:pt x="220" y="71"/>
                    <a:pt x="221" y="71"/>
                    <a:pt x="221" y="72"/>
                  </a:cubicBezTo>
                  <a:cubicBezTo>
                    <a:pt x="220" y="73"/>
                    <a:pt x="219" y="74"/>
                    <a:pt x="218" y="74"/>
                  </a:cubicBezTo>
                  <a:cubicBezTo>
                    <a:pt x="217" y="74"/>
                    <a:pt x="217" y="72"/>
                    <a:pt x="217" y="72"/>
                  </a:cubicBezTo>
                  <a:close/>
                  <a:moveTo>
                    <a:pt x="213" y="77"/>
                  </a:moveTo>
                  <a:cubicBezTo>
                    <a:pt x="213" y="77"/>
                    <a:pt x="213" y="77"/>
                    <a:pt x="213" y="77"/>
                  </a:cubicBezTo>
                  <a:cubicBezTo>
                    <a:pt x="213" y="77"/>
                    <a:pt x="215" y="75"/>
                    <a:pt x="216" y="76"/>
                  </a:cubicBezTo>
                  <a:cubicBezTo>
                    <a:pt x="216" y="76"/>
                    <a:pt x="217" y="76"/>
                    <a:pt x="216" y="77"/>
                  </a:cubicBezTo>
                  <a:cubicBezTo>
                    <a:pt x="216" y="78"/>
                    <a:pt x="218" y="77"/>
                    <a:pt x="215" y="78"/>
                  </a:cubicBezTo>
                  <a:cubicBezTo>
                    <a:pt x="213" y="80"/>
                    <a:pt x="214" y="81"/>
                    <a:pt x="212" y="80"/>
                  </a:cubicBezTo>
                  <a:cubicBezTo>
                    <a:pt x="211" y="79"/>
                    <a:pt x="211" y="78"/>
                    <a:pt x="211" y="77"/>
                  </a:cubicBezTo>
                  <a:cubicBezTo>
                    <a:pt x="211" y="77"/>
                    <a:pt x="212" y="75"/>
                    <a:pt x="212" y="75"/>
                  </a:cubicBezTo>
                  <a:cubicBezTo>
                    <a:pt x="213" y="76"/>
                    <a:pt x="213" y="77"/>
                    <a:pt x="213" y="77"/>
                  </a:cubicBezTo>
                  <a:close/>
                  <a:moveTo>
                    <a:pt x="205" y="80"/>
                  </a:moveTo>
                  <a:cubicBezTo>
                    <a:pt x="205" y="80"/>
                    <a:pt x="205" y="80"/>
                    <a:pt x="205" y="80"/>
                  </a:cubicBezTo>
                  <a:cubicBezTo>
                    <a:pt x="205" y="80"/>
                    <a:pt x="207" y="81"/>
                    <a:pt x="207" y="81"/>
                  </a:cubicBezTo>
                  <a:cubicBezTo>
                    <a:pt x="208" y="82"/>
                    <a:pt x="208" y="81"/>
                    <a:pt x="209" y="80"/>
                  </a:cubicBezTo>
                  <a:cubicBezTo>
                    <a:pt x="211" y="80"/>
                    <a:pt x="209" y="80"/>
                    <a:pt x="210" y="79"/>
                  </a:cubicBezTo>
                  <a:cubicBezTo>
                    <a:pt x="211" y="77"/>
                    <a:pt x="210" y="78"/>
                    <a:pt x="210" y="77"/>
                  </a:cubicBezTo>
                  <a:cubicBezTo>
                    <a:pt x="209" y="77"/>
                    <a:pt x="209" y="77"/>
                    <a:pt x="208" y="77"/>
                  </a:cubicBezTo>
                  <a:cubicBezTo>
                    <a:pt x="206" y="77"/>
                    <a:pt x="205" y="80"/>
                    <a:pt x="205" y="80"/>
                  </a:cubicBezTo>
                  <a:close/>
                  <a:moveTo>
                    <a:pt x="209" y="86"/>
                  </a:moveTo>
                  <a:cubicBezTo>
                    <a:pt x="209" y="86"/>
                    <a:pt x="209" y="86"/>
                    <a:pt x="209" y="86"/>
                  </a:cubicBezTo>
                  <a:cubicBezTo>
                    <a:pt x="209" y="86"/>
                    <a:pt x="210" y="83"/>
                    <a:pt x="211" y="83"/>
                  </a:cubicBezTo>
                  <a:cubicBezTo>
                    <a:pt x="212" y="84"/>
                    <a:pt x="212" y="83"/>
                    <a:pt x="212" y="84"/>
                  </a:cubicBezTo>
                  <a:cubicBezTo>
                    <a:pt x="212" y="85"/>
                    <a:pt x="212" y="87"/>
                    <a:pt x="211" y="87"/>
                  </a:cubicBezTo>
                  <a:cubicBezTo>
                    <a:pt x="210" y="87"/>
                    <a:pt x="209" y="86"/>
                    <a:pt x="209" y="86"/>
                  </a:cubicBezTo>
                  <a:close/>
                  <a:moveTo>
                    <a:pt x="201" y="86"/>
                  </a:moveTo>
                  <a:cubicBezTo>
                    <a:pt x="201" y="86"/>
                    <a:pt x="201" y="86"/>
                    <a:pt x="201" y="86"/>
                  </a:cubicBezTo>
                  <a:cubicBezTo>
                    <a:pt x="202" y="84"/>
                    <a:pt x="202" y="84"/>
                    <a:pt x="202" y="84"/>
                  </a:cubicBezTo>
                  <a:cubicBezTo>
                    <a:pt x="204" y="85"/>
                    <a:pt x="204" y="85"/>
                    <a:pt x="204" y="85"/>
                  </a:cubicBezTo>
                  <a:cubicBezTo>
                    <a:pt x="204" y="85"/>
                    <a:pt x="205" y="86"/>
                    <a:pt x="204" y="86"/>
                  </a:cubicBezTo>
                  <a:cubicBezTo>
                    <a:pt x="204" y="87"/>
                    <a:pt x="203" y="87"/>
                    <a:pt x="203" y="88"/>
                  </a:cubicBezTo>
                  <a:cubicBezTo>
                    <a:pt x="202" y="88"/>
                    <a:pt x="201" y="87"/>
                    <a:pt x="201" y="87"/>
                  </a:cubicBezTo>
                  <a:cubicBezTo>
                    <a:pt x="201" y="86"/>
                    <a:pt x="201" y="86"/>
                    <a:pt x="201" y="86"/>
                  </a:cubicBezTo>
                  <a:close/>
                  <a:moveTo>
                    <a:pt x="201" y="73"/>
                  </a:moveTo>
                  <a:cubicBezTo>
                    <a:pt x="201" y="73"/>
                    <a:pt x="201" y="73"/>
                    <a:pt x="201" y="73"/>
                  </a:cubicBezTo>
                  <a:cubicBezTo>
                    <a:pt x="201" y="73"/>
                    <a:pt x="203" y="70"/>
                    <a:pt x="203" y="70"/>
                  </a:cubicBezTo>
                  <a:cubicBezTo>
                    <a:pt x="204" y="70"/>
                    <a:pt x="205" y="69"/>
                    <a:pt x="205" y="71"/>
                  </a:cubicBezTo>
                  <a:cubicBezTo>
                    <a:pt x="205" y="73"/>
                    <a:pt x="207" y="75"/>
                    <a:pt x="204" y="75"/>
                  </a:cubicBezTo>
                  <a:cubicBezTo>
                    <a:pt x="202" y="75"/>
                    <a:pt x="201" y="76"/>
                    <a:pt x="201" y="75"/>
                  </a:cubicBezTo>
                  <a:cubicBezTo>
                    <a:pt x="200" y="74"/>
                    <a:pt x="201" y="73"/>
                    <a:pt x="201" y="73"/>
                  </a:cubicBezTo>
                  <a:close/>
                  <a:moveTo>
                    <a:pt x="197" y="79"/>
                  </a:moveTo>
                  <a:cubicBezTo>
                    <a:pt x="197" y="79"/>
                    <a:pt x="197" y="79"/>
                    <a:pt x="197" y="79"/>
                  </a:cubicBezTo>
                  <a:cubicBezTo>
                    <a:pt x="197" y="79"/>
                    <a:pt x="199" y="77"/>
                    <a:pt x="200" y="77"/>
                  </a:cubicBezTo>
                  <a:cubicBezTo>
                    <a:pt x="201" y="78"/>
                    <a:pt x="202" y="78"/>
                    <a:pt x="202" y="79"/>
                  </a:cubicBezTo>
                  <a:cubicBezTo>
                    <a:pt x="202" y="80"/>
                    <a:pt x="202" y="80"/>
                    <a:pt x="201" y="81"/>
                  </a:cubicBezTo>
                  <a:cubicBezTo>
                    <a:pt x="201" y="82"/>
                    <a:pt x="200" y="82"/>
                    <a:pt x="199" y="82"/>
                  </a:cubicBezTo>
                  <a:cubicBezTo>
                    <a:pt x="199" y="82"/>
                    <a:pt x="197" y="79"/>
                    <a:pt x="197" y="79"/>
                  </a:cubicBezTo>
                  <a:close/>
                  <a:moveTo>
                    <a:pt x="200" y="91"/>
                  </a:moveTo>
                  <a:cubicBezTo>
                    <a:pt x="200" y="91"/>
                    <a:pt x="200" y="91"/>
                    <a:pt x="200" y="91"/>
                  </a:cubicBezTo>
                  <a:cubicBezTo>
                    <a:pt x="200" y="91"/>
                    <a:pt x="199" y="94"/>
                    <a:pt x="199" y="95"/>
                  </a:cubicBezTo>
                  <a:cubicBezTo>
                    <a:pt x="199" y="96"/>
                    <a:pt x="202" y="96"/>
                    <a:pt x="203" y="95"/>
                  </a:cubicBezTo>
                  <a:cubicBezTo>
                    <a:pt x="203" y="95"/>
                    <a:pt x="204" y="93"/>
                    <a:pt x="204" y="93"/>
                  </a:cubicBezTo>
                  <a:cubicBezTo>
                    <a:pt x="204" y="93"/>
                    <a:pt x="203" y="91"/>
                    <a:pt x="202" y="90"/>
                  </a:cubicBezTo>
                  <a:cubicBezTo>
                    <a:pt x="201" y="89"/>
                    <a:pt x="200" y="91"/>
                    <a:pt x="200" y="91"/>
                  </a:cubicBezTo>
                  <a:close/>
                  <a:moveTo>
                    <a:pt x="191" y="88"/>
                  </a:moveTo>
                  <a:cubicBezTo>
                    <a:pt x="191" y="88"/>
                    <a:pt x="191" y="88"/>
                    <a:pt x="191" y="88"/>
                  </a:cubicBezTo>
                  <a:cubicBezTo>
                    <a:pt x="191" y="91"/>
                    <a:pt x="191" y="91"/>
                    <a:pt x="191" y="91"/>
                  </a:cubicBezTo>
                  <a:cubicBezTo>
                    <a:pt x="191" y="91"/>
                    <a:pt x="193" y="93"/>
                    <a:pt x="194" y="93"/>
                  </a:cubicBezTo>
                  <a:cubicBezTo>
                    <a:pt x="195" y="94"/>
                    <a:pt x="195" y="93"/>
                    <a:pt x="197" y="94"/>
                  </a:cubicBezTo>
                  <a:cubicBezTo>
                    <a:pt x="198" y="94"/>
                    <a:pt x="198" y="93"/>
                    <a:pt x="198" y="93"/>
                  </a:cubicBezTo>
                  <a:cubicBezTo>
                    <a:pt x="199" y="93"/>
                    <a:pt x="199" y="93"/>
                    <a:pt x="199" y="92"/>
                  </a:cubicBezTo>
                  <a:cubicBezTo>
                    <a:pt x="199" y="92"/>
                    <a:pt x="197" y="91"/>
                    <a:pt x="196" y="90"/>
                  </a:cubicBezTo>
                  <a:cubicBezTo>
                    <a:pt x="196" y="89"/>
                    <a:pt x="196" y="89"/>
                    <a:pt x="196" y="88"/>
                  </a:cubicBezTo>
                  <a:cubicBezTo>
                    <a:pt x="196" y="88"/>
                    <a:pt x="197" y="87"/>
                    <a:pt x="198" y="87"/>
                  </a:cubicBezTo>
                  <a:cubicBezTo>
                    <a:pt x="198" y="86"/>
                    <a:pt x="198" y="84"/>
                    <a:pt x="198" y="84"/>
                  </a:cubicBezTo>
                  <a:cubicBezTo>
                    <a:pt x="198" y="84"/>
                    <a:pt x="196" y="84"/>
                    <a:pt x="196" y="83"/>
                  </a:cubicBezTo>
                  <a:cubicBezTo>
                    <a:pt x="196" y="83"/>
                    <a:pt x="195" y="82"/>
                    <a:pt x="194" y="81"/>
                  </a:cubicBezTo>
                  <a:cubicBezTo>
                    <a:pt x="194" y="80"/>
                    <a:pt x="192" y="80"/>
                    <a:pt x="191" y="80"/>
                  </a:cubicBezTo>
                  <a:cubicBezTo>
                    <a:pt x="191" y="80"/>
                    <a:pt x="190" y="83"/>
                    <a:pt x="189" y="84"/>
                  </a:cubicBezTo>
                  <a:cubicBezTo>
                    <a:pt x="189" y="84"/>
                    <a:pt x="188" y="86"/>
                    <a:pt x="188" y="86"/>
                  </a:cubicBezTo>
                  <a:cubicBezTo>
                    <a:pt x="188" y="87"/>
                    <a:pt x="188" y="88"/>
                    <a:pt x="189" y="89"/>
                  </a:cubicBezTo>
                  <a:cubicBezTo>
                    <a:pt x="190" y="89"/>
                    <a:pt x="191" y="88"/>
                    <a:pt x="191" y="88"/>
                  </a:cubicBezTo>
                  <a:close/>
                  <a:moveTo>
                    <a:pt x="188" y="96"/>
                  </a:moveTo>
                  <a:cubicBezTo>
                    <a:pt x="188" y="96"/>
                    <a:pt x="188" y="96"/>
                    <a:pt x="188" y="96"/>
                  </a:cubicBezTo>
                  <a:cubicBezTo>
                    <a:pt x="187" y="96"/>
                    <a:pt x="185" y="94"/>
                    <a:pt x="185" y="94"/>
                  </a:cubicBezTo>
                  <a:cubicBezTo>
                    <a:pt x="185" y="94"/>
                    <a:pt x="187" y="93"/>
                    <a:pt x="187" y="92"/>
                  </a:cubicBezTo>
                  <a:cubicBezTo>
                    <a:pt x="188" y="92"/>
                    <a:pt x="187" y="91"/>
                    <a:pt x="189" y="91"/>
                  </a:cubicBezTo>
                  <a:cubicBezTo>
                    <a:pt x="191" y="92"/>
                    <a:pt x="191" y="93"/>
                    <a:pt x="191" y="93"/>
                  </a:cubicBezTo>
                  <a:cubicBezTo>
                    <a:pt x="191" y="93"/>
                    <a:pt x="192" y="95"/>
                    <a:pt x="192" y="96"/>
                  </a:cubicBezTo>
                  <a:cubicBezTo>
                    <a:pt x="192" y="96"/>
                    <a:pt x="192" y="97"/>
                    <a:pt x="192" y="97"/>
                  </a:cubicBezTo>
                  <a:cubicBezTo>
                    <a:pt x="192" y="98"/>
                    <a:pt x="194" y="99"/>
                    <a:pt x="191" y="99"/>
                  </a:cubicBezTo>
                  <a:cubicBezTo>
                    <a:pt x="189" y="99"/>
                    <a:pt x="189" y="99"/>
                    <a:pt x="189" y="99"/>
                  </a:cubicBezTo>
                  <a:lnTo>
                    <a:pt x="188" y="96"/>
                  </a:lnTo>
                  <a:close/>
                </a:path>
              </a:pathLst>
            </a:custGeom>
            <a:solidFill>
              <a:schemeClr val="accent2">
                <a:lumMod val="20000"/>
                <a:lumOff val="80000"/>
              </a:schemeClr>
            </a:solidFill>
            <a:ln w="12700" cap="rnd" cmpd="sng">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Lato Light"/>
              </a:endParaRPr>
            </a:p>
          </p:txBody>
        </p:sp>
        <p:sp>
          <p:nvSpPr>
            <p:cNvPr id="239" name="Freeform 139">
              <a:extLst>
                <a:ext uri="{FF2B5EF4-FFF2-40B4-BE49-F238E27FC236}">
                  <a16:creationId xmlns:a16="http://schemas.microsoft.com/office/drawing/2014/main" id="{D6FE4947-DDAE-06A7-6578-689142DB026C}"/>
                </a:ext>
              </a:extLst>
            </p:cNvPr>
            <p:cNvSpPr>
              <a:spLocks noEditPoints="1"/>
            </p:cNvSpPr>
            <p:nvPr/>
          </p:nvSpPr>
          <p:spPr bwMode="auto">
            <a:xfrm>
              <a:off x="1723285" y="4793663"/>
              <a:ext cx="1539241" cy="1226735"/>
            </a:xfrm>
            <a:custGeom>
              <a:avLst/>
              <a:gdLst>
                <a:gd name="T0" fmla="*/ 432 w 534"/>
                <a:gd name="T1" fmla="*/ 208 h 439"/>
                <a:gd name="T2" fmla="*/ 350 w 534"/>
                <a:gd name="T3" fmla="*/ 268 h 439"/>
                <a:gd name="T4" fmla="*/ 305 w 534"/>
                <a:gd name="T5" fmla="*/ 368 h 439"/>
                <a:gd name="T6" fmla="*/ 243 w 534"/>
                <a:gd name="T7" fmla="*/ 412 h 439"/>
                <a:gd name="T8" fmla="*/ 174 w 534"/>
                <a:gd name="T9" fmla="*/ 422 h 439"/>
                <a:gd name="T10" fmla="*/ 78 w 534"/>
                <a:gd name="T11" fmla="*/ 433 h 439"/>
                <a:gd name="T12" fmla="*/ 40 w 534"/>
                <a:gd name="T13" fmla="*/ 384 h 439"/>
                <a:gd name="T14" fmla="*/ 1 w 534"/>
                <a:gd name="T15" fmla="*/ 348 h 439"/>
                <a:gd name="T16" fmla="*/ 2 w 534"/>
                <a:gd name="T17" fmla="*/ 334 h 439"/>
                <a:gd name="T18" fmla="*/ 15 w 534"/>
                <a:gd name="T19" fmla="*/ 321 h 439"/>
                <a:gd name="T20" fmla="*/ 26 w 534"/>
                <a:gd name="T21" fmla="*/ 316 h 439"/>
                <a:gd name="T22" fmla="*/ 31 w 534"/>
                <a:gd name="T23" fmla="*/ 307 h 439"/>
                <a:gd name="T24" fmla="*/ 23 w 534"/>
                <a:gd name="T25" fmla="*/ 297 h 439"/>
                <a:gd name="T26" fmla="*/ 21 w 534"/>
                <a:gd name="T27" fmla="*/ 287 h 439"/>
                <a:gd name="T28" fmla="*/ 28 w 534"/>
                <a:gd name="T29" fmla="*/ 275 h 439"/>
                <a:gd name="T30" fmla="*/ 38 w 534"/>
                <a:gd name="T31" fmla="*/ 268 h 439"/>
                <a:gd name="T32" fmla="*/ 40 w 534"/>
                <a:gd name="T33" fmla="*/ 257 h 439"/>
                <a:gd name="T34" fmla="*/ 34 w 534"/>
                <a:gd name="T35" fmla="*/ 251 h 439"/>
                <a:gd name="T36" fmla="*/ 32 w 534"/>
                <a:gd name="T37" fmla="*/ 240 h 439"/>
                <a:gd name="T38" fmla="*/ 29 w 534"/>
                <a:gd name="T39" fmla="*/ 230 h 439"/>
                <a:gd name="T40" fmla="*/ 33 w 534"/>
                <a:gd name="T41" fmla="*/ 225 h 439"/>
                <a:gd name="T42" fmla="*/ 44 w 534"/>
                <a:gd name="T43" fmla="*/ 227 h 439"/>
                <a:gd name="T44" fmla="*/ 51 w 534"/>
                <a:gd name="T45" fmla="*/ 223 h 439"/>
                <a:gd name="T46" fmla="*/ 58 w 534"/>
                <a:gd name="T47" fmla="*/ 213 h 439"/>
                <a:gd name="T48" fmla="*/ 55 w 534"/>
                <a:gd name="T49" fmla="*/ 200 h 439"/>
                <a:gd name="T50" fmla="*/ 65 w 534"/>
                <a:gd name="T51" fmla="*/ 195 h 439"/>
                <a:gd name="T52" fmla="*/ 68 w 534"/>
                <a:gd name="T53" fmla="*/ 182 h 439"/>
                <a:gd name="T54" fmla="*/ 70 w 534"/>
                <a:gd name="T55" fmla="*/ 169 h 439"/>
                <a:gd name="T56" fmla="*/ 70 w 534"/>
                <a:gd name="T57" fmla="*/ 157 h 439"/>
                <a:gd name="T58" fmla="*/ 82 w 534"/>
                <a:gd name="T59" fmla="*/ 149 h 439"/>
                <a:gd name="T60" fmla="*/ 97 w 534"/>
                <a:gd name="T61" fmla="*/ 142 h 439"/>
                <a:gd name="T62" fmla="*/ 105 w 534"/>
                <a:gd name="T63" fmla="*/ 130 h 439"/>
                <a:gd name="T64" fmla="*/ 94 w 534"/>
                <a:gd name="T65" fmla="*/ 122 h 439"/>
                <a:gd name="T66" fmla="*/ 96 w 534"/>
                <a:gd name="T67" fmla="*/ 112 h 439"/>
                <a:gd name="T68" fmla="*/ 87 w 534"/>
                <a:gd name="T69" fmla="*/ 106 h 439"/>
                <a:gd name="T70" fmla="*/ 75 w 534"/>
                <a:gd name="T71" fmla="*/ 103 h 439"/>
                <a:gd name="T72" fmla="*/ 63 w 534"/>
                <a:gd name="T73" fmla="*/ 108 h 439"/>
                <a:gd name="T74" fmla="*/ 54 w 534"/>
                <a:gd name="T75" fmla="*/ 108 h 439"/>
                <a:gd name="T76" fmla="*/ 44 w 534"/>
                <a:gd name="T77" fmla="*/ 102 h 439"/>
                <a:gd name="T78" fmla="*/ 34 w 534"/>
                <a:gd name="T79" fmla="*/ 102 h 439"/>
                <a:gd name="T80" fmla="*/ 33 w 534"/>
                <a:gd name="T81" fmla="*/ 93 h 439"/>
                <a:gd name="T82" fmla="*/ 29 w 534"/>
                <a:gd name="T83" fmla="*/ 84 h 439"/>
                <a:gd name="T84" fmla="*/ 13 w 534"/>
                <a:gd name="T85" fmla="*/ 86 h 439"/>
                <a:gd name="T86" fmla="*/ 6 w 534"/>
                <a:gd name="T87" fmla="*/ 77 h 439"/>
                <a:gd name="T88" fmla="*/ 6 w 534"/>
                <a:gd name="T89" fmla="*/ 41 h 439"/>
                <a:gd name="T90" fmla="*/ 35 w 534"/>
                <a:gd name="T91" fmla="*/ 17 h 439"/>
                <a:gd name="T92" fmla="*/ 130 w 534"/>
                <a:gd name="T93" fmla="*/ 26 h 439"/>
                <a:gd name="T94" fmla="*/ 280 w 534"/>
                <a:gd name="T95" fmla="*/ 72 h 439"/>
                <a:gd name="T96" fmla="*/ 366 w 534"/>
                <a:gd name="T97" fmla="*/ 119 h 439"/>
                <a:gd name="T98" fmla="*/ 424 w 534"/>
                <a:gd name="T99" fmla="*/ 134 h 439"/>
                <a:gd name="T100" fmla="*/ 424 w 534"/>
                <a:gd name="T101" fmla="*/ 138 h 439"/>
                <a:gd name="T102" fmla="*/ 426 w 534"/>
                <a:gd name="T103" fmla="*/ 141 h 439"/>
                <a:gd name="T104" fmla="*/ 456 w 534"/>
                <a:gd name="T105" fmla="*/ 145 h 439"/>
                <a:gd name="T106" fmla="*/ 521 w 534"/>
                <a:gd name="T107" fmla="*/ 289 h 439"/>
                <a:gd name="T108" fmla="*/ 460 w 534"/>
                <a:gd name="T109" fmla="*/ 299 h 439"/>
                <a:gd name="T110" fmla="*/ 478 w 534"/>
                <a:gd name="T111" fmla="*/ 282 h 439"/>
                <a:gd name="T112" fmla="*/ 411 w 534"/>
                <a:gd name="T113" fmla="*/ 326 h 4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34" h="439">
                  <a:moveTo>
                    <a:pt x="496" y="159"/>
                  </a:moveTo>
                  <a:cubicBezTo>
                    <a:pt x="493" y="161"/>
                    <a:pt x="492" y="156"/>
                    <a:pt x="490" y="159"/>
                  </a:cubicBezTo>
                  <a:cubicBezTo>
                    <a:pt x="487" y="163"/>
                    <a:pt x="495" y="172"/>
                    <a:pt x="492" y="177"/>
                  </a:cubicBezTo>
                  <a:cubicBezTo>
                    <a:pt x="488" y="182"/>
                    <a:pt x="480" y="189"/>
                    <a:pt x="469" y="191"/>
                  </a:cubicBezTo>
                  <a:cubicBezTo>
                    <a:pt x="464" y="192"/>
                    <a:pt x="460" y="197"/>
                    <a:pt x="456" y="196"/>
                  </a:cubicBezTo>
                  <a:cubicBezTo>
                    <a:pt x="453" y="196"/>
                    <a:pt x="446" y="203"/>
                    <a:pt x="445" y="205"/>
                  </a:cubicBezTo>
                  <a:cubicBezTo>
                    <a:pt x="443" y="208"/>
                    <a:pt x="437" y="205"/>
                    <a:pt x="432" y="208"/>
                  </a:cubicBezTo>
                  <a:cubicBezTo>
                    <a:pt x="425" y="211"/>
                    <a:pt x="429" y="207"/>
                    <a:pt x="404" y="214"/>
                  </a:cubicBezTo>
                  <a:cubicBezTo>
                    <a:pt x="399" y="215"/>
                    <a:pt x="395" y="217"/>
                    <a:pt x="391" y="218"/>
                  </a:cubicBezTo>
                  <a:cubicBezTo>
                    <a:pt x="387" y="220"/>
                    <a:pt x="383" y="219"/>
                    <a:pt x="383" y="227"/>
                  </a:cubicBezTo>
                  <a:cubicBezTo>
                    <a:pt x="384" y="231"/>
                    <a:pt x="389" y="228"/>
                    <a:pt x="388" y="232"/>
                  </a:cubicBezTo>
                  <a:cubicBezTo>
                    <a:pt x="388" y="235"/>
                    <a:pt x="381" y="234"/>
                    <a:pt x="374" y="238"/>
                  </a:cubicBezTo>
                  <a:cubicBezTo>
                    <a:pt x="371" y="240"/>
                    <a:pt x="369" y="247"/>
                    <a:pt x="367" y="249"/>
                  </a:cubicBezTo>
                  <a:cubicBezTo>
                    <a:pt x="357" y="255"/>
                    <a:pt x="350" y="268"/>
                    <a:pt x="350" y="268"/>
                  </a:cubicBezTo>
                  <a:cubicBezTo>
                    <a:pt x="345" y="273"/>
                    <a:pt x="339" y="277"/>
                    <a:pt x="336" y="283"/>
                  </a:cubicBezTo>
                  <a:cubicBezTo>
                    <a:pt x="329" y="296"/>
                    <a:pt x="327" y="289"/>
                    <a:pt x="331" y="305"/>
                  </a:cubicBezTo>
                  <a:cubicBezTo>
                    <a:pt x="332" y="307"/>
                    <a:pt x="332" y="314"/>
                    <a:pt x="335" y="319"/>
                  </a:cubicBezTo>
                  <a:cubicBezTo>
                    <a:pt x="340" y="326"/>
                    <a:pt x="351" y="333"/>
                    <a:pt x="348" y="335"/>
                  </a:cubicBezTo>
                  <a:cubicBezTo>
                    <a:pt x="346" y="336"/>
                    <a:pt x="334" y="344"/>
                    <a:pt x="330" y="344"/>
                  </a:cubicBezTo>
                  <a:cubicBezTo>
                    <a:pt x="324" y="345"/>
                    <a:pt x="321" y="349"/>
                    <a:pt x="313" y="358"/>
                  </a:cubicBezTo>
                  <a:cubicBezTo>
                    <a:pt x="309" y="361"/>
                    <a:pt x="308" y="364"/>
                    <a:pt x="305" y="368"/>
                  </a:cubicBezTo>
                  <a:cubicBezTo>
                    <a:pt x="300" y="374"/>
                    <a:pt x="302" y="373"/>
                    <a:pt x="298" y="380"/>
                  </a:cubicBezTo>
                  <a:cubicBezTo>
                    <a:pt x="297" y="382"/>
                    <a:pt x="298" y="389"/>
                    <a:pt x="298" y="392"/>
                  </a:cubicBezTo>
                  <a:cubicBezTo>
                    <a:pt x="288" y="393"/>
                    <a:pt x="288" y="393"/>
                    <a:pt x="288" y="393"/>
                  </a:cubicBezTo>
                  <a:cubicBezTo>
                    <a:pt x="271" y="388"/>
                    <a:pt x="271" y="388"/>
                    <a:pt x="271" y="388"/>
                  </a:cubicBezTo>
                  <a:cubicBezTo>
                    <a:pt x="261" y="397"/>
                    <a:pt x="261" y="397"/>
                    <a:pt x="261" y="397"/>
                  </a:cubicBezTo>
                  <a:cubicBezTo>
                    <a:pt x="257" y="400"/>
                    <a:pt x="251" y="398"/>
                    <a:pt x="247" y="401"/>
                  </a:cubicBezTo>
                  <a:cubicBezTo>
                    <a:pt x="247" y="401"/>
                    <a:pt x="244" y="410"/>
                    <a:pt x="243" y="412"/>
                  </a:cubicBezTo>
                  <a:cubicBezTo>
                    <a:pt x="243" y="415"/>
                    <a:pt x="236" y="423"/>
                    <a:pt x="236" y="423"/>
                  </a:cubicBezTo>
                  <a:cubicBezTo>
                    <a:pt x="235" y="424"/>
                    <a:pt x="230" y="429"/>
                    <a:pt x="228" y="430"/>
                  </a:cubicBezTo>
                  <a:cubicBezTo>
                    <a:pt x="225" y="431"/>
                    <a:pt x="223" y="423"/>
                    <a:pt x="221" y="423"/>
                  </a:cubicBezTo>
                  <a:cubicBezTo>
                    <a:pt x="217" y="423"/>
                    <a:pt x="217" y="422"/>
                    <a:pt x="213" y="421"/>
                  </a:cubicBezTo>
                  <a:cubicBezTo>
                    <a:pt x="208" y="421"/>
                    <a:pt x="207" y="428"/>
                    <a:pt x="202" y="428"/>
                  </a:cubicBezTo>
                  <a:cubicBezTo>
                    <a:pt x="194" y="427"/>
                    <a:pt x="180" y="419"/>
                    <a:pt x="180" y="419"/>
                  </a:cubicBezTo>
                  <a:cubicBezTo>
                    <a:pt x="177" y="418"/>
                    <a:pt x="177" y="422"/>
                    <a:pt x="174" y="422"/>
                  </a:cubicBezTo>
                  <a:cubicBezTo>
                    <a:pt x="168" y="421"/>
                    <a:pt x="160" y="417"/>
                    <a:pt x="152" y="415"/>
                  </a:cubicBezTo>
                  <a:cubicBezTo>
                    <a:pt x="146" y="414"/>
                    <a:pt x="134" y="412"/>
                    <a:pt x="134" y="412"/>
                  </a:cubicBezTo>
                  <a:cubicBezTo>
                    <a:pt x="131" y="414"/>
                    <a:pt x="128" y="414"/>
                    <a:pt x="125" y="415"/>
                  </a:cubicBezTo>
                  <a:cubicBezTo>
                    <a:pt x="121" y="417"/>
                    <a:pt x="117" y="420"/>
                    <a:pt x="114" y="421"/>
                  </a:cubicBezTo>
                  <a:cubicBezTo>
                    <a:pt x="111" y="422"/>
                    <a:pt x="105" y="417"/>
                    <a:pt x="96" y="422"/>
                  </a:cubicBezTo>
                  <a:cubicBezTo>
                    <a:pt x="93" y="423"/>
                    <a:pt x="89" y="422"/>
                    <a:pt x="87" y="424"/>
                  </a:cubicBezTo>
                  <a:cubicBezTo>
                    <a:pt x="84" y="427"/>
                    <a:pt x="83" y="431"/>
                    <a:pt x="78" y="433"/>
                  </a:cubicBezTo>
                  <a:cubicBezTo>
                    <a:pt x="75" y="434"/>
                    <a:pt x="71" y="438"/>
                    <a:pt x="69" y="439"/>
                  </a:cubicBezTo>
                  <a:cubicBezTo>
                    <a:pt x="64" y="436"/>
                    <a:pt x="57" y="436"/>
                    <a:pt x="55" y="428"/>
                  </a:cubicBezTo>
                  <a:cubicBezTo>
                    <a:pt x="54" y="425"/>
                    <a:pt x="51" y="428"/>
                    <a:pt x="49" y="425"/>
                  </a:cubicBezTo>
                  <a:cubicBezTo>
                    <a:pt x="45" y="421"/>
                    <a:pt x="42" y="412"/>
                    <a:pt x="42" y="408"/>
                  </a:cubicBezTo>
                  <a:cubicBezTo>
                    <a:pt x="42" y="408"/>
                    <a:pt x="45" y="404"/>
                    <a:pt x="42" y="400"/>
                  </a:cubicBezTo>
                  <a:cubicBezTo>
                    <a:pt x="40" y="396"/>
                    <a:pt x="37" y="395"/>
                    <a:pt x="38" y="391"/>
                  </a:cubicBezTo>
                  <a:cubicBezTo>
                    <a:pt x="41" y="391"/>
                    <a:pt x="40" y="384"/>
                    <a:pt x="40" y="384"/>
                  </a:cubicBezTo>
                  <a:cubicBezTo>
                    <a:pt x="40" y="382"/>
                    <a:pt x="33" y="370"/>
                    <a:pt x="31" y="368"/>
                  </a:cubicBezTo>
                  <a:cubicBezTo>
                    <a:pt x="26" y="365"/>
                    <a:pt x="20" y="361"/>
                    <a:pt x="14" y="360"/>
                  </a:cubicBezTo>
                  <a:cubicBezTo>
                    <a:pt x="0" y="358"/>
                    <a:pt x="0" y="358"/>
                    <a:pt x="0" y="358"/>
                  </a:cubicBezTo>
                  <a:cubicBezTo>
                    <a:pt x="0" y="354"/>
                    <a:pt x="0" y="354"/>
                    <a:pt x="0" y="354"/>
                  </a:cubicBezTo>
                  <a:cubicBezTo>
                    <a:pt x="0" y="352"/>
                    <a:pt x="0" y="352"/>
                    <a:pt x="0" y="352"/>
                  </a:cubicBezTo>
                  <a:cubicBezTo>
                    <a:pt x="0" y="351"/>
                    <a:pt x="0" y="351"/>
                    <a:pt x="0" y="351"/>
                  </a:cubicBezTo>
                  <a:cubicBezTo>
                    <a:pt x="1" y="348"/>
                    <a:pt x="1" y="348"/>
                    <a:pt x="1" y="348"/>
                  </a:cubicBezTo>
                  <a:cubicBezTo>
                    <a:pt x="2" y="346"/>
                    <a:pt x="2" y="346"/>
                    <a:pt x="2" y="346"/>
                  </a:cubicBezTo>
                  <a:cubicBezTo>
                    <a:pt x="1" y="344"/>
                    <a:pt x="1" y="344"/>
                    <a:pt x="1" y="344"/>
                  </a:cubicBezTo>
                  <a:cubicBezTo>
                    <a:pt x="1" y="342"/>
                    <a:pt x="1" y="342"/>
                    <a:pt x="1" y="342"/>
                  </a:cubicBezTo>
                  <a:cubicBezTo>
                    <a:pt x="1" y="339"/>
                    <a:pt x="1" y="339"/>
                    <a:pt x="1" y="339"/>
                  </a:cubicBezTo>
                  <a:cubicBezTo>
                    <a:pt x="1" y="339"/>
                    <a:pt x="0" y="337"/>
                    <a:pt x="0" y="337"/>
                  </a:cubicBezTo>
                  <a:cubicBezTo>
                    <a:pt x="0" y="337"/>
                    <a:pt x="0" y="335"/>
                    <a:pt x="0" y="335"/>
                  </a:cubicBezTo>
                  <a:cubicBezTo>
                    <a:pt x="0" y="335"/>
                    <a:pt x="2" y="334"/>
                    <a:pt x="2" y="334"/>
                  </a:cubicBezTo>
                  <a:cubicBezTo>
                    <a:pt x="2" y="333"/>
                    <a:pt x="4" y="332"/>
                    <a:pt x="4" y="332"/>
                  </a:cubicBezTo>
                  <a:cubicBezTo>
                    <a:pt x="4" y="332"/>
                    <a:pt x="5" y="329"/>
                    <a:pt x="5" y="328"/>
                  </a:cubicBezTo>
                  <a:cubicBezTo>
                    <a:pt x="5" y="328"/>
                    <a:pt x="6" y="327"/>
                    <a:pt x="6" y="327"/>
                  </a:cubicBezTo>
                  <a:cubicBezTo>
                    <a:pt x="9" y="326"/>
                    <a:pt x="9" y="326"/>
                    <a:pt x="9" y="326"/>
                  </a:cubicBezTo>
                  <a:cubicBezTo>
                    <a:pt x="11" y="324"/>
                    <a:pt x="11" y="324"/>
                    <a:pt x="11" y="324"/>
                  </a:cubicBezTo>
                  <a:cubicBezTo>
                    <a:pt x="13" y="323"/>
                    <a:pt x="13" y="323"/>
                    <a:pt x="13" y="323"/>
                  </a:cubicBezTo>
                  <a:cubicBezTo>
                    <a:pt x="15" y="321"/>
                    <a:pt x="15" y="321"/>
                    <a:pt x="15" y="321"/>
                  </a:cubicBezTo>
                  <a:cubicBezTo>
                    <a:pt x="16" y="317"/>
                    <a:pt x="16" y="317"/>
                    <a:pt x="16" y="317"/>
                  </a:cubicBezTo>
                  <a:cubicBezTo>
                    <a:pt x="17" y="316"/>
                    <a:pt x="17" y="316"/>
                    <a:pt x="17" y="316"/>
                  </a:cubicBezTo>
                  <a:cubicBezTo>
                    <a:pt x="17" y="316"/>
                    <a:pt x="20" y="316"/>
                    <a:pt x="20" y="316"/>
                  </a:cubicBezTo>
                  <a:cubicBezTo>
                    <a:pt x="20" y="316"/>
                    <a:pt x="22" y="316"/>
                    <a:pt x="22" y="316"/>
                  </a:cubicBezTo>
                  <a:cubicBezTo>
                    <a:pt x="22" y="315"/>
                    <a:pt x="22" y="315"/>
                    <a:pt x="22" y="315"/>
                  </a:cubicBezTo>
                  <a:cubicBezTo>
                    <a:pt x="24" y="314"/>
                    <a:pt x="24" y="314"/>
                    <a:pt x="24" y="314"/>
                  </a:cubicBezTo>
                  <a:cubicBezTo>
                    <a:pt x="26" y="316"/>
                    <a:pt x="26" y="316"/>
                    <a:pt x="26" y="316"/>
                  </a:cubicBezTo>
                  <a:cubicBezTo>
                    <a:pt x="26" y="316"/>
                    <a:pt x="27" y="316"/>
                    <a:pt x="28" y="316"/>
                  </a:cubicBezTo>
                  <a:cubicBezTo>
                    <a:pt x="28" y="316"/>
                    <a:pt x="29" y="316"/>
                    <a:pt x="29" y="316"/>
                  </a:cubicBezTo>
                  <a:cubicBezTo>
                    <a:pt x="29" y="313"/>
                    <a:pt x="29" y="313"/>
                    <a:pt x="29" y="313"/>
                  </a:cubicBezTo>
                  <a:cubicBezTo>
                    <a:pt x="33" y="309"/>
                    <a:pt x="33" y="309"/>
                    <a:pt x="33" y="309"/>
                  </a:cubicBezTo>
                  <a:cubicBezTo>
                    <a:pt x="33" y="309"/>
                    <a:pt x="33" y="308"/>
                    <a:pt x="33" y="308"/>
                  </a:cubicBezTo>
                  <a:cubicBezTo>
                    <a:pt x="33" y="308"/>
                    <a:pt x="33" y="307"/>
                    <a:pt x="33" y="307"/>
                  </a:cubicBezTo>
                  <a:cubicBezTo>
                    <a:pt x="32" y="306"/>
                    <a:pt x="31" y="307"/>
                    <a:pt x="31" y="307"/>
                  </a:cubicBezTo>
                  <a:cubicBezTo>
                    <a:pt x="31" y="307"/>
                    <a:pt x="29" y="307"/>
                    <a:pt x="29" y="307"/>
                  </a:cubicBezTo>
                  <a:cubicBezTo>
                    <a:pt x="29" y="307"/>
                    <a:pt x="27" y="307"/>
                    <a:pt x="26" y="307"/>
                  </a:cubicBezTo>
                  <a:cubicBezTo>
                    <a:pt x="26" y="307"/>
                    <a:pt x="26" y="306"/>
                    <a:pt x="26" y="306"/>
                  </a:cubicBezTo>
                  <a:cubicBezTo>
                    <a:pt x="25" y="304"/>
                    <a:pt x="25" y="304"/>
                    <a:pt x="25" y="304"/>
                  </a:cubicBezTo>
                  <a:cubicBezTo>
                    <a:pt x="25" y="304"/>
                    <a:pt x="24" y="302"/>
                    <a:pt x="24" y="301"/>
                  </a:cubicBezTo>
                  <a:cubicBezTo>
                    <a:pt x="24" y="300"/>
                    <a:pt x="24" y="299"/>
                    <a:pt x="24" y="298"/>
                  </a:cubicBezTo>
                  <a:cubicBezTo>
                    <a:pt x="24" y="298"/>
                    <a:pt x="23" y="297"/>
                    <a:pt x="23" y="297"/>
                  </a:cubicBezTo>
                  <a:cubicBezTo>
                    <a:pt x="23" y="297"/>
                    <a:pt x="22" y="296"/>
                    <a:pt x="22" y="295"/>
                  </a:cubicBezTo>
                  <a:cubicBezTo>
                    <a:pt x="22" y="295"/>
                    <a:pt x="21" y="292"/>
                    <a:pt x="21" y="292"/>
                  </a:cubicBezTo>
                  <a:cubicBezTo>
                    <a:pt x="20" y="291"/>
                    <a:pt x="20" y="291"/>
                    <a:pt x="20" y="291"/>
                  </a:cubicBezTo>
                  <a:cubicBezTo>
                    <a:pt x="21" y="290"/>
                    <a:pt x="21" y="290"/>
                    <a:pt x="21" y="290"/>
                  </a:cubicBezTo>
                  <a:cubicBezTo>
                    <a:pt x="20" y="288"/>
                    <a:pt x="20" y="288"/>
                    <a:pt x="20" y="288"/>
                  </a:cubicBezTo>
                  <a:cubicBezTo>
                    <a:pt x="22" y="288"/>
                    <a:pt x="22" y="288"/>
                    <a:pt x="22" y="288"/>
                  </a:cubicBezTo>
                  <a:cubicBezTo>
                    <a:pt x="21" y="287"/>
                    <a:pt x="21" y="287"/>
                    <a:pt x="21" y="287"/>
                  </a:cubicBezTo>
                  <a:cubicBezTo>
                    <a:pt x="22" y="285"/>
                    <a:pt x="22" y="285"/>
                    <a:pt x="22" y="285"/>
                  </a:cubicBezTo>
                  <a:cubicBezTo>
                    <a:pt x="22" y="285"/>
                    <a:pt x="24" y="284"/>
                    <a:pt x="24" y="284"/>
                  </a:cubicBezTo>
                  <a:cubicBezTo>
                    <a:pt x="24" y="284"/>
                    <a:pt x="26" y="282"/>
                    <a:pt x="26" y="282"/>
                  </a:cubicBezTo>
                  <a:cubicBezTo>
                    <a:pt x="26" y="282"/>
                    <a:pt x="25" y="281"/>
                    <a:pt x="25" y="281"/>
                  </a:cubicBezTo>
                  <a:cubicBezTo>
                    <a:pt x="25" y="281"/>
                    <a:pt x="25" y="279"/>
                    <a:pt x="25" y="279"/>
                  </a:cubicBezTo>
                  <a:cubicBezTo>
                    <a:pt x="27" y="275"/>
                    <a:pt x="27" y="275"/>
                    <a:pt x="27" y="275"/>
                  </a:cubicBezTo>
                  <a:cubicBezTo>
                    <a:pt x="28" y="275"/>
                    <a:pt x="28" y="275"/>
                    <a:pt x="28" y="275"/>
                  </a:cubicBezTo>
                  <a:cubicBezTo>
                    <a:pt x="31" y="274"/>
                    <a:pt x="31" y="274"/>
                    <a:pt x="31" y="274"/>
                  </a:cubicBezTo>
                  <a:cubicBezTo>
                    <a:pt x="32" y="273"/>
                    <a:pt x="32" y="273"/>
                    <a:pt x="32" y="273"/>
                  </a:cubicBezTo>
                  <a:cubicBezTo>
                    <a:pt x="33" y="273"/>
                    <a:pt x="33" y="273"/>
                    <a:pt x="33" y="273"/>
                  </a:cubicBezTo>
                  <a:cubicBezTo>
                    <a:pt x="35" y="272"/>
                    <a:pt x="35" y="272"/>
                    <a:pt x="35" y="272"/>
                  </a:cubicBezTo>
                  <a:cubicBezTo>
                    <a:pt x="37" y="271"/>
                    <a:pt x="37" y="271"/>
                    <a:pt x="37" y="271"/>
                  </a:cubicBezTo>
                  <a:cubicBezTo>
                    <a:pt x="38" y="270"/>
                    <a:pt x="38" y="270"/>
                    <a:pt x="38" y="270"/>
                  </a:cubicBezTo>
                  <a:cubicBezTo>
                    <a:pt x="38" y="268"/>
                    <a:pt x="38" y="268"/>
                    <a:pt x="38" y="268"/>
                  </a:cubicBezTo>
                  <a:cubicBezTo>
                    <a:pt x="39" y="267"/>
                    <a:pt x="39" y="267"/>
                    <a:pt x="39" y="267"/>
                  </a:cubicBezTo>
                  <a:cubicBezTo>
                    <a:pt x="41" y="265"/>
                    <a:pt x="41" y="265"/>
                    <a:pt x="41" y="265"/>
                  </a:cubicBezTo>
                  <a:cubicBezTo>
                    <a:pt x="43" y="263"/>
                    <a:pt x="43" y="263"/>
                    <a:pt x="43" y="263"/>
                  </a:cubicBezTo>
                  <a:cubicBezTo>
                    <a:pt x="43" y="261"/>
                    <a:pt x="43" y="261"/>
                    <a:pt x="43" y="261"/>
                  </a:cubicBezTo>
                  <a:cubicBezTo>
                    <a:pt x="42" y="260"/>
                    <a:pt x="42" y="260"/>
                    <a:pt x="42" y="260"/>
                  </a:cubicBezTo>
                  <a:cubicBezTo>
                    <a:pt x="42" y="260"/>
                    <a:pt x="41" y="258"/>
                    <a:pt x="41" y="257"/>
                  </a:cubicBezTo>
                  <a:cubicBezTo>
                    <a:pt x="41" y="257"/>
                    <a:pt x="40" y="257"/>
                    <a:pt x="40" y="257"/>
                  </a:cubicBezTo>
                  <a:cubicBezTo>
                    <a:pt x="38" y="258"/>
                    <a:pt x="38" y="258"/>
                    <a:pt x="38" y="258"/>
                  </a:cubicBezTo>
                  <a:cubicBezTo>
                    <a:pt x="38" y="258"/>
                    <a:pt x="37" y="257"/>
                    <a:pt x="36" y="257"/>
                  </a:cubicBezTo>
                  <a:cubicBezTo>
                    <a:pt x="36" y="257"/>
                    <a:pt x="36" y="256"/>
                    <a:pt x="36" y="256"/>
                  </a:cubicBezTo>
                  <a:cubicBezTo>
                    <a:pt x="37" y="255"/>
                    <a:pt x="37" y="255"/>
                    <a:pt x="37" y="255"/>
                  </a:cubicBezTo>
                  <a:cubicBezTo>
                    <a:pt x="37" y="253"/>
                    <a:pt x="37" y="253"/>
                    <a:pt x="37" y="253"/>
                  </a:cubicBezTo>
                  <a:cubicBezTo>
                    <a:pt x="35" y="253"/>
                    <a:pt x="35" y="253"/>
                    <a:pt x="35" y="253"/>
                  </a:cubicBezTo>
                  <a:cubicBezTo>
                    <a:pt x="34" y="251"/>
                    <a:pt x="34" y="251"/>
                    <a:pt x="34" y="251"/>
                  </a:cubicBezTo>
                  <a:cubicBezTo>
                    <a:pt x="33" y="249"/>
                    <a:pt x="33" y="249"/>
                    <a:pt x="33" y="249"/>
                  </a:cubicBezTo>
                  <a:cubicBezTo>
                    <a:pt x="33" y="247"/>
                    <a:pt x="33" y="247"/>
                    <a:pt x="33" y="247"/>
                  </a:cubicBezTo>
                  <a:cubicBezTo>
                    <a:pt x="34" y="246"/>
                    <a:pt x="34" y="246"/>
                    <a:pt x="34" y="246"/>
                  </a:cubicBezTo>
                  <a:cubicBezTo>
                    <a:pt x="34" y="245"/>
                    <a:pt x="34" y="245"/>
                    <a:pt x="34" y="245"/>
                  </a:cubicBezTo>
                  <a:cubicBezTo>
                    <a:pt x="33" y="244"/>
                    <a:pt x="33" y="244"/>
                    <a:pt x="33" y="244"/>
                  </a:cubicBezTo>
                  <a:cubicBezTo>
                    <a:pt x="33" y="242"/>
                    <a:pt x="33" y="242"/>
                    <a:pt x="33" y="242"/>
                  </a:cubicBezTo>
                  <a:cubicBezTo>
                    <a:pt x="32" y="240"/>
                    <a:pt x="32" y="240"/>
                    <a:pt x="32" y="240"/>
                  </a:cubicBezTo>
                  <a:cubicBezTo>
                    <a:pt x="33" y="239"/>
                    <a:pt x="33" y="239"/>
                    <a:pt x="33" y="239"/>
                  </a:cubicBezTo>
                  <a:cubicBezTo>
                    <a:pt x="34" y="238"/>
                    <a:pt x="34" y="238"/>
                    <a:pt x="34" y="238"/>
                  </a:cubicBezTo>
                  <a:cubicBezTo>
                    <a:pt x="34" y="236"/>
                    <a:pt x="34" y="236"/>
                    <a:pt x="34" y="236"/>
                  </a:cubicBezTo>
                  <a:cubicBezTo>
                    <a:pt x="34" y="236"/>
                    <a:pt x="32" y="235"/>
                    <a:pt x="32" y="235"/>
                  </a:cubicBezTo>
                  <a:cubicBezTo>
                    <a:pt x="32" y="235"/>
                    <a:pt x="31" y="233"/>
                    <a:pt x="31" y="233"/>
                  </a:cubicBezTo>
                  <a:cubicBezTo>
                    <a:pt x="31" y="232"/>
                    <a:pt x="31" y="232"/>
                    <a:pt x="31" y="232"/>
                  </a:cubicBezTo>
                  <a:cubicBezTo>
                    <a:pt x="31" y="232"/>
                    <a:pt x="29" y="230"/>
                    <a:pt x="29" y="230"/>
                  </a:cubicBezTo>
                  <a:cubicBezTo>
                    <a:pt x="29" y="230"/>
                    <a:pt x="29" y="228"/>
                    <a:pt x="29" y="228"/>
                  </a:cubicBezTo>
                  <a:cubicBezTo>
                    <a:pt x="29" y="228"/>
                    <a:pt x="28" y="226"/>
                    <a:pt x="28" y="226"/>
                  </a:cubicBezTo>
                  <a:cubicBezTo>
                    <a:pt x="27" y="225"/>
                    <a:pt x="27" y="224"/>
                    <a:pt x="27" y="224"/>
                  </a:cubicBezTo>
                  <a:cubicBezTo>
                    <a:pt x="29" y="224"/>
                    <a:pt x="29" y="224"/>
                    <a:pt x="29" y="224"/>
                  </a:cubicBezTo>
                  <a:cubicBezTo>
                    <a:pt x="31" y="224"/>
                    <a:pt x="31" y="224"/>
                    <a:pt x="31" y="224"/>
                  </a:cubicBezTo>
                  <a:cubicBezTo>
                    <a:pt x="32" y="226"/>
                    <a:pt x="32" y="226"/>
                    <a:pt x="32" y="226"/>
                  </a:cubicBezTo>
                  <a:cubicBezTo>
                    <a:pt x="33" y="225"/>
                    <a:pt x="33" y="225"/>
                    <a:pt x="33" y="225"/>
                  </a:cubicBezTo>
                  <a:cubicBezTo>
                    <a:pt x="33" y="226"/>
                    <a:pt x="33" y="226"/>
                    <a:pt x="33" y="226"/>
                  </a:cubicBezTo>
                  <a:cubicBezTo>
                    <a:pt x="35" y="226"/>
                    <a:pt x="35" y="226"/>
                    <a:pt x="35" y="226"/>
                  </a:cubicBezTo>
                  <a:cubicBezTo>
                    <a:pt x="38" y="226"/>
                    <a:pt x="38" y="226"/>
                    <a:pt x="38" y="226"/>
                  </a:cubicBezTo>
                  <a:cubicBezTo>
                    <a:pt x="40" y="226"/>
                    <a:pt x="40" y="226"/>
                    <a:pt x="40" y="226"/>
                  </a:cubicBezTo>
                  <a:cubicBezTo>
                    <a:pt x="41" y="226"/>
                    <a:pt x="41" y="226"/>
                    <a:pt x="41" y="226"/>
                  </a:cubicBezTo>
                  <a:cubicBezTo>
                    <a:pt x="41" y="226"/>
                    <a:pt x="42" y="227"/>
                    <a:pt x="42" y="227"/>
                  </a:cubicBezTo>
                  <a:cubicBezTo>
                    <a:pt x="43" y="228"/>
                    <a:pt x="44" y="227"/>
                    <a:pt x="44" y="227"/>
                  </a:cubicBezTo>
                  <a:cubicBezTo>
                    <a:pt x="44" y="228"/>
                    <a:pt x="46" y="228"/>
                    <a:pt x="46" y="228"/>
                  </a:cubicBezTo>
                  <a:cubicBezTo>
                    <a:pt x="46" y="228"/>
                    <a:pt x="47" y="227"/>
                    <a:pt x="48" y="227"/>
                  </a:cubicBezTo>
                  <a:cubicBezTo>
                    <a:pt x="48" y="227"/>
                    <a:pt x="49" y="227"/>
                    <a:pt x="49" y="227"/>
                  </a:cubicBezTo>
                  <a:cubicBezTo>
                    <a:pt x="50" y="226"/>
                    <a:pt x="50" y="226"/>
                    <a:pt x="50" y="226"/>
                  </a:cubicBezTo>
                  <a:cubicBezTo>
                    <a:pt x="50" y="224"/>
                    <a:pt x="50" y="224"/>
                    <a:pt x="50" y="224"/>
                  </a:cubicBezTo>
                  <a:cubicBezTo>
                    <a:pt x="51" y="224"/>
                    <a:pt x="51" y="224"/>
                    <a:pt x="51" y="224"/>
                  </a:cubicBezTo>
                  <a:cubicBezTo>
                    <a:pt x="51" y="223"/>
                    <a:pt x="51" y="223"/>
                    <a:pt x="51" y="223"/>
                  </a:cubicBezTo>
                  <a:cubicBezTo>
                    <a:pt x="52" y="221"/>
                    <a:pt x="52" y="221"/>
                    <a:pt x="52" y="221"/>
                  </a:cubicBezTo>
                  <a:cubicBezTo>
                    <a:pt x="52" y="220"/>
                    <a:pt x="52" y="220"/>
                    <a:pt x="52" y="220"/>
                  </a:cubicBezTo>
                  <a:cubicBezTo>
                    <a:pt x="54" y="220"/>
                    <a:pt x="54" y="220"/>
                    <a:pt x="54" y="220"/>
                  </a:cubicBezTo>
                  <a:cubicBezTo>
                    <a:pt x="55" y="219"/>
                    <a:pt x="55" y="219"/>
                    <a:pt x="55" y="219"/>
                  </a:cubicBezTo>
                  <a:cubicBezTo>
                    <a:pt x="56" y="217"/>
                    <a:pt x="56" y="217"/>
                    <a:pt x="56" y="217"/>
                  </a:cubicBezTo>
                  <a:cubicBezTo>
                    <a:pt x="57" y="215"/>
                    <a:pt x="57" y="215"/>
                    <a:pt x="57" y="215"/>
                  </a:cubicBezTo>
                  <a:cubicBezTo>
                    <a:pt x="57" y="215"/>
                    <a:pt x="58" y="213"/>
                    <a:pt x="58" y="213"/>
                  </a:cubicBezTo>
                  <a:cubicBezTo>
                    <a:pt x="58" y="213"/>
                    <a:pt x="59" y="211"/>
                    <a:pt x="59" y="211"/>
                  </a:cubicBezTo>
                  <a:cubicBezTo>
                    <a:pt x="58" y="208"/>
                    <a:pt x="58" y="208"/>
                    <a:pt x="58" y="208"/>
                  </a:cubicBezTo>
                  <a:cubicBezTo>
                    <a:pt x="57" y="206"/>
                    <a:pt x="57" y="206"/>
                    <a:pt x="57" y="206"/>
                  </a:cubicBezTo>
                  <a:cubicBezTo>
                    <a:pt x="56" y="204"/>
                    <a:pt x="56" y="204"/>
                    <a:pt x="56" y="204"/>
                  </a:cubicBezTo>
                  <a:cubicBezTo>
                    <a:pt x="56" y="204"/>
                    <a:pt x="56" y="203"/>
                    <a:pt x="55" y="203"/>
                  </a:cubicBezTo>
                  <a:cubicBezTo>
                    <a:pt x="55" y="203"/>
                    <a:pt x="55" y="202"/>
                    <a:pt x="55" y="202"/>
                  </a:cubicBezTo>
                  <a:cubicBezTo>
                    <a:pt x="55" y="200"/>
                    <a:pt x="55" y="200"/>
                    <a:pt x="55" y="200"/>
                  </a:cubicBezTo>
                  <a:cubicBezTo>
                    <a:pt x="56" y="199"/>
                    <a:pt x="56" y="199"/>
                    <a:pt x="56" y="199"/>
                  </a:cubicBezTo>
                  <a:cubicBezTo>
                    <a:pt x="57" y="199"/>
                    <a:pt x="57" y="199"/>
                    <a:pt x="57" y="199"/>
                  </a:cubicBezTo>
                  <a:cubicBezTo>
                    <a:pt x="59" y="197"/>
                    <a:pt x="59" y="197"/>
                    <a:pt x="59" y="197"/>
                  </a:cubicBezTo>
                  <a:cubicBezTo>
                    <a:pt x="60" y="197"/>
                    <a:pt x="60" y="197"/>
                    <a:pt x="60" y="197"/>
                  </a:cubicBezTo>
                  <a:cubicBezTo>
                    <a:pt x="62" y="197"/>
                    <a:pt x="62" y="197"/>
                    <a:pt x="62" y="197"/>
                  </a:cubicBezTo>
                  <a:cubicBezTo>
                    <a:pt x="64" y="195"/>
                    <a:pt x="64" y="195"/>
                    <a:pt x="64" y="195"/>
                  </a:cubicBezTo>
                  <a:cubicBezTo>
                    <a:pt x="65" y="195"/>
                    <a:pt x="65" y="195"/>
                    <a:pt x="65" y="195"/>
                  </a:cubicBezTo>
                  <a:cubicBezTo>
                    <a:pt x="66" y="194"/>
                    <a:pt x="66" y="194"/>
                    <a:pt x="66" y="194"/>
                  </a:cubicBezTo>
                  <a:cubicBezTo>
                    <a:pt x="67" y="192"/>
                    <a:pt x="67" y="192"/>
                    <a:pt x="67" y="192"/>
                  </a:cubicBezTo>
                  <a:cubicBezTo>
                    <a:pt x="66" y="190"/>
                    <a:pt x="66" y="190"/>
                    <a:pt x="66" y="190"/>
                  </a:cubicBezTo>
                  <a:cubicBezTo>
                    <a:pt x="65" y="189"/>
                    <a:pt x="65" y="189"/>
                    <a:pt x="65" y="189"/>
                  </a:cubicBezTo>
                  <a:cubicBezTo>
                    <a:pt x="66" y="186"/>
                    <a:pt x="66" y="186"/>
                    <a:pt x="66" y="186"/>
                  </a:cubicBezTo>
                  <a:cubicBezTo>
                    <a:pt x="68" y="185"/>
                    <a:pt x="68" y="185"/>
                    <a:pt x="68" y="185"/>
                  </a:cubicBezTo>
                  <a:cubicBezTo>
                    <a:pt x="68" y="182"/>
                    <a:pt x="68" y="182"/>
                    <a:pt x="68" y="182"/>
                  </a:cubicBezTo>
                  <a:cubicBezTo>
                    <a:pt x="67" y="181"/>
                    <a:pt x="67" y="181"/>
                    <a:pt x="67" y="181"/>
                  </a:cubicBezTo>
                  <a:cubicBezTo>
                    <a:pt x="68" y="179"/>
                    <a:pt x="68" y="179"/>
                    <a:pt x="68" y="179"/>
                  </a:cubicBezTo>
                  <a:cubicBezTo>
                    <a:pt x="69" y="178"/>
                    <a:pt x="69" y="178"/>
                    <a:pt x="69" y="178"/>
                  </a:cubicBezTo>
                  <a:cubicBezTo>
                    <a:pt x="69" y="178"/>
                    <a:pt x="70" y="176"/>
                    <a:pt x="70" y="175"/>
                  </a:cubicBezTo>
                  <a:cubicBezTo>
                    <a:pt x="71" y="175"/>
                    <a:pt x="71" y="172"/>
                    <a:pt x="71" y="172"/>
                  </a:cubicBezTo>
                  <a:cubicBezTo>
                    <a:pt x="70" y="170"/>
                    <a:pt x="70" y="170"/>
                    <a:pt x="70" y="170"/>
                  </a:cubicBezTo>
                  <a:cubicBezTo>
                    <a:pt x="70" y="169"/>
                    <a:pt x="70" y="169"/>
                    <a:pt x="70" y="169"/>
                  </a:cubicBezTo>
                  <a:cubicBezTo>
                    <a:pt x="70" y="169"/>
                    <a:pt x="72" y="168"/>
                    <a:pt x="72" y="168"/>
                  </a:cubicBezTo>
                  <a:cubicBezTo>
                    <a:pt x="73" y="168"/>
                    <a:pt x="73" y="165"/>
                    <a:pt x="73" y="165"/>
                  </a:cubicBezTo>
                  <a:cubicBezTo>
                    <a:pt x="71" y="164"/>
                    <a:pt x="71" y="164"/>
                    <a:pt x="71" y="164"/>
                  </a:cubicBezTo>
                  <a:cubicBezTo>
                    <a:pt x="71" y="164"/>
                    <a:pt x="71" y="162"/>
                    <a:pt x="71" y="161"/>
                  </a:cubicBezTo>
                  <a:cubicBezTo>
                    <a:pt x="71" y="161"/>
                    <a:pt x="71" y="159"/>
                    <a:pt x="71" y="159"/>
                  </a:cubicBezTo>
                  <a:cubicBezTo>
                    <a:pt x="70" y="159"/>
                    <a:pt x="70" y="159"/>
                    <a:pt x="70" y="159"/>
                  </a:cubicBezTo>
                  <a:cubicBezTo>
                    <a:pt x="70" y="157"/>
                    <a:pt x="70" y="157"/>
                    <a:pt x="70" y="157"/>
                  </a:cubicBezTo>
                  <a:cubicBezTo>
                    <a:pt x="71" y="156"/>
                    <a:pt x="71" y="156"/>
                    <a:pt x="71" y="156"/>
                  </a:cubicBezTo>
                  <a:cubicBezTo>
                    <a:pt x="73" y="157"/>
                    <a:pt x="73" y="157"/>
                    <a:pt x="73" y="157"/>
                  </a:cubicBezTo>
                  <a:cubicBezTo>
                    <a:pt x="73" y="157"/>
                    <a:pt x="74" y="156"/>
                    <a:pt x="75" y="156"/>
                  </a:cubicBezTo>
                  <a:cubicBezTo>
                    <a:pt x="75" y="155"/>
                    <a:pt x="77" y="155"/>
                    <a:pt x="77" y="155"/>
                  </a:cubicBezTo>
                  <a:cubicBezTo>
                    <a:pt x="78" y="152"/>
                    <a:pt x="78" y="152"/>
                    <a:pt x="78" y="152"/>
                  </a:cubicBezTo>
                  <a:cubicBezTo>
                    <a:pt x="82" y="150"/>
                    <a:pt x="82" y="150"/>
                    <a:pt x="82" y="150"/>
                  </a:cubicBezTo>
                  <a:cubicBezTo>
                    <a:pt x="82" y="149"/>
                    <a:pt x="82" y="149"/>
                    <a:pt x="82" y="149"/>
                  </a:cubicBezTo>
                  <a:cubicBezTo>
                    <a:pt x="85" y="148"/>
                    <a:pt x="85" y="148"/>
                    <a:pt x="85" y="148"/>
                  </a:cubicBezTo>
                  <a:cubicBezTo>
                    <a:pt x="87" y="149"/>
                    <a:pt x="87" y="149"/>
                    <a:pt x="87" y="149"/>
                  </a:cubicBezTo>
                  <a:cubicBezTo>
                    <a:pt x="89" y="147"/>
                    <a:pt x="89" y="147"/>
                    <a:pt x="89" y="147"/>
                  </a:cubicBezTo>
                  <a:cubicBezTo>
                    <a:pt x="90" y="147"/>
                    <a:pt x="90" y="147"/>
                    <a:pt x="90" y="147"/>
                  </a:cubicBezTo>
                  <a:cubicBezTo>
                    <a:pt x="92" y="146"/>
                    <a:pt x="92" y="146"/>
                    <a:pt x="92" y="146"/>
                  </a:cubicBezTo>
                  <a:cubicBezTo>
                    <a:pt x="94" y="145"/>
                    <a:pt x="94" y="145"/>
                    <a:pt x="94" y="145"/>
                  </a:cubicBezTo>
                  <a:cubicBezTo>
                    <a:pt x="97" y="142"/>
                    <a:pt x="97" y="142"/>
                    <a:pt x="97" y="142"/>
                  </a:cubicBezTo>
                  <a:cubicBezTo>
                    <a:pt x="98" y="142"/>
                    <a:pt x="98" y="142"/>
                    <a:pt x="98" y="142"/>
                  </a:cubicBezTo>
                  <a:cubicBezTo>
                    <a:pt x="98" y="142"/>
                    <a:pt x="100" y="141"/>
                    <a:pt x="100" y="141"/>
                  </a:cubicBezTo>
                  <a:cubicBezTo>
                    <a:pt x="100" y="141"/>
                    <a:pt x="101" y="139"/>
                    <a:pt x="101" y="139"/>
                  </a:cubicBezTo>
                  <a:cubicBezTo>
                    <a:pt x="103" y="138"/>
                    <a:pt x="103" y="138"/>
                    <a:pt x="103" y="138"/>
                  </a:cubicBezTo>
                  <a:cubicBezTo>
                    <a:pt x="105" y="135"/>
                    <a:pt x="105" y="135"/>
                    <a:pt x="105" y="135"/>
                  </a:cubicBezTo>
                  <a:cubicBezTo>
                    <a:pt x="107" y="133"/>
                    <a:pt x="107" y="133"/>
                    <a:pt x="107" y="133"/>
                  </a:cubicBezTo>
                  <a:cubicBezTo>
                    <a:pt x="105" y="130"/>
                    <a:pt x="105" y="130"/>
                    <a:pt x="105" y="130"/>
                  </a:cubicBezTo>
                  <a:cubicBezTo>
                    <a:pt x="105" y="130"/>
                    <a:pt x="103" y="128"/>
                    <a:pt x="102" y="128"/>
                  </a:cubicBezTo>
                  <a:cubicBezTo>
                    <a:pt x="102" y="127"/>
                    <a:pt x="100" y="126"/>
                    <a:pt x="100" y="126"/>
                  </a:cubicBezTo>
                  <a:cubicBezTo>
                    <a:pt x="100" y="126"/>
                    <a:pt x="97" y="125"/>
                    <a:pt x="97" y="125"/>
                  </a:cubicBezTo>
                  <a:cubicBezTo>
                    <a:pt x="97" y="125"/>
                    <a:pt x="95" y="126"/>
                    <a:pt x="95" y="126"/>
                  </a:cubicBezTo>
                  <a:cubicBezTo>
                    <a:pt x="94" y="125"/>
                    <a:pt x="94" y="125"/>
                    <a:pt x="94" y="125"/>
                  </a:cubicBezTo>
                  <a:cubicBezTo>
                    <a:pt x="94" y="125"/>
                    <a:pt x="93" y="123"/>
                    <a:pt x="94" y="123"/>
                  </a:cubicBezTo>
                  <a:cubicBezTo>
                    <a:pt x="94" y="123"/>
                    <a:pt x="94" y="122"/>
                    <a:pt x="94" y="122"/>
                  </a:cubicBezTo>
                  <a:cubicBezTo>
                    <a:pt x="94" y="121"/>
                    <a:pt x="94" y="121"/>
                    <a:pt x="94" y="121"/>
                  </a:cubicBezTo>
                  <a:cubicBezTo>
                    <a:pt x="94" y="120"/>
                    <a:pt x="94" y="120"/>
                    <a:pt x="94" y="120"/>
                  </a:cubicBezTo>
                  <a:cubicBezTo>
                    <a:pt x="95" y="119"/>
                    <a:pt x="95" y="119"/>
                    <a:pt x="95" y="119"/>
                  </a:cubicBezTo>
                  <a:cubicBezTo>
                    <a:pt x="95" y="119"/>
                    <a:pt x="96" y="118"/>
                    <a:pt x="96" y="117"/>
                  </a:cubicBezTo>
                  <a:cubicBezTo>
                    <a:pt x="96" y="117"/>
                    <a:pt x="97" y="115"/>
                    <a:pt x="97" y="115"/>
                  </a:cubicBezTo>
                  <a:cubicBezTo>
                    <a:pt x="97" y="115"/>
                    <a:pt x="96" y="114"/>
                    <a:pt x="96" y="113"/>
                  </a:cubicBezTo>
                  <a:cubicBezTo>
                    <a:pt x="95" y="113"/>
                    <a:pt x="95" y="113"/>
                    <a:pt x="96" y="112"/>
                  </a:cubicBezTo>
                  <a:cubicBezTo>
                    <a:pt x="96" y="112"/>
                    <a:pt x="96" y="111"/>
                    <a:pt x="96" y="111"/>
                  </a:cubicBezTo>
                  <a:cubicBezTo>
                    <a:pt x="96" y="111"/>
                    <a:pt x="96" y="109"/>
                    <a:pt x="95" y="109"/>
                  </a:cubicBezTo>
                  <a:cubicBezTo>
                    <a:pt x="95" y="109"/>
                    <a:pt x="93" y="110"/>
                    <a:pt x="93" y="110"/>
                  </a:cubicBezTo>
                  <a:cubicBezTo>
                    <a:pt x="93" y="110"/>
                    <a:pt x="90" y="109"/>
                    <a:pt x="90" y="109"/>
                  </a:cubicBezTo>
                  <a:cubicBezTo>
                    <a:pt x="90" y="109"/>
                    <a:pt x="89" y="108"/>
                    <a:pt x="89" y="108"/>
                  </a:cubicBezTo>
                  <a:cubicBezTo>
                    <a:pt x="89" y="108"/>
                    <a:pt x="89" y="106"/>
                    <a:pt x="88" y="106"/>
                  </a:cubicBezTo>
                  <a:cubicBezTo>
                    <a:pt x="87" y="105"/>
                    <a:pt x="87" y="106"/>
                    <a:pt x="87" y="106"/>
                  </a:cubicBezTo>
                  <a:cubicBezTo>
                    <a:pt x="86" y="108"/>
                    <a:pt x="86" y="108"/>
                    <a:pt x="86" y="108"/>
                  </a:cubicBezTo>
                  <a:cubicBezTo>
                    <a:pt x="86" y="108"/>
                    <a:pt x="84" y="108"/>
                    <a:pt x="83" y="107"/>
                  </a:cubicBezTo>
                  <a:cubicBezTo>
                    <a:pt x="83" y="107"/>
                    <a:pt x="82" y="107"/>
                    <a:pt x="82" y="107"/>
                  </a:cubicBezTo>
                  <a:cubicBezTo>
                    <a:pt x="81" y="107"/>
                    <a:pt x="81" y="106"/>
                    <a:pt x="81" y="105"/>
                  </a:cubicBezTo>
                  <a:cubicBezTo>
                    <a:pt x="80" y="104"/>
                    <a:pt x="80" y="105"/>
                    <a:pt x="79" y="105"/>
                  </a:cubicBezTo>
                  <a:cubicBezTo>
                    <a:pt x="79" y="105"/>
                    <a:pt x="77" y="105"/>
                    <a:pt x="77" y="105"/>
                  </a:cubicBezTo>
                  <a:cubicBezTo>
                    <a:pt x="77" y="105"/>
                    <a:pt x="75" y="103"/>
                    <a:pt x="75" y="103"/>
                  </a:cubicBezTo>
                  <a:cubicBezTo>
                    <a:pt x="75" y="102"/>
                    <a:pt x="74" y="102"/>
                    <a:pt x="74" y="102"/>
                  </a:cubicBezTo>
                  <a:cubicBezTo>
                    <a:pt x="74" y="102"/>
                    <a:pt x="72" y="103"/>
                    <a:pt x="72" y="103"/>
                  </a:cubicBezTo>
                  <a:cubicBezTo>
                    <a:pt x="72" y="104"/>
                    <a:pt x="72" y="104"/>
                    <a:pt x="72" y="104"/>
                  </a:cubicBezTo>
                  <a:cubicBezTo>
                    <a:pt x="71" y="107"/>
                    <a:pt x="71" y="107"/>
                    <a:pt x="71" y="107"/>
                  </a:cubicBezTo>
                  <a:cubicBezTo>
                    <a:pt x="68" y="109"/>
                    <a:pt x="68" y="109"/>
                    <a:pt x="68" y="109"/>
                  </a:cubicBezTo>
                  <a:cubicBezTo>
                    <a:pt x="68" y="109"/>
                    <a:pt x="65" y="109"/>
                    <a:pt x="64" y="108"/>
                  </a:cubicBezTo>
                  <a:cubicBezTo>
                    <a:pt x="64" y="108"/>
                    <a:pt x="64" y="108"/>
                    <a:pt x="63" y="108"/>
                  </a:cubicBezTo>
                  <a:cubicBezTo>
                    <a:pt x="62" y="108"/>
                    <a:pt x="62" y="108"/>
                    <a:pt x="62" y="108"/>
                  </a:cubicBezTo>
                  <a:cubicBezTo>
                    <a:pt x="62" y="108"/>
                    <a:pt x="60" y="109"/>
                    <a:pt x="60" y="109"/>
                  </a:cubicBezTo>
                  <a:cubicBezTo>
                    <a:pt x="60" y="109"/>
                    <a:pt x="59" y="107"/>
                    <a:pt x="59" y="107"/>
                  </a:cubicBezTo>
                  <a:cubicBezTo>
                    <a:pt x="59" y="107"/>
                    <a:pt x="57" y="106"/>
                    <a:pt x="57" y="105"/>
                  </a:cubicBezTo>
                  <a:cubicBezTo>
                    <a:pt x="57" y="105"/>
                    <a:pt x="57" y="106"/>
                    <a:pt x="57" y="106"/>
                  </a:cubicBezTo>
                  <a:cubicBezTo>
                    <a:pt x="57" y="106"/>
                    <a:pt x="56" y="107"/>
                    <a:pt x="55" y="107"/>
                  </a:cubicBezTo>
                  <a:cubicBezTo>
                    <a:pt x="55" y="107"/>
                    <a:pt x="54" y="108"/>
                    <a:pt x="54" y="108"/>
                  </a:cubicBezTo>
                  <a:cubicBezTo>
                    <a:pt x="53" y="108"/>
                    <a:pt x="54" y="106"/>
                    <a:pt x="54" y="106"/>
                  </a:cubicBezTo>
                  <a:cubicBezTo>
                    <a:pt x="55" y="104"/>
                    <a:pt x="55" y="104"/>
                    <a:pt x="55" y="104"/>
                  </a:cubicBezTo>
                  <a:cubicBezTo>
                    <a:pt x="55" y="104"/>
                    <a:pt x="52" y="103"/>
                    <a:pt x="52" y="102"/>
                  </a:cubicBezTo>
                  <a:cubicBezTo>
                    <a:pt x="51" y="102"/>
                    <a:pt x="50" y="101"/>
                    <a:pt x="50" y="101"/>
                  </a:cubicBezTo>
                  <a:cubicBezTo>
                    <a:pt x="50" y="101"/>
                    <a:pt x="48" y="101"/>
                    <a:pt x="48" y="101"/>
                  </a:cubicBezTo>
                  <a:cubicBezTo>
                    <a:pt x="46" y="101"/>
                    <a:pt x="46" y="101"/>
                    <a:pt x="46" y="101"/>
                  </a:cubicBezTo>
                  <a:cubicBezTo>
                    <a:pt x="46" y="101"/>
                    <a:pt x="45" y="101"/>
                    <a:pt x="44" y="102"/>
                  </a:cubicBezTo>
                  <a:cubicBezTo>
                    <a:pt x="44" y="102"/>
                    <a:pt x="43" y="103"/>
                    <a:pt x="42" y="102"/>
                  </a:cubicBezTo>
                  <a:cubicBezTo>
                    <a:pt x="42" y="102"/>
                    <a:pt x="43" y="100"/>
                    <a:pt x="43" y="100"/>
                  </a:cubicBezTo>
                  <a:cubicBezTo>
                    <a:pt x="43" y="100"/>
                    <a:pt x="43" y="98"/>
                    <a:pt x="43" y="98"/>
                  </a:cubicBezTo>
                  <a:cubicBezTo>
                    <a:pt x="42" y="97"/>
                    <a:pt x="42" y="99"/>
                    <a:pt x="42" y="99"/>
                  </a:cubicBezTo>
                  <a:cubicBezTo>
                    <a:pt x="42" y="99"/>
                    <a:pt x="40" y="100"/>
                    <a:pt x="39" y="101"/>
                  </a:cubicBezTo>
                  <a:cubicBezTo>
                    <a:pt x="39" y="101"/>
                    <a:pt x="38" y="101"/>
                    <a:pt x="38" y="101"/>
                  </a:cubicBezTo>
                  <a:cubicBezTo>
                    <a:pt x="37" y="101"/>
                    <a:pt x="36" y="102"/>
                    <a:pt x="34" y="102"/>
                  </a:cubicBezTo>
                  <a:cubicBezTo>
                    <a:pt x="33" y="102"/>
                    <a:pt x="32" y="103"/>
                    <a:pt x="32" y="102"/>
                  </a:cubicBezTo>
                  <a:cubicBezTo>
                    <a:pt x="31" y="102"/>
                    <a:pt x="31" y="101"/>
                    <a:pt x="31" y="101"/>
                  </a:cubicBezTo>
                  <a:cubicBezTo>
                    <a:pt x="31" y="99"/>
                    <a:pt x="31" y="99"/>
                    <a:pt x="31" y="99"/>
                  </a:cubicBezTo>
                  <a:cubicBezTo>
                    <a:pt x="31" y="99"/>
                    <a:pt x="30" y="98"/>
                    <a:pt x="30" y="97"/>
                  </a:cubicBezTo>
                  <a:cubicBezTo>
                    <a:pt x="29" y="96"/>
                    <a:pt x="30" y="96"/>
                    <a:pt x="30" y="95"/>
                  </a:cubicBezTo>
                  <a:cubicBezTo>
                    <a:pt x="30" y="95"/>
                    <a:pt x="32" y="94"/>
                    <a:pt x="32" y="94"/>
                  </a:cubicBezTo>
                  <a:cubicBezTo>
                    <a:pt x="32" y="93"/>
                    <a:pt x="33" y="93"/>
                    <a:pt x="33" y="93"/>
                  </a:cubicBezTo>
                  <a:cubicBezTo>
                    <a:pt x="36" y="92"/>
                    <a:pt x="36" y="92"/>
                    <a:pt x="36" y="92"/>
                  </a:cubicBezTo>
                  <a:cubicBezTo>
                    <a:pt x="36" y="92"/>
                    <a:pt x="36" y="89"/>
                    <a:pt x="36" y="88"/>
                  </a:cubicBezTo>
                  <a:cubicBezTo>
                    <a:pt x="36" y="88"/>
                    <a:pt x="36" y="88"/>
                    <a:pt x="35" y="88"/>
                  </a:cubicBezTo>
                  <a:cubicBezTo>
                    <a:pt x="34" y="88"/>
                    <a:pt x="34" y="87"/>
                    <a:pt x="34" y="87"/>
                  </a:cubicBezTo>
                  <a:cubicBezTo>
                    <a:pt x="34" y="87"/>
                    <a:pt x="34" y="85"/>
                    <a:pt x="34" y="85"/>
                  </a:cubicBezTo>
                  <a:cubicBezTo>
                    <a:pt x="33" y="83"/>
                    <a:pt x="33" y="83"/>
                    <a:pt x="33" y="83"/>
                  </a:cubicBezTo>
                  <a:cubicBezTo>
                    <a:pt x="29" y="84"/>
                    <a:pt x="29" y="84"/>
                    <a:pt x="29" y="84"/>
                  </a:cubicBezTo>
                  <a:cubicBezTo>
                    <a:pt x="29" y="84"/>
                    <a:pt x="27" y="85"/>
                    <a:pt x="26" y="85"/>
                  </a:cubicBezTo>
                  <a:cubicBezTo>
                    <a:pt x="26" y="85"/>
                    <a:pt x="24" y="85"/>
                    <a:pt x="24" y="85"/>
                  </a:cubicBezTo>
                  <a:cubicBezTo>
                    <a:pt x="23" y="85"/>
                    <a:pt x="22" y="84"/>
                    <a:pt x="22" y="84"/>
                  </a:cubicBezTo>
                  <a:cubicBezTo>
                    <a:pt x="22" y="84"/>
                    <a:pt x="18" y="85"/>
                    <a:pt x="18" y="85"/>
                  </a:cubicBezTo>
                  <a:cubicBezTo>
                    <a:pt x="18" y="85"/>
                    <a:pt x="17" y="85"/>
                    <a:pt x="17" y="85"/>
                  </a:cubicBezTo>
                  <a:cubicBezTo>
                    <a:pt x="15" y="85"/>
                    <a:pt x="15" y="85"/>
                    <a:pt x="15" y="85"/>
                  </a:cubicBezTo>
                  <a:cubicBezTo>
                    <a:pt x="13" y="86"/>
                    <a:pt x="13" y="86"/>
                    <a:pt x="13" y="86"/>
                  </a:cubicBezTo>
                  <a:cubicBezTo>
                    <a:pt x="12" y="87"/>
                    <a:pt x="12" y="87"/>
                    <a:pt x="12" y="87"/>
                  </a:cubicBezTo>
                  <a:cubicBezTo>
                    <a:pt x="12" y="87"/>
                    <a:pt x="11" y="88"/>
                    <a:pt x="11" y="88"/>
                  </a:cubicBezTo>
                  <a:cubicBezTo>
                    <a:pt x="10" y="88"/>
                    <a:pt x="9" y="88"/>
                    <a:pt x="8" y="88"/>
                  </a:cubicBezTo>
                  <a:cubicBezTo>
                    <a:pt x="8" y="88"/>
                    <a:pt x="7" y="89"/>
                    <a:pt x="7" y="89"/>
                  </a:cubicBezTo>
                  <a:cubicBezTo>
                    <a:pt x="7" y="89"/>
                    <a:pt x="5" y="90"/>
                    <a:pt x="4" y="91"/>
                  </a:cubicBezTo>
                  <a:cubicBezTo>
                    <a:pt x="3" y="86"/>
                    <a:pt x="3" y="86"/>
                    <a:pt x="3" y="86"/>
                  </a:cubicBezTo>
                  <a:cubicBezTo>
                    <a:pt x="6" y="77"/>
                    <a:pt x="6" y="77"/>
                    <a:pt x="6" y="77"/>
                  </a:cubicBezTo>
                  <a:cubicBezTo>
                    <a:pt x="11" y="73"/>
                    <a:pt x="11" y="73"/>
                    <a:pt x="11" y="73"/>
                  </a:cubicBezTo>
                  <a:cubicBezTo>
                    <a:pt x="13" y="65"/>
                    <a:pt x="13" y="65"/>
                    <a:pt x="13" y="65"/>
                  </a:cubicBezTo>
                  <a:cubicBezTo>
                    <a:pt x="10" y="62"/>
                    <a:pt x="10" y="62"/>
                    <a:pt x="10" y="62"/>
                  </a:cubicBezTo>
                  <a:cubicBezTo>
                    <a:pt x="10" y="59"/>
                    <a:pt x="19" y="53"/>
                    <a:pt x="18" y="50"/>
                  </a:cubicBezTo>
                  <a:cubicBezTo>
                    <a:pt x="17" y="47"/>
                    <a:pt x="6" y="56"/>
                    <a:pt x="5" y="53"/>
                  </a:cubicBezTo>
                  <a:cubicBezTo>
                    <a:pt x="4" y="47"/>
                    <a:pt x="7" y="48"/>
                    <a:pt x="12" y="43"/>
                  </a:cubicBezTo>
                  <a:cubicBezTo>
                    <a:pt x="6" y="41"/>
                    <a:pt x="6" y="41"/>
                    <a:pt x="6" y="41"/>
                  </a:cubicBezTo>
                  <a:cubicBezTo>
                    <a:pt x="6" y="35"/>
                    <a:pt x="6" y="35"/>
                    <a:pt x="6" y="35"/>
                  </a:cubicBezTo>
                  <a:cubicBezTo>
                    <a:pt x="2" y="33"/>
                    <a:pt x="2" y="33"/>
                    <a:pt x="2" y="33"/>
                  </a:cubicBezTo>
                  <a:cubicBezTo>
                    <a:pt x="2" y="33"/>
                    <a:pt x="3" y="30"/>
                    <a:pt x="3" y="27"/>
                  </a:cubicBezTo>
                  <a:cubicBezTo>
                    <a:pt x="3" y="24"/>
                    <a:pt x="6" y="23"/>
                    <a:pt x="6" y="23"/>
                  </a:cubicBezTo>
                  <a:cubicBezTo>
                    <a:pt x="9" y="22"/>
                    <a:pt x="11" y="20"/>
                    <a:pt x="14" y="18"/>
                  </a:cubicBezTo>
                  <a:cubicBezTo>
                    <a:pt x="17" y="14"/>
                    <a:pt x="20" y="16"/>
                    <a:pt x="22" y="15"/>
                  </a:cubicBezTo>
                  <a:cubicBezTo>
                    <a:pt x="25" y="13"/>
                    <a:pt x="25" y="15"/>
                    <a:pt x="35" y="17"/>
                  </a:cubicBezTo>
                  <a:cubicBezTo>
                    <a:pt x="37" y="16"/>
                    <a:pt x="41" y="16"/>
                    <a:pt x="42" y="14"/>
                  </a:cubicBezTo>
                  <a:cubicBezTo>
                    <a:pt x="44" y="12"/>
                    <a:pt x="47" y="13"/>
                    <a:pt x="47" y="9"/>
                  </a:cubicBezTo>
                  <a:cubicBezTo>
                    <a:pt x="48" y="3"/>
                    <a:pt x="59" y="7"/>
                    <a:pt x="59" y="5"/>
                  </a:cubicBezTo>
                  <a:cubicBezTo>
                    <a:pt x="61" y="5"/>
                    <a:pt x="63" y="0"/>
                    <a:pt x="68" y="0"/>
                  </a:cubicBezTo>
                  <a:cubicBezTo>
                    <a:pt x="72" y="1"/>
                    <a:pt x="73" y="2"/>
                    <a:pt x="76" y="3"/>
                  </a:cubicBezTo>
                  <a:cubicBezTo>
                    <a:pt x="87" y="10"/>
                    <a:pt x="82" y="14"/>
                    <a:pt x="95" y="18"/>
                  </a:cubicBezTo>
                  <a:cubicBezTo>
                    <a:pt x="106" y="21"/>
                    <a:pt x="119" y="24"/>
                    <a:pt x="130" y="26"/>
                  </a:cubicBezTo>
                  <a:cubicBezTo>
                    <a:pt x="140" y="27"/>
                    <a:pt x="150" y="31"/>
                    <a:pt x="160" y="35"/>
                  </a:cubicBezTo>
                  <a:cubicBezTo>
                    <a:pt x="160" y="35"/>
                    <a:pt x="197" y="52"/>
                    <a:pt x="198" y="53"/>
                  </a:cubicBezTo>
                  <a:cubicBezTo>
                    <a:pt x="199" y="53"/>
                    <a:pt x="220" y="49"/>
                    <a:pt x="221" y="49"/>
                  </a:cubicBezTo>
                  <a:cubicBezTo>
                    <a:pt x="222" y="49"/>
                    <a:pt x="229" y="50"/>
                    <a:pt x="234" y="53"/>
                  </a:cubicBezTo>
                  <a:cubicBezTo>
                    <a:pt x="237" y="56"/>
                    <a:pt x="247" y="63"/>
                    <a:pt x="247" y="63"/>
                  </a:cubicBezTo>
                  <a:cubicBezTo>
                    <a:pt x="249" y="64"/>
                    <a:pt x="261" y="62"/>
                    <a:pt x="261" y="62"/>
                  </a:cubicBezTo>
                  <a:cubicBezTo>
                    <a:pt x="269" y="62"/>
                    <a:pt x="276" y="71"/>
                    <a:pt x="280" y="72"/>
                  </a:cubicBezTo>
                  <a:cubicBezTo>
                    <a:pt x="285" y="73"/>
                    <a:pt x="297" y="67"/>
                    <a:pt x="302" y="72"/>
                  </a:cubicBezTo>
                  <a:cubicBezTo>
                    <a:pt x="302" y="72"/>
                    <a:pt x="312" y="73"/>
                    <a:pt x="313" y="78"/>
                  </a:cubicBezTo>
                  <a:cubicBezTo>
                    <a:pt x="315" y="83"/>
                    <a:pt x="319" y="91"/>
                    <a:pt x="319" y="91"/>
                  </a:cubicBezTo>
                  <a:cubicBezTo>
                    <a:pt x="332" y="96"/>
                    <a:pt x="332" y="96"/>
                    <a:pt x="332" y="96"/>
                  </a:cubicBezTo>
                  <a:cubicBezTo>
                    <a:pt x="332" y="96"/>
                    <a:pt x="339" y="102"/>
                    <a:pt x="340" y="104"/>
                  </a:cubicBezTo>
                  <a:cubicBezTo>
                    <a:pt x="341" y="105"/>
                    <a:pt x="356" y="110"/>
                    <a:pt x="356" y="110"/>
                  </a:cubicBezTo>
                  <a:cubicBezTo>
                    <a:pt x="366" y="119"/>
                    <a:pt x="366" y="119"/>
                    <a:pt x="366" y="119"/>
                  </a:cubicBezTo>
                  <a:cubicBezTo>
                    <a:pt x="381" y="119"/>
                    <a:pt x="381" y="119"/>
                    <a:pt x="381" y="119"/>
                  </a:cubicBezTo>
                  <a:cubicBezTo>
                    <a:pt x="391" y="121"/>
                    <a:pt x="391" y="121"/>
                    <a:pt x="391" y="121"/>
                  </a:cubicBezTo>
                  <a:cubicBezTo>
                    <a:pt x="396" y="115"/>
                    <a:pt x="396" y="115"/>
                    <a:pt x="396" y="115"/>
                  </a:cubicBezTo>
                  <a:cubicBezTo>
                    <a:pt x="396" y="115"/>
                    <a:pt x="421" y="127"/>
                    <a:pt x="422" y="127"/>
                  </a:cubicBezTo>
                  <a:cubicBezTo>
                    <a:pt x="423" y="127"/>
                    <a:pt x="423" y="130"/>
                    <a:pt x="424" y="133"/>
                  </a:cubicBezTo>
                  <a:cubicBezTo>
                    <a:pt x="424" y="134"/>
                    <a:pt x="424" y="134"/>
                    <a:pt x="424" y="134"/>
                  </a:cubicBezTo>
                  <a:cubicBezTo>
                    <a:pt x="423" y="134"/>
                    <a:pt x="424" y="134"/>
                    <a:pt x="424" y="134"/>
                  </a:cubicBezTo>
                  <a:cubicBezTo>
                    <a:pt x="424" y="134"/>
                    <a:pt x="424" y="134"/>
                    <a:pt x="424" y="134"/>
                  </a:cubicBezTo>
                  <a:cubicBezTo>
                    <a:pt x="424" y="136"/>
                    <a:pt x="424" y="136"/>
                    <a:pt x="424" y="136"/>
                  </a:cubicBezTo>
                  <a:cubicBezTo>
                    <a:pt x="424" y="137"/>
                    <a:pt x="424" y="137"/>
                    <a:pt x="424" y="137"/>
                  </a:cubicBezTo>
                  <a:cubicBezTo>
                    <a:pt x="423" y="137"/>
                    <a:pt x="423" y="137"/>
                    <a:pt x="423" y="137"/>
                  </a:cubicBezTo>
                  <a:cubicBezTo>
                    <a:pt x="423" y="137"/>
                    <a:pt x="423" y="137"/>
                    <a:pt x="423" y="137"/>
                  </a:cubicBezTo>
                  <a:cubicBezTo>
                    <a:pt x="424" y="138"/>
                    <a:pt x="424" y="138"/>
                    <a:pt x="424" y="138"/>
                  </a:cubicBezTo>
                  <a:cubicBezTo>
                    <a:pt x="424" y="138"/>
                    <a:pt x="424" y="138"/>
                    <a:pt x="424" y="138"/>
                  </a:cubicBezTo>
                  <a:cubicBezTo>
                    <a:pt x="424" y="138"/>
                    <a:pt x="424" y="138"/>
                    <a:pt x="424" y="139"/>
                  </a:cubicBezTo>
                  <a:cubicBezTo>
                    <a:pt x="424" y="139"/>
                    <a:pt x="424" y="139"/>
                    <a:pt x="424" y="139"/>
                  </a:cubicBezTo>
                  <a:cubicBezTo>
                    <a:pt x="424" y="139"/>
                    <a:pt x="424" y="139"/>
                    <a:pt x="424" y="140"/>
                  </a:cubicBezTo>
                  <a:cubicBezTo>
                    <a:pt x="424" y="140"/>
                    <a:pt x="424" y="140"/>
                    <a:pt x="424" y="140"/>
                  </a:cubicBezTo>
                  <a:cubicBezTo>
                    <a:pt x="425" y="140"/>
                    <a:pt x="425" y="140"/>
                    <a:pt x="425" y="140"/>
                  </a:cubicBezTo>
                  <a:cubicBezTo>
                    <a:pt x="425" y="140"/>
                    <a:pt x="425" y="140"/>
                    <a:pt x="425" y="140"/>
                  </a:cubicBezTo>
                  <a:cubicBezTo>
                    <a:pt x="425" y="140"/>
                    <a:pt x="426" y="141"/>
                    <a:pt x="426" y="141"/>
                  </a:cubicBezTo>
                  <a:cubicBezTo>
                    <a:pt x="426" y="141"/>
                    <a:pt x="426" y="141"/>
                    <a:pt x="427" y="141"/>
                  </a:cubicBezTo>
                  <a:cubicBezTo>
                    <a:pt x="427" y="141"/>
                    <a:pt x="427" y="141"/>
                    <a:pt x="428" y="141"/>
                  </a:cubicBezTo>
                  <a:cubicBezTo>
                    <a:pt x="428" y="141"/>
                    <a:pt x="428" y="141"/>
                    <a:pt x="428" y="141"/>
                  </a:cubicBezTo>
                  <a:cubicBezTo>
                    <a:pt x="428" y="141"/>
                    <a:pt x="429" y="141"/>
                    <a:pt x="429" y="140"/>
                  </a:cubicBezTo>
                  <a:cubicBezTo>
                    <a:pt x="442" y="143"/>
                    <a:pt x="442" y="143"/>
                    <a:pt x="442" y="143"/>
                  </a:cubicBezTo>
                  <a:cubicBezTo>
                    <a:pt x="445" y="144"/>
                    <a:pt x="445" y="146"/>
                    <a:pt x="448" y="148"/>
                  </a:cubicBezTo>
                  <a:cubicBezTo>
                    <a:pt x="456" y="145"/>
                    <a:pt x="456" y="145"/>
                    <a:pt x="456" y="145"/>
                  </a:cubicBezTo>
                  <a:cubicBezTo>
                    <a:pt x="466" y="152"/>
                    <a:pt x="466" y="152"/>
                    <a:pt x="466" y="152"/>
                  </a:cubicBezTo>
                  <a:cubicBezTo>
                    <a:pt x="475" y="149"/>
                    <a:pt x="475" y="149"/>
                    <a:pt x="475" y="149"/>
                  </a:cubicBezTo>
                  <a:cubicBezTo>
                    <a:pt x="484" y="149"/>
                    <a:pt x="484" y="149"/>
                    <a:pt x="484" y="149"/>
                  </a:cubicBezTo>
                  <a:cubicBezTo>
                    <a:pt x="484" y="147"/>
                    <a:pt x="505" y="149"/>
                    <a:pt x="496" y="159"/>
                  </a:cubicBezTo>
                  <a:close/>
                  <a:moveTo>
                    <a:pt x="506" y="281"/>
                  </a:moveTo>
                  <a:cubicBezTo>
                    <a:pt x="506" y="281"/>
                    <a:pt x="506" y="281"/>
                    <a:pt x="506" y="281"/>
                  </a:cubicBezTo>
                  <a:cubicBezTo>
                    <a:pt x="506" y="287"/>
                    <a:pt x="516" y="285"/>
                    <a:pt x="521" y="289"/>
                  </a:cubicBezTo>
                  <a:cubicBezTo>
                    <a:pt x="523" y="291"/>
                    <a:pt x="521" y="296"/>
                    <a:pt x="524" y="297"/>
                  </a:cubicBezTo>
                  <a:cubicBezTo>
                    <a:pt x="531" y="303"/>
                    <a:pt x="534" y="292"/>
                    <a:pt x="528" y="281"/>
                  </a:cubicBezTo>
                  <a:cubicBezTo>
                    <a:pt x="526" y="279"/>
                    <a:pt x="523" y="279"/>
                    <a:pt x="520" y="279"/>
                  </a:cubicBezTo>
                  <a:cubicBezTo>
                    <a:pt x="515" y="279"/>
                    <a:pt x="505" y="276"/>
                    <a:pt x="506" y="281"/>
                  </a:cubicBezTo>
                  <a:close/>
                  <a:moveTo>
                    <a:pt x="448" y="300"/>
                  </a:moveTo>
                  <a:cubicBezTo>
                    <a:pt x="448" y="300"/>
                    <a:pt x="448" y="300"/>
                    <a:pt x="448" y="300"/>
                  </a:cubicBezTo>
                  <a:cubicBezTo>
                    <a:pt x="452" y="301"/>
                    <a:pt x="456" y="297"/>
                    <a:pt x="460" y="299"/>
                  </a:cubicBezTo>
                  <a:cubicBezTo>
                    <a:pt x="462" y="301"/>
                    <a:pt x="461" y="305"/>
                    <a:pt x="462" y="308"/>
                  </a:cubicBezTo>
                  <a:cubicBezTo>
                    <a:pt x="456" y="314"/>
                    <a:pt x="472" y="313"/>
                    <a:pt x="473" y="313"/>
                  </a:cubicBezTo>
                  <a:cubicBezTo>
                    <a:pt x="473" y="315"/>
                    <a:pt x="475" y="320"/>
                    <a:pt x="478" y="318"/>
                  </a:cubicBezTo>
                  <a:cubicBezTo>
                    <a:pt x="494" y="299"/>
                    <a:pt x="494" y="299"/>
                    <a:pt x="494" y="299"/>
                  </a:cubicBezTo>
                  <a:cubicBezTo>
                    <a:pt x="494" y="297"/>
                    <a:pt x="493" y="295"/>
                    <a:pt x="491" y="295"/>
                  </a:cubicBezTo>
                  <a:cubicBezTo>
                    <a:pt x="487" y="293"/>
                    <a:pt x="482" y="297"/>
                    <a:pt x="479" y="295"/>
                  </a:cubicBezTo>
                  <a:cubicBezTo>
                    <a:pt x="476" y="293"/>
                    <a:pt x="482" y="285"/>
                    <a:pt x="478" y="282"/>
                  </a:cubicBezTo>
                  <a:cubicBezTo>
                    <a:pt x="470" y="276"/>
                    <a:pt x="467" y="283"/>
                    <a:pt x="461" y="288"/>
                  </a:cubicBezTo>
                  <a:cubicBezTo>
                    <a:pt x="457" y="291"/>
                    <a:pt x="451" y="292"/>
                    <a:pt x="447" y="296"/>
                  </a:cubicBezTo>
                  <a:cubicBezTo>
                    <a:pt x="446" y="297"/>
                    <a:pt x="447" y="300"/>
                    <a:pt x="448" y="300"/>
                  </a:cubicBezTo>
                  <a:close/>
                  <a:moveTo>
                    <a:pt x="391" y="329"/>
                  </a:moveTo>
                  <a:cubicBezTo>
                    <a:pt x="391" y="329"/>
                    <a:pt x="391" y="329"/>
                    <a:pt x="391" y="329"/>
                  </a:cubicBezTo>
                  <a:cubicBezTo>
                    <a:pt x="387" y="332"/>
                    <a:pt x="395" y="337"/>
                    <a:pt x="397" y="337"/>
                  </a:cubicBezTo>
                  <a:cubicBezTo>
                    <a:pt x="399" y="337"/>
                    <a:pt x="411" y="329"/>
                    <a:pt x="411" y="326"/>
                  </a:cubicBezTo>
                  <a:cubicBezTo>
                    <a:pt x="410" y="322"/>
                    <a:pt x="405" y="321"/>
                    <a:pt x="402" y="321"/>
                  </a:cubicBezTo>
                  <a:cubicBezTo>
                    <a:pt x="398" y="322"/>
                    <a:pt x="394" y="326"/>
                    <a:pt x="391" y="329"/>
                  </a:cubicBezTo>
                  <a:close/>
                </a:path>
              </a:pathLst>
            </a:custGeom>
            <a:solidFill>
              <a:schemeClr val="accent2">
                <a:lumMod val="20000"/>
                <a:lumOff val="80000"/>
              </a:schemeClr>
            </a:solidFill>
            <a:ln w="12700" cap="rnd" cmpd="sng">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Lato Light"/>
              </a:endParaRPr>
            </a:p>
          </p:txBody>
        </p:sp>
        <p:sp>
          <p:nvSpPr>
            <p:cNvPr id="240" name="Freeform 146">
              <a:extLst>
                <a:ext uri="{FF2B5EF4-FFF2-40B4-BE49-F238E27FC236}">
                  <a16:creationId xmlns:a16="http://schemas.microsoft.com/office/drawing/2014/main" id="{76BEE3A4-9480-7BD4-8AFC-11FB631CA7EE}"/>
                </a:ext>
              </a:extLst>
            </p:cNvPr>
            <p:cNvSpPr>
              <a:spLocks noEditPoints="1"/>
            </p:cNvSpPr>
            <p:nvPr/>
          </p:nvSpPr>
          <p:spPr bwMode="auto">
            <a:xfrm>
              <a:off x="5135177" y="5110109"/>
              <a:ext cx="1175269" cy="1061106"/>
            </a:xfrm>
            <a:custGeom>
              <a:avLst/>
              <a:gdLst>
                <a:gd name="T0" fmla="*/ 263 w 408"/>
                <a:gd name="T1" fmla="*/ 27 h 380"/>
                <a:gd name="T2" fmla="*/ 184 w 408"/>
                <a:gd name="T3" fmla="*/ 62 h 380"/>
                <a:gd name="T4" fmla="*/ 187 w 408"/>
                <a:gd name="T5" fmla="*/ 95 h 380"/>
                <a:gd name="T6" fmla="*/ 179 w 408"/>
                <a:gd name="T7" fmla="*/ 109 h 380"/>
                <a:gd name="T8" fmla="*/ 168 w 408"/>
                <a:gd name="T9" fmla="*/ 118 h 380"/>
                <a:gd name="T10" fmla="*/ 128 w 408"/>
                <a:gd name="T11" fmla="*/ 89 h 380"/>
                <a:gd name="T12" fmla="*/ 141 w 408"/>
                <a:gd name="T13" fmla="*/ 145 h 380"/>
                <a:gd name="T14" fmla="*/ 138 w 408"/>
                <a:gd name="T15" fmla="*/ 166 h 380"/>
                <a:gd name="T16" fmla="*/ 152 w 408"/>
                <a:gd name="T17" fmla="*/ 191 h 380"/>
                <a:gd name="T18" fmla="*/ 154 w 408"/>
                <a:gd name="T19" fmla="*/ 172 h 380"/>
                <a:gd name="T20" fmla="*/ 214 w 408"/>
                <a:gd name="T21" fmla="*/ 210 h 380"/>
                <a:gd name="T22" fmla="*/ 187 w 408"/>
                <a:gd name="T23" fmla="*/ 202 h 380"/>
                <a:gd name="T24" fmla="*/ 199 w 408"/>
                <a:gd name="T25" fmla="*/ 234 h 380"/>
                <a:gd name="T26" fmla="*/ 164 w 408"/>
                <a:gd name="T27" fmla="*/ 233 h 380"/>
                <a:gd name="T28" fmla="*/ 133 w 408"/>
                <a:gd name="T29" fmla="*/ 212 h 380"/>
                <a:gd name="T30" fmla="*/ 67 w 408"/>
                <a:gd name="T31" fmla="*/ 211 h 380"/>
                <a:gd name="T32" fmla="*/ 71 w 408"/>
                <a:gd name="T33" fmla="*/ 194 h 380"/>
                <a:gd name="T34" fmla="*/ 29 w 408"/>
                <a:gd name="T35" fmla="*/ 157 h 380"/>
                <a:gd name="T36" fmla="*/ 89 w 408"/>
                <a:gd name="T37" fmla="*/ 68 h 380"/>
                <a:gd name="T38" fmla="*/ 195 w 408"/>
                <a:gd name="T39" fmla="*/ 33 h 380"/>
                <a:gd name="T40" fmla="*/ 184 w 408"/>
                <a:gd name="T41" fmla="*/ 157 h 380"/>
                <a:gd name="T42" fmla="*/ 353 w 408"/>
                <a:gd name="T43" fmla="*/ 252 h 380"/>
                <a:gd name="T44" fmla="*/ 393 w 408"/>
                <a:gd name="T45" fmla="*/ 297 h 380"/>
                <a:gd name="T46" fmla="*/ 373 w 408"/>
                <a:gd name="T47" fmla="*/ 331 h 380"/>
                <a:gd name="T48" fmla="*/ 370 w 408"/>
                <a:gd name="T49" fmla="*/ 333 h 380"/>
                <a:gd name="T50" fmla="*/ 174 w 408"/>
                <a:gd name="T51" fmla="*/ 162 h 380"/>
                <a:gd name="T52" fmla="*/ 262 w 408"/>
                <a:gd name="T53" fmla="*/ 176 h 380"/>
                <a:gd name="T54" fmla="*/ 205 w 408"/>
                <a:gd name="T55" fmla="*/ 72 h 380"/>
                <a:gd name="T56" fmla="*/ 233 w 408"/>
                <a:gd name="T57" fmla="*/ 105 h 380"/>
                <a:gd name="T58" fmla="*/ 281 w 408"/>
                <a:gd name="T59" fmla="*/ 146 h 380"/>
                <a:gd name="T60" fmla="*/ 277 w 408"/>
                <a:gd name="T61" fmla="*/ 131 h 380"/>
                <a:gd name="T62" fmla="*/ 288 w 408"/>
                <a:gd name="T63" fmla="*/ 180 h 380"/>
                <a:gd name="T64" fmla="*/ 288 w 408"/>
                <a:gd name="T65" fmla="*/ 190 h 380"/>
                <a:gd name="T66" fmla="*/ 315 w 408"/>
                <a:gd name="T67" fmla="*/ 213 h 380"/>
                <a:gd name="T68" fmla="*/ 279 w 408"/>
                <a:gd name="T69" fmla="*/ 292 h 380"/>
                <a:gd name="T70" fmla="*/ 239 w 408"/>
                <a:gd name="T71" fmla="*/ 288 h 380"/>
                <a:gd name="T72" fmla="*/ 255 w 408"/>
                <a:gd name="T73" fmla="*/ 287 h 380"/>
                <a:gd name="T74" fmla="*/ 274 w 408"/>
                <a:gd name="T75" fmla="*/ 259 h 380"/>
                <a:gd name="T76" fmla="*/ 267 w 408"/>
                <a:gd name="T77" fmla="*/ 256 h 380"/>
                <a:gd name="T78" fmla="*/ 244 w 408"/>
                <a:gd name="T79" fmla="*/ 271 h 380"/>
                <a:gd name="T80" fmla="*/ 219 w 408"/>
                <a:gd name="T81" fmla="*/ 239 h 380"/>
                <a:gd name="T82" fmla="*/ 245 w 408"/>
                <a:gd name="T83" fmla="*/ 240 h 380"/>
                <a:gd name="T84" fmla="*/ 270 w 408"/>
                <a:gd name="T85" fmla="*/ 236 h 380"/>
                <a:gd name="T86" fmla="*/ 245 w 408"/>
                <a:gd name="T87" fmla="*/ 222 h 380"/>
                <a:gd name="T88" fmla="*/ 221 w 408"/>
                <a:gd name="T89" fmla="*/ 357 h 380"/>
                <a:gd name="T90" fmla="*/ 282 w 408"/>
                <a:gd name="T91" fmla="*/ 356 h 380"/>
                <a:gd name="T92" fmla="*/ 335 w 408"/>
                <a:gd name="T93" fmla="*/ 353 h 380"/>
                <a:gd name="T94" fmla="*/ 260 w 408"/>
                <a:gd name="T95" fmla="*/ 372 h 380"/>
                <a:gd name="T96" fmla="*/ 172 w 408"/>
                <a:gd name="T97" fmla="*/ 319 h 380"/>
                <a:gd name="T98" fmla="*/ 87 w 408"/>
                <a:gd name="T99" fmla="*/ 238 h 380"/>
                <a:gd name="T100" fmla="*/ 107 w 408"/>
                <a:gd name="T101" fmla="*/ 292 h 380"/>
                <a:gd name="T102" fmla="*/ 138 w 408"/>
                <a:gd name="T103" fmla="*/ 298 h 380"/>
                <a:gd name="T104" fmla="*/ 163 w 408"/>
                <a:gd name="T105" fmla="*/ 298 h 380"/>
                <a:gd name="T106" fmla="*/ 174 w 408"/>
                <a:gd name="T107" fmla="*/ 293 h 380"/>
                <a:gd name="T108" fmla="*/ 169 w 408"/>
                <a:gd name="T109" fmla="*/ 263 h 380"/>
                <a:gd name="T110" fmla="*/ 178 w 408"/>
                <a:gd name="T111" fmla="*/ 247 h 380"/>
                <a:gd name="T112" fmla="*/ 115 w 408"/>
                <a:gd name="T113" fmla="*/ 223 h 380"/>
                <a:gd name="T114" fmla="*/ 66 w 408"/>
                <a:gd name="T115" fmla="*/ 265 h 380"/>
                <a:gd name="T116" fmla="*/ 65 w 408"/>
                <a:gd name="T117" fmla="*/ 242 h 380"/>
                <a:gd name="T118" fmla="*/ 11 w 408"/>
                <a:gd name="T119" fmla="*/ 161 h 380"/>
                <a:gd name="T120" fmla="*/ 11 w 408"/>
                <a:gd name="T121" fmla="*/ 157 h 3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08" h="380">
                  <a:moveTo>
                    <a:pt x="222" y="32"/>
                  </a:moveTo>
                  <a:cubicBezTo>
                    <a:pt x="227" y="30"/>
                    <a:pt x="227" y="30"/>
                    <a:pt x="227" y="30"/>
                  </a:cubicBezTo>
                  <a:cubicBezTo>
                    <a:pt x="227" y="30"/>
                    <a:pt x="233" y="28"/>
                    <a:pt x="234" y="28"/>
                  </a:cubicBezTo>
                  <a:cubicBezTo>
                    <a:pt x="235" y="28"/>
                    <a:pt x="240" y="27"/>
                    <a:pt x="241" y="26"/>
                  </a:cubicBezTo>
                  <a:cubicBezTo>
                    <a:pt x="242" y="26"/>
                    <a:pt x="245" y="24"/>
                    <a:pt x="246" y="23"/>
                  </a:cubicBezTo>
                  <a:cubicBezTo>
                    <a:pt x="247" y="23"/>
                    <a:pt x="249" y="23"/>
                    <a:pt x="251" y="21"/>
                  </a:cubicBezTo>
                  <a:cubicBezTo>
                    <a:pt x="252" y="20"/>
                    <a:pt x="253" y="17"/>
                    <a:pt x="253" y="16"/>
                  </a:cubicBezTo>
                  <a:cubicBezTo>
                    <a:pt x="253" y="15"/>
                    <a:pt x="252" y="15"/>
                    <a:pt x="251" y="12"/>
                  </a:cubicBezTo>
                  <a:cubicBezTo>
                    <a:pt x="249" y="9"/>
                    <a:pt x="247" y="7"/>
                    <a:pt x="247" y="6"/>
                  </a:cubicBezTo>
                  <a:cubicBezTo>
                    <a:pt x="246" y="4"/>
                    <a:pt x="246" y="2"/>
                    <a:pt x="247" y="2"/>
                  </a:cubicBezTo>
                  <a:cubicBezTo>
                    <a:pt x="248" y="1"/>
                    <a:pt x="251" y="0"/>
                    <a:pt x="253" y="0"/>
                  </a:cubicBezTo>
                  <a:cubicBezTo>
                    <a:pt x="255" y="1"/>
                    <a:pt x="260" y="2"/>
                    <a:pt x="261" y="2"/>
                  </a:cubicBezTo>
                  <a:cubicBezTo>
                    <a:pt x="262" y="2"/>
                    <a:pt x="267" y="5"/>
                    <a:pt x="267" y="5"/>
                  </a:cubicBezTo>
                  <a:cubicBezTo>
                    <a:pt x="267" y="5"/>
                    <a:pt x="269" y="10"/>
                    <a:pt x="269" y="11"/>
                  </a:cubicBezTo>
                  <a:cubicBezTo>
                    <a:pt x="269" y="12"/>
                    <a:pt x="274" y="18"/>
                    <a:pt x="272" y="18"/>
                  </a:cubicBezTo>
                  <a:cubicBezTo>
                    <a:pt x="271" y="18"/>
                    <a:pt x="267" y="19"/>
                    <a:pt x="267" y="19"/>
                  </a:cubicBezTo>
                  <a:cubicBezTo>
                    <a:pt x="265" y="22"/>
                    <a:pt x="265" y="22"/>
                    <a:pt x="265" y="22"/>
                  </a:cubicBezTo>
                  <a:cubicBezTo>
                    <a:pt x="265" y="22"/>
                    <a:pt x="263" y="26"/>
                    <a:pt x="263" y="27"/>
                  </a:cubicBezTo>
                  <a:cubicBezTo>
                    <a:pt x="263" y="28"/>
                    <a:pt x="262" y="33"/>
                    <a:pt x="262" y="33"/>
                  </a:cubicBezTo>
                  <a:cubicBezTo>
                    <a:pt x="267" y="44"/>
                    <a:pt x="267" y="44"/>
                    <a:pt x="267" y="44"/>
                  </a:cubicBezTo>
                  <a:cubicBezTo>
                    <a:pt x="262" y="51"/>
                    <a:pt x="262" y="51"/>
                    <a:pt x="262" y="51"/>
                  </a:cubicBezTo>
                  <a:cubicBezTo>
                    <a:pt x="258" y="55"/>
                    <a:pt x="258" y="55"/>
                    <a:pt x="258" y="55"/>
                  </a:cubicBezTo>
                  <a:cubicBezTo>
                    <a:pt x="258" y="55"/>
                    <a:pt x="252" y="55"/>
                    <a:pt x="252" y="54"/>
                  </a:cubicBezTo>
                  <a:cubicBezTo>
                    <a:pt x="252" y="53"/>
                    <a:pt x="248" y="51"/>
                    <a:pt x="248" y="51"/>
                  </a:cubicBezTo>
                  <a:cubicBezTo>
                    <a:pt x="248" y="51"/>
                    <a:pt x="242" y="52"/>
                    <a:pt x="241" y="53"/>
                  </a:cubicBezTo>
                  <a:cubicBezTo>
                    <a:pt x="240" y="53"/>
                    <a:pt x="226" y="54"/>
                    <a:pt x="226" y="54"/>
                  </a:cubicBezTo>
                  <a:cubicBezTo>
                    <a:pt x="226" y="54"/>
                    <a:pt x="223" y="53"/>
                    <a:pt x="222" y="53"/>
                  </a:cubicBezTo>
                  <a:cubicBezTo>
                    <a:pt x="221" y="53"/>
                    <a:pt x="216" y="53"/>
                    <a:pt x="216" y="53"/>
                  </a:cubicBezTo>
                  <a:cubicBezTo>
                    <a:pt x="215" y="49"/>
                    <a:pt x="215" y="49"/>
                    <a:pt x="215" y="49"/>
                  </a:cubicBezTo>
                  <a:cubicBezTo>
                    <a:pt x="211" y="50"/>
                    <a:pt x="211" y="50"/>
                    <a:pt x="211" y="50"/>
                  </a:cubicBezTo>
                  <a:cubicBezTo>
                    <a:pt x="210" y="54"/>
                    <a:pt x="210" y="54"/>
                    <a:pt x="210" y="54"/>
                  </a:cubicBezTo>
                  <a:cubicBezTo>
                    <a:pt x="205" y="57"/>
                    <a:pt x="205" y="57"/>
                    <a:pt x="205" y="57"/>
                  </a:cubicBezTo>
                  <a:cubicBezTo>
                    <a:pt x="200" y="60"/>
                    <a:pt x="200" y="60"/>
                    <a:pt x="200" y="60"/>
                  </a:cubicBezTo>
                  <a:cubicBezTo>
                    <a:pt x="190" y="60"/>
                    <a:pt x="190" y="60"/>
                    <a:pt x="190" y="60"/>
                  </a:cubicBezTo>
                  <a:cubicBezTo>
                    <a:pt x="184" y="60"/>
                    <a:pt x="184" y="60"/>
                    <a:pt x="184" y="60"/>
                  </a:cubicBezTo>
                  <a:cubicBezTo>
                    <a:pt x="184" y="62"/>
                    <a:pt x="184" y="62"/>
                    <a:pt x="184" y="62"/>
                  </a:cubicBezTo>
                  <a:cubicBezTo>
                    <a:pt x="181" y="68"/>
                    <a:pt x="181" y="68"/>
                    <a:pt x="181" y="68"/>
                  </a:cubicBezTo>
                  <a:cubicBezTo>
                    <a:pt x="177" y="71"/>
                    <a:pt x="177" y="71"/>
                    <a:pt x="177" y="71"/>
                  </a:cubicBezTo>
                  <a:cubicBezTo>
                    <a:pt x="177" y="71"/>
                    <a:pt x="171" y="73"/>
                    <a:pt x="170" y="74"/>
                  </a:cubicBezTo>
                  <a:cubicBezTo>
                    <a:pt x="170" y="74"/>
                    <a:pt x="166" y="73"/>
                    <a:pt x="166" y="73"/>
                  </a:cubicBezTo>
                  <a:cubicBezTo>
                    <a:pt x="161" y="76"/>
                    <a:pt x="161" y="76"/>
                    <a:pt x="161" y="76"/>
                  </a:cubicBezTo>
                  <a:cubicBezTo>
                    <a:pt x="160" y="79"/>
                    <a:pt x="160" y="79"/>
                    <a:pt x="160" y="79"/>
                  </a:cubicBezTo>
                  <a:cubicBezTo>
                    <a:pt x="162" y="81"/>
                    <a:pt x="162" y="81"/>
                    <a:pt x="162" y="81"/>
                  </a:cubicBezTo>
                  <a:cubicBezTo>
                    <a:pt x="166" y="83"/>
                    <a:pt x="166" y="83"/>
                    <a:pt x="166" y="83"/>
                  </a:cubicBezTo>
                  <a:cubicBezTo>
                    <a:pt x="166" y="83"/>
                    <a:pt x="169" y="84"/>
                    <a:pt x="169" y="85"/>
                  </a:cubicBezTo>
                  <a:cubicBezTo>
                    <a:pt x="169" y="85"/>
                    <a:pt x="168" y="87"/>
                    <a:pt x="168" y="87"/>
                  </a:cubicBezTo>
                  <a:cubicBezTo>
                    <a:pt x="168" y="92"/>
                    <a:pt x="168" y="92"/>
                    <a:pt x="168" y="92"/>
                  </a:cubicBezTo>
                  <a:cubicBezTo>
                    <a:pt x="168" y="92"/>
                    <a:pt x="171" y="93"/>
                    <a:pt x="172" y="93"/>
                  </a:cubicBezTo>
                  <a:cubicBezTo>
                    <a:pt x="172" y="93"/>
                    <a:pt x="175" y="91"/>
                    <a:pt x="175" y="91"/>
                  </a:cubicBezTo>
                  <a:cubicBezTo>
                    <a:pt x="175" y="90"/>
                    <a:pt x="176" y="89"/>
                    <a:pt x="176" y="89"/>
                  </a:cubicBezTo>
                  <a:cubicBezTo>
                    <a:pt x="178" y="91"/>
                    <a:pt x="178" y="91"/>
                    <a:pt x="178" y="91"/>
                  </a:cubicBezTo>
                  <a:cubicBezTo>
                    <a:pt x="178" y="91"/>
                    <a:pt x="179" y="93"/>
                    <a:pt x="180" y="93"/>
                  </a:cubicBezTo>
                  <a:cubicBezTo>
                    <a:pt x="180" y="93"/>
                    <a:pt x="183" y="93"/>
                    <a:pt x="183" y="93"/>
                  </a:cubicBezTo>
                  <a:cubicBezTo>
                    <a:pt x="187" y="95"/>
                    <a:pt x="187" y="95"/>
                    <a:pt x="187" y="95"/>
                  </a:cubicBezTo>
                  <a:cubicBezTo>
                    <a:pt x="192" y="99"/>
                    <a:pt x="192" y="99"/>
                    <a:pt x="192" y="99"/>
                  </a:cubicBezTo>
                  <a:cubicBezTo>
                    <a:pt x="192" y="99"/>
                    <a:pt x="196" y="101"/>
                    <a:pt x="195" y="102"/>
                  </a:cubicBezTo>
                  <a:cubicBezTo>
                    <a:pt x="193" y="103"/>
                    <a:pt x="191" y="104"/>
                    <a:pt x="190" y="104"/>
                  </a:cubicBezTo>
                  <a:cubicBezTo>
                    <a:pt x="190" y="104"/>
                    <a:pt x="188" y="103"/>
                    <a:pt x="188" y="102"/>
                  </a:cubicBezTo>
                  <a:cubicBezTo>
                    <a:pt x="188" y="100"/>
                    <a:pt x="187" y="99"/>
                    <a:pt x="186" y="99"/>
                  </a:cubicBezTo>
                  <a:cubicBezTo>
                    <a:pt x="185" y="99"/>
                    <a:pt x="183" y="97"/>
                    <a:pt x="183" y="97"/>
                  </a:cubicBezTo>
                  <a:cubicBezTo>
                    <a:pt x="182" y="97"/>
                    <a:pt x="180" y="97"/>
                    <a:pt x="179" y="98"/>
                  </a:cubicBezTo>
                  <a:cubicBezTo>
                    <a:pt x="178" y="98"/>
                    <a:pt x="176" y="98"/>
                    <a:pt x="176" y="97"/>
                  </a:cubicBezTo>
                  <a:cubicBezTo>
                    <a:pt x="175" y="97"/>
                    <a:pt x="174" y="94"/>
                    <a:pt x="174" y="94"/>
                  </a:cubicBezTo>
                  <a:cubicBezTo>
                    <a:pt x="169" y="93"/>
                    <a:pt x="169" y="93"/>
                    <a:pt x="169" y="93"/>
                  </a:cubicBezTo>
                  <a:cubicBezTo>
                    <a:pt x="169" y="93"/>
                    <a:pt x="168" y="94"/>
                    <a:pt x="168" y="95"/>
                  </a:cubicBezTo>
                  <a:cubicBezTo>
                    <a:pt x="168" y="95"/>
                    <a:pt x="166" y="97"/>
                    <a:pt x="166" y="97"/>
                  </a:cubicBezTo>
                  <a:cubicBezTo>
                    <a:pt x="165" y="98"/>
                    <a:pt x="165" y="98"/>
                    <a:pt x="165" y="98"/>
                  </a:cubicBezTo>
                  <a:cubicBezTo>
                    <a:pt x="165" y="100"/>
                    <a:pt x="165" y="100"/>
                    <a:pt x="165" y="100"/>
                  </a:cubicBezTo>
                  <a:cubicBezTo>
                    <a:pt x="167" y="102"/>
                    <a:pt x="167" y="102"/>
                    <a:pt x="167" y="102"/>
                  </a:cubicBezTo>
                  <a:cubicBezTo>
                    <a:pt x="171" y="105"/>
                    <a:pt x="171" y="105"/>
                    <a:pt x="171" y="105"/>
                  </a:cubicBezTo>
                  <a:cubicBezTo>
                    <a:pt x="171" y="105"/>
                    <a:pt x="176" y="106"/>
                    <a:pt x="176" y="106"/>
                  </a:cubicBezTo>
                  <a:cubicBezTo>
                    <a:pt x="177" y="106"/>
                    <a:pt x="179" y="109"/>
                    <a:pt x="179" y="109"/>
                  </a:cubicBezTo>
                  <a:cubicBezTo>
                    <a:pt x="179" y="112"/>
                    <a:pt x="179" y="112"/>
                    <a:pt x="179" y="112"/>
                  </a:cubicBezTo>
                  <a:cubicBezTo>
                    <a:pt x="178" y="115"/>
                    <a:pt x="178" y="115"/>
                    <a:pt x="178" y="115"/>
                  </a:cubicBezTo>
                  <a:cubicBezTo>
                    <a:pt x="178" y="115"/>
                    <a:pt x="178" y="117"/>
                    <a:pt x="176" y="116"/>
                  </a:cubicBezTo>
                  <a:cubicBezTo>
                    <a:pt x="174" y="115"/>
                    <a:pt x="173" y="114"/>
                    <a:pt x="173" y="114"/>
                  </a:cubicBezTo>
                  <a:cubicBezTo>
                    <a:pt x="170" y="113"/>
                    <a:pt x="170" y="113"/>
                    <a:pt x="170" y="113"/>
                  </a:cubicBezTo>
                  <a:cubicBezTo>
                    <a:pt x="169" y="109"/>
                    <a:pt x="169" y="109"/>
                    <a:pt x="169" y="109"/>
                  </a:cubicBezTo>
                  <a:cubicBezTo>
                    <a:pt x="169" y="109"/>
                    <a:pt x="167" y="107"/>
                    <a:pt x="167" y="107"/>
                  </a:cubicBezTo>
                  <a:cubicBezTo>
                    <a:pt x="166" y="107"/>
                    <a:pt x="161" y="104"/>
                    <a:pt x="161" y="104"/>
                  </a:cubicBezTo>
                  <a:cubicBezTo>
                    <a:pt x="155" y="104"/>
                    <a:pt x="155" y="104"/>
                    <a:pt x="155" y="104"/>
                  </a:cubicBezTo>
                  <a:cubicBezTo>
                    <a:pt x="151" y="104"/>
                    <a:pt x="151" y="104"/>
                    <a:pt x="151" y="104"/>
                  </a:cubicBezTo>
                  <a:cubicBezTo>
                    <a:pt x="150" y="107"/>
                    <a:pt x="150" y="107"/>
                    <a:pt x="150" y="107"/>
                  </a:cubicBezTo>
                  <a:cubicBezTo>
                    <a:pt x="150" y="107"/>
                    <a:pt x="150" y="109"/>
                    <a:pt x="151" y="109"/>
                  </a:cubicBezTo>
                  <a:cubicBezTo>
                    <a:pt x="151" y="110"/>
                    <a:pt x="154" y="112"/>
                    <a:pt x="154" y="112"/>
                  </a:cubicBezTo>
                  <a:cubicBezTo>
                    <a:pt x="154" y="112"/>
                    <a:pt x="156" y="112"/>
                    <a:pt x="156" y="113"/>
                  </a:cubicBezTo>
                  <a:cubicBezTo>
                    <a:pt x="157" y="114"/>
                    <a:pt x="159" y="116"/>
                    <a:pt x="159" y="116"/>
                  </a:cubicBezTo>
                  <a:cubicBezTo>
                    <a:pt x="159" y="116"/>
                    <a:pt x="160" y="116"/>
                    <a:pt x="161" y="116"/>
                  </a:cubicBezTo>
                  <a:cubicBezTo>
                    <a:pt x="163" y="116"/>
                    <a:pt x="165" y="117"/>
                    <a:pt x="165" y="117"/>
                  </a:cubicBezTo>
                  <a:cubicBezTo>
                    <a:pt x="168" y="118"/>
                    <a:pt x="168" y="118"/>
                    <a:pt x="168" y="118"/>
                  </a:cubicBezTo>
                  <a:cubicBezTo>
                    <a:pt x="169" y="119"/>
                    <a:pt x="169" y="119"/>
                    <a:pt x="169" y="119"/>
                  </a:cubicBezTo>
                  <a:cubicBezTo>
                    <a:pt x="169" y="119"/>
                    <a:pt x="166" y="120"/>
                    <a:pt x="165" y="120"/>
                  </a:cubicBezTo>
                  <a:cubicBezTo>
                    <a:pt x="164" y="121"/>
                    <a:pt x="161" y="121"/>
                    <a:pt x="161" y="121"/>
                  </a:cubicBezTo>
                  <a:cubicBezTo>
                    <a:pt x="161" y="121"/>
                    <a:pt x="159" y="119"/>
                    <a:pt x="158" y="119"/>
                  </a:cubicBezTo>
                  <a:cubicBezTo>
                    <a:pt x="158" y="119"/>
                    <a:pt x="155" y="120"/>
                    <a:pt x="155" y="120"/>
                  </a:cubicBezTo>
                  <a:cubicBezTo>
                    <a:pt x="155" y="120"/>
                    <a:pt x="153" y="122"/>
                    <a:pt x="152" y="120"/>
                  </a:cubicBezTo>
                  <a:cubicBezTo>
                    <a:pt x="151" y="118"/>
                    <a:pt x="150" y="116"/>
                    <a:pt x="150" y="116"/>
                  </a:cubicBezTo>
                  <a:cubicBezTo>
                    <a:pt x="150" y="114"/>
                    <a:pt x="150" y="114"/>
                    <a:pt x="150" y="114"/>
                  </a:cubicBezTo>
                  <a:cubicBezTo>
                    <a:pt x="150" y="111"/>
                    <a:pt x="150" y="111"/>
                    <a:pt x="150" y="111"/>
                  </a:cubicBezTo>
                  <a:cubicBezTo>
                    <a:pt x="149" y="108"/>
                    <a:pt x="149" y="108"/>
                    <a:pt x="149" y="108"/>
                  </a:cubicBezTo>
                  <a:cubicBezTo>
                    <a:pt x="145" y="106"/>
                    <a:pt x="145" y="106"/>
                    <a:pt x="145" y="106"/>
                  </a:cubicBezTo>
                  <a:cubicBezTo>
                    <a:pt x="140" y="106"/>
                    <a:pt x="140" y="106"/>
                    <a:pt x="140" y="106"/>
                  </a:cubicBezTo>
                  <a:cubicBezTo>
                    <a:pt x="135" y="103"/>
                    <a:pt x="135" y="103"/>
                    <a:pt x="135" y="103"/>
                  </a:cubicBezTo>
                  <a:cubicBezTo>
                    <a:pt x="129" y="101"/>
                    <a:pt x="129" y="101"/>
                    <a:pt x="129" y="101"/>
                  </a:cubicBezTo>
                  <a:cubicBezTo>
                    <a:pt x="127" y="97"/>
                    <a:pt x="127" y="97"/>
                    <a:pt x="127" y="97"/>
                  </a:cubicBezTo>
                  <a:cubicBezTo>
                    <a:pt x="131" y="94"/>
                    <a:pt x="131" y="94"/>
                    <a:pt x="131" y="94"/>
                  </a:cubicBezTo>
                  <a:cubicBezTo>
                    <a:pt x="130" y="91"/>
                    <a:pt x="130" y="91"/>
                    <a:pt x="130" y="91"/>
                  </a:cubicBezTo>
                  <a:cubicBezTo>
                    <a:pt x="128" y="89"/>
                    <a:pt x="128" y="89"/>
                    <a:pt x="128" y="89"/>
                  </a:cubicBezTo>
                  <a:cubicBezTo>
                    <a:pt x="123" y="92"/>
                    <a:pt x="123" y="92"/>
                    <a:pt x="123" y="92"/>
                  </a:cubicBezTo>
                  <a:cubicBezTo>
                    <a:pt x="123" y="95"/>
                    <a:pt x="123" y="95"/>
                    <a:pt x="123" y="95"/>
                  </a:cubicBezTo>
                  <a:cubicBezTo>
                    <a:pt x="118" y="97"/>
                    <a:pt x="118" y="97"/>
                    <a:pt x="118" y="97"/>
                  </a:cubicBezTo>
                  <a:cubicBezTo>
                    <a:pt x="116" y="101"/>
                    <a:pt x="116" y="101"/>
                    <a:pt x="116" y="101"/>
                  </a:cubicBezTo>
                  <a:cubicBezTo>
                    <a:pt x="119" y="104"/>
                    <a:pt x="119" y="104"/>
                    <a:pt x="119" y="104"/>
                  </a:cubicBezTo>
                  <a:cubicBezTo>
                    <a:pt x="119" y="109"/>
                    <a:pt x="119" y="109"/>
                    <a:pt x="119" y="109"/>
                  </a:cubicBezTo>
                  <a:cubicBezTo>
                    <a:pt x="119" y="109"/>
                    <a:pt x="118" y="114"/>
                    <a:pt x="119" y="115"/>
                  </a:cubicBezTo>
                  <a:cubicBezTo>
                    <a:pt x="119" y="115"/>
                    <a:pt x="118" y="118"/>
                    <a:pt x="118" y="120"/>
                  </a:cubicBezTo>
                  <a:cubicBezTo>
                    <a:pt x="119" y="121"/>
                    <a:pt x="119" y="122"/>
                    <a:pt x="121" y="123"/>
                  </a:cubicBezTo>
                  <a:cubicBezTo>
                    <a:pt x="122" y="124"/>
                    <a:pt x="122" y="124"/>
                    <a:pt x="124" y="125"/>
                  </a:cubicBezTo>
                  <a:cubicBezTo>
                    <a:pt x="126" y="126"/>
                    <a:pt x="127" y="127"/>
                    <a:pt x="127" y="127"/>
                  </a:cubicBezTo>
                  <a:cubicBezTo>
                    <a:pt x="129" y="131"/>
                    <a:pt x="129" y="131"/>
                    <a:pt x="129" y="131"/>
                  </a:cubicBezTo>
                  <a:cubicBezTo>
                    <a:pt x="129" y="131"/>
                    <a:pt x="130" y="132"/>
                    <a:pt x="131" y="132"/>
                  </a:cubicBezTo>
                  <a:cubicBezTo>
                    <a:pt x="132" y="133"/>
                    <a:pt x="135" y="134"/>
                    <a:pt x="135" y="135"/>
                  </a:cubicBezTo>
                  <a:cubicBezTo>
                    <a:pt x="135" y="137"/>
                    <a:pt x="136" y="139"/>
                    <a:pt x="136" y="139"/>
                  </a:cubicBezTo>
                  <a:cubicBezTo>
                    <a:pt x="136" y="139"/>
                    <a:pt x="137" y="141"/>
                    <a:pt x="137" y="141"/>
                  </a:cubicBezTo>
                  <a:cubicBezTo>
                    <a:pt x="138" y="142"/>
                    <a:pt x="139" y="141"/>
                    <a:pt x="139" y="142"/>
                  </a:cubicBezTo>
                  <a:cubicBezTo>
                    <a:pt x="140" y="143"/>
                    <a:pt x="139" y="144"/>
                    <a:pt x="141" y="145"/>
                  </a:cubicBezTo>
                  <a:cubicBezTo>
                    <a:pt x="142" y="147"/>
                    <a:pt x="144" y="148"/>
                    <a:pt x="144" y="148"/>
                  </a:cubicBezTo>
                  <a:cubicBezTo>
                    <a:pt x="145" y="148"/>
                    <a:pt x="147" y="149"/>
                    <a:pt x="147" y="149"/>
                  </a:cubicBezTo>
                  <a:cubicBezTo>
                    <a:pt x="153" y="153"/>
                    <a:pt x="153" y="153"/>
                    <a:pt x="153" y="153"/>
                  </a:cubicBezTo>
                  <a:cubicBezTo>
                    <a:pt x="157" y="158"/>
                    <a:pt x="157" y="158"/>
                    <a:pt x="157" y="158"/>
                  </a:cubicBezTo>
                  <a:cubicBezTo>
                    <a:pt x="160" y="161"/>
                    <a:pt x="160" y="161"/>
                    <a:pt x="160" y="161"/>
                  </a:cubicBezTo>
                  <a:cubicBezTo>
                    <a:pt x="159" y="165"/>
                    <a:pt x="159" y="165"/>
                    <a:pt x="159" y="165"/>
                  </a:cubicBezTo>
                  <a:cubicBezTo>
                    <a:pt x="158" y="167"/>
                    <a:pt x="158" y="167"/>
                    <a:pt x="158" y="167"/>
                  </a:cubicBezTo>
                  <a:cubicBezTo>
                    <a:pt x="158" y="167"/>
                    <a:pt x="156" y="168"/>
                    <a:pt x="155" y="168"/>
                  </a:cubicBezTo>
                  <a:cubicBezTo>
                    <a:pt x="155" y="168"/>
                    <a:pt x="153" y="169"/>
                    <a:pt x="153" y="169"/>
                  </a:cubicBezTo>
                  <a:cubicBezTo>
                    <a:pt x="153" y="169"/>
                    <a:pt x="152" y="168"/>
                    <a:pt x="152" y="168"/>
                  </a:cubicBezTo>
                  <a:cubicBezTo>
                    <a:pt x="153" y="167"/>
                    <a:pt x="156" y="166"/>
                    <a:pt x="156" y="166"/>
                  </a:cubicBezTo>
                  <a:cubicBezTo>
                    <a:pt x="156" y="166"/>
                    <a:pt x="156" y="163"/>
                    <a:pt x="155" y="163"/>
                  </a:cubicBezTo>
                  <a:cubicBezTo>
                    <a:pt x="154" y="162"/>
                    <a:pt x="151" y="160"/>
                    <a:pt x="151" y="160"/>
                  </a:cubicBezTo>
                  <a:cubicBezTo>
                    <a:pt x="149" y="158"/>
                    <a:pt x="149" y="158"/>
                    <a:pt x="149" y="158"/>
                  </a:cubicBezTo>
                  <a:cubicBezTo>
                    <a:pt x="146" y="158"/>
                    <a:pt x="146" y="158"/>
                    <a:pt x="146" y="158"/>
                  </a:cubicBezTo>
                  <a:cubicBezTo>
                    <a:pt x="146" y="158"/>
                    <a:pt x="144" y="158"/>
                    <a:pt x="144" y="159"/>
                  </a:cubicBezTo>
                  <a:cubicBezTo>
                    <a:pt x="143" y="160"/>
                    <a:pt x="140" y="162"/>
                    <a:pt x="140" y="162"/>
                  </a:cubicBezTo>
                  <a:cubicBezTo>
                    <a:pt x="138" y="166"/>
                    <a:pt x="138" y="166"/>
                    <a:pt x="138" y="166"/>
                  </a:cubicBezTo>
                  <a:cubicBezTo>
                    <a:pt x="143" y="167"/>
                    <a:pt x="143" y="167"/>
                    <a:pt x="143" y="167"/>
                  </a:cubicBezTo>
                  <a:cubicBezTo>
                    <a:pt x="143" y="167"/>
                    <a:pt x="145" y="169"/>
                    <a:pt x="145" y="169"/>
                  </a:cubicBezTo>
                  <a:cubicBezTo>
                    <a:pt x="145" y="170"/>
                    <a:pt x="147" y="172"/>
                    <a:pt x="147" y="172"/>
                  </a:cubicBezTo>
                  <a:cubicBezTo>
                    <a:pt x="149" y="173"/>
                    <a:pt x="149" y="173"/>
                    <a:pt x="149" y="173"/>
                  </a:cubicBezTo>
                  <a:cubicBezTo>
                    <a:pt x="149" y="175"/>
                    <a:pt x="149" y="175"/>
                    <a:pt x="149" y="175"/>
                  </a:cubicBezTo>
                  <a:cubicBezTo>
                    <a:pt x="148" y="178"/>
                    <a:pt x="148" y="178"/>
                    <a:pt x="148" y="178"/>
                  </a:cubicBezTo>
                  <a:cubicBezTo>
                    <a:pt x="145" y="182"/>
                    <a:pt x="145" y="182"/>
                    <a:pt x="145" y="182"/>
                  </a:cubicBezTo>
                  <a:cubicBezTo>
                    <a:pt x="145" y="182"/>
                    <a:pt x="143" y="183"/>
                    <a:pt x="143" y="183"/>
                  </a:cubicBezTo>
                  <a:cubicBezTo>
                    <a:pt x="142" y="183"/>
                    <a:pt x="140" y="185"/>
                    <a:pt x="140" y="185"/>
                  </a:cubicBezTo>
                  <a:cubicBezTo>
                    <a:pt x="140" y="185"/>
                    <a:pt x="139" y="185"/>
                    <a:pt x="139" y="185"/>
                  </a:cubicBezTo>
                  <a:cubicBezTo>
                    <a:pt x="138" y="185"/>
                    <a:pt x="136" y="184"/>
                    <a:pt x="135" y="184"/>
                  </a:cubicBezTo>
                  <a:cubicBezTo>
                    <a:pt x="135" y="184"/>
                    <a:pt x="133" y="185"/>
                    <a:pt x="133" y="185"/>
                  </a:cubicBezTo>
                  <a:cubicBezTo>
                    <a:pt x="133" y="185"/>
                    <a:pt x="130" y="187"/>
                    <a:pt x="134" y="188"/>
                  </a:cubicBezTo>
                  <a:cubicBezTo>
                    <a:pt x="138" y="188"/>
                    <a:pt x="139" y="188"/>
                    <a:pt x="140" y="188"/>
                  </a:cubicBezTo>
                  <a:cubicBezTo>
                    <a:pt x="140" y="188"/>
                    <a:pt x="144" y="188"/>
                    <a:pt x="144" y="188"/>
                  </a:cubicBezTo>
                  <a:cubicBezTo>
                    <a:pt x="144" y="188"/>
                    <a:pt x="145" y="188"/>
                    <a:pt x="146" y="189"/>
                  </a:cubicBezTo>
                  <a:cubicBezTo>
                    <a:pt x="148" y="189"/>
                    <a:pt x="149" y="189"/>
                    <a:pt x="150" y="190"/>
                  </a:cubicBezTo>
                  <a:cubicBezTo>
                    <a:pt x="151" y="190"/>
                    <a:pt x="152" y="191"/>
                    <a:pt x="152" y="191"/>
                  </a:cubicBezTo>
                  <a:cubicBezTo>
                    <a:pt x="152" y="192"/>
                    <a:pt x="152" y="192"/>
                    <a:pt x="153" y="192"/>
                  </a:cubicBezTo>
                  <a:cubicBezTo>
                    <a:pt x="154" y="192"/>
                    <a:pt x="155" y="193"/>
                    <a:pt x="155" y="193"/>
                  </a:cubicBezTo>
                  <a:cubicBezTo>
                    <a:pt x="156" y="193"/>
                    <a:pt x="156" y="193"/>
                    <a:pt x="156" y="193"/>
                  </a:cubicBezTo>
                  <a:cubicBezTo>
                    <a:pt x="156" y="193"/>
                    <a:pt x="157" y="193"/>
                    <a:pt x="158" y="193"/>
                  </a:cubicBezTo>
                  <a:cubicBezTo>
                    <a:pt x="159" y="193"/>
                    <a:pt x="159" y="192"/>
                    <a:pt x="160" y="192"/>
                  </a:cubicBezTo>
                  <a:cubicBezTo>
                    <a:pt x="161" y="192"/>
                    <a:pt x="164" y="192"/>
                    <a:pt x="164" y="192"/>
                  </a:cubicBezTo>
                  <a:cubicBezTo>
                    <a:pt x="166" y="196"/>
                    <a:pt x="166" y="196"/>
                    <a:pt x="166" y="196"/>
                  </a:cubicBezTo>
                  <a:cubicBezTo>
                    <a:pt x="166" y="196"/>
                    <a:pt x="166" y="197"/>
                    <a:pt x="167" y="197"/>
                  </a:cubicBezTo>
                  <a:cubicBezTo>
                    <a:pt x="167" y="198"/>
                    <a:pt x="169" y="199"/>
                    <a:pt x="170" y="199"/>
                  </a:cubicBezTo>
                  <a:cubicBezTo>
                    <a:pt x="171" y="199"/>
                    <a:pt x="179" y="197"/>
                    <a:pt x="179" y="197"/>
                  </a:cubicBezTo>
                  <a:cubicBezTo>
                    <a:pt x="175" y="194"/>
                    <a:pt x="175" y="194"/>
                    <a:pt x="175" y="194"/>
                  </a:cubicBezTo>
                  <a:cubicBezTo>
                    <a:pt x="175" y="194"/>
                    <a:pt x="173" y="192"/>
                    <a:pt x="172" y="191"/>
                  </a:cubicBezTo>
                  <a:cubicBezTo>
                    <a:pt x="172" y="190"/>
                    <a:pt x="167" y="187"/>
                    <a:pt x="167" y="187"/>
                  </a:cubicBezTo>
                  <a:cubicBezTo>
                    <a:pt x="162" y="186"/>
                    <a:pt x="162" y="186"/>
                    <a:pt x="162" y="186"/>
                  </a:cubicBezTo>
                  <a:cubicBezTo>
                    <a:pt x="156" y="183"/>
                    <a:pt x="156" y="183"/>
                    <a:pt x="156" y="183"/>
                  </a:cubicBezTo>
                  <a:cubicBezTo>
                    <a:pt x="150" y="181"/>
                    <a:pt x="150" y="181"/>
                    <a:pt x="150" y="181"/>
                  </a:cubicBezTo>
                  <a:cubicBezTo>
                    <a:pt x="150" y="181"/>
                    <a:pt x="152" y="177"/>
                    <a:pt x="153" y="176"/>
                  </a:cubicBezTo>
                  <a:cubicBezTo>
                    <a:pt x="153" y="175"/>
                    <a:pt x="153" y="172"/>
                    <a:pt x="154" y="172"/>
                  </a:cubicBezTo>
                  <a:cubicBezTo>
                    <a:pt x="155" y="173"/>
                    <a:pt x="157" y="173"/>
                    <a:pt x="158" y="173"/>
                  </a:cubicBezTo>
                  <a:cubicBezTo>
                    <a:pt x="159" y="173"/>
                    <a:pt x="161" y="172"/>
                    <a:pt x="162" y="172"/>
                  </a:cubicBezTo>
                  <a:cubicBezTo>
                    <a:pt x="163" y="172"/>
                    <a:pt x="165" y="173"/>
                    <a:pt x="165" y="173"/>
                  </a:cubicBezTo>
                  <a:cubicBezTo>
                    <a:pt x="165" y="173"/>
                    <a:pt x="166" y="175"/>
                    <a:pt x="166" y="176"/>
                  </a:cubicBezTo>
                  <a:cubicBezTo>
                    <a:pt x="167" y="176"/>
                    <a:pt x="167" y="178"/>
                    <a:pt x="168" y="179"/>
                  </a:cubicBezTo>
                  <a:cubicBezTo>
                    <a:pt x="169" y="179"/>
                    <a:pt x="174" y="181"/>
                    <a:pt x="174" y="181"/>
                  </a:cubicBezTo>
                  <a:cubicBezTo>
                    <a:pt x="174" y="181"/>
                    <a:pt x="180" y="183"/>
                    <a:pt x="180" y="183"/>
                  </a:cubicBezTo>
                  <a:cubicBezTo>
                    <a:pt x="181" y="183"/>
                    <a:pt x="183" y="183"/>
                    <a:pt x="183" y="183"/>
                  </a:cubicBezTo>
                  <a:cubicBezTo>
                    <a:pt x="186" y="186"/>
                    <a:pt x="186" y="186"/>
                    <a:pt x="186" y="186"/>
                  </a:cubicBezTo>
                  <a:cubicBezTo>
                    <a:pt x="192" y="185"/>
                    <a:pt x="192" y="185"/>
                    <a:pt x="192" y="185"/>
                  </a:cubicBezTo>
                  <a:cubicBezTo>
                    <a:pt x="198" y="184"/>
                    <a:pt x="198" y="184"/>
                    <a:pt x="198" y="184"/>
                  </a:cubicBezTo>
                  <a:cubicBezTo>
                    <a:pt x="199" y="186"/>
                    <a:pt x="199" y="186"/>
                    <a:pt x="199" y="186"/>
                  </a:cubicBezTo>
                  <a:cubicBezTo>
                    <a:pt x="199" y="186"/>
                    <a:pt x="202" y="188"/>
                    <a:pt x="202" y="188"/>
                  </a:cubicBezTo>
                  <a:cubicBezTo>
                    <a:pt x="202" y="189"/>
                    <a:pt x="204" y="193"/>
                    <a:pt x="204" y="193"/>
                  </a:cubicBezTo>
                  <a:cubicBezTo>
                    <a:pt x="204" y="193"/>
                    <a:pt x="204" y="196"/>
                    <a:pt x="204" y="196"/>
                  </a:cubicBezTo>
                  <a:cubicBezTo>
                    <a:pt x="204" y="197"/>
                    <a:pt x="206" y="201"/>
                    <a:pt x="206" y="201"/>
                  </a:cubicBezTo>
                  <a:cubicBezTo>
                    <a:pt x="207" y="202"/>
                    <a:pt x="211" y="206"/>
                    <a:pt x="211" y="207"/>
                  </a:cubicBezTo>
                  <a:cubicBezTo>
                    <a:pt x="211" y="207"/>
                    <a:pt x="213" y="210"/>
                    <a:pt x="214" y="210"/>
                  </a:cubicBezTo>
                  <a:cubicBezTo>
                    <a:pt x="214" y="210"/>
                    <a:pt x="215" y="209"/>
                    <a:pt x="215" y="209"/>
                  </a:cubicBezTo>
                  <a:cubicBezTo>
                    <a:pt x="216" y="209"/>
                    <a:pt x="219" y="207"/>
                    <a:pt x="219" y="207"/>
                  </a:cubicBezTo>
                  <a:cubicBezTo>
                    <a:pt x="219" y="207"/>
                    <a:pt x="222" y="207"/>
                    <a:pt x="222" y="208"/>
                  </a:cubicBezTo>
                  <a:cubicBezTo>
                    <a:pt x="222" y="209"/>
                    <a:pt x="226" y="212"/>
                    <a:pt x="226" y="212"/>
                  </a:cubicBezTo>
                  <a:cubicBezTo>
                    <a:pt x="226" y="212"/>
                    <a:pt x="227" y="216"/>
                    <a:pt x="227" y="216"/>
                  </a:cubicBezTo>
                  <a:cubicBezTo>
                    <a:pt x="226" y="217"/>
                    <a:pt x="223" y="218"/>
                    <a:pt x="223" y="219"/>
                  </a:cubicBezTo>
                  <a:cubicBezTo>
                    <a:pt x="222" y="219"/>
                    <a:pt x="219" y="219"/>
                    <a:pt x="219" y="219"/>
                  </a:cubicBezTo>
                  <a:cubicBezTo>
                    <a:pt x="218" y="220"/>
                    <a:pt x="214" y="221"/>
                    <a:pt x="214" y="221"/>
                  </a:cubicBezTo>
                  <a:cubicBezTo>
                    <a:pt x="214" y="217"/>
                    <a:pt x="214" y="217"/>
                    <a:pt x="214" y="217"/>
                  </a:cubicBezTo>
                  <a:cubicBezTo>
                    <a:pt x="214" y="217"/>
                    <a:pt x="214" y="216"/>
                    <a:pt x="213" y="216"/>
                  </a:cubicBezTo>
                  <a:cubicBezTo>
                    <a:pt x="213" y="216"/>
                    <a:pt x="207" y="214"/>
                    <a:pt x="207" y="214"/>
                  </a:cubicBezTo>
                  <a:cubicBezTo>
                    <a:pt x="206" y="209"/>
                    <a:pt x="206" y="209"/>
                    <a:pt x="206" y="209"/>
                  </a:cubicBezTo>
                  <a:cubicBezTo>
                    <a:pt x="203" y="206"/>
                    <a:pt x="203" y="206"/>
                    <a:pt x="203" y="206"/>
                  </a:cubicBezTo>
                  <a:cubicBezTo>
                    <a:pt x="200" y="204"/>
                    <a:pt x="200" y="204"/>
                    <a:pt x="200" y="204"/>
                  </a:cubicBezTo>
                  <a:cubicBezTo>
                    <a:pt x="198" y="201"/>
                    <a:pt x="198" y="201"/>
                    <a:pt x="198" y="201"/>
                  </a:cubicBezTo>
                  <a:cubicBezTo>
                    <a:pt x="194" y="201"/>
                    <a:pt x="194" y="201"/>
                    <a:pt x="194" y="201"/>
                  </a:cubicBezTo>
                  <a:cubicBezTo>
                    <a:pt x="194" y="201"/>
                    <a:pt x="192" y="202"/>
                    <a:pt x="192" y="202"/>
                  </a:cubicBezTo>
                  <a:cubicBezTo>
                    <a:pt x="191" y="203"/>
                    <a:pt x="187" y="202"/>
                    <a:pt x="187" y="202"/>
                  </a:cubicBezTo>
                  <a:cubicBezTo>
                    <a:pt x="184" y="203"/>
                    <a:pt x="184" y="203"/>
                    <a:pt x="184" y="203"/>
                  </a:cubicBezTo>
                  <a:cubicBezTo>
                    <a:pt x="184" y="205"/>
                    <a:pt x="184" y="205"/>
                    <a:pt x="184" y="205"/>
                  </a:cubicBezTo>
                  <a:cubicBezTo>
                    <a:pt x="189" y="205"/>
                    <a:pt x="189" y="205"/>
                    <a:pt x="189" y="205"/>
                  </a:cubicBezTo>
                  <a:cubicBezTo>
                    <a:pt x="193" y="206"/>
                    <a:pt x="193" y="206"/>
                    <a:pt x="193" y="206"/>
                  </a:cubicBezTo>
                  <a:cubicBezTo>
                    <a:pt x="199" y="207"/>
                    <a:pt x="199" y="207"/>
                    <a:pt x="199" y="207"/>
                  </a:cubicBezTo>
                  <a:cubicBezTo>
                    <a:pt x="199" y="211"/>
                    <a:pt x="199" y="211"/>
                    <a:pt x="199" y="211"/>
                  </a:cubicBezTo>
                  <a:cubicBezTo>
                    <a:pt x="199" y="211"/>
                    <a:pt x="200" y="213"/>
                    <a:pt x="200" y="214"/>
                  </a:cubicBezTo>
                  <a:cubicBezTo>
                    <a:pt x="200" y="215"/>
                    <a:pt x="202" y="219"/>
                    <a:pt x="202" y="219"/>
                  </a:cubicBezTo>
                  <a:cubicBezTo>
                    <a:pt x="204" y="225"/>
                    <a:pt x="204" y="225"/>
                    <a:pt x="204" y="225"/>
                  </a:cubicBezTo>
                  <a:cubicBezTo>
                    <a:pt x="206" y="229"/>
                    <a:pt x="206" y="229"/>
                    <a:pt x="206" y="229"/>
                  </a:cubicBezTo>
                  <a:cubicBezTo>
                    <a:pt x="208" y="230"/>
                    <a:pt x="208" y="230"/>
                    <a:pt x="208" y="230"/>
                  </a:cubicBezTo>
                  <a:cubicBezTo>
                    <a:pt x="208" y="234"/>
                    <a:pt x="208" y="234"/>
                    <a:pt x="208" y="234"/>
                  </a:cubicBezTo>
                  <a:cubicBezTo>
                    <a:pt x="210" y="235"/>
                    <a:pt x="210" y="235"/>
                    <a:pt x="210" y="235"/>
                  </a:cubicBezTo>
                  <a:cubicBezTo>
                    <a:pt x="210" y="235"/>
                    <a:pt x="209" y="236"/>
                    <a:pt x="209" y="237"/>
                  </a:cubicBezTo>
                  <a:cubicBezTo>
                    <a:pt x="209" y="237"/>
                    <a:pt x="207" y="240"/>
                    <a:pt x="207" y="240"/>
                  </a:cubicBezTo>
                  <a:cubicBezTo>
                    <a:pt x="207" y="240"/>
                    <a:pt x="205" y="240"/>
                    <a:pt x="204" y="240"/>
                  </a:cubicBezTo>
                  <a:cubicBezTo>
                    <a:pt x="204" y="239"/>
                    <a:pt x="203" y="237"/>
                    <a:pt x="202" y="237"/>
                  </a:cubicBezTo>
                  <a:cubicBezTo>
                    <a:pt x="200" y="236"/>
                    <a:pt x="200" y="234"/>
                    <a:pt x="199" y="234"/>
                  </a:cubicBezTo>
                  <a:cubicBezTo>
                    <a:pt x="198" y="234"/>
                    <a:pt x="195" y="234"/>
                    <a:pt x="195" y="234"/>
                  </a:cubicBezTo>
                  <a:cubicBezTo>
                    <a:pt x="195" y="234"/>
                    <a:pt x="193" y="231"/>
                    <a:pt x="192" y="230"/>
                  </a:cubicBezTo>
                  <a:cubicBezTo>
                    <a:pt x="192" y="230"/>
                    <a:pt x="191" y="229"/>
                    <a:pt x="190" y="228"/>
                  </a:cubicBezTo>
                  <a:cubicBezTo>
                    <a:pt x="189" y="227"/>
                    <a:pt x="187" y="224"/>
                    <a:pt x="187" y="225"/>
                  </a:cubicBezTo>
                  <a:cubicBezTo>
                    <a:pt x="187" y="227"/>
                    <a:pt x="188" y="229"/>
                    <a:pt x="187" y="229"/>
                  </a:cubicBezTo>
                  <a:cubicBezTo>
                    <a:pt x="185" y="229"/>
                    <a:pt x="184" y="229"/>
                    <a:pt x="184" y="229"/>
                  </a:cubicBezTo>
                  <a:cubicBezTo>
                    <a:pt x="184" y="229"/>
                    <a:pt x="182" y="231"/>
                    <a:pt x="181" y="232"/>
                  </a:cubicBezTo>
                  <a:cubicBezTo>
                    <a:pt x="181" y="232"/>
                    <a:pt x="182" y="232"/>
                    <a:pt x="180" y="233"/>
                  </a:cubicBezTo>
                  <a:cubicBezTo>
                    <a:pt x="179" y="233"/>
                    <a:pt x="177" y="233"/>
                    <a:pt x="177" y="233"/>
                  </a:cubicBezTo>
                  <a:cubicBezTo>
                    <a:pt x="177" y="232"/>
                    <a:pt x="177" y="232"/>
                    <a:pt x="177" y="231"/>
                  </a:cubicBezTo>
                  <a:cubicBezTo>
                    <a:pt x="178" y="230"/>
                    <a:pt x="184" y="227"/>
                    <a:pt x="184" y="227"/>
                  </a:cubicBezTo>
                  <a:cubicBezTo>
                    <a:pt x="184" y="226"/>
                    <a:pt x="182" y="223"/>
                    <a:pt x="182" y="223"/>
                  </a:cubicBezTo>
                  <a:cubicBezTo>
                    <a:pt x="181" y="224"/>
                    <a:pt x="181" y="224"/>
                    <a:pt x="181" y="224"/>
                  </a:cubicBezTo>
                  <a:cubicBezTo>
                    <a:pt x="178" y="226"/>
                    <a:pt x="178" y="226"/>
                    <a:pt x="178" y="226"/>
                  </a:cubicBezTo>
                  <a:cubicBezTo>
                    <a:pt x="174" y="229"/>
                    <a:pt x="174" y="229"/>
                    <a:pt x="174" y="229"/>
                  </a:cubicBezTo>
                  <a:cubicBezTo>
                    <a:pt x="171" y="230"/>
                    <a:pt x="171" y="230"/>
                    <a:pt x="171" y="230"/>
                  </a:cubicBezTo>
                  <a:cubicBezTo>
                    <a:pt x="168" y="232"/>
                    <a:pt x="168" y="232"/>
                    <a:pt x="168" y="232"/>
                  </a:cubicBezTo>
                  <a:cubicBezTo>
                    <a:pt x="164" y="233"/>
                    <a:pt x="164" y="233"/>
                    <a:pt x="164" y="233"/>
                  </a:cubicBezTo>
                  <a:cubicBezTo>
                    <a:pt x="160" y="233"/>
                    <a:pt x="160" y="233"/>
                    <a:pt x="160" y="233"/>
                  </a:cubicBezTo>
                  <a:cubicBezTo>
                    <a:pt x="158" y="232"/>
                    <a:pt x="158" y="232"/>
                    <a:pt x="158" y="232"/>
                  </a:cubicBezTo>
                  <a:cubicBezTo>
                    <a:pt x="156" y="229"/>
                    <a:pt x="156" y="229"/>
                    <a:pt x="156" y="229"/>
                  </a:cubicBezTo>
                  <a:cubicBezTo>
                    <a:pt x="155" y="229"/>
                    <a:pt x="155" y="229"/>
                    <a:pt x="155" y="229"/>
                  </a:cubicBezTo>
                  <a:cubicBezTo>
                    <a:pt x="155" y="229"/>
                    <a:pt x="154" y="227"/>
                    <a:pt x="155" y="226"/>
                  </a:cubicBezTo>
                  <a:cubicBezTo>
                    <a:pt x="155" y="226"/>
                    <a:pt x="156" y="225"/>
                    <a:pt x="158" y="225"/>
                  </a:cubicBezTo>
                  <a:cubicBezTo>
                    <a:pt x="160" y="225"/>
                    <a:pt x="161" y="225"/>
                    <a:pt x="162" y="225"/>
                  </a:cubicBezTo>
                  <a:cubicBezTo>
                    <a:pt x="163" y="225"/>
                    <a:pt x="164" y="224"/>
                    <a:pt x="164" y="224"/>
                  </a:cubicBezTo>
                  <a:cubicBezTo>
                    <a:pt x="164" y="224"/>
                    <a:pt x="165" y="224"/>
                    <a:pt x="165" y="223"/>
                  </a:cubicBezTo>
                  <a:cubicBezTo>
                    <a:pt x="165" y="222"/>
                    <a:pt x="162" y="218"/>
                    <a:pt x="162" y="218"/>
                  </a:cubicBezTo>
                  <a:cubicBezTo>
                    <a:pt x="162" y="218"/>
                    <a:pt x="158" y="218"/>
                    <a:pt x="157" y="219"/>
                  </a:cubicBezTo>
                  <a:cubicBezTo>
                    <a:pt x="155" y="219"/>
                    <a:pt x="155" y="221"/>
                    <a:pt x="153" y="220"/>
                  </a:cubicBezTo>
                  <a:cubicBezTo>
                    <a:pt x="151" y="219"/>
                    <a:pt x="146" y="217"/>
                    <a:pt x="146" y="217"/>
                  </a:cubicBezTo>
                  <a:cubicBezTo>
                    <a:pt x="142" y="213"/>
                    <a:pt x="142" y="213"/>
                    <a:pt x="142" y="213"/>
                  </a:cubicBezTo>
                  <a:cubicBezTo>
                    <a:pt x="140" y="215"/>
                    <a:pt x="140" y="215"/>
                    <a:pt x="140" y="215"/>
                  </a:cubicBezTo>
                  <a:cubicBezTo>
                    <a:pt x="137" y="217"/>
                    <a:pt x="137" y="217"/>
                    <a:pt x="137" y="217"/>
                  </a:cubicBezTo>
                  <a:cubicBezTo>
                    <a:pt x="137" y="217"/>
                    <a:pt x="137" y="219"/>
                    <a:pt x="135" y="217"/>
                  </a:cubicBezTo>
                  <a:cubicBezTo>
                    <a:pt x="133" y="214"/>
                    <a:pt x="133" y="212"/>
                    <a:pt x="133" y="212"/>
                  </a:cubicBezTo>
                  <a:cubicBezTo>
                    <a:pt x="130" y="212"/>
                    <a:pt x="130" y="212"/>
                    <a:pt x="130" y="212"/>
                  </a:cubicBezTo>
                  <a:cubicBezTo>
                    <a:pt x="129" y="215"/>
                    <a:pt x="129" y="215"/>
                    <a:pt x="129" y="215"/>
                  </a:cubicBezTo>
                  <a:cubicBezTo>
                    <a:pt x="129" y="215"/>
                    <a:pt x="127" y="218"/>
                    <a:pt x="127" y="218"/>
                  </a:cubicBezTo>
                  <a:cubicBezTo>
                    <a:pt x="126" y="218"/>
                    <a:pt x="123" y="218"/>
                    <a:pt x="122" y="219"/>
                  </a:cubicBezTo>
                  <a:cubicBezTo>
                    <a:pt x="122" y="219"/>
                    <a:pt x="117" y="219"/>
                    <a:pt x="117" y="219"/>
                  </a:cubicBezTo>
                  <a:cubicBezTo>
                    <a:pt x="110" y="217"/>
                    <a:pt x="110" y="217"/>
                    <a:pt x="110" y="217"/>
                  </a:cubicBezTo>
                  <a:cubicBezTo>
                    <a:pt x="110" y="217"/>
                    <a:pt x="108" y="218"/>
                    <a:pt x="108" y="218"/>
                  </a:cubicBezTo>
                  <a:cubicBezTo>
                    <a:pt x="107" y="219"/>
                    <a:pt x="97" y="221"/>
                    <a:pt x="97" y="221"/>
                  </a:cubicBezTo>
                  <a:cubicBezTo>
                    <a:pt x="92" y="224"/>
                    <a:pt x="92" y="224"/>
                    <a:pt x="92" y="224"/>
                  </a:cubicBezTo>
                  <a:cubicBezTo>
                    <a:pt x="89" y="224"/>
                    <a:pt x="89" y="224"/>
                    <a:pt x="89" y="224"/>
                  </a:cubicBezTo>
                  <a:cubicBezTo>
                    <a:pt x="86" y="220"/>
                    <a:pt x="86" y="220"/>
                    <a:pt x="86" y="220"/>
                  </a:cubicBezTo>
                  <a:cubicBezTo>
                    <a:pt x="84" y="217"/>
                    <a:pt x="84" y="217"/>
                    <a:pt x="84" y="217"/>
                  </a:cubicBezTo>
                  <a:cubicBezTo>
                    <a:pt x="84" y="221"/>
                    <a:pt x="84" y="221"/>
                    <a:pt x="84" y="221"/>
                  </a:cubicBezTo>
                  <a:cubicBezTo>
                    <a:pt x="83" y="223"/>
                    <a:pt x="83" y="223"/>
                    <a:pt x="83" y="223"/>
                  </a:cubicBezTo>
                  <a:cubicBezTo>
                    <a:pt x="83" y="223"/>
                    <a:pt x="79" y="227"/>
                    <a:pt x="78" y="228"/>
                  </a:cubicBezTo>
                  <a:cubicBezTo>
                    <a:pt x="78" y="228"/>
                    <a:pt x="73" y="223"/>
                    <a:pt x="73" y="223"/>
                  </a:cubicBezTo>
                  <a:cubicBezTo>
                    <a:pt x="72" y="216"/>
                    <a:pt x="72" y="216"/>
                    <a:pt x="72" y="216"/>
                  </a:cubicBezTo>
                  <a:cubicBezTo>
                    <a:pt x="67" y="211"/>
                    <a:pt x="67" y="211"/>
                    <a:pt x="67" y="211"/>
                  </a:cubicBezTo>
                  <a:cubicBezTo>
                    <a:pt x="64" y="212"/>
                    <a:pt x="64" y="212"/>
                    <a:pt x="64" y="212"/>
                  </a:cubicBezTo>
                  <a:cubicBezTo>
                    <a:pt x="63" y="207"/>
                    <a:pt x="63" y="207"/>
                    <a:pt x="63" y="207"/>
                  </a:cubicBezTo>
                  <a:cubicBezTo>
                    <a:pt x="61" y="204"/>
                    <a:pt x="61" y="204"/>
                    <a:pt x="61" y="204"/>
                  </a:cubicBezTo>
                  <a:cubicBezTo>
                    <a:pt x="57" y="204"/>
                    <a:pt x="57" y="204"/>
                    <a:pt x="57" y="204"/>
                  </a:cubicBezTo>
                  <a:cubicBezTo>
                    <a:pt x="56" y="206"/>
                    <a:pt x="56" y="206"/>
                    <a:pt x="56" y="206"/>
                  </a:cubicBezTo>
                  <a:cubicBezTo>
                    <a:pt x="55" y="209"/>
                    <a:pt x="55" y="209"/>
                    <a:pt x="55" y="209"/>
                  </a:cubicBezTo>
                  <a:cubicBezTo>
                    <a:pt x="55" y="209"/>
                    <a:pt x="56" y="212"/>
                    <a:pt x="56" y="212"/>
                  </a:cubicBezTo>
                  <a:cubicBezTo>
                    <a:pt x="56" y="213"/>
                    <a:pt x="55" y="214"/>
                    <a:pt x="54" y="214"/>
                  </a:cubicBezTo>
                  <a:cubicBezTo>
                    <a:pt x="54" y="214"/>
                    <a:pt x="49" y="216"/>
                    <a:pt x="49" y="216"/>
                  </a:cubicBezTo>
                  <a:cubicBezTo>
                    <a:pt x="49" y="216"/>
                    <a:pt x="48" y="213"/>
                    <a:pt x="48" y="212"/>
                  </a:cubicBezTo>
                  <a:cubicBezTo>
                    <a:pt x="48" y="210"/>
                    <a:pt x="48" y="207"/>
                    <a:pt x="48" y="207"/>
                  </a:cubicBezTo>
                  <a:cubicBezTo>
                    <a:pt x="48" y="207"/>
                    <a:pt x="52" y="205"/>
                    <a:pt x="52" y="205"/>
                  </a:cubicBezTo>
                  <a:cubicBezTo>
                    <a:pt x="52" y="204"/>
                    <a:pt x="55" y="199"/>
                    <a:pt x="55" y="199"/>
                  </a:cubicBezTo>
                  <a:cubicBezTo>
                    <a:pt x="55" y="196"/>
                    <a:pt x="55" y="196"/>
                    <a:pt x="55" y="196"/>
                  </a:cubicBezTo>
                  <a:cubicBezTo>
                    <a:pt x="55" y="196"/>
                    <a:pt x="59" y="195"/>
                    <a:pt x="60" y="195"/>
                  </a:cubicBezTo>
                  <a:cubicBezTo>
                    <a:pt x="61" y="195"/>
                    <a:pt x="63" y="195"/>
                    <a:pt x="64" y="196"/>
                  </a:cubicBezTo>
                  <a:cubicBezTo>
                    <a:pt x="66" y="197"/>
                    <a:pt x="65" y="197"/>
                    <a:pt x="67" y="197"/>
                  </a:cubicBezTo>
                  <a:cubicBezTo>
                    <a:pt x="69" y="196"/>
                    <a:pt x="71" y="195"/>
                    <a:pt x="71" y="194"/>
                  </a:cubicBezTo>
                  <a:cubicBezTo>
                    <a:pt x="71" y="193"/>
                    <a:pt x="72" y="189"/>
                    <a:pt x="69" y="189"/>
                  </a:cubicBezTo>
                  <a:cubicBezTo>
                    <a:pt x="67" y="189"/>
                    <a:pt x="64" y="191"/>
                    <a:pt x="63" y="191"/>
                  </a:cubicBezTo>
                  <a:cubicBezTo>
                    <a:pt x="62" y="192"/>
                    <a:pt x="61" y="191"/>
                    <a:pt x="59" y="190"/>
                  </a:cubicBezTo>
                  <a:cubicBezTo>
                    <a:pt x="58" y="190"/>
                    <a:pt x="56" y="189"/>
                    <a:pt x="56" y="189"/>
                  </a:cubicBezTo>
                  <a:cubicBezTo>
                    <a:pt x="53" y="192"/>
                    <a:pt x="53" y="192"/>
                    <a:pt x="53" y="192"/>
                  </a:cubicBezTo>
                  <a:cubicBezTo>
                    <a:pt x="53" y="192"/>
                    <a:pt x="55" y="196"/>
                    <a:pt x="51" y="193"/>
                  </a:cubicBezTo>
                  <a:cubicBezTo>
                    <a:pt x="47" y="191"/>
                    <a:pt x="47" y="190"/>
                    <a:pt x="47" y="190"/>
                  </a:cubicBezTo>
                  <a:cubicBezTo>
                    <a:pt x="43" y="186"/>
                    <a:pt x="43" y="186"/>
                    <a:pt x="43" y="186"/>
                  </a:cubicBezTo>
                  <a:cubicBezTo>
                    <a:pt x="41" y="179"/>
                    <a:pt x="41" y="179"/>
                    <a:pt x="41" y="179"/>
                  </a:cubicBezTo>
                  <a:cubicBezTo>
                    <a:pt x="38" y="175"/>
                    <a:pt x="38" y="175"/>
                    <a:pt x="38" y="175"/>
                  </a:cubicBezTo>
                  <a:cubicBezTo>
                    <a:pt x="38" y="175"/>
                    <a:pt x="37" y="177"/>
                    <a:pt x="36" y="179"/>
                  </a:cubicBezTo>
                  <a:cubicBezTo>
                    <a:pt x="35" y="180"/>
                    <a:pt x="33" y="180"/>
                    <a:pt x="32" y="179"/>
                  </a:cubicBezTo>
                  <a:cubicBezTo>
                    <a:pt x="32" y="177"/>
                    <a:pt x="29" y="173"/>
                    <a:pt x="29" y="173"/>
                  </a:cubicBezTo>
                  <a:cubicBezTo>
                    <a:pt x="30" y="169"/>
                    <a:pt x="30" y="169"/>
                    <a:pt x="30" y="169"/>
                  </a:cubicBezTo>
                  <a:cubicBezTo>
                    <a:pt x="26" y="168"/>
                    <a:pt x="26" y="168"/>
                    <a:pt x="26" y="168"/>
                  </a:cubicBezTo>
                  <a:cubicBezTo>
                    <a:pt x="26" y="168"/>
                    <a:pt x="24" y="167"/>
                    <a:pt x="24" y="166"/>
                  </a:cubicBezTo>
                  <a:cubicBezTo>
                    <a:pt x="25" y="164"/>
                    <a:pt x="27" y="161"/>
                    <a:pt x="27" y="161"/>
                  </a:cubicBezTo>
                  <a:cubicBezTo>
                    <a:pt x="29" y="157"/>
                    <a:pt x="29" y="157"/>
                    <a:pt x="29" y="157"/>
                  </a:cubicBezTo>
                  <a:cubicBezTo>
                    <a:pt x="29" y="157"/>
                    <a:pt x="29" y="154"/>
                    <a:pt x="28" y="153"/>
                  </a:cubicBezTo>
                  <a:cubicBezTo>
                    <a:pt x="28" y="152"/>
                    <a:pt x="27" y="139"/>
                    <a:pt x="27" y="139"/>
                  </a:cubicBezTo>
                  <a:cubicBezTo>
                    <a:pt x="35" y="134"/>
                    <a:pt x="35" y="134"/>
                    <a:pt x="35" y="134"/>
                  </a:cubicBezTo>
                  <a:cubicBezTo>
                    <a:pt x="40" y="126"/>
                    <a:pt x="40" y="126"/>
                    <a:pt x="40" y="126"/>
                  </a:cubicBezTo>
                  <a:cubicBezTo>
                    <a:pt x="42" y="117"/>
                    <a:pt x="42" y="117"/>
                    <a:pt x="42" y="117"/>
                  </a:cubicBezTo>
                  <a:cubicBezTo>
                    <a:pt x="45" y="109"/>
                    <a:pt x="45" y="109"/>
                    <a:pt x="45" y="109"/>
                  </a:cubicBezTo>
                  <a:cubicBezTo>
                    <a:pt x="45" y="109"/>
                    <a:pt x="49" y="105"/>
                    <a:pt x="49" y="106"/>
                  </a:cubicBezTo>
                  <a:cubicBezTo>
                    <a:pt x="50" y="107"/>
                    <a:pt x="49" y="98"/>
                    <a:pt x="49" y="98"/>
                  </a:cubicBezTo>
                  <a:cubicBezTo>
                    <a:pt x="46" y="95"/>
                    <a:pt x="46" y="95"/>
                    <a:pt x="46" y="95"/>
                  </a:cubicBezTo>
                  <a:cubicBezTo>
                    <a:pt x="46" y="90"/>
                    <a:pt x="46" y="90"/>
                    <a:pt x="46" y="90"/>
                  </a:cubicBezTo>
                  <a:cubicBezTo>
                    <a:pt x="46" y="90"/>
                    <a:pt x="51" y="89"/>
                    <a:pt x="52" y="89"/>
                  </a:cubicBezTo>
                  <a:cubicBezTo>
                    <a:pt x="53" y="89"/>
                    <a:pt x="55" y="88"/>
                    <a:pt x="58" y="87"/>
                  </a:cubicBezTo>
                  <a:cubicBezTo>
                    <a:pt x="60" y="87"/>
                    <a:pt x="62" y="85"/>
                    <a:pt x="64" y="85"/>
                  </a:cubicBezTo>
                  <a:cubicBezTo>
                    <a:pt x="65" y="85"/>
                    <a:pt x="70" y="85"/>
                    <a:pt x="70" y="85"/>
                  </a:cubicBezTo>
                  <a:cubicBezTo>
                    <a:pt x="70" y="85"/>
                    <a:pt x="75" y="82"/>
                    <a:pt x="76" y="81"/>
                  </a:cubicBezTo>
                  <a:cubicBezTo>
                    <a:pt x="77" y="80"/>
                    <a:pt x="80" y="76"/>
                    <a:pt x="80" y="76"/>
                  </a:cubicBezTo>
                  <a:cubicBezTo>
                    <a:pt x="80" y="76"/>
                    <a:pt x="81" y="71"/>
                    <a:pt x="83" y="70"/>
                  </a:cubicBezTo>
                  <a:cubicBezTo>
                    <a:pt x="84" y="70"/>
                    <a:pt x="87" y="68"/>
                    <a:pt x="89" y="68"/>
                  </a:cubicBezTo>
                  <a:cubicBezTo>
                    <a:pt x="91" y="67"/>
                    <a:pt x="96" y="66"/>
                    <a:pt x="97" y="66"/>
                  </a:cubicBezTo>
                  <a:cubicBezTo>
                    <a:pt x="98" y="66"/>
                    <a:pt x="110" y="64"/>
                    <a:pt x="110" y="64"/>
                  </a:cubicBezTo>
                  <a:cubicBezTo>
                    <a:pt x="115" y="60"/>
                    <a:pt x="115" y="60"/>
                    <a:pt x="115" y="60"/>
                  </a:cubicBezTo>
                  <a:cubicBezTo>
                    <a:pt x="114" y="51"/>
                    <a:pt x="114" y="51"/>
                    <a:pt x="114" y="51"/>
                  </a:cubicBezTo>
                  <a:cubicBezTo>
                    <a:pt x="129" y="49"/>
                    <a:pt x="129" y="49"/>
                    <a:pt x="129" y="49"/>
                  </a:cubicBezTo>
                  <a:cubicBezTo>
                    <a:pt x="135" y="45"/>
                    <a:pt x="135" y="45"/>
                    <a:pt x="135" y="45"/>
                  </a:cubicBezTo>
                  <a:cubicBezTo>
                    <a:pt x="135" y="45"/>
                    <a:pt x="138" y="42"/>
                    <a:pt x="139" y="42"/>
                  </a:cubicBezTo>
                  <a:cubicBezTo>
                    <a:pt x="140" y="43"/>
                    <a:pt x="142" y="42"/>
                    <a:pt x="142" y="42"/>
                  </a:cubicBezTo>
                  <a:cubicBezTo>
                    <a:pt x="149" y="40"/>
                    <a:pt x="149" y="40"/>
                    <a:pt x="149" y="40"/>
                  </a:cubicBezTo>
                  <a:cubicBezTo>
                    <a:pt x="149" y="40"/>
                    <a:pt x="158" y="37"/>
                    <a:pt x="159" y="36"/>
                  </a:cubicBezTo>
                  <a:cubicBezTo>
                    <a:pt x="159" y="36"/>
                    <a:pt x="164" y="34"/>
                    <a:pt x="164" y="34"/>
                  </a:cubicBezTo>
                  <a:cubicBezTo>
                    <a:pt x="166" y="30"/>
                    <a:pt x="166" y="30"/>
                    <a:pt x="166" y="30"/>
                  </a:cubicBezTo>
                  <a:cubicBezTo>
                    <a:pt x="166" y="30"/>
                    <a:pt x="168" y="28"/>
                    <a:pt x="171" y="28"/>
                  </a:cubicBezTo>
                  <a:cubicBezTo>
                    <a:pt x="173" y="28"/>
                    <a:pt x="175" y="28"/>
                    <a:pt x="176" y="28"/>
                  </a:cubicBezTo>
                  <a:cubicBezTo>
                    <a:pt x="176" y="27"/>
                    <a:pt x="177" y="25"/>
                    <a:pt x="178" y="25"/>
                  </a:cubicBezTo>
                  <a:cubicBezTo>
                    <a:pt x="179" y="25"/>
                    <a:pt x="185" y="24"/>
                    <a:pt x="185" y="24"/>
                  </a:cubicBezTo>
                  <a:cubicBezTo>
                    <a:pt x="188" y="29"/>
                    <a:pt x="188" y="29"/>
                    <a:pt x="188" y="29"/>
                  </a:cubicBezTo>
                  <a:cubicBezTo>
                    <a:pt x="188" y="29"/>
                    <a:pt x="194" y="33"/>
                    <a:pt x="195" y="33"/>
                  </a:cubicBezTo>
                  <a:cubicBezTo>
                    <a:pt x="196" y="33"/>
                    <a:pt x="201" y="29"/>
                    <a:pt x="201" y="29"/>
                  </a:cubicBezTo>
                  <a:cubicBezTo>
                    <a:pt x="211" y="32"/>
                    <a:pt x="211" y="32"/>
                    <a:pt x="211" y="32"/>
                  </a:cubicBezTo>
                  <a:cubicBezTo>
                    <a:pt x="219" y="34"/>
                    <a:pt x="219" y="34"/>
                    <a:pt x="219" y="34"/>
                  </a:cubicBezTo>
                  <a:cubicBezTo>
                    <a:pt x="222" y="32"/>
                    <a:pt x="222" y="32"/>
                    <a:pt x="222" y="32"/>
                  </a:cubicBezTo>
                  <a:close/>
                  <a:moveTo>
                    <a:pt x="188" y="149"/>
                  </a:moveTo>
                  <a:cubicBezTo>
                    <a:pt x="188" y="149"/>
                    <a:pt x="188" y="149"/>
                    <a:pt x="188" y="149"/>
                  </a:cubicBezTo>
                  <a:cubicBezTo>
                    <a:pt x="189" y="150"/>
                    <a:pt x="189" y="150"/>
                    <a:pt x="189" y="150"/>
                  </a:cubicBezTo>
                  <a:cubicBezTo>
                    <a:pt x="189" y="150"/>
                    <a:pt x="191" y="150"/>
                    <a:pt x="192" y="149"/>
                  </a:cubicBezTo>
                  <a:cubicBezTo>
                    <a:pt x="193" y="149"/>
                    <a:pt x="191" y="148"/>
                    <a:pt x="191" y="148"/>
                  </a:cubicBezTo>
                  <a:cubicBezTo>
                    <a:pt x="189" y="148"/>
                    <a:pt x="189" y="148"/>
                    <a:pt x="189" y="148"/>
                  </a:cubicBezTo>
                  <a:cubicBezTo>
                    <a:pt x="189" y="148"/>
                    <a:pt x="188" y="149"/>
                    <a:pt x="188" y="149"/>
                  </a:cubicBezTo>
                  <a:close/>
                  <a:moveTo>
                    <a:pt x="184" y="157"/>
                  </a:moveTo>
                  <a:cubicBezTo>
                    <a:pt x="184" y="157"/>
                    <a:pt x="184" y="157"/>
                    <a:pt x="184" y="157"/>
                  </a:cubicBezTo>
                  <a:cubicBezTo>
                    <a:pt x="185" y="158"/>
                    <a:pt x="185" y="158"/>
                    <a:pt x="185" y="158"/>
                  </a:cubicBezTo>
                  <a:cubicBezTo>
                    <a:pt x="185" y="158"/>
                    <a:pt x="186" y="155"/>
                    <a:pt x="187" y="154"/>
                  </a:cubicBezTo>
                  <a:cubicBezTo>
                    <a:pt x="188" y="152"/>
                    <a:pt x="186" y="153"/>
                    <a:pt x="186" y="153"/>
                  </a:cubicBezTo>
                  <a:cubicBezTo>
                    <a:pt x="185" y="154"/>
                    <a:pt x="185" y="154"/>
                    <a:pt x="185" y="154"/>
                  </a:cubicBezTo>
                  <a:cubicBezTo>
                    <a:pt x="185" y="154"/>
                    <a:pt x="184" y="157"/>
                    <a:pt x="184" y="157"/>
                  </a:cubicBezTo>
                  <a:close/>
                  <a:moveTo>
                    <a:pt x="318" y="231"/>
                  </a:moveTo>
                  <a:cubicBezTo>
                    <a:pt x="318" y="231"/>
                    <a:pt x="318" y="231"/>
                    <a:pt x="318" y="231"/>
                  </a:cubicBezTo>
                  <a:cubicBezTo>
                    <a:pt x="318" y="231"/>
                    <a:pt x="321" y="233"/>
                    <a:pt x="321" y="233"/>
                  </a:cubicBezTo>
                  <a:cubicBezTo>
                    <a:pt x="319" y="237"/>
                    <a:pt x="319" y="237"/>
                    <a:pt x="319" y="237"/>
                  </a:cubicBezTo>
                  <a:cubicBezTo>
                    <a:pt x="316" y="235"/>
                    <a:pt x="316" y="235"/>
                    <a:pt x="316" y="235"/>
                  </a:cubicBezTo>
                  <a:cubicBezTo>
                    <a:pt x="318" y="231"/>
                    <a:pt x="318" y="231"/>
                    <a:pt x="318" y="231"/>
                  </a:cubicBezTo>
                  <a:close/>
                  <a:moveTo>
                    <a:pt x="342" y="250"/>
                  </a:moveTo>
                  <a:cubicBezTo>
                    <a:pt x="342" y="250"/>
                    <a:pt x="342" y="250"/>
                    <a:pt x="342" y="250"/>
                  </a:cubicBezTo>
                  <a:cubicBezTo>
                    <a:pt x="342" y="250"/>
                    <a:pt x="347" y="251"/>
                    <a:pt x="347" y="250"/>
                  </a:cubicBezTo>
                  <a:cubicBezTo>
                    <a:pt x="347" y="249"/>
                    <a:pt x="348" y="247"/>
                    <a:pt x="348" y="247"/>
                  </a:cubicBezTo>
                  <a:cubicBezTo>
                    <a:pt x="347" y="246"/>
                    <a:pt x="344" y="245"/>
                    <a:pt x="344" y="245"/>
                  </a:cubicBezTo>
                  <a:cubicBezTo>
                    <a:pt x="343" y="245"/>
                    <a:pt x="342" y="245"/>
                    <a:pt x="341" y="244"/>
                  </a:cubicBezTo>
                  <a:cubicBezTo>
                    <a:pt x="335" y="237"/>
                    <a:pt x="339" y="246"/>
                    <a:pt x="342" y="247"/>
                  </a:cubicBezTo>
                  <a:cubicBezTo>
                    <a:pt x="342" y="248"/>
                    <a:pt x="342" y="248"/>
                    <a:pt x="342" y="248"/>
                  </a:cubicBezTo>
                  <a:cubicBezTo>
                    <a:pt x="342" y="250"/>
                    <a:pt x="342" y="250"/>
                    <a:pt x="342" y="250"/>
                  </a:cubicBezTo>
                  <a:close/>
                  <a:moveTo>
                    <a:pt x="349" y="257"/>
                  </a:moveTo>
                  <a:cubicBezTo>
                    <a:pt x="349" y="257"/>
                    <a:pt x="349" y="257"/>
                    <a:pt x="349" y="257"/>
                  </a:cubicBezTo>
                  <a:cubicBezTo>
                    <a:pt x="353" y="252"/>
                    <a:pt x="353" y="252"/>
                    <a:pt x="353" y="252"/>
                  </a:cubicBezTo>
                  <a:cubicBezTo>
                    <a:pt x="353" y="252"/>
                    <a:pt x="355" y="250"/>
                    <a:pt x="356" y="250"/>
                  </a:cubicBezTo>
                  <a:cubicBezTo>
                    <a:pt x="357" y="250"/>
                    <a:pt x="361" y="249"/>
                    <a:pt x="361" y="249"/>
                  </a:cubicBezTo>
                  <a:cubicBezTo>
                    <a:pt x="361" y="249"/>
                    <a:pt x="364" y="250"/>
                    <a:pt x="362" y="251"/>
                  </a:cubicBezTo>
                  <a:cubicBezTo>
                    <a:pt x="361" y="252"/>
                    <a:pt x="358" y="254"/>
                    <a:pt x="357" y="254"/>
                  </a:cubicBezTo>
                  <a:cubicBezTo>
                    <a:pt x="356" y="255"/>
                    <a:pt x="354" y="258"/>
                    <a:pt x="354" y="258"/>
                  </a:cubicBezTo>
                  <a:cubicBezTo>
                    <a:pt x="350" y="259"/>
                    <a:pt x="350" y="259"/>
                    <a:pt x="350" y="259"/>
                  </a:cubicBezTo>
                  <a:cubicBezTo>
                    <a:pt x="346" y="261"/>
                    <a:pt x="346" y="261"/>
                    <a:pt x="346" y="261"/>
                  </a:cubicBezTo>
                  <a:cubicBezTo>
                    <a:pt x="347" y="265"/>
                    <a:pt x="347" y="265"/>
                    <a:pt x="347" y="265"/>
                  </a:cubicBezTo>
                  <a:cubicBezTo>
                    <a:pt x="347" y="265"/>
                    <a:pt x="346" y="266"/>
                    <a:pt x="345" y="266"/>
                  </a:cubicBezTo>
                  <a:cubicBezTo>
                    <a:pt x="345" y="265"/>
                    <a:pt x="342" y="263"/>
                    <a:pt x="342" y="263"/>
                  </a:cubicBezTo>
                  <a:cubicBezTo>
                    <a:pt x="343" y="258"/>
                    <a:pt x="343" y="258"/>
                    <a:pt x="343" y="258"/>
                  </a:cubicBezTo>
                  <a:cubicBezTo>
                    <a:pt x="347" y="258"/>
                    <a:pt x="347" y="258"/>
                    <a:pt x="347" y="258"/>
                  </a:cubicBezTo>
                  <a:cubicBezTo>
                    <a:pt x="349" y="257"/>
                    <a:pt x="349" y="257"/>
                    <a:pt x="349" y="257"/>
                  </a:cubicBezTo>
                  <a:close/>
                  <a:moveTo>
                    <a:pt x="388" y="286"/>
                  </a:moveTo>
                  <a:cubicBezTo>
                    <a:pt x="388" y="286"/>
                    <a:pt x="388" y="286"/>
                    <a:pt x="388" y="286"/>
                  </a:cubicBezTo>
                  <a:cubicBezTo>
                    <a:pt x="388" y="286"/>
                    <a:pt x="392" y="290"/>
                    <a:pt x="392" y="290"/>
                  </a:cubicBezTo>
                  <a:cubicBezTo>
                    <a:pt x="391" y="295"/>
                    <a:pt x="391" y="295"/>
                    <a:pt x="391" y="295"/>
                  </a:cubicBezTo>
                  <a:cubicBezTo>
                    <a:pt x="391" y="295"/>
                    <a:pt x="391" y="297"/>
                    <a:pt x="393" y="297"/>
                  </a:cubicBezTo>
                  <a:cubicBezTo>
                    <a:pt x="395" y="298"/>
                    <a:pt x="398" y="298"/>
                    <a:pt x="398" y="296"/>
                  </a:cubicBezTo>
                  <a:cubicBezTo>
                    <a:pt x="398" y="294"/>
                    <a:pt x="399" y="292"/>
                    <a:pt x="400" y="291"/>
                  </a:cubicBezTo>
                  <a:cubicBezTo>
                    <a:pt x="401" y="289"/>
                    <a:pt x="403" y="286"/>
                    <a:pt x="403" y="286"/>
                  </a:cubicBezTo>
                  <a:cubicBezTo>
                    <a:pt x="403" y="286"/>
                    <a:pt x="404" y="286"/>
                    <a:pt x="405" y="285"/>
                  </a:cubicBezTo>
                  <a:cubicBezTo>
                    <a:pt x="406" y="285"/>
                    <a:pt x="404" y="282"/>
                    <a:pt x="404" y="282"/>
                  </a:cubicBezTo>
                  <a:cubicBezTo>
                    <a:pt x="404" y="282"/>
                    <a:pt x="403" y="282"/>
                    <a:pt x="405" y="278"/>
                  </a:cubicBezTo>
                  <a:cubicBezTo>
                    <a:pt x="407" y="275"/>
                    <a:pt x="407" y="275"/>
                    <a:pt x="407" y="275"/>
                  </a:cubicBezTo>
                  <a:cubicBezTo>
                    <a:pt x="407" y="274"/>
                    <a:pt x="408" y="271"/>
                    <a:pt x="408" y="270"/>
                  </a:cubicBezTo>
                  <a:cubicBezTo>
                    <a:pt x="407" y="268"/>
                    <a:pt x="406" y="263"/>
                    <a:pt x="406" y="263"/>
                  </a:cubicBezTo>
                  <a:cubicBezTo>
                    <a:pt x="404" y="265"/>
                    <a:pt x="404" y="265"/>
                    <a:pt x="404" y="265"/>
                  </a:cubicBezTo>
                  <a:cubicBezTo>
                    <a:pt x="404" y="265"/>
                    <a:pt x="402" y="267"/>
                    <a:pt x="400" y="267"/>
                  </a:cubicBezTo>
                  <a:cubicBezTo>
                    <a:pt x="398" y="268"/>
                    <a:pt x="396" y="269"/>
                    <a:pt x="396" y="270"/>
                  </a:cubicBezTo>
                  <a:cubicBezTo>
                    <a:pt x="396" y="270"/>
                    <a:pt x="396" y="273"/>
                    <a:pt x="395" y="274"/>
                  </a:cubicBezTo>
                  <a:cubicBezTo>
                    <a:pt x="394" y="275"/>
                    <a:pt x="391" y="278"/>
                    <a:pt x="391" y="278"/>
                  </a:cubicBezTo>
                  <a:cubicBezTo>
                    <a:pt x="389" y="283"/>
                    <a:pt x="389" y="283"/>
                    <a:pt x="389" y="283"/>
                  </a:cubicBezTo>
                  <a:cubicBezTo>
                    <a:pt x="389" y="283"/>
                    <a:pt x="388" y="286"/>
                    <a:pt x="388" y="286"/>
                  </a:cubicBezTo>
                  <a:close/>
                  <a:moveTo>
                    <a:pt x="373" y="331"/>
                  </a:moveTo>
                  <a:cubicBezTo>
                    <a:pt x="373" y="331"/>
                    <a:pt x="373" y="331"/>
                    <a:pt x="373" y="331"/>
                  </a:cubicBezTo>
                  <a:cubicBezTo>
                    <a:pt x="371" y="330"/>
                    <a:pt x="369" y="328"/>
                    <a:pt x="369" y="326"/>
                  </a:cubicBezTo>
                  <a:cubicBezTo>
                    <a:pt x="369" y="325"/>
                    <a:pt x="370" y="323"/>
                    <a:pt x="370" y="323"/>
                  </a:cubicBezTo>
                  <a:cubicBezTo>
                    <a:pt x="370" y="323"/>
                    <a:pt x="368" y="322"/>
                    <a:pt x="368" y="321"/>
                  </a:cubicBezTo>
                  <a:cubicBezTo>
                    <a:pt x="368" y="321"/>
                    <a:pt x="370" y="317"/>
                    <a:pt x="370" y="315"/>
                  </a:cubicBezTo>
                  <a:cubicBezTo>
                    <a:pt x="369" y="314"/>
                    <a:pt x="370" y="308"/>
                    <a:pt x="370" y="308"/>
                  </a:cubicBezTo>
                  <a:cubicBezTo>
                    <a:pt x="370" y="308"/>
                    <a:pt x="373" y="307"/>
                    <a:pt x="373" y="308"/>
                  </a:cubicBezTo>
                  <a:cubicBezTo>
                    <a:pt x="373" y="309"/>
                    <a:pt x="372" y="312"/>
                    <a:pt x="372" y="313"/>
                  </a:cubicBezTo>
                  <a:cubicBezTo>
                    <a:pt x="372" y="314"/>
                    <a:pt x="371" y="318"/>
                    <a:pt x="371" y="319"/>
                  </a:cubicBezTo>
                  <a:cubicBezTo>
                    <a:pt x="371" y="319"/>
                    <a:pt x="372" y="318"/>
                    <a:pt x="374" y="320"/>
                  </a:cubicBezTo>
                  <a:cubicBezTo>
                    <a:pt x="376" y="322"/>
                    <a:pt x="376" y="325"/>
                    <a:pt x="376" y="325"/>
                  </a:cubicBezTo>
                  <a:cubicBezTo>
                    <a:pt x="374" y="327"/>
                    <a:pt x="374" y="327"/>
                    <a:pt x="374" y="327"/>
                  </a:cubicBezTo>
                  <a:cubicBezTo>
                    <a:pt x="373" y="331"/>
                    <a:pt x="373" y="331"/>
                    <a:pt x="373" y="331"/>
                  </a:cubicBezTo>
                  <a:close/>
                  <a:moveTo>
                    <a:pt x="361" y="333"/>
                  </a:moveTo>
                  <a:cubicBezTo>
                    <a:pt x="361" y="333"/>
                    <a:pt x="361" y="333"/>
                    <a:pt x="361" y="333"/>
                  </a:cubicBezTo>
                  <a:cubicBezTo>
                    <a:pt x="361" y="333"/>
                    <a:pt x="360" y="337"/>
                    <a:pt x="360" y="338"/>
                  </a:cubicBezTo>
                  <a:cubicBezTo>
                    <a:pt x="360" y="338"/>
                    <a:pt x="361" y="338"/>
                    <a:pt x="362" y="338"/>
                  </a:cubicBezTo>
                  <a:cubicBezTo>
                    <a:pt x="363" y="337"/>
                    <a:pt x="364" y="337"/>
                    <a:pt x="365" y="336"/>
                  </a:cubicBezTo>
                  <a:cubicBezTo>
                    <a:pt x="366" y="335"/>
                    <a:pt x="369" y="333"/>
                    <a:pt x="370" y="333"/>
                  </a:cubicBezTo>
                  <a:cubicBezTo>
                    <a:pt x="371" y="332"/>
                    <a:pt x="366" y="330"/>
                    <a:pt x="366" y="330"/>
                  </a:cubicBezTo>
                  <a:cubicBezTo>
                    <a:pt x="361" y="333"/>
                    <a:pt x="361" y="333"/>
                    <a:pt x="361" y="333"/>
                  </a:cubicBezTo>
                  <a:close/>
                  <a:moveTo>
                    <a:pt x="225" y="132"/>
                  </a:moveTo>
                  <a:cubicBezTo>
                    <a:pt x="225" y="132"/>
                    <a:pt x="225" y="132"/>
                    <a:pt x="225" y="132"/>
                  </a:cubicBezTo>
                  <a:cubicBezTo>
                    <a:pt x="227" y="133"/>
                    <a:pt x="227" y="133"/>
                    <a:pt x="227" y="133"/>
                  </a:cubicBezTo>
                  <a:cubicBezTo>
                    <a:pt x="227" y="133"/>
                    <a:pt x="228" y="132"/>
                    <a:pt x="229" y="131"/>
                  </a:cubicBezTo>
                  <a:cubicBezTo>
                    <a:pt x="230" y="130"/>
                    <a:pt x="228" y="129"/>
                    <a:pt x="228" y="129"/>
                  </a:cubicBezTo>
                  <a:cubicBezTo>
                    <a:pt x="227" y="130"/>
                    <a:pt x="227" y="130"/>
                    <a:pt x="227" y="130"/>
                  </a:cubicBezTo>
                  <a:cubicBezTo>
                    <a:pt x="227" y="130"/>
                    <a:pt x="225" y="132"/>
                    <a:pt x="225" y="132"/>
                  </a:cubicBezTo>
                  <a:close/>
                  <a:moveTo>
                    <a:pt x="164" y="164"/>
                  </a:moveTo>
                  <a:cubicBezTo>
                    <a:pt x="164" y="164"/>
                    <a:pt x="164" y="164"/>
                    <a:pt x="164" y="164"/>
                  </a:cubicBezTo>
                  <a:cubicBezTo>
                    <a:pt x="165" y="165"/>
                    <a:pt x="165" y="165"/>
                    <a:pt x="165" y="165"/>
                  </a:cubicBezTo>
                  <a:cubicBezTo>
                    <a:pt x="165" y="165"/>
                    <a:pt x="166" y="163"/>
                    <a:pt x="168" y="162"/>
                  </a:cubicBezTo>
                  <a:cubicBezTo>
                    <a:pt x="169" y="161"/>
                    <a:pt x="167" y="161"/>
                    <a:pt x="167" y="161"/>
                  </a:cubicBezTo>
                  <a:cubicBezTo>
                    <a:pt x="165" y="162"/>
                    <a:pt x="165" y="162"/>
                    <a:pt x="165" y="162"/>
                  </a:cubicBezTo>
                  <a:cubicBezTo>
                    <a:pt x="165" y="162"/>
                    <a:pt x="164" y="163"/>
                    <a:pt x="164" y="164"/>
                  </a:cubicBezTo>
                  <a:close/>
                  <a:moveTo>
                    <a:pt x="174" y="162"/>
                  </a:moveTo>
                  <a:cubicBezTo>
                    <a:pt x="174" y="162"/>
                    <a:pt x="174" y="162"/>
                    <a:pt x="174" y="162"/>
                  </a:cubicBezTo>
                  <a:cubicBezTo>
                    <a:pt x="174" y="164"/>
                    <a:pt x="174" y="164"/>
                    <a:pt x="174" y="164"/>
                  </a:cubicBezTo>
                  <a:cubicBezTo>
                    <a:pt x="174" y="164"/>
                    <a:pt x="177" y="165"/>
                    <a:pt x="179" y="166"/>
                  </a:cubicBezTo>
                  <a:cubicBezTo>
                    <a:pt x="182" y="167"/>
                    <a:pt x="180" y="164"/>
                    <a:pt x="180" y="164"/>
                  </a:cubicBezTo>
                  <a:cubicBezTo>
                    <a:pt x="178" y="162"/>
                    <a:pt x="178" y="162"/>
                    <a:pt x="178" y="162"/>
                  </a:cubicBezTo>
                  <a:cubicBezTo>
                    <a:pt x="178" y="162"/>
                    <a:pt x="175" y="161"/>
                    <a:pt x="174" y="162"/>
                  </a:cubicBezTo>
                  <a:close/>
                  <a:moveTo>
                    <a:pt x="211" y="164"/>
                  </a:moveTo>
                  <a:cubicBezTo>
                    <a:pt x="211" y="164"/>
                    <a:pt x="211" y="164"/>
                    <a:pt x="211" y="164"/>
                  </a:cubicBezTo>
                  <a:cubicBezTo>
                    <a:pt x="210" y="166"/>
                    <a:pt x="210" y="166"/>
                    <a:pt x="210" y="166"/>
                  </a:cubicBezTo>
                  <a:cubicBezTo>
                    <a:pt x="210" y="166"/>
                    <a:pt x="212" y="168"/>
                    <a:pt x="213" y="170"/>
                  </a:cubicBezTo>
                  <a:cubicBezTo>
                    <a:pt x="214" y="170"/>
                    <a:pt x="218" y="174"/>
                    <a:pt x="220" y="174"/>
                  </a:cubicBezTo>
                  <a:cubicBezTo>
                    <a:pt x="228" y="177"/>
                    <a:pt x="215" y="167"/>
                    <a:pt x="214" y="166"/>
                  </a:cubicBezTo>
                  <a:cubicBezTo>
                    <a:pt x="214" y="166"/>
                    <a:pt x="211" y="163"/>
                    <a:pt x="211" y="164"/>
                  </a:cubicBezTo>
                  <a:close/>
                  <a:moveTo>
                    <a:pt x="258" y="178"/>
                  </a:moveTo>
                  <a:cubicBezTo>
                    <a:pt x="258" y="178"/>
                    <a:pt x="258" y="178"/>
                    <a:pt x="258" y="178"/>
                  </a:cubicBezTo>
                  <a:cubicBezTo>
                    <a:pt x="260" y="180"/>
                    <a:pt x="260" y="180"/>
                    <a:pt x="260" y="180"/>
                  </a:cubicBezTo>
                  <a:cubicBezTo>
                    <a:pt x="260" y="180"/>
                    <a:pt x="263" y="179"/>
                    <a:pt x="265" y="178"/>
                  </a:cubicBezTo>
                  <a:cubicBezTo>
                    <a:pt x="267" y="178"/>
                    <a:pt x="265" y="176"/>
                    <a:pt x="265" y="176"/>
                  </a:cubicBezTo>
                  <a:cubicBezTo>
                    <a:pt x="262" y="176"/>
                    <a:pt x="262" y="176"/>
                    <a:pt x="262" y="176"/>
                  </a:cubicBezTo>
                  <a:cubicBezTo>
                    <a:pt x="262" y="176"/>
                    <a:pt x="258" y="177"/>
                    <a:pt x="258" y="178"/>
                  </a:cubicBezTo>
                  <a:close/>
                  <a:moveTo>
                    <a:pt x="238" y="73"/>
                  </a:moveTo>
                  <a:cubicBezTo>
                    <a:pt x="238" y="73"/>
                    <a:pt x="238" y="73"/>
                    <a:pt x="238" y="73"/>
                  </a:cubicBezTo>
                  <a:cubicBezTo>
                    <a:pt x="238" y="73"/>
                    <a:pt x="234" y="75"/>
                    <a:pt x="234" y="75"/>
                  </a:cubicBezTo>
                  <a:cubicBezTo>
                    <a:pt x="233" y="75"/>
                    <a:pt x="234" y="77"/>
                    <a:pt x="235" y="77"/>
                  </a:cubicBezTo>
                  <a:cubicBezTo>
                    <a:pt x="236" y="78"/>
                    <a:pt x="239" y="79"/>
                    <a:pt x="239" y="79"/>
                  </a:cubicBezTo>
                  <a:cubicBezTo>
                    <a:pt x="240" y="79"/>
                    <a:pt x="243" y="77"/>
                    <a:pt x="245" y="75"/>
                  </a:cubicBezTo>
                  <a:cubicBezTo>
                    <a:pt x="247" y="74"/>
                    <a:pt x="243" y="73"/>
                    <a:pt x="243" y="73"/>
                  </a:cubicBezTo>
                  <a:cubicBezTo>
                    <a:pt x="238" y="73"/>
                    <a:pt x="238" y="73"/>
                    <a:pt x="238" y="73"/>
                  </a:cubicBezTo>
                  <a:close/>
                  <a:moveTo>
                    <a:pt x="202" y="66"/>
                  </a:moveTo>
                  <a:cubicBezTo>
                    <a:pt x="202" y="66"/>
                    <a:pt x="202" y="66"/>
                    <a:pt x="202" y="66"/>
                  </a:cubicBezTo>
                  <a:cubicBezTo>
                    <a:pt x="202" y="66"/>
                    <a:pt x="198" y="66"/>
                    <a:pt x="197" y="66"/>
                  </a:cubicBezTo>
                  <a:cubicBezTo>
                    <a:pt x="197" y="66"/>
                    <a:pt x="196" y="67"/>
                    <a:pt x="195" y="68"/>
                  </a:cubicBezTo>
                  <a:cubicBezTo>
                    <a:pt x="194" y="69"/>
                    <a:pt x="194" y="71"/>
                    <a:pt x="193" y="73"/>
                  </a:cubicBezTo>
                  <a:cubicBezTo>
                    <a:pt x="193" y="75"/>
                    <a:pt x="194" y="75"/>
                    <a:pt x="194" y="75"/>
                  </a:cubicBezTo>
                  <a:cubicBezTo>
                    <a:pt x="195" y="76"/>
                    <a:pt x="195" y="76"/>
                    <a:pt x="197" y="78"/>
                  </a:cubicBezTo>
                  <a:cubicBezTo>
                    <a:pt x="199" y="79"/>
                    <a:pt x="201" y="77"/>
                    <a:pt x="203" y="76"/>
                  </a:cubicBezTo>
                  <a:cubicBezTo>
                    <a:pt x="206" y="75"/>
                    <a:pt x="204" y="74"/>
                    <a:pt x="205" y="72"/>
                  </a:cubicBezTo>
                  <a:cubicBezTo>
                    <a:pt x="205" y="71"/>
                    <a:pt x="204" y="68"/>
                    <a:pt x="204" y="68"/>
                  </a:cubicBezTo>
                  <a:cubicBezTo>
                    <a:pt x="204" y="67"/>
                    <a:pt x="202" y="66"/>
                    <a:pt x="202" y="66"/>
                  </a:cubicBezTo>
                  <a:close/>
                  <a:moveTo>
                    <a:pt x="236" y="103"/>
                  </a:moveTo>
                  <a:cubicBezTo>
                    <a:pt x="236" y="103"/>
                    <a:pt x="236" y="103"/>
                    <a:pt x="236" y="103"/>
                  </a:cubicBezTo>
                  <a:cubicBezTo>
                    <a:pt x="236" y="103"/>
                    <a:pt x="235" y="105"/>
                    <a:pt x="235" y="105"/>
                  </a:cubicBezTo>
                  <a:cubicBezTo>
                    <a:pt x="235" y="105"/>
                    <a:pt x="235" y="107"/>
                    <a:pt x="235" y="107"/>
                  </a:cubicBezTo>
                  <a:cubicBezTo>
                    <a:pt x="235" y="107"/>
                    <a:pt x="234" y="108"/>
                    <a:pt x="233" y="109"/>
                  </a:cubicBezTo>
                  <a:cubicBezTo>
                    <a:pt x="231" y="111"/>
                    <a:pt x="233" y="111"/>
                    <a:pt x="234" y="112"/>
                  </a:cubicBezTo>
                  <a:cubicBezTo>
                    <a:pt x="235" y="114"/>
                    <a:pt x="234" y="113"/>
                    <a:pt x="235" y="113"/>
                  </a:cubicBezTo>
                  <a:cubicBezTo>
                    <a:pt x="235" y="114"/>
                    <a:pt x="236" y="113"/>
                    <a:pt x="238" y="112"/>
                  </a:cubicBezTo>
                  <a:cubicBezTo>
                    <a:pt x="240" y="111"/>
                    <a:pt x="239" y="111"/>
                    <a:pt x="239" y="111"/>
                  </a:cubicBezTo>
                  <a:cubicBezTo>
                    <a:pt x="239" y="111"/>
                    <a:pt x="237" y="108"/>
                    <a:pt x="237" y="108"/>
                  </a:cubicBezTo>
                  <a:cubicBezTo>
                    <a:pt x="237" y="108"/>
                    <a:pt x="237" y="107"/>
                    <a:pt x="237" y="107"/>
                  </a:cubicBezTo>
                  <a:cubicBezTo>
                    <a:pt x="237" y="106"/>
                    <a:pt x="238" y="106"/>
                    <a:pt x="239" y="105"/>
                  </a:cubicBezTo>
                  <a:cubicBezTo>
                    <a:pt x="240" y="103"/>
                    <a:pt x="240" y="102"/>
                    <a:pt x="240" y="102"/>
                  </a:cubicBezTo>
                  <a:cubicBezTo>
                    <a:pt x="240" y="101"/>
                    <a:pt x="238" y="101"/>
                    <a:pt x="238" y="101"/>
                  </a:cubicBezTo>
                  <a:cubicBezTo>
                    <a:pt x="238" y="101"/>
                    <a:pt x="236" y="102"/>
                    <a:pt x="236" y="103"/>
                  </a:cubicBezTo>
                  <a:close/>
                  <a:moveTo>
                    <a:pt x="233" y="105"/>
                  </a:moveTo>
                  <a:cubicBezTo>
                    <a:pt x="233" y="105"/>
                    <a:pt x="233" y="105"/>
                    <a:pt x="233" y="105"/>
                  </a:cubicBezTo>
                  <a:cubicBezTo>
                    <a:pt x="232" y="103"/>
                    <a:pt x="232" y="103"/>
                    <a:pt x="232" y="103"/>
                  </a:cubicBezTo>
                  <a:cubicBezTo>
                    <a:pt x="232" y="103"/>
                    <a:pt x="231" y="102"/>
                    <a:pt x="228" y="102"/>
                  </a:cubicBezTo>
                  <a:cubicBezTo>
                    <a:pt x="226" y="102"/>
                    <a:pt x="226" y="103"/>
                    <a:pt x="224" y="103"/>
                  </a:cubicBezTo>
                  <a:cubicBezTo>
                    <a:pt x="222" y="103"/>
                    <a:pt x="222" y="105"/>
                    <a:pt x="222" y="106"/>
                  </a:cubicBezTo>
                  <a:cubicBezTo>
                    <a:pt x="221" y="108"/>
                    <a:pt x="222" y="107"/>
                    <a:pt x="223" y="108"/>
                  </a:cubicBezTo>
                  <a:cubicBezTo>
                    <a:pt x="224" y="109"/>
                    <a:pt x="223" y="109"/>
                    <a:pt x="224" y="112"/>
                  </a:cubicBezTo>
                  <a:cubicBezTo>
                    <a:pt x="224" y="114"/>
                    <a:pt x="225" y="113"/>
                    <a:pt x="225" y="113"/>
                  </a:cubicBezTo>
                  <a:cubicBezTo>
                    <a:pt x="226" y="114"/>
                    <a:pt x="227" y="113"/>
                    <a:pt x="229" y="112"/>
                  </a:cubicBezTo>
                  <a:cubicBezTo>
                    <a:pt x="231" y="110"/>
                    <a:pt x="229" y="110"/>
                    <a:pt x="229" y="110"/>
                  </a:cubicBezTo>
                  <a:cubicBezTo>
                    <a:pt x="229" y="110"/>
                    <a:pt x="231" y="109"/>
                    <a:pt x="233" y="107"/>
                  </a:cubicBezTo>
                  <a:cubicBezTo>
                    <a:pt x="234" y="105"/>
                    <a:pt x="233" y="105"/>
                    <a:pt x="233" y="105"/>
                  </a:cubicBezTo>
                  <a:close/>
                  <a:moveTo>
                    <a:pt x="284" y="139"/>
                  </a:moveTo>
                  <a:cubicBezTo>
                    <a:pt x="284" y="139"/>
                    <a:pt x="284" y="139"/>
                    <a:pt x="284" y="139"/>
                  </a:cubicBezTo>
                  <a:cubicBezTo>
                    <a:pt x="283" y="139"/>
                    <a:pt x="282" y="141"/>
                    <a:pt x="282" y="141"/>
                  </a:cubicBezTo>
                  <a:cubicBezTo>
                    <a:pt x="282" y="141"/>
                    <a:pt x="281" y="142"/>
                    <a:pt x="281" y="143"/>
                  </a:cubicBezTo>
                  <a:cubicBezTo>
                    <a:pt x="280" y="143"/>
                    <a:pt x="279" y="145"/>
                    <a:pt x="279" y="145"/>
                  </a:cubicBezTo>
                  <a:cubicBezTo>
                    <a:pt x="279" y="145"/>
                    <a:pt x="280" y="146"/>
                    <a:pt x="281" y="146"/>
                  </a:cubicBezTo>
                  <a:cubicBezTo>
                    <a:pt x="282" y="147"/>
                    <a:pt x="282" y="147"/>
                    <a:pt x="283" y="147"/>
                  </a:cubicBezTo>
                  <a:cubicBezTo>
                    <a:pt x="284" y="147"/>
                    <a:pt x="284" y="147"/>
                    <a:pt x="287" y="147"/>
                  </a:cubicBezTo>
                  <a:cubicBezTo>
                    <a:pt x="291" y="147"/>
                    <a:pt x="294" y="147"/>
                    <a:pt x="295" y="147"/>
                  </a:cubicBezTo>
                  <a:cubicBezTo>
                    <a:pt x="295" y="147"/>
                    <a:pt x="297" y="146"/>
                    <a:pt x="297" y="146"/>
                  </a:cubicBezTo>
                  <a:cubicBezTo>
                    <a:pt x="297" y="145"/>
                    <a:pt x="297" y="145"/>
                    <a:pt x="296" y="144"/>
                  </a:cubicBezTo>
                  <a:cubicBezTo>
                    <a:pt x="295" y="142"/>
                    <a:pt x="293" y="141"/>
                    <a:pt x="293" y="141"/>
                  </a:cubicBezTo>
                  <a:cubicBezTo>
                    <a:pt x="292" y="141"/>
                    <a:pt x="293" y="139"/>
                    <a:pt x="294" y="140"/>
                  </a:cubicBezTo>
                  <a:cubicBezTo>
                    <a:pt x="294" y="140"/>
                    <a:pt x="297" y="143"/>
                    <a:pt x="297" y="143"/>
                  </a:cubicBezTo>
                  <a:cubicBezTo>
                    <a:pt x="298" y="143"/>
                    <a:pt x="300" y="143"/>
                    <a:pt x="300" y="141"/>
                  </a:cubicBezTo>
                  <a:cubicBezTo>
                    <a:pt x="299" y="140"/>
                    <a:pt x="301" y="138"/>
                    <a:pt x="298" y="137"/>
                  </a:cubicBezTo>
                  <a:cubicBezTo>
                    <a:pt x="296" y="136"/>
                    <a:pt x="295" y="135"/>
                    <a:pt x="294" y="135"/>
                  </a:cubicBezTo>
                  <a:cubicBezTo>
                    <a:pt x="292" y="135"/>
                    <a:pt x="295" y="136"/>
                    <a:pt x="291" y="133"/>
                  </a:cubicBezTo>
                  <a:cubicBezTo>
                    <a:pt x="287" y="130"/>
                    <a:pt x="287" y="131"/>
                    <a:pt x="287" y="131"/>
                  </a:cubicBezTo>
                  <a:cubicBezTo>
                    <a:pt x="287" y="131"/>
                    <a:pt x="289" y="128"/>
                    <a:pt x="288" y="127"/>
                  </a:cubicBezTo>
                  <a:cubicBezTo>
                    <a:pt x="288" y="127"/>
                    <a:pt x="284" y="126"/>
                    <a:pt x="284" y="126"/>
                  </a:cubicBezTo>
                  <a:cubicBezTo>
                    <a:pt x="284" y="126"/>
                    <a:pt x="279" y="127"/>
                    <a:pt x="279" y="127"/>
                  </a:cubicBezTo>
                  <a:cubicBezTo>
                    <a:pt x="278" y="128"/>
                    <a:pt x="277" y="129"/>
                    <a:pt x="277" y="129"/>
                  </a:cubicBezTo>
                  <a:cubicBezTo>
                    <a:pt x="277" y="131"/>
                    <a:pt x="277" y="131"/>
                    <a:pt x="277" y="131"/>
                  </a:cubicBezTo>
                  <a:cubicBezTo>
                    <a:pt x="275" y="132"/>
                    <a:pt x="275" y="132"/>
                    <a:pt x="275" y="132"/>
                  </a:cubicBezTo>
                  <a:cubicBezTo>
                    <a:pt x="275" y="132"/>
                    <a:pt x="274" y="134"/>
                    <a:pt x="274" y="134"/>
                  </a:cubicBezTo>
                  <a:cubicBezTo>
                    <a:pt x="273" y="134"/>
                    <a:pt x="271" y="135"/>
                    <a:pt x="271" y="135"/>
                  </a:cubicBezTo>
                  <a:cubicBezTo>
                    <a:pt x="270" y="135"/>
                    <a:pt x="268" y="135"/>
                    <a:pt x="268" y="136"/>
                  </a:cubicBezTo>
                  <a:cubicBezTo>
                    <a:pt x="267" y="137"/>
                    <a:pt x="264" y="138"/>
                    <a:pt x="264" y="138"/>
                  </a:cubicBezTo>
                  <a:cubicBezTo>
                    <a:pt x="264" y="138"/>
                    <a:pt x="263" y="139"/>
                    <a:pt x="265" y="141"/>
                  </a:cubicBezTo>
                  <a:cubicBezTo>
                    <a:pt x="267" y="142"/>
                    <a:pt x="269" y="142"/>
                    <a:pt x="269" y="143"/>
                  </a:cubicBezTo>
                  <a:cubicBezTo>
                    <a:pt x="270" y="143"/>
                    <a:pt x="270" y="143"/>
                    <a:pt x="271" y="143"/>
                  </a:cubicBezTo>
                  <a:cubicBezTo>
                    <a:pt x="272" y="144"/>
                    <a:pt x="272" y="144"/>
                    <a:pt x="274" y="144"/>
                  </a:cubicBezTo>
                  <a:cubicBezTo>
                    <a:pt x="275" y="143"/>
                    <a:pt x="277" y="143"/>
                    <a:pt x="277" y="142"/>
                  </a:cubicBezTo>
                  <a:cubicBezTo>
                    <a:pt x="278" y="141"/>
                    <a:pt x="278" y="140"/>
                    <a:pt x="279" y="139"/>
                  </a:cubicBezTo>
                  <a:cubicBezTo>
                    <a:pt x="279" y="138"/>
                    <a:pt x="279" y="137"/>
                    <a:pt x="281" y="137"/>
                  </a:cubicBezTo>
                  <a:cubicBezTo>
                    <a:pt x="282" y="137"/>
                    <a:pt x="284" y="136"/>
                    <a:pt x="284" y="136"/>
                  </a:cubicBezTo>
                  <a:cubicBezTo>
                    <a:pt x="284" y="136"/>
                    <a:pt x="284" y="139"/>
                    <a:pt x="284" y="139"/>
                  </a:cubicBezTo>
                  <a:close/>
                  <a:moveTo>
                    <a:pt x="289" y="182"/>
                  </a:moveTo>
                  <a:cubicBezTo>
                    <a:pt x="289" y="182"/>
                    <a:pt x="289" y="182"/>
                    <a:pt x="289" y="182"/>
                  </a:cubicBezTo>
                  <a:cubicBezTo>
                    <a:pt x="288" y="181"/>
                    <a:pt x="288" y="181"/>
                    <a:pt x="288" y="181"/>
                  </a:cubicBezTo>
                  <a:cubicBezTo>
                    <a:pt x="288" y="180"/>
                    <a:pt x="288" y="180"/>
                    <a:pt x="288" y="180"/>
                  </a:cubicBezTo>
                  <a:cubicBezTo>
                    <a:pt x="285" y="177"/>
                    <a:pt x="285" y="177"/>
                    <a:pt x="285" y="177"/>
                  </a:cubicBezTo>
                  <a:cubicBezTo>
                    <a:pt x="285" y="177"/>
                    <a:pt x="289" y="176"/>
                    <a:pt x="291" y="175"/>
                  </a:cubicBezTo>
                  <a:cubicBezTo>
                    <a:pt x="294" y="174"/>
                    <a:pt x="291" y="173"/>
                    <a:pt x="291" y="172"/>
                  </a:cubicBezTo>
                  <a:cubicBezTo>
                    <a:pt x="291" y="172"/>
                    <a:pt x="290" y="172"/>
                    <a:pt x="288" y="172"/>
                  </a:cubicBezTo>
                  <a:cubicBezTo>
                    <a:pt x="287" y="172"/>
                    <a:pt x="286" y="172"/>
                    <a:pt x="284" y="173"/>
                  </a:cubicBezTo>
                  <a:cubicBezTo>
                    <a:pt x="283" y="173"/>
                    <a:pt x="282" y="171"/>
                    <a:pt x="282" y="171"/>
                  </a:cubicBezTo>
                  <a:cubicBezTo>
                    <a:pt x="281" y="171"/>
                    <a:pt x="277" y="171"/>
                    <a:pt x="276" y="171"/>
                  </a:cubicBezTo>
                  <a:cubicBezTo>
                    <a:pt x="276" y="171"/>
                    <a:pt x="275" y="173"/>
                    <a:pt x="274" y="174"/>
                  </a:cubicBezTo>
                  <a:cubicBezTo>
                    <a:pt x="273" y="175"/>
                    <a:pt x="272" y="176"/>
                    <a:pt x="271" y="176"/>
                  </a:cubicBezTo>
                  <a:cubicBezTo>
                    <a:pt x="270" y="177"/>
                    <a:pt x="274" y="179"/>
                    <a:pt x="275" y="179"/>
                  </a:cubicBezTo>
                  <a:cubicBezTo>
                    <a:pt x="275" y="180"/>
                    <a:pt x="278" y="180"/>
                    <a:pt x="278" y="181"/>
                  </a:cubicBezTo>
                  <a:cubicBezTo>
                    <a:pt x="279" y="181"/>
                    <a:pt x="282" y="183"/>
                    <a:pt x="283" y="183"/>
                  </a:cubicBezTo>
                  <a:cubicBezTo>
                    <a:pt x="284" y="184"/>
                    <a:pt x="282" y="185"/>
                    <a:pt x="281" y="187"/>
                  </a:cubicBezTo>
                  <a:cubicBezTo>
                    <a:pt x="280" y="189"/>
                    <a:pt x="279" y="189"/>
                    <a:pt x="278" y="190"/>
                  </a:cubicBezTo>
                  <a:cubicBezTo>
                    <a:pt x="277" y="191"/>
                    <a:pt x="279" y="192"/>
                    <a:pt x="280" y="193"/>
                  </a:cubicBezTo>
                  <a:cubicBezTo>
                    <a:pt x="281" y="194"/>
                    <a:pt x="283" y="195"/>
                    <a:pt x="283" y="195"/>
                  </a:cubicBezTo>
                  <a:cubicBezTo>
                    <a:pt x="284" y="195"/>
                    <a:pt x="287" y="193"/>
                    <a:pt x="287" y="193"/>
                  </a:cubicBezTo>
                  <a:cubicBezTo>
                    <a:pt x="287" y="193"/>
                    <a:pt x="288" y="190"/>
                    <a:pt x="288" y="190"/>
                  </a:cubicBezTo>
                  <a:cubicBezTo>
                    <a:pt x="288" y="189"/>
                    <a:pt x="289" y="187"/>
                    <a:pt x="289" y="187"/>
                  </a:cubicBezTo>
                  <a:cubicBezTo>
                    <a:pt x="290" y="186"/>
                    <a:pt x="290" y="186"/>
                    <a:pt x="290" y="186"/>
                  </a:cubicBezTo>
                  <a:cubicBezTo>
                    <a:pt x="289" y="182"/>
                    <a:pt x="289" y="182"/>
                    <a:pt x="289" y="182"/>
                  </a:cubicBezTo>
                  <a:close/>
                  <a:moveTo>
                    <a:pt x="316" y="209"/>
                  </a:moveTo>
                  <a:cubicBezTo>
                    <a:pt x="316" y="209"/>
                    <a:pt x="316" y="209"/>
                    <a:pt x="316" y="209"/>
                  </a:cubicBezTo>
                  <a:cubicBezTo>
                    <a:pt x="317" y="208"/>
                    <a:pt x="319" y="206"/>
                    <a:pt x="319" y="205"/>
                  </a:cubicBezTo>
                  <a:cubicBezTo>
                    <a:pt x="319" y="205"/>
                    <a:pt x="321" y="205"/>
                    <a:pt x="322" y="205"/>
                  </a:cubicBezTo>
                  <a:cubicBezTo>
                    <a:pt x="322" y="205"/>
                    <a:pt x="326" y="206"/>
                    <a:pt x="326" y="206"/>
                  </a:cubicBezTo>
                  <a:cubicBezTo>
                    <a:pt x="326" y="206"/>
                    <a:pt x="329" y="206"/>
                    <a:pt x="329" y="206"/>
                  </a:cubicBezTo>
                  <a:cubicBezTo>
                    <a:pt x="329" y="206"/>
                    <a:pt x="332" y="204"/>
                    <a:pt x="332" y="204"/>
                  </a:cubicBezTo>
                  <a:cubicBezTo>
                    <a:pt x="333" y="204"/>
                    <a:pt x="336" y="207"/>
                    <a:pt x="336" y="207"/>
                  </a:cubicBezTo>
                  <a:cubicBezTo>
                    <a:pt x="336" y="207"/>
                    <a:pt x="334" y="210"/>
                    <a:pt x="333" y="210"/>
                  </a:cubicBezTo>
                  <a:cubicBezTo>
                    <a:pt x="332" y="211"/>
                    <a:pt x="331" y="211"/>
                    <a:pt x="330" y="212"/>
                  </a:cubicBezTo>
                  <a:cubicBezTo>
                    <a:pt x="329" y="214"/>
                    <a:pt x="329" y="214"/>
                    <a:pt x="329" y="215"/>
                  </a:cubicBezTo>
                  <a:cubicBezTo>
                    <a:pt x="328" y="215"/>
                    <a:pt x="327" y="217"/>
                    <a:pt x="325" y="215"/>
                  </a:cubicBezTo>
                  <a:cubicBezTo>
                    <a:pt x="323" y="214"/>
                    <a:pt x="321" y="212"/>
                    <a:pt x="321" y="212"/>
                  </a:cubicBezTo>
                  <a:cubicBezTo>
                    <a:pt x="321" y="212"/>
                    <a:pt x="319" y="213"/>
                    <a:pt x="318" y="213"/>
                  </a:cubicBezTo>
                  <a:cubicBezTo>
                    <a:pt x="317" y="214"/>
                    <a:pt x="315" y="213"/>
                    <a:pt x="315" y="213"/>
                  </a:cubicBezTo>
                  <a:cubicBezTo>
                    <a:pt x="316" y="212"/>
                    <a:pt x="315" y="210"/>
                    <a:pt x="316" y="209"/>
                  </a:cubicBezTo>
                  <a:close/>
                  <a:moveTo>
                    <a:pt x="295" y="229"/>
                  </a:moveTo>
                  <a:cubicBezTo>
                    <a:pt x="295" y="229"/>
                    <a:pt x="295" y="229"/>
                    <a:pt x="295" y="229"/>
                  </a:cubicBezTo>
                  <a:cubicBezTo>
                    <a:pt x="295" y="229"/>
                    <a:pt x="291" y="227"/>
                    <a:pt x="292" y="226"/>
                  </a:cubicBezTo>
                  <a:cubicBezTo>
                    <a:pt x="293" y="224"/>
                    <a:pt x="297" y="220"/>
                    <a:pt x="298" y="219"/>
                  </a:cubicBezTo>
                  <a:cubicBezTo>
                    <a:pt x="298" y="219"/>
                    <a:pt x="301" y="220"/>
                    <a:pt x="301" y="220"/>
                  </a:cubicBezTo>
                  <a:cubicBezTo>
                    <a:pt x="302" y="220"/>
                    <a:pt x="303" y="217"/>
                    <a:pt x="304" y="217"/>
                  </a:cubicBezTo>
                  <a:cubicBezTo>
                    <a:pt x="304" y="217"/>
                    <a:pt x="308" y="217"/>
                    <a:pt x="308" y="217"/>
                  </a:cubicBezTo>
                  <a:cubicBezTo>
                    <a:pt x="308" y="217"/>
                    <a:pt x="306" y="221"/>
                    <a:pt x="304" y="222"/>
                  </a:cubicBezTo>
                  <a:cubicBezTo>
                    <a:pt x="302" y="223"/>
                    <a:pt x="301" y="223"/>
                    <a:pt x="301" y="224"/>
                  </a:cubicBezTo>
                  <a:cubicBezTo>
                    <a:pt x="300" y="225"/>
                    <a:pt x="299" y="226"/>
                    <a:pt x="299" y="227"/>
                  </a:cubicBezTo>
                  <a:cubicBezTo>
                    <a:pt x="298" y="227"/>
                    <a:pt x="295" y="229"/>
                    <a:pt x="295" y="229"/>
                  </a:cubicBezTo>
                  <a:close/>
                  <a:moveTo>
                    <a:pt x="282" y="268"/>
                  </a:moveTo>
                  <a:cubicBezTo>
                    <a:pt x="282" y="268"/>
                    <a:pt x="282" y="268"/>
                    <a:pt x="282" y="268"/>
                  </a:cubicBezTo>
                  <a:cubicBezTo>
                    <a:pt x="283" y="269"/>
                    <a:pt x="281" y="273"/>
                    <a:pt x="278" y="271"/>
                  </a:cubicBezTo>
                  <a:cubicBezTo>
                    <a:pt x="278" y="271"/>
                    <a:pt x="277" y="269"/>
                    <a:pt x="279" y="268"/>
                  </a:cubicBezTo>
                  <a:cubicBezTo>
                    <a:pt x="280" y="268"/>
                    <a:pt x="282" y="268"/>
                    <a:pt x="282" y="268"/>
                  </a:cubicBezTo>
                  <a:close/>
                  <a:moveTo>
                    <a:pt x="279" y="292"/>
                  </a:moveTo>
                  <a:cubicBezTo>
                    <a:pt x="279" y="292"/>
                    <a:pt x="279" y="292"/>
                    <a:pt x="279" y="292"/>
                  </a:cubicBezTo>
                  <a:cubicBezTo>
                    <a:pt x="279" y="292"/>
                    <a:pt x="281" y="290"/>
                    <a:pt x="281" y="290"/>
                  </a:cubicBezTo>
                  <a:cubicBezTo>
                    <a:pt x="282" y="290"/>
                    <a:pt x="283" y="291"/>
                    <a:pt x="283" y="291"/>
                  </a:cubicBezTo>
                  <a:cubicBezTo>
                    <a:pt x="283" y="291"/>
                    <a:pt x="286" y="293"/>
                    <a:pt x="286" y="293"/>
                  </a:cubicBezTo>
                  <a:cubicBezTo>
                    <a:pt x="286" y="294"/>
                    <a:pt x="287" y="296"/>
                    <a:pt x="286" y="296"/>
                  </a:cubicBezTo>
                  <a:cubicBezTo>
                    <a:pt x="285" y="297"/>
                    <a:pt x="284" y="298"/>
                    <a:pt x="283" y="297"/>
                  </a:cubicBezTo>
                  <a:cubicBezTo>
                    <a:pt x="282" y="297"/>
                    <a:pt x="281" y="297"/>
                    <a:pt x="281" y="296"/>
                  </a:cubicBezTo>
                  <a:cubicBezTo>
                    <a:pt x="281" y="295"/>
                    <a:pt x="281" y="295"/>
                    <a:pt x="281" y="294"/>
                  </a:cubicBezTo>
                  <a:cubicBezTo>
                    <a:pt x="281" y="294"/>
                    <a:pt x="279" y="294"/>
                    <a:pt x="279" y="294"/>
                  </a:cubicBezTo>
                  <a:cubicBezTo>
                    <a:pt x="279" y="292"/>
                    <a:pt x="279" y="292"/>
                    <a:pt x="279" y="292"/>
                  </a:cubicBezTo>
                  <a:close/>
                  <a:moveTo>
                    <a:pt x="238" y="279"/>
                  </a:moveTo>
                  <a:cubicBezTo>
                    <a:pt x="238" y="279"/>
                    <a:pt x="238" y="279"/>
                    <a:pt x="238" y="279"/>
                  </a:cubicBezTo>
                  <a:cubicBezTo>
                    <a:pt x="239" y="279"/>
                    <a:pt x="241" y="278"/>
                    <a:pt x="241" y="279"/>
                  </a:cubicBezTo>
                  <a:cubicBezTo>
                    <a:pt x="242" y="280"/>
                    <a:pt x="243" y="280"/>
                    <a:pt x="243" y="281"/>
                  </a:cubicBezTo>
                  <a:cubicBezTo>
                    <a:pt x="243" y="281"/>
                    <a:pt x="244" y="282"/>
                    <a:pt x="242" y="283"/>
                  </a:cubicBezTo>
                  <a:cubicBezTo>
                    <a:pt x="240" y="283"/>
                    <a:pt x="239" y="283"/>
                    <a:pt x="239" y="283"/>
                  </a:cubicBezTo>
                  <a:cubicBezTo>
                    <a:pt x="240" y="286"/>
                    <a:pt x="240" y="286"/>
                    <a:pt x="240" y="286"/>
                  </a:cubicBezTo>
                  <a:cubicBezTo>
                    <a:pt x="240" y="286"/>
                    <a:pt x="242" y="286"/>
                    <a:pt x="239" y="288"/>
                  </a:cubicBezTo>
                  <a:cubicBezTo>
                    <a:pt x="237" y="290"/>
                    <a:pt x="235" y="290"/>
                    <a:pt x="235" y="290"/>
                  </a:cubicBezTo>
                  <a:cubicBezTo>
                    <a:pt x="235" y="289"/>
                    <a:pt x="235" y="289"/>
                    <a:pt x="235" y="289"/>
                  </a:cubicBezTo>
                  <a:cubicBezTo>
                    <a:pt x="232" y="290"/>
                    <a:pt x="232" y="290"/>
                    <a:pt x="232" y="290"/>
                  </a:cubicBezTo>
                  <a:cubicBezTo>
                    <a:pt x="232" y="290"/>
                    <a:pt x="231" y="291"/>
                    <a:pt x="231" y="290"/>
                  </a:cubicBezTo>
                  <a:cubicBezTo>
                    <a:pt x="230" y="288"/>
                    <a:pt x="229" y="286"/>
                    <a:pt x="231" y="286"/>
                  </a:cubicBezTo>
                  <a:cubicBezTo>
                    <a:pt x="233" y="285"/>
                    <a:pt x="233" y="284"/>
                    <a:pt x="234" y="285"/>
                  </a:cubicBezTo>
                  <a:cubicBezTo>
                    <a:pt x="235" y="286"/>
                    <a:pt x="235" y="287"/>
                    <a:pt x="235" y="287"/>
                  </a:cubicBezTo>
                  <a:cubicBezTo>
                    <a:pt x="236" y="284"/>
                    <a:pt x="236" y="284"/>
                    <a:pt x="236" y="284"/>
                  </a:cubicBezTo>
                  <a:cubicBezTo>
                    <a:pt x="236" y="284"/>
                    <a:pt x="235" y="284"/>
                    <a:pt x="235" y="283"/>
                  </a:cubicBezTo>
                  <a:cubicBezTo>
                    <a:pt x="236" y="282"/>
                    <a:pt x="236" y="282"/>
                    <a:pt x="237" y="281"/>
                  </a:cubicBezTo>
                  <a:cubicBezTo>
                    <a:pt x="238" y="281"/>
                    <a:pt x="239" y="282"/>
                    <a:pt x="239" y="282"/>
                  </a:cubicBezTo>
                  <a:cubicBezTo>
                    <a:pt x="238" y="279"/>
                    <a:pt x="238" y="279"/>
                    <a:pt x="238" y="279"/>
                  </a:cubicBezTo>
                  <a:close/>
                  <a:moveTo>
                    <a:pt x="258" y="286"/>
                  </a:moveTo>
                  <a:cubicBezTo>
                    <a:pt x="258" y="286"/>
                    <a:pt x="258" y="286"/>
                    <a:pt x="258" y="286"/>
                  </a:cubicBezTo>
                  <a:cubicBezTo>
                    <a:pt x="258" y="286"/>
                    <a:pt x="259" y="286"/>
                    <a:pt x="259" y="287"/>
                  </a:cubicBezTo>
                  <a:cubicBezTo>
                    <a:pt x="260" y="288"/>
                    <a:pt x="260" y="288"/>
                    <a:pt x="259" y="288"/>
                  </a:cubicBezTo>
                  <a:cubicBezTo>
                    <a:pt x="259" y="288"/>
                    <a:pt x="256" y="288"/>
                    <a:pt x="256" y="288"/>
                  </a:cubicBezTo>
                  <a:cubicBezTo>
                    <a:pt x="256" y="288"/>
                    <a:pt x="255" y="289"/>
                    <a:pt x="255" y="287"/>
                  </a:cubicBezTo>
                  <a:cubicBezTo>
                    <a:pt x="255" y="286"/>
                    <a:pt x="255" y="285"/>
                    <a:pt x="255" y="285"/>
                  </a:cubicBezTo>
                  <a:cubicBezTo>
                    <a:pt x="258" y="286"/>
                    <a:pt x="258" y="286"/>
                    <a:pt x="258" y="286"/>
                  </a:cubicBezTo>
                  <a:close/>
                  <a:moveTo>
                    <a:pt x="265" y="282"/>
                  </a:moveTo>
                  <a:cubicBezTo>
                    <a:pt x="265" y="282"/>
                    <a:pt x="265" y="282"/>
                    <a:pt x="265" y="282"/>
                  </a:cubicBezTo>
                  <a:cubicBezTo>
                    <a:pt x="269" y="279"/>
                    <a:pt x="269" y="279"/>
                    <a:pt x="269" y="279"/>
                  </a:cubicBezTo>
                  <a:cubicBezTo>
                    <a:pt x="269" y="279"/>
                    <a:pt x="270" y="282"/>
                    <a:pt x="268" y="283"/>
                  </a:cubicBezTo>
                  <a:cubicBezTo>
                    <a:pt x="267" y="284"/>
                    <a:pt x="266" y="284"/>
                    <a:pt x="266" y="284"/>
                  </a:cubicBezTo>
                  <a:cubicBezTo>
                    <a:pt x="264" y="283"/>
                    <a:pt x="264" y="283"/>
                    <a:pt x="264" y="283"/>
                  </a:cubicBezTo>
                  <a:cubicBezTo>
                    <a:pt x="265" y="282"/>
                    <a:pt x="265" y="282"/>
                    <a:pt x="265" y="282"/>
                  </a:cubicBezTo>
                  <a:close/>
                  <a:moveTo>
                    <a:pt x="273" y="275"/>
                  </a:moveTo>
                  <a:cubicBezTo>
                    <a:pt x="273" y="275"/>
                    <a:pt x="273" y="275"/>
                    <a:pt x="273" y="275"/>
                  </a:cubicBezTo>
                  <a:cubicBezTo>
                    <a:pt x="273" y="275"/>
                    <a:pt x="272" y="278"/>
                    <a:pt x="273" y="280"/>
                  </a:cubicBezTo>
                  <a:cubicBezTo>
                    <a:pt x="273" y="281"/>
                    <a:pt x="273" y="281"/>
                    <a:pt x="274" y="281"/>
                  </a:cubicBezTo>
                  <a:cubicBezTo>
                    <a:pt x="275" y="282"/>
                    <a:pt x="276" y="282"/>
                    <a:pt x="277" y="281"/>
                  </a:cubicBezTo>
                  <a:cubicBezTo>
                    <a:pt x="278" y="281"/>
                    <a:pt x="278" y="278"/>
                    <a:pt x="278" y="278"/>
                  </a:cubicBezTo>
                  <a:cubicBezTo>
                    <a:pt x="278" y="278"/>
                    <a:pt x="278" y="277"/>
                    <a:pt x="277" y="275"/>
                  </a:cubicBezTo>
                  <a:cubicBezTo>
                    <a:pt x="276" y="272"/>
                    <a:pt x="274" y="275"/>
                    <a:pt x="273" y="275"/>
                  </a:cubicBezTo>
                  <a:close/>
                  <a:moveTo>
                    <a:pt x="274" y="259"/>
                  </a:moveTo>
                  <a:cubicBezTo>
                    <a:pt x="274" y="259"/>
                    <a:pt x="274" y="259"/>
                    <a:pt x="274" y="259"/>
                  </a:cubicBezTo>
                  <a:cubicBezTo>
                    <a:pt x="274" y="258"/>
                    <a:pt x="274" y="255"/>
                    <a:pt x="275" y="254"/>
                  </a:cubicBezTo>
                  <a:cubicBezTo>
                    <a:pt x="276" y="254"/>
                    <a:pt x="276" y="253"/>
                    <a:pt x="277" y="252"/>
                  </a:cubicBezTo>
                  <a:cubicBezTo>
                    <a:pt x="277" y="251"/>
                    <a:pt x="281" y="251"/>
                    <a:pt x="281" y="251"/>
                  </a:cubicBezTo>
                  <a:cubicBezTo>
                    <a:pt x="282" y="253"/>
                    <a:pt x="282" y="253"/>
                    <a:pt x="282" y="253"/>
                  </a:cubicBezTo>
                  <a:cubicBezTo>
                    <a:pt x="282" y="253"/>
                    <a:pt x="282" y="255"/>
                    <a:pt x="282" y="256"/>
                  </a:cubicBezTo>
                  <a:cubicBezTo>
                    <a:pt x="282" y="257"/>
                    <a:pt x="282" y="257"/>
                    <a:pt x="283" y="259"/>
                  </a:cubicBezTo>
                  <a:cubicBezTo>
                    <a:pt x="283" y="260"/>
                    <a:pt x="282" y="262"/>
                    <a:pt x="282" y="263"/>
                  </a:cubicBezTo>
                  <a:cubicBezTo>
                    <a:pt x="281" y="264"/>
                    <a:pt x="281" y="265"/>
                    <a:pt x="280" y="265"/>
                  </a:cubicBezTo>
                  <a:cubicBezTo>
                    <a:pt x="279" y="266"/>
                    <a:pt x="279" y="267"/>
                    <a:pt x="278" y="266"/>
                  </a:cubicBezTo>
                  <a:cubicBezTo>
                    <a:pt x="277" y="265"/>
                    <a:pt x="274" y="264"/>
                    <a:pt x="274" y="263"/>
                  </a:cubicBezTo>
                  <a:cubicBezTo>
                    <a:pt x="274" y="263"/>
                    <a:pt x="274" y="261"/>
                    <a:pt x="274" y="261"/>
                  </a:cubicBezTo>
                  <a:cubicBezTo>
                    <a:pt x="274" y="259"/>
                    <a:pt x="274" y="259"/>
                    <a:pt x="274" y="259"/>
                  </a:cubicBezTo>
                  <a:close/>
                  <a:moveTo>
                    <a:pt x="262" y="264"/>
                  </a:moveTo>
                  <a:cubicBezTo>
                    <a:pt x="262" y="264"/>
                    <a:pt x="262" y="264"/>
                    <a:pt x="262" y="264"/>
                  </a:cubicBezTo>
                  <a:cubicBezTo>
                    <a:pt x="262" y="263"/>
                    <a:pt x="263" y="259"/>
                    <a:pt x="263" y="259"/>
                  </a:cubicBezTo>
                  <a:cubicBezTo>
                    <a:pt x="263" y="259"/>
                    <a:pt x="263" y="257"/>
                    <a:pt x="265" y="256"/>
                  </a:cubicBezTo>
                  <a:cubicBezTo>
                    <a:pt x="266" y="256"/>
                    <a:pt x="266" y="255"/>
                    <a:pt x="267" y="256"/>
                  </a:cubicBezTo>
                  <a:cubicBezTo>
                    <a:pt x="268" y="257"/>
                    <a:pt x="269" y="258"/>
                    <a:pt x="269" y="258"/>
                  </a:cubicBezTo>
                  <a:cubicBezTo>
                    <a:pt x="269" y="258"/>
                    <a:pt x="268" y="258"/>
                    <a:pt x="268" y="259"/>
                  </a:cubicBezTo>
                  <a:cubicBezTo>
                    <a:pt x="268" y="259"/>
                    <a:pt x="269" y="261"/>
                    <a:pt x="269" y="261"/>
                  </a:cubicBezTo>
                  <a:cubicBezTo>
                    <a:pt x="268" y="262"/>
                    <a:pt x="267" y="263"/>
                    <a:pt x="266" y="264"/>
                  </a:cubicBezTo>
                  <a:cubicBezTo>
                    <a:pt x="266" y="265"/>
                    <a:pt x="264" y="266"/>
                    <a:pt x="264" y="266"/>
                  </a:cubicBezTo>
                  <a:cubicBezTo>
                    <a:pt x="261" y="268"/>
                    <a:pt x="261" y="268"/>
                    <a:pt x="261" y="268"/>
                  </a:cubicBezTo>
                  <a:cubicBezTo>
                    <a:pt x="261" y="269"/>
                    <a:pt x="261" y="269"/>
                    <a:pt x="261" y="269"/>
                  </a:cubicBezTo>
                  <a:cubicBezTo>
                    <a:pt x="260" y="269"/>
                    <a:pt x="260" y="269"/>
                    <a:pt x="260" y="269"/>
                  </a:cubicBezTo>
                  <a:cubicBezTo>
                    <a:pt x="258" y="266"/>
                    <a:pt x="258" y="266"/>
                    <a:pt x="258" y="266"/>
                  </a:cubicBezTo>
                  <a:cubicBezTo>
                    <a:pt x="261" y="264"/>
                    <a:pt x="261" y="264"/>
                    <a:pt x="261" y="264"/>
                  </a:cubicBezTo>
                  <a:cubicBezTo>
                    <a:pt x="262" y="264"/>
                    <a:pt x="262" y="264"/>
                    <a:pt x="262" y="264"/>
                  </a:cubicBezTo>
                  <a:close/>
                  <a:moveTo>
                    <a:pt x="242" y="268"/>
                  </a:moveTo>
                  <a:cubicBezTo>
                    <a:pt x="242" y="268"/>
                    <a:pt x="242" y="268"/>
                    <a:pt x="242" y="268"/>
                  </a:cubicBezTo>
                  <a:cubicBezTo>
                    <a:pt x="245" y="267"/>
                    <a:pt x="245" y="267"/>
                    <a:pt x="245" y="267"/>
                  </a:cubicBezTo>
                  <a:cubicBezTo>
                    <a:pt x="248" y="269"/>
                    <a:pt x="248" y="269"/>
                    <a:pt x="248" y="269"/>
                  </a:cubicBezTo>
                  <a:cubicBezTo>
                    <a:pt x="248" y="272"/>
                    <a:pt x="248" y="272"/>
                    <a:pt x="248" y="272"/>
                  </a:cubicBezTo>
                  <a:cubicBezTo>
                    <a:pt x="248" y="272"/>
                    <a:pt x="246" y="276"/>
                    <a:pt x="245" y="275"/>
                  </a:cubicBezTo>
                  <a:cubicBezTo>
                    <a:pt x="244" y="273"/>
                    <a:pt x="244" y="271"/>
                    <a:pt x="244" y="271"/>
                  </a:cubicBezTo>
                  <a:cubicBezTo>
                    <a:pt x="242" y="268"/>
                    <a:pt x="242" y="268"/>
                    <a:pt x="242" y="268"/>
                  </a:cubicBezTo>
                  <a:close/>
                  <a:moveTo>
                    <a:pt x="229" y="260"/>
                  </a:moveTo>
                  <a:cubicBezTo>
                    <a:pt x="229" y="260"/>
                    <a:pt x="229" y="260"/>
                    <a:pt x="229" y="260"/>
                  </a:cubicBezTo>
                  <a:cubicBezTo>
                    <a:pt x="229" y="260"/>
                    <a:pt x="234" y="259"/>
                    <a:pt x="234" y="260"/>
                  </a:cubicBezTo>
                  <a:cubicBezTo>
                    <a:pt x="234" y="260"/>
                    <a:pt x="234" y="262"/>
                    <a:pt x="235" y="262"/>
                  </a:cubicBezTo>
                  <a:cubicBezTo>
                    <a:pt x="235" y="263"/>
                    <a:pt x="232" y="266"/>
                    <a:pt x="231" y="266"/>
                  </a:cubicBezTo>
                  <a:cubicBezTo>
                    <a:pt x="231" y="266"/>
                    <a:pt x="230" y="265"/>
                    <a:pt x="230" y="265"/>
                  </a:cubicBezTo>
                  <a:cubicBezTo>
                    <a:pt x="229" y="260"/>
                    <a:pt x="229" y="260"/>
                    <a:pt x="229" y="260"/>
                  </a:cubicBezTo>
                  <a:close/>
                  <a:moveTo>
                    <a:pt x="225" y="247"/>
                  </a:moveTo>
                  <a:cubicBezTo>
                    <a:pt x="225" y="247"/>
                    <a:pt x="225" y="247"/>
                    <a:pt x="225" y="247"/>
                  </a:cubicBezTo>
                  <a:cubicBezTo>
                    <a:pt x="225" y="247"/>
                    <a:pt x="226" y="246"/>
                    <a:pt x="227" y="246"/>
                  </a:cubicBezTo>
                  <a:cubicBezTo>
                    <a:pt x="228" y="247"/>
                    <a:pt x="228" y="250"/>
                    <a:pt x="228" y="250"/>
                  </a:cubicBezTo>
                  <a:cubicBezTo>
                    <a:pt x="227" y="253"/>
                    <a:pt x="227" y="253"/>
                    <a:pt x="227" y="253"/>
                  </a:cubicBezTo>
                  <a:cubicBezTo>
                    <a:pt x="227" y="253"/>
                    <a:pt x="225" y="256"/>
                    <a:pt x="225" y="256"/>
                  </a:cubicBezTo>
                  <a:cubicBezTo>
                    <a:pt x="225" y="255"/>
                    <a:pt x="224" y="250"/>
                    <a:pt x="224" y="250"/>
                  </a:cubicBezTo>
                  <a:cubicBezTo>
                    <a:pt x="225" y="247"/>
                    <a:pt x="225" y="247"/>
                    <a:pt x="225" y="247"/>
                  </a:cubicBezTo>
                  <a:close/>
                  <a:moveTo>
                    <a:pt x="219" y="239"/>
                  </a:moveTo>
                  <a:cubicBezTo>
                    <a:pt x="219" y="239"/>
                    <a:pt x="219" y="239"/>
                    <a:pt x="219" y="239"/>
                  </a:cubicBezTo>
                  <a:cubicBezTo>
                    <a:pt x="219" y="239"/>
                    <a:pt x="218" y="242"/>
                    <a:pt x="218" y="243"/>
                  </a:cubicBezTo>
                  <a:cubicBezTo>
                    <a:pt x="218" y="243"/>
                    <a:pt x="219" y="245"/>
                    <a:pt x="219" y="245"/>
                  </a:cubicBezTo>
                  <a:cubicBezTo>
                    <a:pt x="219" y="246"/>
                    <a:pt x="219" y="245"/>
                    <a:pt x="220" y="244"/>
                  </a:cubicBezTo>
                  <a:cubicBezTo>
                    <a:pt x="221" y="243"/>
                    <a:pt x="221" y="242"/>
                    <a:pt x="221" y="242"/>
                  </a:cubicBezTo>
                  <a:cubicBezTo>
                    <a:pt x="221" y="242"/>
                    <a:pt x="223" y="241"/>
                    <a:pt x="223" y="240"/>
                  </a:cubicBezTo>
                  <a:cubicBezTo>
                    <a:pt x="224" y="240"/>
                    <a:pt x="224" y="237"/>
                    <a:pt x="224" y="237"/>
                  </a:cubicBezTo>
                  <a:cubicBezTo>
                    <a:pt x="224" y="237"/>
                    <a:pt x="221" y="235"/>
                    <a:pt x="221" y="236"/>
                  </a:cubicBezTo>
                  <a:cubicBezTo>
                    <a:pt x="220" y="236"/>
                    <a:pt x="219" y="239"/>
                    <a:pt x="219" y="239"/>
                  </a:cubicBezTo>
                  <a:close/>
                  <a:moveTo>
                    <a:pt x="233" y="237"/>
                  </a:moveTo>
                  <a:cubicBezTo>
                    <a:pt x="233" y="237"/>
                    <a:pt x="233" y="237"/>
                    <a:pt x="233" y="237"/>
                  </a:cubicBezTo>
                  <a:cubicBezTo>
                    <a:pt x="234" y="237"/>
                    <a:pt x="234" y="237"/>
                    <a:pt x="234" y="237"/>
                  </a:cubicBezTo>
                  <a:cubicBezTo>
                    <a:pt x="234" y="238"/>
                    <a:pt x="234" y="238"/>
                    <a:pt x="234" y="238"/>
                  </a:cubicBezTo>
                  <a:cubicBezTo>
                    <a:pt x="234" y="238"/>
                    <a:pt x="237" y="237"/>
                    <a:pt x="238" y="237"/>
                  </a:cubicBezTo>
                  <a:cubicBezTo>
                    <a:pt x="239" y="236"/>
                    <a:pt x="238" y="235"/>
                    <a:pt x="238" y="234"/>
                  </a:cubicBezTo>
                  <a:cubicBezTo>
                    <a:pt x="237" y="233"/>
                    <a:pt x="233" y="237"/>
                    <a:pt x="233" y="237"/>
                  </a:cubicBezTo>
                  <a:close/>
                  <a:moveTo>
                    <a:pt x="247" y="241"/>
                  </a:moveTo>
                  <a:cubicBezTo>
                    <a:pt x="247" y="241"/>
                    <a:pt x="247" y="241"/>
                    <a:pt x="247" y="241"/>
                  </a:cubicBezTo>
                  <a:cubicBezTo>
                    <a:pt x="245" y="240"/>
                    <a:pt x="245" y="240"/>
                    <a:pt x="245" y="240"/>
                  </a:cubicBezTo>
                  <a:cubicBezTo>
                    <a:pt x="245" y="242"/>
                    <a:pt x="245" y="242"/>
                    <a:pt x="245" y="242"/>
                  </a:cubicBezTo>
                  <a:cubicBezTo>
                    <a:pt x="245" y="242"/>
                    <a:pt x="246" y="244"/>
                    <a:pt x="247" y="245"/>
                  </a:cubicBezTo>
                  <a:cubicBezTo>
                    <a:pt x="247" y="245"/>
                    <a:pt x="245" y="247"/>
                    <a:pt x="245" y="247"/>
                  </a:cubicBezTo>
                  <a:cubicBezTo>
                    <a:pt x="247" y="250"/>
                    <a:pt x="247" y="250"/>
                    <a:pt x="247" y="250"/>
                  </a:cubicBezTo>
                  <a:cubicBezTo>
                    <a:pt x="250" y="245"/>
                    <a:pt x="250" y="245"/>
                    <a:pt x="250" y="245"/>
                  </a:cubicBezTo>
                  <a:cubicBezTo>
                    <a:pt x="250" y="245"/>
                    <a:pt x="249" y="243"/>
                    <a:pt x="249" y="243"/>
                  </a:cubicBezTo>
                  <a:cubicBezTo>
                    <a:pt x="249" y="242"/>
                    <a:pt x="247" y="241"/>
                    <a:pt x="247" y="241"/>
                  </a:cubicBezTo>
                  <a:close/>
                  <a:moveTo>
                    <a:pt x="261" y="241"/>
                  </a:moveTo>
                  <a:cubicBezTo>
                    <a:pt x="261" y="241"/>
                    <a:pt x="261" y="241"/>
                    <a:pt x="261" y="241"/>
                  </a:cubicBezTo>
                  <a:cubicBezTo>
                    <a:pt x="262" y="243"/>
                    <a:pt x="262" y="243"/>
                    <a:pt x="262" y="243"/>
                  </a:cubicBezTo>
                  <a:cubicBezTo>
                    <a:pt x="262" y="243"/>
                    <a:pt x="261" y="245"/>
                    <a:pt x="260" y="245"/>
                  </a:cubicBezTo>
                  <a:cubicBezTo>
                    <a:pt x="260" y="245"/>
                    <a:pt x="259" y="244"/>
                    <a:pt x="259" y="244"/>
                  </a:cubicBezTo>
                  <a:cubicBezTo>
                    <a:pt x="261" y="241"/>
                    <a:pt x="261" y="241"/>
                    <a:pt x="261" y="241"/>
                  </a:cubicBezTo>
                  <a:close/>
                  <a:moveTo>
                    <a:pt x="264" y="238"/>
                  </a:moveTo>
                  <a:cubicBezTo>
                    <a:pt x="264" y="238"/>
                    <a:pt x="264" y="238"/>
                    <a:pt x="264" y="238"/>
                  </a:cubicBezTo>
                  <a:cubicBezTo>
                    <a:pt x="265" y="240"/>
                    <a:pt x="265" y="240"/>
                    <a:pt x="265" y="240"/>
                  </a:cubicBezTo>
                  <a:cubicBezTo>
                    <a:pt x="265" y="240"/>
                    <a:pt x="268" y="239"/>
                    <a:pt x="270" y="238"/>
                  </a:cubicBezTo>
                  <a:cubicBezTo>
                    <a:pt x="273" y="237"/>
                    <a:pt x="270" y="236"/>
                    <a:pt x="270" y="236"/>
                  </a:cubicBezTo>
                  <a:cubicBezTo>
                    <a:pt x="267" y="236"/>
                    <a:pt x="267" y="236"/>
                    <a:pt x="267" y="236"/>
                  </a:cubicBezTo>
                  <a:cubicBezTo>
                    <a:pt x="267" y="236"/>
                    <a:pt x="264" y="237"/>
                    <a:pt x="264" y="238"/>
                  </a:cubicBezTo>
                  <a:close/>
                  <a:moveTo>
                    <a:pt x="247" y="230"/>
                  </a:moveTo>
                  <a:cubicBezTo>
                    <a:pt x="247" y="230"/>
                    <a:pt x="247" y="230"/>
                    <a:pt x="247" y="230"/>
                  </a:cubicBezTo>
                  <a:cubicBezTo>
                    <a:pt x="250" y="233"/>
                    <a:pt x="250" y="233"/>
                    <a:pt x="250" y="233"/>
                  </a:cubicBezTo>
                  <a:cubicBezTo>
                    <a:pt x="250" y="233"/>
                    <a:pt x="254" y="235"/>
                    <a:pt x="255" y="235"/>
                  </a:cubicBezTo>
                  <a:cubicBezTo>
                    <a:pt x="255" y="236"/>
                    <a:pt x="257" y="235"/>
                    <a:pt x="259" y="235"/>
                  </a:cubicBezTo>
                  <a:cubicBezTo>
                    <a:pt x="260" y="234"/>
                    <a:pt x="260" y="234"/>
                    <a:pt x="260" y="233"/>
                  </a:cubicBezTo>
                  <a:cubicBezTo>
                    <a:pt x="260" y="233"/>
                    <a:pt x="259" y="232"/>
                    <a:pt x="259" y="232"/>
                  </a:cubicBezTo>
                  <a:cubicBezTo>
                    <a:pt x="259" y="232"/>
                    <a:pt x="258" y="230"/>
                    <a:pt x="255" y="230"/>
                  </a:cubicBezTo>
                  <a:cubicBezTo>
                    <a:pt x="253" y="231"/>
                    <a:pt x="253" y="230"/>
                    <a:pt x="253" y="230"/>
                  </a:cubicBezTo>
                  <a:cubicBezTo>
                    <a:pt x="253" y="230"/>
                    <a:pt x="252" y="230"/>
                    <a:pt x="249" y="229"/>
                  </a:cubicBezTo>
                  <a:cubicBezTo>
                    <a:pt x="247" y="229"/>
                    <a:pt x="248" y="230"/>
                    <a:pt x="247" y="230"/>
                  </a:cubicBezTo>
                  <a:close/>
                  <a:moveTo>
                    <a:pt x="245" y="229"/>
                  </a:moveTo>
                  <a:cubicBezTo>
                    <a:pt x="245" y="229"/>
                    <a:pt x="245" y="229"/>
                    <a:pt x="245" y="229"/>
                  </a:cubicBezTo>
                  <a:cubicBezTo>
                    <a:pt x="246" y="228"/>
                    <a:pt x="246" y="228"/>
                    <a:pt x="246" y="228"/>
                  </a:cubicBezTo>
                  <a:cubicBezTo>
                    <a:pt x="246" y="228"/>
                    <a:pt x="246" y="226"/>
                    <a:pt x="246" y="223"/>
                  </a:cubicBezTo>
                  <a:cubicBezTo>
                    <a:pt x="246" y="221"/>
                    <a:pt x="245" y="222"/>
                    <a:pt x="245" y="222"/>
                  </a:cubicBezTo>
                  <a:cubicBezTo>
                    <a:pt x="245" y="221"/>
                    <a:pt x="245" y="220"/>
                    <a:pt x="244" y="218"/>
                  </a:cubicBezTo>
                  <a:cubicBezTo>
                    <a:pt x="243" y="217"/>
                    <a:pt x="243" y="218"/>
                    <a:pt x="242" y="218"/>
                  </a:cubicBezTo>
                  <a:cubicBezTo>
                    <a:pt x="242" y="218"/>
                    <a:pt x="241" y="219"/>
                    <a:pt x="239" y="219"/>
                  </a:cubicBezTo>
                  <a:cubicBezTo>
                    <a:pt x="237" y="219"/>
                    <a:pt x="238" y="217"/>
                    <a:pt x="237" y="216"/>
                  </a:cubicBezTo>
                  <a:cubicBezTo>
                    <a:pt x="236" y="215"/>
                    <a:pt x="234" y="215"/>
                    <a:pt x="234" y="215"/>
                  </a:cubicBezTo>
                  <a:cubicBezTo>
                    <a:pt x="233" y="215"/>
                    <a:pt x="231" y="218"/>
                    <a:pt x="231" y="219"/>
                  </a:cubicBezTo>
                  <a:cubicBezTo>
                    <a:pt x="231" y="220"/>
                    <a:pt x="232" y="220"/>
                    <a:pt x="235" y="223"/>
                  </a:cubicBezTo>
                  <a:cubicBezTo>
                    <a:pt x="238" y="225"/>
                    <a:pt x="239" y="225"/>
                    <a:pt x="240" y="225"/>
                  </a:cubicBezTo>
                  <a:cubicBezTo>
                    <a:pt x="241" y="226"/>
                    <a:pt x="244" y="228"/>
                    <a:pt x="245" y="229"/>
                  </a:cubicBezTo>
                  <a:close/>
                  <a:moveTo>
                    <a:pt x="216" y="360"/>
                  </a:moveTo>
                  <a:cubicBezTo>
                    <a:pt x="216" y="360"/>
                    <a:pt x="216" y="360"/>
                    <a:pt x="216" y="360"/>
                  </a:cubicBezTo>
                  <a:cubicBezTo>
                    <a:pt x="217" y="357"/>
                    <a:pt x="217" y="357"/>
                    <a:pt x="217" y="357"/>
                  </a:cubicBezTo>
                  <a:cubicBezTo>
                    <a:pt x="215" y="354"/>
                    <a:pt x="215" y="354"/>
                    <a:pt x="215" y="354"/>
                  </a:cubicBezTo>
                  <a:cubicBezTo>
                    <a:pt x="215" y="350"/>
                    <a:pt x="215" y="350"/>
                    <a:pt x="215" y="350"/>
                  </a:cubicBezTo>
                  <a:cubicBezTo>
                    <a:pt x="216" y="349"/>
                    <a:pt x="216" y="349"/>
                    <a:pt x="216" y="349"/>
                  </a:cubicBezTo>
                  <a:cubicBezTo>
                    <a:pt x="216" y="349"/>
                    <a:pt x="218" y="351"/>
                    <a:pt x="218" y="352"/>
                  </a:cubicBezTo>
                  <a:cubicBezTo>
                    <a:pt x="218" y="353"/>
                    <a:pt x="218" y="355"/>
                    <a:pt x="218" y="355"/>
                  </a:cubicBezTo>
                  <a:cubicBezTo>
                    <a:pt x="218" y="355"/>
                    <a:pt x="221" y="357"/>
                    <a:pt x="221" y="357"/>
                  </a:cubicBezTo>
                  <a:cubicBezTo>
                    <a:pt x="222" y="357"/>
                    <a:pt x="228" y="356"/>
                    <a:pt x="228" y="356"/>
                  </a:cubicBezTo>
                  <a:cubicBezTo>
                    <a:pt x="228" y="356"/>
                    <a:pt x="230" y="353"/>
                    <a:pt x="230" y="353"/>
                  </a:cubicBezTo>
                  <a:cubicBezTo>
                    <a:pt x="231" y="352"/>
                    <a:pt x="234" y="350"/>
                    <a:pt x="234" y="350"/>
                  </a:cubicBezTo>
                  <a:cubicBezTo>
                    <a:pt x="234" y="350"/>
                    <a:pt x="234" y="349"/>
                    <a:pt x="236" y="351"/>
                  </a:cubicBezTo>
                  <a:cubicBezTo>
                    <a:pt x="238" y="352"/>
                    <a:pt x="236" y="355"/>
                    <a:pt x="236" y="355"/>
                  </a:cubicBezTo>
                  <a:cubicBezTo>
                    <a:pt x="235" y="355"/>
                    <a:pt x="235" y="356"/>
                    <a:pt x="235" y="356"/>
                  </a:cubicBezTo>
                  <a:cubicBezTo>
                    <a:pt x="237" y="358"/>
                    <a:pt x="237" y="358"/>
                    <a:pt x="237" y="358"/>
                  </a:cubicBezTo>
                  <a:cubicBezTo>
                    <a:pt x="237" y="358"/>
                    <a:pt x="237" y="356"/>
                    <a:pt x="238" y="356"/>
                  </a:cubicBezTo>
                  <a:cubicBezTo>
                    <a:pt x="239" y="356"/>
                    <a:pt x="239" y="355"/>
                    <a:pt x="240" y="355"/>
                  </a:cubicBezTo>
                  <a:cubicBezTo>
                    <a:pt x="240" y="356"/>
                    <a:pt x="242" y="358"/>
                    <a:pt x="242" y="358"/>
                  </a:cubicBezTo>
                  <a:cubicBezTo>
                    <a:pt x="242" y="358"/>
                    <a:pt x="242" y="361"/>
                    <a:pt x="243" y="361"/>
                  </a:cubicBezTo>
                  <a:cubicBezTo>
                    <a:pt x="244" y="360"/>
                    <a:pt x="246" y="361"/>
                    <a:pt x="247" y="360"/>
                  </a:cubicBezTo>
                  <a:cubicBezTo>
                    <a:pt x="248" y="360"/>
                    <a:pt x="258" y="357"/>
                    <a:pt x="258" y="357"/>
                  </a:cubicBezTo>
                  <a:cubicBezTo>
                    <a:pt x="261" y="355"/>
                    <a:pt x="261" y="355"/>
                    <a:pt x="261" y="355"/>
                  </a:cubicBezTo>
                  <a:cubicBezTo>
                    <a:pt x="261" y="355"/>
                    <a:pt x="263" y="354"/>
                    <a:pt x="265" y="354"/>
                  </a:cubicBezTo>
                  <a:cubicBezTo>
                    <a:pt x="266" y="354"/>
                    <a:pt x="272" y="352"/>
                    <a:pt x="272" y="352"/>
                  </a:cubicBezTo>
                  <a:cubicBezTo>
                    <a:pt x="272" y="352"/>
                    <a:pt x="275" y="350"/>
                    <a:pt x="277" y="351"/>
                  </a:cubicBezTo>
                  <a:cubicBezTo>
                    <a:pt x="278" y="353"/>
                    <a:pt x="282" y="356"/>
                    <a:pt x="282" y="356"/>
                  </a:cubicBezTo>
                  <a:cubicBezTo>
                    <a:pt x="288" y="355"/>
                    <a:pt x="288" y="355"/>
                    <a:pt x="288" y="355"/>
                  </a:cubicBezTo>
                  <a:cubicBezTo>
                    <a:pt x="288" y="355"/>
                    <a:pt x="290" y="354"/>
                    <a:pt x="290" y="354"/>
                  </a:cubicBezTo>
                  <a:cubicBezTo>
                    <a:pt x="291" y="355"/>
                    <a:pt x="297" y="354"/>
                    <a:pt x="297" y="354"/>
                  </a:cubicBezTo>
                  <a:cubicBezTo>
                    <a:pt x="297" y="354"/>
                    <a:pt x="300" y="351"/>
                    <a:pt x="301" y="351"/>
                  </a:cubicBezTo>
                  <a:cubicBezTo>
                    <a:pt x="301" y="351"/>
                    <a:pt x="308" y="349"/>
                    <a:pt x="308" y="349"/>
                  </a:cubicBezTo>
                  <a:cubicBezTo>
                    <a:pt x="308" y="349"/>
                    <a:pt x="309" y="349"/>
                    <a:pt x="309" y="351"/>
                  </a:cubicBezTo>
                  <a:cubicBezTo>
                    <a:pt x="309" y="353"/>
                    <a:pt x="309" y="356"/>
                    <a:pt x="309" y="357"/>
                  </a:cubicBezTo>
                  <a:cubicBezTo>
                    <a:pt x="310" y="358"/>
                    <a:pt x="309" y="360"/>
                    <a:pt x="311" y="360"/>
                  </a:cubicBezTo>
                  <a:cubicBezTo>
                    <a:pt x="313" y="359"/>
                    <a:pt x="315" y="358"/>
                    <a:pt x="315" y="358"/>
                  </a:cubicBezTo>
                  <a:cubicBezTo>
                    <a:pt x="315" y="358"/>
                    <a:pt x="313" y="358"/>
                    <a:pt x="317" y="356"/>
                  </a:cubicBezTo>
                  <a:cubicBezTo>
                    <a:pt x="320" y="354"/>
                    <a:pt x="321" y="353"/>
                    <a:pt x="322" y="353"/>
                  </a:cubicBezTo>
                  <a:cubicBezTo>
                    <a:pt x="323" y="353"/>
                    <a:pt x="323" y="352"/>
                    <a:pt x="324" y="352"/>
                  </a:cubicBezTo>
                  <a:cubicBezTo>
                    <a:pt x="326" y="352"/>
                    <a:pt x="326" y="352"/>
                    <a:pt x="327" y="352"/>
                  </a:cubicBezTo>
                  <a:cubicBezTo>
                    <a:pt x="328" y="351"/>
                    <a:pt x="330" y="348"/>
                    <a:pt x="330" y="348"/>
                  </a:cubicBezTo>
                  <a:cubicBezTo>
                    <a:pt x="330" y="348"/>
                    <a:pt x="331" y="346"/>
                    <a:pt x="332" y="346"/>
                  </a:cubicBezTo>
                  <a:cubicBezTo>
                    <a:pt x="332" y="346"/>
                    <a:pt x="334" y="345"/>
                    <a:pt x="334" y="345"/>
                  </a:cubicBezTo>
                  <a:cubicBezTo>
                    <a:pt x="333" y="348"/>
                    <a:pt x="333" y="348"/>
                    <a:pt x="333" y="348"/>
                  </a:cubicBezTo>
                  <a:cubicBezTo>
                    <a:pt x="333" y="348"/>
                    <a:pt x="335" y="352"/>
                    <a:pt x="335" y="353"/>
                  </a:cubicBezTo>
                  <a:cubicBezTo>
                    <a:pt x="335" y="353"/>
                    <a:pt x="335" y="354"/>
                    <a:pt x="334" y="355"/>
                  </a:cubicBezTo>
                  <a:cubicBezTo>
                    <a:pt x="334" y="357"/>
                    <a:pt x="334" y="358"/>
                    <a:pt x="334" y="358"/>
                  </a:cubicBezTo>
                  <a:cubicBezTo>
                    <a:pt x="333" y="359"/>
                    <a:pt x="333" y="360"/>
                    <a:pt x="333" y="361"/>
                  </a:cubicBezTo>
                  <a:cubicBezTo>
                    <a:pt x="332" y="361"/>
                    <a:pt x="329" y="363"/>
                    <a:pt x="329" y="363"/>
                  </a:cubicBezTo>
                  <a:cubicBezTo>
                    <a:pt x="324" y="362"/>
                    <a:pt x="324" y="362"/>
                    <a:pt x="324" y="362"/>
                  </a:cubicBezTo>
                  <a:cubicBezTo>
                    <a:pt x="324" y="362"/>
                    <a:pt x="322" y="363"/>
                    <a:pt x="321" y="364"/>
                  </a:cubicBezTo>
                  <a:cubicBezTo>
                    <a:pt x="319" y="364"/>
                    <a:pt x="316" y="367"/>
                    <a:pt x="315" y="367"/>
                  </a:cubicBezTo>
                  <a:cubicBezTo>
                    <a:pt x="314" y="367"/>
                    <a:pt x="311" y="367"/>
                    <a:pt x="308" y="367"/>
                  </a:cubicBezTo>
                  <a:cubicBezTo>
                    <a:pt x="305" y="368"/>
                    <a:pt x="297" y="370"/>
                    <a:pt x="297" y="370"/>
                  </a:cubicBezTo>
                  <a:cubicBezTo>
                    <a:pt x="297" y="370"/>
                    <a:pt x="296" y="371"/>
                    <a:pt x="295" y="372"/>
                  </a:cubicBezTo>
                  <a:cubicBezTo>
                    <a:pt x="293" y="372"/>
                    <a:pt x="289" y="374"/>
                    <a:pt x="288" y="374"/>
                  </a:cubicBezTo>
                  <a:cubicBezTo>
                    <a:pt x="287" y="375"/>
                    <a:pt x="284" y="377"/>
                    <a:pt x="283" y="377"/>
                  </a:cubicBezTo>
                  <a:cubicBezTo>
                    <a:pt x="282" y="377"/>
                    <a:pt x="281" y="378"/>
                    <a:pt x="277" y="378"/>
                  </a:cubicBezTo>
                  <a:cubicBezTo>
                    <a:pt x="272" y="379"/>
                    <a:pt x="271" y="380"/>
                    <a:pt x="271" y="380"/>
                  </a:cubicBezTo>
                  <a:cubicBezTo>
                    <a:pt x="268" y="380"/>
                    <a:pt x="268" y="380"/>
                    <a:pt x="268" y="380"/>
                  </a:cubicBezTo>
                  <a:cubicBezTo>
                    <a:pt x="268" y="373"/>
                    <a:pt x="268" y="373"/>
                    <a:pt x="268" y="373"/>
                  </a:cubicBezTo>
                  <a:cubicBezTo>
                    <a:pt x="268" y="373"/>
                    <a:pt x="268" y="370"/>
                    <a:pt x="265" y="371"/>
                  </a:cubicBezTo>
                  <a:cubicBezTo>
                    <a:pt x="262" y="372"/>
                    <a:pt x="266" y="371"/>
                    <a:pt x="260" y="372"/>
                  </a:cubicBezTo>
                  <a:cubicBezTo>
                    <a:pt x="255" y="373"/>
                    <a:pt x="252" y="370"/>
                    <a:pt x="252" y="370"/>
                  </a:cubicBezTo>
                  <a:cubicBezTo>
                    <a:pt x="252" y="370"/>
                    <a:pt x="247" y="370"/>
                    <a:pt x="245" y="371"/>
                  </a:cubicBezTo>
                  <a:cubicBezTo>
                    <a:pt x="243" y="371"/>
                    <a:pt x="240" y="371"/>
                    <a:pt x="239" y="371"/>
                  </a:cubicBezTo>
                  <a:cubicBezTo>
                    <a:pt x="238" y="372"/>
                    <a:pt x="238" y="371"/>
                    <a:pt x="235" y="372"/>
                  </a:cubicBezTo>
                  <a:cubicBezTo>
                    <a:pt x="232" y="372"/>
                    <a:pt x="229" y="373"/>
                    <a:pt x="229" y="373"/>
                  </a:cubicBezTo>
                  <a:cubicBezTo>
                    <a:pt x="226" y="371"/>
                    <a:pt x="226" y="371"/>
                    <a:pt x="226" y="371"/>
                  </a:cubicBezTo>
                  <a:cubicBezTo>
                    <a:pt x="226" y="371"/>
                    <a:pt x="223" y="371"/>
                    <a:pt x="222" y="372"/>
                  </a:cubicBezTo>
                  <a:cubicBezTo>
                    <a:pt x="220" y="373"/>
                    <a:pt x="221" y="374"/>
                    <a:pt x="219" y="374"/>
                  </a:cubicBezTo>
                  <a:cubicBezTo>
                    <a:pt x="217" y="374"/>
                    <a:pt x="218" y="375"/>
                    <a:pt x="216" y="374"/>
                  </a:cubicBezTo>
                  <a:cubicBezTo>
                    <a:pt x="213" y="373"/>
                    <a:pt x="211" y="372"/>
                    <a:pt x="211" y="372"/>
                  </a:cubicBezTo>
                  <a:cubicBezTo>
                    <a:pt x="210" y="366"/>
                    <a:pt x="210" y="366"/>
                    <a:pt x="210" y="366"/>
                  </a:cubicBezTo>
                  <a:cubicBezTo>
                    <a:pt x="210" y="366"/>
                    <a:pt x="210" y="366"/>
                    <a:pt x="210" y="363"/>
                  </a:cubicBezTo>
                  <a:cubicBezTo>
                    <a:pt x="209" y="361"/>
                    <a:pt x="208" y="357"/>
                    <a:pt x="208" y="357"/>
                  </a:cubicBezTo>
                  <a:cubicBezTo>
                    <a:pt x="210" y="354"/>
                    <a:pt x="210" y="354"/>
                    <a:pt x="210" y="354"/>
                  </a:cubicBezTo>
                  <a:cubicBezTo>
                    <a:pt x="210" y="354"/>
                    <a:pt x="211" y="356"/>
                    <a:pt x="211" y="357"/>
                  </a:cubicBezTo>
                  <a:cubicBezTo>
                    <a:pt x="211" y="357"/>
                    <a:pt x="211" y="360"/>
                    <a:pt x="212" y="360"/>
                  </a:cubicBezTo>
                  <a:cubicBezTo>
                    <a:pt x="214" y="360"/>
                    <a:pt x="216" y="360"/>
                    <a:pt x="216" y="360"/>
                  </a:cubicBezTo>
                  <a:close/>
                  <a:moveTo>
                    <a:pt x="172" y="319"/>
                  </a:moveTo>
                  <a:cubicBezTo>
                    <a:pt x="172" y="319"/>
                    <a:pt x="172" y="319"/>
                    <a:pt x="172" y="319"/>
                  </a:cubicBezTo>
                  <a:cubicBezTo>
                    <a:pt x="175" y="318"/>
                    <a:pt x="175" y="318"/>
                    <a:pt x="175" y="318"/>
                  </a:cubicBezTo>
                  <a:cubicBezTo>
                    <a:pt x="176" y="321"/>
                    <a:pt x="176" y="321"/>
                    <a:pt x="176" y="321"/>
                  </a:cubicBezTo>
                  <a:cubicBezTo>
                    <a:pt x="179" y="322"/>
                    <a:pt x="179" y="322"/>
                    <a:pt x="179" y="322"/>
                  </a:cubicBezTo>
                  <a:cubicBezTo>
                    <a:pt x="179" y="322"/>
                    <a:pt x="183" y="324"/>
                    <a:pt x="183" y="325"/>
                  </a:cubicBezTo>
                  <a:cubicBezTo>
                    <a:pt x="183" y="325"/>
                    <a:pt x="181" y="328"/>
                    <a:pt x="181" y="328"/>
                  </a:cubicBezTo>
                  <a:cubicBezTo>
                    <a:pt x="181" y="328"/>
                    <a:pt x="181" y="330"/>
                    <a:pt x="181" y="331"/>
                  </a:cubicBezTo>
                  <a:cubicBezTo>
                    <a:pt x="181" y="331"/>
                    <a:pt x="179" y="331"/>
                    <a:pt x="178" y="331"/>
                  </a:cubicBezTo>
                  <a:cubicBezTo>
                    <a:pt x="177" y="330"/>
                    <a:pt x="174" y="329"/>
                    <a:pt x="174" y="329"/>
                  </a:cubicBezTo>
                  <a:cubicBezTo>
                    <a:pt x="174" y="325"/>
                    <a:pt x="174" y="325"/>
                    <a:pt x="174" y="325"/>
                  </a:cubicBezTo>
                  <a:cubicBezTo>
                    <a:pt x="171" y="322"/>
                    <a:pt x="171" y="322"/>
                    <a:pt x="171" y="322"/>
                  </a:cubicBezTo>
                  <a:cubicBezTo>
                    <a:pt x="172" y="319"/>
                    <a:pt x="172" y="319"/>
                    <a:pt x="172" y="319"/>
                  </a:cubicBezTo>
                  <a:close/>
                  <a:moveTo>
                    <a:pt x="92" y="232"/>
                  </a:moveTo>
                  <a:cubicBezTo>
                    <a:pt x="92" y="232"/>
                    <a:pt x="92" y="232"/>
                    <a:pt x="92" y="232"/>
                  </a:cubicBezTo>
                  <a:cubicBezTo>
                    <a:pt x="92" y="232"/>
                    <a:pt x="90" y="232"/>
                    <a:pt x="90" y="232"/>
                  </a:cubicBezTo>
                  <a:cubicBezTo>
                    <a:pt x="89" y="232"/>
                    <a:pt x="88" y="232"/>
                    <a:pt x="87" y="232"/>
                  </a:cubicBezTo>
                  <a:cubicBezTo>
                    <a:pt x="86" y="232"/>
                    <a:pt x="87" y="234"/>
                    <a:pt x="87" y="235"/>
                  </a:cubicBezTo>
                  <a:cubicBezTo>
                    <a:pt x="87" y="235"/>
                    <a:pt x="87" y="237"/>
                    <a:pt x="87" y="238"/>
                  </a:cubicBezTo>
                  <a:cubicBezTo>
                    <a:pt x="86" y="239"/>
                    <a:pt x="85" y="240"/>
                    <a:pt x="85" y="241"/>
                  </a:cubicBezTo>
                  <a:cubicBezTo>
                    <a:pt x="85" y="241"/>
                    <a:pt x="85" y="243"/>
                    <a:pt x="85" y="244"/>
                  </a:cubicBezTo>
                  <a:cubicBezTo>
                    <a:pt x="84" y="244"/>
                    <a:pt x="82" y="246"/>
                    <a:pt x="81" y="246"/>
                  </a:cubicBezTo>
                  <a:cubicBezTo>
                    <a:pt x="80" y="247"/>
                    <a:pt x="78" y="248"/>
                    <a:pt x="78" y="248"/>
                  </a:cubicBezTo>
                  <a:cubicBezTo>
                    <a:pt x="80" y="253"/>
                    <a:pt x="80" y="253"/>
                    <a:pt x="80" y="253"/>
                  </a:cubicBezTo>
                  <a:cubicBezTo>
                    <a:pt x="80" y="253"/>
                    <a:pt x="82" y="252"/>
                    <a:pt x="83" y="253"/>
                  </a:cubicBezTo>
                  <a:cubicBezTo>
                    <a:pt x="84" y="254"/>
                    <a:pt x="87" y="256"/>
                    <a:pt x="88" y="256"/>
                  </a:cubicBezTo>
                  <a:cubicBezTo>
                    <a:pt x="88" y="256"/>
                    <a:pt x="90" y="262"/>
                    <a:pt x="90" y="262"/>
                  </a:cubicBezTo>
                  <a:cubicBezTo>
                    <a:pt x="91" y="263"/>
                    <a:pt x="92" y="262"/>
                    <a:pt x="92" y="262"/>
                  </a:cubicBezTo>
                  <a:cubicBezTo>
                    <a:pt x="92" y="262"/>
                    <a:pt x="94" y="263"/>
                    <a:pt x="95" y="264"/>
                  </a:cubicBezTo>
                  <a:cubicBezTo>
                    <a:pt x="96" y="264"/>
                    <a:pt x="98" y="265"/>
                    <a:pt x="99" y="266"/>
                  </a:cubicBezTo>
                  <a:cubicBezTo>
                    <a:pt x="100" y="266"/>
                    <a:pt x="102" y="269"/>
                    <a:pt x="103" y="269"/>
                  </a:cubicBezTo>
                  <a:cubicBezTo>
                    <a:pt x="104" y="270"/>
                    <a:pt x="106" y="272"/>
                    <a:pt x="106" y="272"/>
                  </a:cubicBezTo>
                  <a:cubicBezTo>
                    <a:pt x="106" y="272"/>
                    <a:pt x="108" y="275"/>
                    <a:pt x="109" y="277"/>
                  </a:cubicBezTo>
                  <a:cubicBezTo>
                    <a:pt x="109" y="278"/>
                    <a:pt x="109" y="278"/>
                    <a:pt x="108" y="279"/>
                  </a:cubicBezTo>
                  <a:cubicBezTo>
                    <a:pt x="107" y="280"/>
                    <a:pt x="107" y="281"/>
                    <a:pt x="106" y="283"/>
                  </a:cubicBezTo>
                  <a:cubicBezTo>
                    <a:pt x="105" y="285"/>
                    <a:pt x="107" y="287"/>
                    <a:pt x="107" y="287"/>
                  </a:cubicBezTo>
                  <a:cubicBezTo>
                    <a:pt x="107" y="292"/>
                    <a:pt x="107" y="292"/>
                    <a:pt x="107" y="292"/>
                  </a:cubicBezTo>
                  <a:cubicBezTo>
                    <a:pt x="108" y="294"/>
                    <a:pt x="108" y="294"/>
                    <a:pt x="108" y="294"/>
                  </a:cubicBezTo>
                  <a:cubicBezTo>
                    <a:pt x="108" y="294"/>
                    <a:pt x="109" y="295"/>
                    <a:pt x="110" y="295"/>
                  </a:cubicBezTo>
                  <a:cubicBezTo>
                    <a:pt x="111" y="296"/>
                    <a:pt x="111" y="296"/>
                    <a:pt x="111" y="296"/>
                  </a:cubicBezTo>
                  <a:cubicBezTo>
                    <a:pt x="111" y="296"/>
                    <a:pt x="113" y="298"/>
                    <a:pt x="114" y="299"/>
                  </a:cubicBezTo>
                  <a:cubicBezTo>
                    <a:pt x="114" y="300"/>
                    <a:pt x="113" y="301"/>
                    <a:pt x="113" y="302"/>
                  </a:cubicBezTo>
                  <a:cubicBezTo>
                    <a:pt x="113" y="303"/>
                    <a:pt x="114" y="307"/>
                    <a:pt x="114" y="307"/>
                  </a:cubicBezTo>
                  <a:cubicBezTo>
                    <a:pt x="114" y="307"/>
                    <a:pt x="116" y="306"/>
                    <a:pt x="118" y="305"/>
                  </a:cubicBezTo>
                  <a:cubicBezTo>
                    <a:pt x="119" y="305"/>
                    <a:pt x="120" y="306"/>
                    <a:pt x="121" y="306"/>
                  </a:cubicBezTo>
                  <a:cubicBezTo>
                    <a:pt x="122" y="307"/>
                    <a:pt x="122" y="308"/>
                    <a:pt x="122" y="308"/>
                  </a:cubicBezTo>
                  <a:cubicBezTo>
                    <a:pt x="122" y="308"/>
                    <a:pt x="125" y="306"/>
                    <a:pt x="125" y="305"/>
                  </a:cubicBezTo>
                  <a:cubicBezTo>
                    <a:pt x="125" y="305"/>
                    <a:pt x="125" y="303"/>
                    <a:pt x="125" y="303"/>
                  </a:cubicBezTo>
                  <a:cubicBezTo>
                    <a:pt x="125" y="303"/>
                    <a:pt x="125" y="299"/>
                    <a:pt x="125" y="298"/>
                  </a:cubicBezTo>
                  <a:cubicBezTo>
                    <a:pt x="125" y="297"/>
                    <a:pt x="124" y="294"/>
                    <a:pt x="124" y="293"/>
                  </a:cubicBezTo>
                  <a:cubicBezTo>
                    <a:pt x="124" y="293"/>
                    <a:pt x="125" y="291"/>
                    <a:pt x="125" y="291"/>
                  </a:cubicBezTo>
                  <a:cubicBezTo>
                    <a:pt x="125" y="291"/>
                    <a:pt x="128" y="290"/>
                    <a:pt x="129" y="290"/>
                  </a:cubicBezTo>
                  <a:cubicBezTo>
                    <a:pt x="130" y="290"/>
                    <a:pt x="131" y="291"/>
                    <a:pt x="132" y="292"/>
                  </a:cubicBezTo>
                  <a:cubicBezTo>
                    <a:pt x="132" y="293"/>
                    <a:pt x="132" y="297"/>
                    <a:pt x="132" y="297"/>
                  </a:cubicBezTo>
                  <a:cubicBezTo>
                    <a:pt x="138" y="298"/>
                    <a:pt x="138" y="298"/>
                    <a:pt x="138" y="298"/>
                  </a:cubicBezTo>
                  <a:cubicBezTo>
                    <a:pt x="138" y="298"/>
                    <a:pt x="140" y="299"/>
                    <a:pt x="140" y="299"/>
                  </a:cubicBezTo>
                  <a:cubicBezTo>
                    <a:pt x="140" y="300"/>
                    <a:pt x="141" y="302"/>
                    <a:pt x="142" y="303"/>
                  </a:cubicBezTo>
                  <a:cubicBezTo>
                    <a:pt x="143" y="304"/>
                    <a:pt x="144" y="305"/>
                    <a:pt x="144" y="305"/>
                  </a:cubicBezTo>
                  <a:cubicBezTo>
                    <a:pt x="144" y="305"/>
                    <a:pt x="146" y="310"/>
                    <a:pt x="147" y="311"/>
                  </a:cubicBezTo>
                  <a:cubicBezTo>
                    <a:pt x="147" y="312"/>
                    <a:pt x="147" y="314"/>
                    <a:pt x="147" y="316"/>
                  </a:cubicBezTo>
                  <a:cubicBezTo>
                    <a:pt x="147" y="318"/>
                    <a:pt x="147" y="318"/>
                    <a:pt x="147" y="318"/>
                  </a:cubicBezTo>
                  <a:cubicBezTo>
                    <a:pt x="147" y="318"/>
                    <a:pt x="150" y="319"/>
                    <a:pt x="151" y="320"/>
                  </a:cubicBezTo>
                  <a:cubicBezTo>
                    <a:pt x="153" y="321"/>
                    <a:pt x="152" y="320"/>
                    <a:pt x="153" y="319"/>
                  </a:cubicBezTo>
                  <a:cubicBezTo>
                    <a:pt x="154" y="318"/>
                    <a:pt x="153" y="317"/>
                    <a:pt x="153" y="316"/>
                  </a:cubicBezTo>
                  <a:cubicBezTo>
                    <a:pt x="153" y="315"/>
                    <a:pt x="153" y="313"/>
                    <a:pt x="152" y="311"/>
                  </a:cubicBezTo>
                  <a:cubicBezTo>
                    <a:pt x="152" y="310"/>
                    <a:pt x="152" y="309"/>
                    <a:pt x="152" y="309"/>
                  </a:cubicBezTo>
                  <a:cubicBezTo>
                    <a:pt x="152" y="309"/>
                    <a:pt x="153" y="307"/>
                    <a:pt x="153" y="306"/>
                  </a:cubicBezTo>
                  <a:cubicBezTo>
                    <a:pt x="153" y="306"/>
                    <a:pt x="153" y="304"/>
                    <a:pt x="153" y="303"/>
                  </a:cubicBezTo>
                  <a:cubicBezTo>
                    <a:pt x="153" y="302"/>
                    <a:pt x="155" y="301"/>
                    <a:pt x="155" y="301"/>
                  </a:cubicBezTo>
                  <a:cubicBezTo>
                    <a:pt x="155" y="301"/>
                    <a:pt x="155" y="300"/>
                    <a:pt x="156" y="298"/>
                  </a:cubicBezTo>
                  <a:cubicBezTo>
                    <a:pt x="157" y="297"/>
                    <a:pt x="156" y="298"/>
                    <a:pt x="157" y="298"/>
                  </a:cubicBezTo>
                  <a:cubicBezTo>
                    <a:pt x="158" y="297"/>
                    <a:pt x="159" y="297"/>
                    <a:pt x="161" y="297"/>
                  </a:cubicBezTo>
                  <a:cubicBezTo>
                    <a:pt x="162" y="297"/>
                    <a:pt x="163" y="298"/>
                    <a:pt x="163" y="298"/>
                  </a:cubicBezTo>
                  <a:cubicBezTo>
                    <a:pt x="165" y="301"/>
                    <a:pt x="165" y="301"/>
                    <a:pt x="165" y="301"/>
                  </a:cubicBezTo>
                  <a:cubicBezTo>
                    <a:pt x="165" y="301"/>
                    <a:pt x="165" y="301"/>
                    <a:pt x="165" y="302"/>
                  </a:cubicBezTo>
                  <a:cubicBezTo>
                    <a:pt x="165" y="303"/>
                    <a:pt x="167" y="305"/>
                    <a:pt x="167" y="305"/>
                  </a:cubicBezTo>
                  <a:cubicBezTo>
                    <a:pt x="171" y="308"/>
                    <a:pt x="171" y="308"/>
                    <a:pt x="171" y="308"/>
                  </a:cubicBezTo>
                  <a:cubicBezTo>
                    <a:pt x="171" y="308"/>
                    <a:pt x="171" y="309"/>
                    <a:pt x="171" y="309"/>
                  </a:cubicBezTo>
                  <a:cubicBezTo>
                    <a:pt x="171" y="310"/>
                    <a:pt x="172" y="312"/>
                    <a:pt x="173" y="313"/>
                  </a:cubicBezTo>
                  <a:cubicBezTo>
                    <a:pt x="174" y="315"/>
                    <a:pt x="173" y="312"/>
                    <a:pt x="174" y="312"/>
                  </a:cubicBezTo>
                  <a:cubicBezTo>
                    <a:pt x="174" y="311"/>
                    <a:pt x="175" y="310"/>
                    <a:pt x="175" y="310"/>
                  </a:cubicBezTo>
                  <a:cubicBezTo>
                    <a:pt x="177" y="313"/>
                    <a:pt x="177" y="313"/>
                    <a:pt x="177" y="313"/>
                  </a:cubicBezTo>
                  <a:cubicBezTo>
                    <a:pt x="177" y="313"/>
                    <a:pt x="181" y="314"/>
                    <a:pt x="182" y="314"/>
                  </a:cubicBezTo>
                  <a:cubicBezTo>
                    <a:pt x="183" y="313"/>
                    <a:pt x="184" y="312"/>
                    <a:pt x="184" y="312"/>
                  </a:cubicBezTo>
                  <a:cubicBezTo>
                    <a:pt x="182" y="310"/>
                    <a:pt x="182" y="310"/>
                    <a:pt x="182" y="310"/>
                  </a:cubicBezTo>
                  <a:cubicBezTo>
                    <a:pt x="180" y="307"/>
                    <a:pt x="180" y="307"/>
                    <a:pt x="180" y="307"/>
                  </a:cubicBezTo>
                  <a:cubicBezTo>
                    <a:pt x="180" y="307"/>
                    <a:pt x="177" y="304"/>
                    <a:pt x="176" y="304"/>
                  </a:cubicBezTo>
                  <a:cubicBezTo>
                    <a:pt x="175" y="303"/>
                    <a:pt x="174" y="302"/>
                    <a:pt x="174" y="301"/>
                  </a:cubicBezTo>
                  <a:cubicBezTo>
                    <a:pt x="173" y="300"/>
                    <a:pt x="173" y="298"/>
                    <a:pt x="173" y="298"/>
                  </a:cubicBezTo>
                  <a:cubicBezTo>
                    <a:pt x="174" y="297"/>
                    <a:pt x="174" y="295"/>
                    <a:pt x="175" y="293"/>
                  </a:cubicBezTo>
                  <a:cubicBezTo>
                    <a:pt x="176" y="291"/>
                    <a:pt x="174" y="293"/>
                    <a:pt x="174" y="293"/>
                  </a:cubicBezTo>
                  <a:cubicBezTo>
                    <a:pt x="174" y="293"/>
                    <a:pt x="172" y="290"/>
                    <a:pt x="173" y="289"/>
                  </a:cubicBezTo>
                  <a:cubicBezTo>
                    <a:pt x="173" y="289"/>
                    <a:pt x="169" y="283"/>
                    <a:pt x="169" y="283"/>
                  </a:cubicBezTo>
                  <a:cubicBezTo>
                    <a:pt x="169" y="283"/>
                    <a:pt x="168" y="281"/>
                    <a:pt x="168" y="281"/>
                  </a:cubicBezTo>
                  <a:cubicBezTo>
                    <a:pt x="168" y="281"/>
                    <a:pt x="165" y="279"/>
                    <a:pt x="164" y="279"/>
                  </a:cubicBezTo>
                  <a:cubicBezTo>
                    <a:pt x="163" y="278"/>
                    <a:pt x="162" y="277"/>
                    <a:pt x="162" y="277"/>
                  </a:cubicBezTo>
                  <a:cubicBezTo>
                    <a:pt x="162" y="276"/>
                    <a:pt x="162" y="274"/>
                    <a:pt x="162" y="273"/>
                  </a:cubicBezTo>
                  <a:cubicBezTo>
                    <a:pt x="161" y="272"/>
                    <a:pt x="160" y="270"/>
                    <a:pt x="159" y="269"/>
                  </a:cubicBezTo>
                  <a:cubicBezTo>
                    <a:pt x="158" y="268"/>
                    <a:pt x="157" y="266"/>
                    <a:pt x="156" y="264"/>
                  </a:cubicBezTo>
                  <a:cubicBezTo>
                    <a:pt x="155" y="263"/>
                    <a:pt x="154" y="261"/>
                    <a:pt x="154" y="261"/>
                  </a:cubicBezTo>
                  <a:cubicBezTo>
                    <a:pt x="153" y="257"/>
                    <a:pt x="153" y="257"/>
                    <a:pt x="153" y="257"/>
                  </a:cubicBezTo>
                  <a:cubicBezTo>
                    <a:pt x="153" y="255"/>
                    <a:pt x="153" y="255"/>
                    <a:pt x="153" y="255"/>
                  </a:cubicBezTo>
                  <a:cubicBezTo>
                    <a:pt x="156" y="257"/>
                    <a:pt x="156" y="257"/>
                    <a:pt x="156" y="257"/>
                  </a:cubicBezTo>
                  <a:cubicBezTo>
                    <a:pt x="156" y="257"/>
                    <a:pt x="158" y="256"/>
                    <a:pt x="159" y="256"/>
                  </a:cubicBezTo>
                  <a:cubicBezTo>
                    <a:pt x="160" y="256"/>
                    <a:pt x="163" y="257"/>
                    <a:pt x="163" y="257"/>
                  </a:cubicBezTo>
                  <a:cubicBezTo>
                    <a:pt x="163" y="257"/>
                    <a:pt x="165" y="258"/>
                    <a:pt x="166" y="258"/>
                  </a:cubicBezTo>
                  <a:cubicBezTo>
                    <a:pt x="166" y="258"/>
                    <a:pt x="167" y="259"/>
                    <a:pt x="168" y="258"/>
                  </a:cubicBezTo>
                  <a:cubicBezTo>
                    <a:pt x="169" y="258"/>
                    <a:pt x="170" y="260"/>
                    <a:pt x="170" y="261"/>
                  </a:cubicBezTo>
                  <a:cubicBezTo>
                    <a:pt x="170" y="262"/>
                    <a:pt x="169" y="263"/>
                    <a:pt x="169" y="263"/>
                  </a:cubicBezTo>
                  <a:cubicBezTo>
                    <a:pt x="169" y="264"/>
                    <a:pt x="169" y="265"/>
                    <a:pt x="169" y="265"/>
                  </a:cubicBezTo>
                  <a:cubicBezTo>
                    <a:pt x="169" y="265"/>
                    <a:pt x="171" y="266"/>
                    <a:pt x="172" y="266"/>
                  </a:cubicBezTo>
                  <a:cubicBezTo>
                    <a:pt x="172" y="267"/>
                    <a:pt x="171" y="268"/>
                    <a:pt x="171" y="268"/>
                  </a:cubicBezTo>
                  <a:cubicBezTo>
                    <a:pt x="171" y="268"/>
                    <a:pt x="171" y="270"/>
                    <a:pt x="171" y="271"/>
                  </a:cubicBezTo>
                  <a:cubicBezTo>
                    <a:pt x="172" y="271"/>
                    <a:pt x="173" y="269"/>
                    <a:pt x="173" y="269"/>
                  </a:cubicBezTo>
                  <a:cubicBezTo>
                    <a:pt x="173" y="269"/>
                    <a:pt x="174" y="267"/>
                    <a:pt x="174" y="266"/>
                  </a:cubicBezTo>
                  <a:cubicBezTo>
                    <a:pt x="174" y="265"/>
                    <a:pt x="176" y="264"/>
                    <a:pt x="176" y="264"/>
                  </a:cubicBezTo>
                  <a:cubicBezTo>
                    <a:pt x="178" y="260"/>
                    <a:pt x="178" y="260"/>
                    <a:pt x="178" y="260"/>
                  </a:cubicBezTo>
                  <a:cubicBezTo>
                    <a:pt x="180" y="258"/>
                    <a:pt x="180" y="258"/>
                    <a:pt x="180" y="258"/>
                  </a:cubicBezTo>
                  <a:cubicBezTo>
                    <a:pt x="180" y="258"/>
                    <a:pt x="184" y="257"/>
                    <a:pt x="185" y="256"/>
                  </a:cubicBezTo>
                  <a:cubicBezTo>
                    <a:pt x="186" y="255"/>
                    <a:pt x="186" y="256"/>
                    <a:pt x="186" y="255"/>
                  </a:cubicBezTo>
                  <a:cubicBezTo>
                    <a:pt x="187" y="255"/>
                    <a:pt x="187" y="253"/>
                    <a:pt x="187" y="253"/>
                  </a:cubicBezTo>
                  <a:cubicBezTo>
                    <a:pt x="185" y="251"/>
                    <a:pt x="185" y="251"/>
                    <a:pt x="185" y="251"/>
                  </a:cubicBezTo>
                  <a:cubicBezTo>
                    <a:pt x="181" y="252"/>
                    <a:pt x="181" y="252"/>
                    <a:pt x="181" y="252"/>
                  </a:cubicBezTo>
                  <a:cubicBezTo>
                    <a:pt x="180" y="250"/>
                    <a:pt x="180" y="250"/>
                    <a:pt x="180" y="250"/>
                  </a:cubicBezTo>
                  <a:cubicBezTo>
                    <a:pt x="180" y="250"/>
                    <a:pt x="180" y="250"/>
                    <a:pt x="181" y="250"/>
                  </a:cubicBezTo>
                  <a:cubicBezTo>
                    <a:pt x="181" y="250"/>
                    <a:pt x="181" y="246"/>
                    <a:pt x="181" y="246"/>
                  </a:cubicBezTo>
                  <a:cubicBezTo>
                    <a:pt x="181" y="246"/>
                    <a:pt x="179" y="247"/>
                    <a:pt x="178" y="247"/>
                  </a:cubicBezTo>
                  <a:cubicBezTo>
                    <a:pt x="177" y="247"/>
                    <a:pt x="178" y="250"/>
                    <a:pt x="178" y="250"/>
                  </a:cubicBezTo>
                  <a:cubicBezTo>
                    <a:pt x="178" y="250"/>
                    <a:pt x="173" y="249"/>
                    <a:pt x="172" y="249"/>
                  </a:cubicBezTo>
                  <a:cubicBezTo>
                    <a:pt x="171" y="248"/>
                    <a:pt x="171" y="247"/>
                    <a:pt x="171" y="247"/>
                  </a:cubicBezTo>
                  <a:cubicBezTo>
                    <a:pt x="170" y="246"/>
                    <a:pt x="172" y="243"/>
                    <a:pt x="172" y="243"/>
                  </a:cubicBezTo>
                  <a:cubicBezTo>
                    <a:pt x="173" y="239"/>
                    <a:pt x="173" y="239"/>
                    <a:pt x="173" y="239"/>
                  </a:cubicBezTo>
                  <a:cubicBezTo>
                    <a:pt x="173" y="239"/>
                    <a:pt x="168" y="238"/>
                    <a:pt x="168" y="237"/>
                  </a:cubicBezTo>
                  <a:cubicBezTo>
                    <a:pt x="168" y="236"/>
                    <a:pt x="163" y="239"/>
                    <a:pt x="161" y="237"/>
                  </a:cubicBezTo>
                  <a:cubicBezTo>
                    <a:pt x="160" y="235"/>
                    <a:pt x="160" y="235"/>
                    <a:pt x="160" y="235"/>
                  </a:cubicBezTo>
                  <a:cubicBezTo>
                    <a:pt x="158" y="233"/>
                    <a:pt x="158" y="233"/>
                    <a:pt x="158" y="233"/>
                  </a:cubicBezTo>
                  <a:cubicBezTo>
                    <a:pt x="156" y="233"/>
                    <a:pt x="156" y="233"/>
                    <a:pt x="156" y="233"/>
                  </a:cubicBezTo>
                  <a:cubicBezTo>
                    <a:pt x="156" y="233"/>
                    <a:pt x="153" y="234"/>
                    <a:pt x="152" y="234"/>
                  </a:cubicBezTo>
                  <a:cubicBezTo>
                    <a:pt x="151" y="234"/>
                    <a:pt x="151" y="232"/>
                    <a:pt x="151" y="232"/>
                  </a:cubicBezTo>
                  <a:cubicBezTo>
                    <a:pt x="146" y="230"/>
                    <a:pt x="146" y="230"/>
                    <a:pt x="146" y="230"/>
                  </a:cubicBezTo>
                  <a:cubicBezTo>
                    <a:pt x="141" y="229"/>
                    <a:pt x="141" y="229"/>
                    <a:pt x="141" y="229"/>
                  </a:cubicBezTo>
                  <a:cubicBezTo>
                    <a:pt x="141" y="229"/>
                    <a:pt x="135" y="228"/>
                    <a:pt x="133" y="227"/>
                  </a:cubicBezTo>
                  <a:cubicBezTo>
                    <a:pt x="132" y="227"/>
                    <a:pt x="127" y="226"/>
                    <a:pt x="125" y="226"/>
                  </a:cubicBezTo>
                  <a:cubicBezTo>
                    <a:pt x="123" y="226"/>
                    <a:pt x="121" y="226"/>
                    <a:pt x="119" y="225"/>
                  </a:cubicBezTo>
                  <a:cubicBezTo>
                    <a:pt x="118" y="224"/>
                    <a:pt x="115" y="223"/>
                    <a:pt x="115" y="223"/>
                  </a:cubicBezTo>
                  <a:cubicBezTo>
                    <a:pt x="115" y="223"/>
                    <a:pt x="109" y="221"/>
                    <a:pt x="109" y="221"/>
                  </a:cubicBezTo>
                  <a:cubicBezTo>
                    <a:pt x="108" y="221"/>
                    <a:pt x="107" y="221"/>
                    <a:pt x="107" y="221"/>
                  </a:cubicBezTo>
                  <a:cubicBezTo>
                    <a:pt x="106" y="221"/>
                    <a:pt x="104" y="224"/>
                    <a:pt x="102" y="225"/>
                  </a:cubicBezTo>
                  <a:cubicBezTo>
                    <a:pt x="101" y="225"/>
                    <a:pt x="101" y="228"/>
                    <a:pt x="100" y="229"/>
                  </a:cubicBezTo>
                  <a:cubicBezTo>
                    <a:pt x="100" y="231"/>
                    <a:pt x="99" y="232"/>
                    <a:pt x="98" y="232"/>
                  </a:cubicBezTo>
                  <a:cubicBezTo>
                    <a:pt x="98" y="233"/>
                    <a:pt x="92" y="231"/>
                    <a:pt x="92" y="232"/>
                  </a:cubicBezTo>
                  <a:close/>
                  <a:moveTo>
                    <a:pt x="60" y="252"/>
                  </a:moveTo>
                  <a:cubicBezTo>
                    <a:pt x="60" y="252"/>
                    <a:pt x="60" y="252"/>
                    <a:pt x="60" y="252"/>
                  </a:cubicBezTo>
                  <a:cubicBezTo>
                    <a:pt x="60" y="252"/>
                    <a:pt x="62" y="251"/>
                    <a:pt x="62" y="252"/>
                  </a:cubicBezTo>
                  <a:cubicBezTo>
                    <a:pt x="62" y="252"/>
                    <a:pt x="63" y="253"/>
                    <a:pt x="63" y="254"/>
                  </a:cubicBezTo>
                  <a:cubicBezTo>
                    <a:pt x="64" y="254"/>
                    <a:pt x="66" y="256"/>
                    <a:pt x="67" y="256"/>
                  </a:cubicBezTo>
                  <a:cubicBezTo>
                    <a:pt x="68" y="256"/>
                    <a:pt x="71" y="256"/>
                    <a:pt x="71" y="256"/>
                  </a:cubicBezTo>
                  <a:cubicBezTo>
                    <a:pt x="74" y="259"/>
                    <a:pt x="74" y="259"/>
                    <a:pt x="74" y="259"/>
                  </a:cubicBezTo>
                  <a:cubicBezTo>
                    <a:pt x="74" y="259"/>
                    <a:pt x="77" y="260"/>
                    <a:pt x="77" y="261"/>
                  </a:cubicBezTo>
                  <a:cubicBezTo>
                    <a:pt x="77" y="261"/>
                    <a:pt x="72" y="264"/>
                    <a:pt x="72" y="264"/>
                  </a:cubicBezTo>
                  <a:cubicBezTo>
                    <a:pt x="71" y="265"/>
                    <a:pt x="71" y="265"/>
                    <a:pt x="71" y="265"/>
                  </a:cubicBezTo>
                  <a:cubicBezTo>
                    <a:pt x="71" y="265"/>
                    <a:pt x="71" y="267"/>
                    <a:pt x="69" y="266"/>
                  </a:cubicBezTo>
                  <a:cubicBezTo>
                    <a:pt x="68" y="266"/>
                    <a:pt x="67" y="266"/>
                    <a:pt x="66" y="265"/>
                  </a:cubicBezTo>
                  <a:cubicBezTo>
                    <a:pt x="66" y="264"/>
                    <a:pt x="66" y="264"/>
                    <a:pt x="65" y="263"/>
                  </a:cubicBezTo>
                  <a:cubicBezTo>
                    <a:pt x="63" y="262"/>
                    <a:pt x="59" y="259"/>
                    <a:pt x="59" y="259"/>
                  </a:cubicBezTo>
                  <a:cubicBezTo>
                    <a:pt x="59" y="256"/>
                    <a:pt x="59" y="256"/>
                    <a:pt x="59" y="256"/>
                  </a:cubicBezTo>
                  <a:cubicBezTo>
                    <a:pt x="59" y="254"/>
                    <a:pt x="59" y="254"/>
                    <a:pt x="59" y="254"/>
                  </a:cubicBezTo>
                  <a:cubicBezTo>
                    <a:pt x="60" y="252"/>
                    <a:pt x="60" y="252"/>
                    <a:pt x="60" y="252"/>
                  </a:cubicBezTo>
                  <a:close/>
                  <a:moveTo>
                    <a:pt x="48" y="234"/>
                  </a:moveTo>
                  <a:cubicBezTo>
                    <a:pt x="48" y="234"/>
                    <a:pt x="48" y="234"/>
                    <a:pt x="48" y="234"/>
                  </a:cubicBezTo>
                  <a:cubicBezTo>
                    <a:pt x="45" y="230"/>
                    <a:pt x="45" y="230"/>
                    <a:pt x="45" y="230"/>
                  </a:cubicBezTo>
                  <a:cubicBezTo>
                    <a:pt x="43" y="234"/>
                    <a:pt x="43" y="234"/>
                    <a:pt x="43" y="234"/>
                  </a:cubicBezTo>
                  <a:cubicBezTo>
                    <a:pt x="42" y="238"/>
                    <a:pt x="42" y="238"/>
                    <a:pt x="42" y="238"/>
                  </a:cubicBezTo>
                  <a:cubicBezTo>
                    <a:pt x="45" y="240"/>
                    <a:pt x="45" y="240"/>
                    <a:pt x="45" y="240"/>
                  </a:cubicBezTo>
                  <a:cubicBezTo>
                    <a:pt x="46" y="240"/>
                    <a:pt x="46" y="240"/>
                    <a:pt x="46" y="240"/>
                  </a:cubicBezTo>
                  <a:cubicBezTo>
                    <a:pt x="48" y="237"/>
                    <a:pt x="48" y="237"/>
                    <a:pt x="48" y="237"/>
                  </a:cubicBezTo>
                  <a:cubicBezTo>
                    <a:pt x="50" y="240"/>
                    <a:pt x="50" y="240"/>
                    <a:pt x="50" y="240"/>
                  </a:cubicBezTo>
                  <a:cubicBezTo>
                    <a:pt x="52" y="244"/>
                    <a:pt x="52" y="244"/>
                    <a:pt x="52" y="244"/>
                  </a:cubicBezTo>
                  <a:cubicBezTo>
                    <a:pt x="52" y="244"/>
                    <a:pt x="54" y="242"/>
                    <a:pt x="55" y="241"/>
                  </a:cubicBezTo>
                  <a:cubicBezTo>
                    <a:pt x="56" y="241"/>
                    <a:pt x="60" y="244"/>
                    <a:pt x="60" y="244"/>
                  </a:cubicBezTo>
                  <a:cubicBezTo>
                    <a:pt x="60" y="244"/>
                    <a:pt x="64" y="242"/>
                    <a:pt x="65" y="242"/>
                  </a:cubicBezTo>
                  <a:cubicBezTo>
                    <a:pt x="66" y="242"/>
                    <a:pt x="63" y="239"/>
                    <a:pt x="63" y="239"/>
                  </a:cubicBezTo>
                  <a:cubicBezTo>
                    <a:pt x="60" y="236"/>
                    <a:pt x="60" y="236"/>
                    <a:pt x="60" y="236"/>
                  </a:cubicBezTo>
                  <a:cubicBezTo>
                    <a:pt x="58" y="234"/>
                    <a:pt x="58" y="234"/>
                    <a:pt x="58" y="234"/>
                  </a:cubicBezTo>
                  <a:cubicBezTo>
                    <a:pt x="54" y="232"/>
                    <a:pt x="54" y="232"/>
                    <a:pt x="54" y="232"/>
                  </a:cubicBezTo>
                  <a:cubicBezTo>
                    <a:pt x="54" y="231"/>
                    <a:pt x="54" y="231"/>
                    <a:pt x="54" y="231"/>
                  </a:cubicBezTo>
                  <a:cubicBezTo>
                    <a:pt x="55" y="229"/>
                    <a:pt x="55" y="229"/>
                    <a:pt x="55" y="229"/>
                  </a:cubicBezTo>
                  <a:cubicBezTo>
                    <a:pt x="55" y="229"/>
                    <a:pt x="55" y="231"/>
                    <a:pt x="57" y="230"/>
                  </a:cubicBezTo>
                  <a:cubicBezTo>
                    <a:pt x="59" y="230"/>
                    <a:pt x="59" y="230"/>
                    <a:pt x="59" y="229"/>
                  </a:cubicBezTo>
                  <a:cubicBezTo>
                    <a:pt x="60" y="229"/>
                    <a:pt x="59" y="228"/>
                    <a:pt x="59" y="228"/>
                  </a:cubicBezTo>
                  <a:cubicBezTo>
                    <a:pt x="56" y="226"/>
                    <a:pt x="56" y="226"/>
                    <a:pt x="56" y="226"/>
                  </a:cubicBezTo>
                  <a:cubicBezTo>
                    <a:pt x="57" y="223"/>
                    <a:pt x="57" y="223"/>
                    <a:pt x="57" y="223"/>
                  </a:cubicBezTo>
                  <a:cubicBezTo>
                    <a:pt x="54" y="221"/>
                    <a:pt x="54" y="221"/>
                    <a:pt x="54" y="221"/>
                  </a:cubicBezTo>
                  <a:cubicBezTo>
                    <a:pt x="53" y="224"/>
                    <a:pt x="53" y="224"/>
                    <a:pt x="53" y="224"/>
                  </a:cubicBezTo>
                  <a:cubicBezTo>
                    <a:pt x="50" y="223"/>
                    <a:pt x="50" y="223"/>
                    <a:pt x="50" y="223"/>
                  </a:cubicBezTo>
                  <a:cubicBezTo>
                    <a:pt x="50" y="223"/>
                    <a:pt x="49" y="225"/>
                    <a:pt x="49" y="225"/>
                  </a:cubicBezTo>
                  <a:cubicBezTo>
                    <a:pt x="49" y="226"/>
                    <a:pt x="50" y="229"/>
                    <a:pt x="50" y="229"/>
                  </a:cubicBezTo>
                  <a:cubicBezTo>
                    <a:pt x="48" y="234"/>
                    <a:pt x="48" y="234"/>
                    <a:pt x="48" y="234"/>
                  </a:cubicBezTo>
                  <a:close/>
                  <a:moveTo>
                    <a:pt x="11" y="161"/>
                  </a:moveTo>
                  <a:cubicBezTo>
                    <a:pt x="11" y="161"/>
                    <a:pt x="11" y="161"/>
                    <a:pt x="11" y="161"/>
                  </a:cubicBezTo>
                  <a:cubicBezTo>
                    <a:pt x="9" y="161"/>
                    <a:pt x="9" y="161"/>
                    <a:pt x="9" y="161"/>
                  </a:cubicBezTo>
                  <a:cubicBezTo>
                    <a:pt x="9" y="161"/>
                    <a:pt x="9" y="162"/>
                    <a:pt x="10" y="163"/>
                  </a:cubicBezTo>
                  <a:cubicBezTo>
                    <a:pt x="11" y="164"/>
                    <a:pt x="13" y="170"/>
                    <a:pt x="13" y="170"/>
                  </a:cubicBezTo>
                  <a:cubicBezTo>
                    <a:pt x="15" y="171"/>
                    <a:pt x="15" y="171"/>
                    <a:pt x="15" y="171"/>
                  </a:cubicBezTo>
                  <a:cubicBezTo>
                    <a:pt x="19" y="173"/>
                    <a:pt x="19" y="173"/>
                    <a:pt x="19" y="173"/>
                  </a:cubicBezTo>
                  <a:cubicBezTo>
                    <a:pt x="22" y="176"/>
                    <a:pt x="22" y="176"/>
                    <a:pt x="22" y="176"/>
                  </a:cubicBezTo>
                  <a:cubicBezTo>
                    <a:pt x="22" y="176"/>
                    <a:pt x="24" y="179"/>
                    <a:pt x="21" y="178"/>
                  </a:cubicBezTo>
                  <a:cubicBezTo>
                    <a:pt x="18" y="177"/>
                    <a:pt x="15" y="175"/>
                    <a:pt x="14" y="174"/>
                  </a:cubicBezTo>
                  <a:cubicBezTo>
                    <a:pt x="12" y="174"/>
                    <a:pt x="10" y="173"/>
                    <a:pt x="10" y="173"/>
                  </a:cubicBezTo>
                  <a:cubicBezTo>
                    <a:pt x="10" y="173"/>
                    <a:pt x="9" y="168"/>
                    <a:pt x="9" y="167"/>
                  </a:cubicBezTo>
                  <a:cubicBezTo>
                    <a:pt x="8" y="167"/>
                    <a:pt x="6" y="166"/>
                    <a:pt x="6" y="166"/>
                  </a:cubicBezTo>
                  <a:cubicBezTo>
                    <a:pt x="0" y="163"/>
                    <a:pt x="0" y="163"/>
                    <a:pt x="0" y="163"/>
                  </a:cubicBezTo>
                  <a:cubicBezTo>
                    <a:pt x="0" y="163"/>
                    <a:pt x="0" y="159"/>
                    <a:pt x="1" y="158"/>
                  </a:cubicBezTo>
                  <a:cubicBezTo>
                    <a:pt x="1" y="158"/>
                    <a:pt x="1" y="156"/>
                    <a:pt x="3" y="156"/>
                  </a:cubicBezTo>
                  <a:cubicBezTo>
                    <a:pt x="4" y="155"/>
                    <a:pt x="7" y="155"/>
                    <a:pt x="7" y="155"/>
                  </a:cubicBezTo>
                  <a:cubicBezTo>
                    <a:pt x="7" y="155"/>
                    <a:pt x="7" y="152"/>
                    <a:pt x="8" y="153"/>
                  </a:cubicBezTo>
                  <a:cubicBezTo>
                    <a:pt x="9" y="154"/>
                    <a:pt x="11" y="157"/>
                    <a:pt x="11" y="157"/>
                  </a:cubicBezTo>
                  <a:lnTo>
                    <a:pt x="11" y="161"/>
                  </a:lnTo>
                  <a:close/>
                </a:path>
              </a:pathLst>
            </a:custGeom>
            <a:solidFill>
              <a:srgbClr val="E6EFF1"/>
            </a:solidFill>
            <a:ln w="12700" cap="rnd" cmpd="sng">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Lato Light"/>
              </a:endParaRPr>
            </a:p>
          </p:txBody>
        </p:sp>
        <p:sp>
          <p:nvSpPr>
            <p:cNvPr id="242" name="Freeform 223">
              <a:extLst>
                <a:ext uri="{FF2B5EF4-FFF2-40B4-BE49-F238E27FC236}">
                  <a16:creationId xmlns:a16="http://schemas.microsoft.com/office/drawing/2014/main" id="{8BAC60BD-F907-5E09-D337-5A720F7EC01D}"/>
                </a:ext>
              </a:extLst>
            </p:cNvPr>
            <p:cNvSpPr>
              <a:spLocks noEditPoints="1"/>
            </p:cNvSpPr>
            <p:nvPr/>
          </p:nvSpPr>
          <p:spPr bwMode="auto">
            <a:xfrm>
              <a:off x="4501699" y="923589"/>
              <a:ext cx="912709" cy="1615897"/>
            </a:xfrm>
            <a:custGeom>
              <a:avLst/>
              <a:gdLst>
                <a:gd name="T0" fmla="*/ 7 w 317"/>
                <a:gd name="T1" fmla="*/ 80 h 578"/>
                <a:gd name="T2" fmla="*/ 20 w 317"/>
                <a:gd name="T3" fmla="*/ 69 h 578"/>
                <a:gd name="T4" fmla="*/ 69 w 317"/>
                <a:gd name="T5" fmla="*/ 84 h 578"/>
                <a:gd name="T6" fmla="*/ 91 w 317"/>
                <a:gd name="T7" fmla="*/ 90 h 578"/>
                <a:gd name="T8" fmla="*/ 100 w 317"/>
                <a:gd name="T9" fmla="*/ 68 h 578"/>
                <a:gd name="T10" fmla="*/ 102 w 317"/>
                <a:gd name="T11" fmla="*/ 13 h 578"/>
                <a:gd name="T12" fmla="*/ 154 w 317"/>
                <a:gd name="T13" fmla="*/ 12 h 578"/>
                <a:gd name="T14" fmla="*/ 158 w 317"/>
                <a:gd name="T15" fmla="*/ 43 h 578"/>
                <a:gd name="T16" fmla="*/ 157 w 317"/>
                <a:gd name="T17" fmla="*/ 78 h 578"/>
                <a:gd name="T18" fmla="*/ 203 w 317"/>
                <a:gd name="T19" fmla="*/ 116 h 578"/>
                <a:gd name="T20" fmla="*/ 216 w 317"/>
                <a:gd name="T21" fmla="*/ 184 h 578"/>
                <a:gd name="T22" fmla="*/ 233 w 317"/>
                <a:gd name="T23" fmla="*/ 227 h 578"/>
                <a:gd name="T24" fmla="*/ 248 w 317"/>
                <a:gd name="T25" fmla="*/ 263 h 578"/>
                <a:gd name="T26" fmla="*/ 270 w 317"/>
                <a:gd name="T27" fmla="*/ 292 h 578"/>
                <a:gd name="T28" fmla="*/ 295 w 317"/>
                <a:gd name="T29" fmla="*/ 333 h 578"/>
                <a:gd name="T30" fmla="*/ 303 w 317"/>
                <a:gd name="T31" fmla="*/ 407 h 578"/>
                <a:gd name="T32" fmla="*/ 266 w 317"/>
                <a:gd name="T33" fmla="*/ 493 h 578"/>
                <a:gd name="T34" fmla="*/ 242 w 317"/>
                <a:gd name="T35" fmla="*/ 508 h 578"/>
                <a:gd name="T36" fmla="*/ 224 w 317"/>
                <a:gd name="T37" fmla="*/ 519 h 578"/>
                <a:gd name="T38" fmla="*/ 210 w 317"/>
                <a:gd name="T39" fmla="*/ 527 h 578"/>
                <a:gd name="T40" fmla="*/ 191 w 317"/>
                <a:gd name="T41" fmla="*/ 544 h 578"/>
                <a:gd name="T42" fmla="*/ 173 w 317"/>
                <a:gd name="T43" fmla="*/ 551 h 578"/>
                <a:gd name="T44" fmla="*/ 155 w 317"/>
                <a:gd name="T45" fmla="*/ 561 h 578"/>
                <a:gd name="T46" fmla="*/ 147 w 317"/>
                <a:gd name="T47" fmla="*/ 567 h 578"/>
                <a:gd name="T48" fmla="*/ 143 w 317"/>
                <a:gd name="T49" fmla="*/ 560 h 578"/>
                <a:gd name="T50" fmla="*/ 132 w 317"/>
                <a:gd name="T51" fmla="*/ 561 h 578"/>
                <a:gd name="T52" fmla="*/ 126 w 317"/>
                <a:gd name="T53" fmla="*/ 559 h 578"/>
                <a:gd name="T54" fmla="*/ 120 w 317"/>
                <a:gd name="T55" fmla="*/ 552 h 578"/>
                <a:gd name="T56" fmla="*/ 118 w 317"/>
                <a:gd name="T57" fmla="*/ 542 h 578"/>
                <a:gd name="T58" fmla="*/ 110 w 317"/>
                <a:gd name="T59" fmla="*/ 541 h 578"/>
                <a:gd name="T60" fmla="*/ 98 w 317"/>
                <a:gd name="T61" fmla="*/ 540 h 578"/>
                <a:gd name="T62" fmla="*/ 94 w 317"/>
                <a:gd name="T63" fmla="*/ 529 h 578"/>
                <a:gd name="T64" fmla="*/ 87 w 317"/>
                <a:gd name="T65" fmla="*/ 521 h 578"/>
                <a:gd name="T66" fmla="*/ 89 w 317"/>
                <a:gd name="T67" fmla="*/ 502 h 578"/>
                <a:gd name="T68" fmla="*/ 89 w 317"/>
                <a:gd name="T69" fmla="*/ 485 h 578"/>
                <a:gd name="T70" fmla="*/ 81 w 317"/>
                <a:gd name="T71" fmla="*/ 459 h 578"/>
                <a:gd name="T72" fmla="*/ 72 w 317"/>
                <a:gd name="T73" fmla="*/ 430 h 578"/>
                <a:gd name="T74" fmla="*/ 75 w 317"/>
                <a:gd name="T75" fmla="*/ 399 h 578"/>
                <a:gd name="T76" fmla="*/ 73 w 317"/>
                <a:gd name="T77" fmla="*/ 393 h 578"/>
                <a:gd name="T78" fmla="*/ 89 w 317"/>
                <a:gd name="T79" fmla="*/ 386 h 578"/>
                <a:gd name="T80" fmla="*/ 95 w 317"/>
                <a:gd name="T81" fmla="*/ 365 h 578"/>
                <a:gd name="T82" fmla="*/ 106 w 317"/>
                <a:gd name="T83" fmla="*/ 351 h 578"/>
                <a:gd name="T84" fmla="*/ 126 w 317"/>
                <a:gd name="T85" fmla="*/ 306 h 578"/>
                <a:gd name="T86" fmla="*/ 143 w 317"/>
                <a:gd name="T87" fmla="*/ 280 h 578"/>
                <a:gd name="T88" fmla="*/ 123 w 317"/>
                <a:gd name="T89" fmla="*/ 248 h 578"/>
                <a:gd name="T90" fmla="*/ 91 w 317"/>
                <a:gd name="T91" fmla="*/ 217 h 578"/>
                <a:gd name="T92" fmla="*/ 80 w 317"/>
                <a:gd name="T93" fmla="*/ 167 h 578"/>
                <a:gd name="T94" fmla="*/ 73 w 317"/>
                <a:gd name="T95" fmla="*/ 132 h 578"/>
                <a:gd name="T96" fmla="*/ 35 w 317"/>
                <a:gd name="T97" fmla="*/ 109 h 578"/>
                <a:gd name="T98" fmla="*/ 142 w 317"/>
                <a:gd name="T99" fmla="*/ 570 h 578"/>
                <a:gd name="T100" fmla="*/ 129 w 317"/>
                <a:gd name="T101" fmla="*/ 570 h 578"/>
                <a:gd name="T102" fmla="*/ 104 w 317"/>
                <a:gd name="T103" fmla="*/ 557 h 578"/>
                <a:gd name="T104" fmla="*/ 114 w 317"/>
                <a:gd name="T105" fmla="*/ 553 h 578"/>
                <a:gd name="T106" fmla="*/ 97 w 317"/>
                <a:gd name="T107" fmla="*/ 556 h 578"/>
                <a:gd name="T108" fmla="*/ 92 w 317"/>
                <a:gd name="T109" fmla="*/ 544 h 578"/>
                <a:gd name="T110" fmla="*/ 83 w 317"/>
                <a:gd name="T111" fmla="*/ 558 h 578"/>
                <a:gd name="T112" fmla="*/ 80 w 317"/>
                <a:gd name="T113" fmla="*/ 563 h 578"/>
                <a:gd name="T114" fmla="*/ 79 w 317"/>
                <a:gd name="T115" fmla="*/ 570 h 578"/>
                <a:gd name="T116" fmla="*/ 48 w 317"/>
                <a:gd name="T117" fmla="*/ 577 h 578"/>
                <a:gd name="T118" fmla="*/ 53 w 317"/>
                <a:gd name="T119" fmla="*/ 558 h 578"/>
                <a:gd name="T120" fmla="*/ 65 w 317"/>
                <a:gd name="T121" fmla="*/ 573 h 578"/>
                <a:gd name="T122" fmla="*/ 68 w 317"/>
                <a:gd name="T123" fmla="*/ 561 h 578"/>
                <a:gd name="T124" fmla="*/ 57 w 317"/>
                <a:gd name="T125" fmla="*/ 553 h 5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17" h="578">
                  <a:moveTo>
                    <a:pt x="20" y="100"/>
                  </a:moveTo>
                  <a:cubicBezTo>
                    <a:pt x="17" y="95"/>
                    <a:pt x="17" y="95"/>
                    <a:pt x="17" y="95"/>
                  </a:cubicBezTo>
                  <a:cubicBezTo>
                    <a:pt x="13" y="93"/>
                    <a:pt x="13" y="93"/>
                    <a:pt x="13" y="93"/>
                  </a:cubicBezTo>
                  <a:cubicBezTo>
                    <a:pt x="8" y="91"/>
                    <a:pt x="8" y="91"/>
                    <a:pt x="8" y="91"/>
                  </a:cubicBezTo>
                  <a:cubicBezTo>
                    <a:pt x="8" y="87"/>
                    <a:pt x="8" y="87"/>
                    <a:pt x="8" y="87"/>
                  </a:cubicBezTo>
                  <a:cubicBezTo>
                    <a:pt x="1" y="83"/>
                    <a:pt x="1" y="83"/>
                    <a:pt x="1" y="83"/>
                  </a:cubicBezTo>
                  <a:cubicBezTo>
                    <a:pt x="1" y="83"/>
                    <a:pt x="0" y="81"/>
                    <a:pt x="1" y="81"/>
                  </a:cubicBezTo>
                  <a:cubicBezTo>
                    <a:pt x="2" y="80"/>
                    <a:pt x="6" y="80"/>
                    <a:pt x="7" y="80"/>
                  </a:cubicBezTo>
                  <a:cubicBezTo>
                    <a:pt x="7" y="79"/>
                    <a:pt x="7" y="79"/>
                    <a:pt x="7" y="79"/>
                  </a:cubicBezTo>
                  <a:cubicBezTo>
                    <a:pt x="8" y="79"/>
                    <a:pt x="8" y="79"/>
                    <a:pt x="8" y="79"/>
                  </a:cubicBezTo>
                  <a:cubicBezTo>
                    <a:pt x="9" y="79"/>
                    <a:pt x="9" y="78"/>
                    <a:pt x="9" y="78"/>
                  </a:cubicBezTo>
                  <a:cubicBezTo>
                    <a:pt x="9" y="78"/>
                    <a:pt x="6" y="72"/>
                    <a:pt x="8" y="69"/>
                  </a:cubicBezTo>
                  <a:cubicBezTo>
                    <a:pt x="8" y="68"/>
                    <a:pt x="8" y="68"/>
                    <a:pt x="8" y="68"/>
                  </a:cubicBezTo>
                  <a:cubicBezTo>
                    <a:pt x="8" y="68"/>
                    <a:pt x="8" y="68"/>
                    <a:pt x="8" y="68"/>
                  </a:cubicBezTo>
                  <a:cubicBezTo>
                    <a:pt x="10" y="66"/>
                    <a:pt x="14" y="66"/>
                    <a:pt x="16" y="68"/>
                  </a:cubicBezTo>
                  <a:cubicBezTo>
                    <a:pt x="20" y="69"/>
                    <a:pt x="20" y="69"/>
                    <a:pt x="20" y="69"/>
                  </a:cubicBezTo>
                  <a:cubicBezTo>
                    <a:pt x="27" y="77"/>
                    <a:pt x="27" y="77"/>
                    <a:pt x="27" y="77"/>
                  </a:cubicBezTo>
                  <a:cubicBezTo>
                    <a:pt x="33" y="84"/>
                    <a:pt x="33" y="84"/>
                    <a:pt x="33" y="84"/>
                  </a:cubicBezTo>
                  <a:cubicBezTo>
                    <a:pt x="33" y="84"/>
                    <a:pt x="42" y="91"/>
                    <a:pt x="44" y="92"/>
                  </a:cubicBezTo>
                  <a:cubicBezTo>
                    <a:pt x="46" y="93"/>
                    <a:pt x="57" y="95"/>
                    <a:pt x="58" y="96"/>
                  </a:cubicBezTo>
                  <a:cubicBezTo>
                    <a:pt x="61" y="92"/>
                    <a:pt x="61" y="92"/>
                    <a:pt x="61" y="92"/>
                  </a:cubicBezTo>
                  <a:cubicBezTo>
                    <a:pt x="65" y="89"/>
                    <a:pt x="65" y="89"/>
                    <a:pt x="65" y="89"/>
                  </a:cubicBezTo>
                  <a:cubicBezTo>
                    <a:pt x="64" y="87"/>
                    <a:pt x="64" y="87"/>
                    <a:pt x="64" y="87"/>
                  </a:cubicBezTo>
                  <a:cubicBezTo>
                    <a:pt x="69" y="84"/>
                    <a:pt x="69" y="84"/>
                    <a:pt x="69" y="84"/>
                  </a:cubicBezTo>
                  <a:cubicBezTo>
                    <a:pt x="73" y="87"/>
                    <a:pt x="73" y="87"/>
                    <a:pt x="73" y="87"/>
                  </a:cubicBezTo>
                  <a:cubicBezTo>
                    <a:pt x="83" y="89"/>
                    <a:pt x="83" y="89"/>
                    <a:pt x="83" y="89"/>
                  </a:cubicBezTo>
                  <a:cubicBezTo>
                    <a:pt x="87" y="92"/>
                    <a:pt x="87" y="92"/>
                    <a:pt x="87" y="92"/>
                  </a:cubicBezTo>
                  <a:cubicBezTo>
                    <a:pt x="87" y="92"/>
                    <a:pt x="88" y="92"/>
                    <a:pt x="89" y="91"/>
                  </a:cubicBezTo>
                  <a:cubicBezTo>
                    <a:pt x="89" y="91"/>
                    <a:pt x="89" y="91"/>
                    <a:pt x="89" y="91"/>
                  </a:cubicBezTo>
                  <a:cubicBezTo>
                    <a:pt x="90" y="91"/>
                    <a:pt x="90" y="91"/>
                    <a:pt x="91" y="90"/>
                  </a:cubicBezTo>
                  <a:cubicBezTo>
                    <a:pt x="91" y="90"/>
                    <a:pt x="91" y="90"/>
                    <a:pt x="91" y="90"/>
                  </a:cubicBezTo>
                  <a:cubicBezTo>
                    <a:pt x="91" y="90"/>
                    <a:pt x="91" y="90"/>
                    <a:pt x="91" y="90"/>
                  </a:cubicBezTo>
                  <a:cubicBezTo>
                    <a:pt x="91" y="90"/>
                    <a:pt x="91" y="90"/>
                    <a:pt x="91" y="90"/>
                  </a:cubicBezTo>
                  <a:cubicBezTo>
                    <a:pt x="91" y="90"/>
                    <a:pt x="91" y="90"/>
                    <a:pt x="91" y="90"/>
                  </a:cubicBezTo>
                  <a:cubicBezTo>
                    <a:pt x="91" y="90"/>
                    <a:pt x="91" y="90"/>
                    <a:pt x="91" y="90"/>
                  </a:cubicBezTo>
                  <a:cubicBezTo>
                    <a:pt x="91" y="89"/>
                    <a:pt x="91" y="89"/>
                    <a:pt x="91" y="89"/>
                  </a:cubicBezTo>
                  <a:cubicBezTo>
                    <a:pt x="91" y="88"/>
                    <a:pt x="91" y="82"/>
                    <a:pt x="91" y="82"/>
                  </a:cubicBezTo>
                  <a:cubicBezTo>
                    <a:pt x="91" y="82"/>
                    <a:pt x="88" y="80"/>
                    <a:pt x="91" y="78"/>
                  </a:cubicBezTo>
                  <a:cubicBezTo>
                    <a:pt x="94" y="75"/>
                    <a:pt x="98" y="72"/>
                    <a:pt x="98" y="72"/>
                  </a:cubicBezTo>
                  <a:cubicBezTo>
                    <a:pt x="98" y="72"/>
                    <a:pt x="100" y="71"/>
                    <a:pt x="100" y="68"/>
                  </a:cubicBezTo>
                  <a:cubicBezTo>
                    <a:pt x="100" y="65"/>
                    <a:pt x="98" y="57"/>
                    <a:pt x="98" y="57"/>
                  </a:cubicBezTo>
                  <a:cubicBezTo>
                    <a:pt x="98" y="57"/>
                    <a:pt x="96" y="52"/>
                    <a:pt x="96" y="50"/>
                  </a:cubicBezTo>
                  <a:cubicBezTo>
                    <a:pt x="98" y="38"/>
                    <a:pt x="93" y="29"/>
                    <a:pt x="96" y="28"/>
                  </a:cubicBezTo>
                  <a:cubicBezTo>
                    <a:pt x="96" y="28"/>
                    <a:pt x="96" y="28"/>
                    <a:pt x="96" y="28"/>
                  </a:cubicBezTo>
                  <a:cubicBezTo>
                    <a:pt x="98" y="27"/>
                    <a:pt x="98" y="27"/>
                    <a:pt x="98" y="27"/>
                  </a:cubicBezTo>
                  <a:cubicBezTo>
                    <a:pt x="101" y="25"/>
                    <a:pt x="101" y="25"/>
                    <a:pt x="101" y="25"/>
                  </a:cubicBezTo>
                  <a:cubicBezTo>
                    <a:pt x="101" y="25"/>
                    <a:pt x="101" y="24"/>
                    <a:pt x="101" y="24"/>
                  </a:cubicBezTo>
                  <a:cubicBezTo>
                    <a:pt x="101" y="19"/>
                    <a:pt x="95" y="14"/>
                    <a:pt x="102" y="13"/>
                  </a:cubicBezTo>
                  <a:cubicBezTo>
                    <a:pt x="105" y="11"/>
                    <a:pt x="105" y="11"/>
                    <a:pt x="105" y="11"/>
                  </a:cubicBezTo>
                  <a:cubicBezTo>
                    <a:pt x="114" y="11"/>
                    <a:pt x="114" y="11"/>
                    <a:pt x="114" y="11"/>
                  </a:cubicBezTo>
                  <a:cubicBezTo>
                    <a:pt x="116" y="5"/>
                    <a:pt x="116" y="5"/>
                    <a:pt x="116" y="5"/>
                  </a:cubicBezTo>
                  <a:cubicBezTo>
                    <a:pt x="120" y="1"/>
                    <a:pt x="120" y="1"/>
                    <a:pt x="120" y="1"/>
                  </a:cubicBezTo>
                  <a:cubicBezTo>
                    <a:pt x="123" y="1"/>
                    <a:pt x="127" y="0"/>
                    <a:pt x="129" y="1"/>
                  </a:cubicBezTo>
                  <a:cubicBezTo>
                    <a:pt x="131" y="4"/>
                    <a:pt x="131" y="6"/>
                    <a:pt x="135" y="7"/>
                  </a:cubicBezTo>
                  <a:cubicBezTo>
                    <a:pt x="147" y="11"/>
                    <a:pt x="147" y="11"/>
                    <a:pt x="147" y="11"/>
                  </a:cubicBezTo>
                  <a:cubicBezTo>
                    <a:pt x="154" y="12"/>
                    <a:pt x="154" y="12"/>
                    <a:pt x="154" y="12"/>
                  </a:cubicBezTo>
                  <a:cubicBezTo>
                    <a:pt x="156" y="14"/>
                    <a:pt x="156" y="14"/>
                    <a:pt x="156" y="14"/>
                  </a:cubicBezTo>
                  <a:cubicBezTo>
                    <a:pt x="156" y="14"/>
                    <a:pt x="156" y="14"/>
                    <a:pt x="156" y="14"/>
                  </a:cubicBezTo>
                  <a:cubicBezTo>
                    <a:pt x="156" y="16"/>
                    <a:pt x="156" y="18"/>
                    <a:pt x="157" y="19"/>
                  </a:cubicBezTo>
                  <a:cubicBezTo>
                    <a:pt x="157" y="21"/>
                    <a:pt x="158" y="24"/>
                    <a:pt x="158" y="24"/>
                  </a:cubicBezTo>
                  <a:cubicBezTo>
                    <a:pt x="158" y="24"/>
                    <a:pt x="157" y="27"/>
                    <a:pt x="157" y="29"/>
                  </a:cubicBezTo>
                  <a:cubicBezTo>
                    <a:pt x="156" y="30"/>
                    <a:pt x="156" y="33"/>
                    <a:pt x="156" y="34"/>
                  </a:cubicBezTo>
                  <a:cubicBezTo>
                    <a:pt x="156" y="35"/>
                    <a:pt x="156" y="36"/>
                    <a:pt x="156" y="37"/>
                  </a:cubicBezTo>
                  <a:cubicBezTo>
                    <a:pt x="156" y="39"/>
                    <a:pt x="157" y="42"/>
                    <a:pt x="158" y="43"/>
                  </a:cubicBezTo>
                  <a:cubicBezTo>
                    <a:pt x="158" y="44"/>
                    <a:pt x="163" y="47"/>
                    <a:pt x="163" y="47"/>
                  </a:cubicBezTo>
                  <a:cubicBezTo>
                    <a:pt x="163" y="47"/>
                    <a:pt x="163" y="48"/>
                    <a:pt x="158" y="52"/>
                  </a:cubicBezTo>
                  <a:cubicBezTo>
                    <a:pt x="154" y="57"/>
                    <a:pt x="154" y="57"/>
                    <a:pt x="154" y="57"/>
                  </a:cubicBezTo>
                  <a:cubicBezTo>
                    <a:pt x="161" y="59"/>
                    <a:pt x="161" y="59"/>
                    <a:pt x="161" y="59"/>
                  </a:cubicBezTo>
                  <a:cubicBezTo>
                    <a:pt x="161" y="64"/>
                    <a:pt x="161" y="64"/>
                    <a:pt x="161" y="64"/>
                  </a:cubicBezTo>
                  <a:cubicBezTo>
                    <a:pt x="161" y="68"/>
                    <a:pt x="161" y="68"/>
                    <a:pt x="161" y="68"/>
                  </a:cubicBezTo>
                  <a:cubicBezTo>
                    <a:pt x="160" y="74"/>
                    <a:pt x="160" y="74"/>
                    <a:pt x="160" y="74"/>
                  </a:cubicBezTo>
                  <a:cubicBezTo>
                    <a:pt x="157" y="78"/>
                    <a:pt x="157" y="78"/>
                    <a:pt x="157" y="78"/>
                  </a:cubicBezTo>
                  <a:cubicBezTo>
                    <a:pt x="161" y="84"/>
                    <a:pt x="161" y="84"/>
                    <a:pt x="161" y="84"/>
                  </a:cubicBezTo>
                  <a:cubicBezTo>
                    <a:pt x="166" y="92"/>
                    <a:pt x="166" y="92"/>
                    <a:pt x="166" y="92"/>
                  </a:cubicBezTo>
                  <a:cubicBezTo>
                    <a:pt x="173" y="96"/>
                    <a:pt x="173" y="96"/>
                    <a:pt x="173" y="96"/>
                  </a:cubicBezTo>
                  <a:cubicBezTo>
                    <a:pt x="173" y="96"/>
                    <a:pt x="174" y="95"/>
                    <a:pt x="181" y="96"/>
                  </a:cubicBezTo>
                  <a:cubicBezTo>
                    <a:pt x="188" y="98"/>
                    <a:pt x="190" y="104"/>
                    <a:pt x="190" y="104"/>
                  </a:cubicBezTo>
                  <a:cubicBezTo>
                    <a:pt x="194" y="109"/>
                    <a:pt x="194" y="109"/>
                    <a:pt x="194" y="109"/>
                  </a:cubicBezTo>
                  <a:cubicBezTo>
                    <a:pt x="200" y="113"/>
                    <a:pt x="200" y="113"/>
                    <a:pt x="200" y="113"/>
                  </a:cubicBezTo>
                  <a:cubicBezTo>
                    <a:pt x="203" y="116"/>
                    <a:pt x="203" y="116"/>
                    <a:pt x="203" y="116"/>
                  </a:cubicBezTo>
                  <a:cubicBezTo>
                    <a:pt x="202" y="125"/>
                    <a:pt x="202" y="125"/>
                    <a:pt x="202" y="125"/>
                  </a:cubicBezTo>
                  <a:cubicBezTo>
                    <a:pt x="202" y="125"/>
                    <a:pt x="199" y="130"/>
                    <a:pt x="200" y="134"/>
                  </a:cubicBezTo>
                  <a:cubicBezTo>
                    <a:pt x="200" y="139"/>
                    <a:pt x="197" y="146"/>
                    <a:pt x="197" y="148"/>
                  </a:cubicBezTo>
                  <a:cubicBezTo>
                    <a:pt x="197" y="149"/>
                    <a:pt x="195" y="157"/>
                    <a:pt x="195" y="157"/>
                  </a:cubicBezTo>
                  <a:cubicBezTo>
                    <a:pt x="198" y="164"/>
                    <a:pt x="198" y="164"/>
                    <a:pt x="198" y="164"/>
                  </a:cubicBezTo>
                  <a:cubicBezTo>
                    <a:pt x="202" y="168"/>
                    <a:pt x="202" y="168"/>
                    <a:pt x="202" y="168"/>
                  </a:cubicBezTo>
                  <a:cubicBezTo>
                    <a:pt x="208" y="175"/>
                    <a:pt x="208" y="175"/>
                    <a:pt x="208" y="175"/>
                  </a:cubicBezTo>
                  <a:cubicBezTo>
                    <a:pt x="216" y="184"/>
                    <a:pt x="216" y="184"/>
                    <a:pt x="216" y="184"/>
                  </a:cubicBezTo>
                  <a:cubicBezTo>
                    <a:pt x="219" y="191"/>
                    <a:pt x="219" y="191"/>
                    <a:pt x="219" y="191"/>
                  </a:cubicBezTo>
                  <a:cubicBezTo>
                    <a:pt x="219" y="191"/>
                    <a:pt x="227" y="196"/>
                    <a:pt x="227" y="197"/>
                  </a:cubicBezTo>
                  <a:cubicBezTo>
                    <a:pt x="227" y="198"/>
                    <a:pt x="230" y="203"/>
                    <a:pt x="230" y="203"/>
                  </a:cubicBezTo>
                  <a:cubicBezTo>
                    <a:pt x="234" y="210"/>
                    <a:pt x="234" y="210"/>
                    <a:pt x="234" y="210"/>
                  </a:cubicBezTo>
                  <a:cubicBezTo>
                    <a:pt x="233" y="215"/>
                    <a:pt x="233" y="215"/>
                    <a:pt x="233" y="215"/>
                  </a:cubicBezTo>
                  <a:cubicBezTo>
                    <a:pt x="230" y="220"/>
                    <a:pt x="230" y="220"/>
                    <a:pt x="230" y="220"/>
                  </a:cubicBezTo>
                  <a:cubicBezTo>
                    <a:pt x="230" y="223"/>
                    <a:pt x="230" y="223"/>
                    <a:pt x="230" y="223"/>
                  </a:cubicBezTo>
                  <a:cubicBezTo>
                    <a:pt x="233" y="227"/>
                    <a:pt x="233" y="227"/>
                    <a:pt x="233" y="227"/>
                  </a:cubicBezTo>
                  <a:cubicBezTo>
                    <a:pt x="232" y="231"/>
                    <a:pt x="232" y="231"/>
                    <a:pt x="232" y="231"/>
                  </a:cubicBezTo>
                  <a:cubicBezTo>
                    <a:pt x="235" y="237"/>
                    <a:pt x="235" y="237"/>
                    <a:pt x="235" y="237"/>
                  </a:cubicBezTo>
                  <a:cubicBezTo>
                    <a:pt x="233" y="241"/>
                    <a:pt x="233" y="241"/>
                    <a:pt x="233" y="241"/>
                  </a:cubicBezTo>
                  <a:cubicBezTo>
                    <a:pt x="238" y="243"/>
                    <a:pt x="238" y="243"/>
                    <a:pt x="238" y="243"/>
                  </a:cubicBezTo>
                  <a:cubicBezTo>
                    <a:pt x="238" y="243"/>
                    <a:pt x="239" y="244"/>
                    <a:pt x="238" y="246"/>
                  </a:cubicBezTo>
                  <a:cubicBezTo>
                    <a:pt x="237" y="247"/>
                    <a:pt x="236" y="254"/>
                    <a:pt x="236" y="254"/>
                  </a:cubicBezTo>
                  <a:cubicBezTo>
                    <a:pt x="241" y="262"/>
                    <a:pt x="241" y="262"/>
                    <a:pt x="241" y="262"/>
                  </a:cubicBezTo>
                  <a:cubicBezTo>
                    <a:pt x="248" y="263"/>
                    <a:pt x="248" y="263"/>
                    <a:pt x="248" y="263"/>
                  </a:cubicBezTo>
                  <a:cubicBezTo>
                    <a:pt x="248" y="263"/>
                    <a:pt x="252" y="263"/>
                    <a:pt x="252" y="264"/>
                  </a:cubicBezTo>
                  <a:cubicBezTo>
                    <a:pt x="253" y="265"/>
                    <a:pt x="254" y="268"/>
                    <a:pt x="254" y="268"/>
                  </a:cubicBezTo>
                  <a:cubicBezTo>
                    <a:pt x="251" y="274"/>
                    <a:pt x="251" y="274"/>
                    <a:pt x="251" y="274"/>
                  </a:cubicBezTo>
                  <a:cubicBezTo>
                    <a:pt x="251" y="274"/>
                    <a:pt x="252" y="277"/>
                    <a:pt x="255" y="279"/>
                  </a:cubicBezTo>
                  <a:cubicBezTo>
                    <a:pt x="257" y="280"/>
                    <a:pt x="259" y="280"/>
                    <a:pt x="259" y="282"/>
                  </a:cubicBezTo>
                  <a:cubicBezTo>
                    <a:pt x="260" y="284"/>
                    <a:pt x="260" y="287"/>
                    <a:pt x="261" y="286"/>
                  </a:cubicBezTo>
                  <a:cubicBezTo>
                    <a:pt x="263" y="286"/>
                    <a:pt x="267" y="287"/>
                    <a:pt x="267" y="287"/>
                  </a:cubicBezTo>
                  <a:cubicBezTo>
                    <a:pt x="270" y="292"/>
                    <a:pt x="270" y="292"/>
                    <a:pt x="270" y="292"/>
                  </a:cubicBezTo>
                  <a:cubicBezTo>
                    <a:pt x="272" y="296"/>
                    <a:pt x="272" y="296"/>
                    <a:pt x="272" y="296"/>
                  </a:cubicBezTo>
                  <a:cubicBezTo>
                    <a:pt x="272" y="296"/>
                    <a:pt x="272" y="299"/>
                    <a:pt x="272" y="300"/>
                  </a:cubicBezTo>
                  <a:cubicBezTo>
                    <a:pt x="272" y="302"/>
                    <a:pt x="271" y="308"/>
                    <a:pt x="271" y="308"/>
                  </a:cubicBezTo>
                  <a:cubicBezTo>
                    <a:pt x="266" y="316"/>
                    <a:pt x="266" y="316"/>
                    <a:pt x="266" y="316"/>
                  </a:cubicBezTo>
                  <a:cubicBezTo>
                    <a:pt x="266" y="316"/>
                    <a:pt x="270" y="321"/>
                    <a:pt x="273" y="323"/>
                  </a:cubicBezTo>
                  <a:cubicBezTo>
                    <a:pt x="276" y="325"/>
                    <a:pt x="280" y="328"/>
                    <a:pt x="281" y="328"/>
                  </a:cubicBezTo>
                  <a:cubicBezTo>
                    <a:pt x="282" y="328"/>
                    <a:pt x="287" y="329"/>
                    <a:pt x="289" y="330"/>
                  </a:cubicBezTo>
                  <a:cubicBezTo>
                    <a:pt x="290" y="330"/>
                    <a:pt x="294" y="332"/>
                    <a:pt x="295" y="333"/>
                  </a:cubicBezTo>
                  <a:cubicBezTo>
                    <a:pt x="296" y="334"/>
                    <a:pt x="303" y="338"/>
                    <a:pt x="303" y="338"/>
                  </a:cubicBezTo>
                  <a:cubicBezTo>
                    <a:pt x="309" y="341"/>
                    <a:pt x="309" y="341"/>
                    <a:pt x="309" y="341"/>
                  </a:cubicBezTo>
                  <a:cubicBezTo>
                    <a:pt x="315" y="346"/>
                    <a:pt x="315" y="346"/>
                    <a:pt x="315" y="346"/>
                  </a:cubicBezTo>
                  <a:cubicBezTo>
                    <a:pt x="317" y="358"/>
                    <a:pt x="317" y="358"/>
                    <a:pt x="317" y="358"/>
                  </a:cubicBezTo>
                  <a:cubicBezTo>
                    <a:pt x="317" y="358"/>
                    <a:pt x="315" y="376"/>
                    <a:pt x="314" y="378"/>
                  </a:cubicBezTo>
                  <a:cubicBezTo>
                    <a:pt x="314" y="380"/>
                    <a:pt x="311" y="389"/>
                    <a:pt x="310" y="390"/>
                  </a:cubicBezTo>
                  <a:cubicBezTo>
                    <a:pt x="308" y="391"/>
                    <a:pt x="306" y="392"/>
                    <a:pt x="306" y="394"/>
                  </a:cubicBezTo>
                  <a:cubicBezTo>
                    <a:pt x="306" y="396"/>
                    <a:pt x="303" y="407"/>
                    <a:pt x="303" y="407"/>
                  </a:cubicBezTo>
                  <a:cubicBezTo>
                    <a:pt x="303" y="407"/>
                    <a:pt x="300" y="414"/>
                    <a:pt x="300" y="416"/>
                  </a:cubicBezTo>
                  <a:cubicBezTo>
                    <a:pt x="300" y="418"/>
                    <a:pt x="297" y="424"/>
                    <a:pt x="297" y="426"/>
                  </a:cubicBezTo>
                  <a:cubicBezTo>
                    <a:pt x="296" y="427"/>
                    <a:pt x="294" y="435"/>
                    <a:pt x="294" y="435"/>
                  </a:cubicBezTo>
                  <a:cubicBezTo>
                    <a:pt x="281" y="461"/>
                    <a:pt x="281" y="461"/>
                    <a:pt x="281" y="461"/>
                  </a:cubicBezTo>
                  <a:cubicBezTo>
                    <a:pt x="278" y="471"/>
                    <a:pt x="278" y="471"/>
                    <a:pt x="278" y="471"/>
                  </a:cubicBezTo>
                  <a:cubicBezTo>
                    <a:pt x="278" y="471"/>
                    <a:pt x="275" y="472"/>
                    <a:pt x="274" y="474"/>
                  </a:cubicBezTo>
                  <a:cubicBezTo>
                    <a:pt x="273" y="477"/>
                    <a:pt x="272" y="479"/>
                    <a:pt x="271" y="482"/>
                  </a:cubicBezTo>
                  <a:cubicBezTo>
                    <a:pt x="271" y="484"/>
                    <a:pt x="266" y="493"/>
                    <a:pt x="266" y="493"/>
                  </a:cubicBezTo>
                  <a:cubicBezTo>
                    <a:pt x="264" y="498"/>
                    <a:pt x="264" y="498"/>
                    <a:pt x="264" y="498"/>
                  </a:cubicBezTo>
                  <a:cubicBezTo>
                    <a:pt x="260" y="503"/>
                    <a:pt x="260" y="503"/>
                    <a:pt x="260" y="503"/>
                  </a:cubicBezTo>
                  <a:cubicBezTo>
                    <a:pt x="260" y="503"/>
                    <a:pt x="257" y="505"/>
                    <a:pt x="257" y="505"/>
                  </a:cubicBezTo>
                  <a:cubicBezTo>
                    <a:pt x="257" y="505"/>
                    <a:pt x="255" y="505"/>
                    <a:pt x="255" y="505"/>
                  </a:cubicBezTo>
                  <a:cubicBezTo>
                    <a:pt x="250" y="505"/>
                    <a:pt x="250" y="505"/>
                    <a:pt x="250" y="505"/>
                  </a:cubicBezTo>
                  <a:cubicBezTo>
                    <a:pt x="247" y="503"/>
                    <a:pt x="247" y="503"/>
                    <a:pt x="247" y="503"/>
                  </a:cubicBezTo>
                  <a:cubicBezTo>
                    <a:pt x="247" y="503"/>
                    <a:pt x="244" y="505"/>
                    <a:pt x="244" y="505"/>
                  </a:cubicBezTo>
                  <a:cubicBezTo>
                    <a:pt x="244" y="506"/>
                    <a:pt x="242" y="507"/>
                    <a:pt x="242" y="508"/>
                  </a:cubicBezTo>
                  <a:cubicBezTo>
                    <a:pt x="242" y="508"/>
                    <a:pt x="241" y="510"/>
                    <a:pt x="240" y="510"/>
                  </a:cubicBezTo>
                  <a:cubicBezTo>
                    <a:pt x="239" y="511"/>
                    <a:pt x="238" y="512"/>
                    <a:pt x="237" y="512"/>
                  </a:cubicBezTo>
                  <a:cubicBezTo>
                    <a:pt x="237" y="513"/>
                    <a:pt x="235" y="513"/>
                    <a:pt x="235" y="513"/>
                  </a:cubicBezTo>
                  <a:cubicBezTo>
                    <a:pt x="235" y="513"/>
                    <a:pt x="235" y="514"/>
                    <a:pt x="234" y="515"/>
                  </a:cubicBezTo>
                  <a:cubicBezTo>
                    <a:pt x="234" y="515"/>
                    <a:pt x="231" y="515"/>
                    <a:pt x="230" y="514"/>
                  </a:cubicBezTo>
                  <a:cubicBezTo>
                    <a:pt x="229" y="513"/>
                    <a:pt x="227" y="512"/>
                    <a:pt x="228" y="512"/>
                  </a:cubicBezTo>
                  <a:cubicBezTo>
                    <a:pt x="228" y="513"/>
                    <a:pt x="227" y="515"/>
                    <a:pt x="227" y="515"/>
                  </a:cubicBezTo>
                  <a:cubicBezTo>
                    <a:pt x="227" y="516"/>
                    <a:pt x="225" y="519"/>
                    <a:pt x="224" y="519"/>
                  </a:cubicBezTo>
                  <a:cubicBezTo>
                    <a:pt x="223" y="519"/>
                    <a:pt x="221" y="518"/>
                    <a:pt x="220" y="517"/>
                  </a:cubicBezTo>
                  <a:cubicBezTo>
                    <a:pt x="219" y="517"/>
                    <a:pt x="218" y="517"/>
                    <a:pt x="218" y="517"/>
                  </a:cubicBezTo>
                  <a:cubicBezTo>
                    <a:pt x="218" y="518"/>
                    <a:pt x="218" y="521"/>
                    <a:pt x="218" y="522"/>
                  </a:cubicBezTo>
                  <a:cubicBezTo>
                    <a:pt x="218" y="522"/>
                    <a:pt x="218" y="523"/>
                    <a:pt x="218" y="524"/>
                  </a:cubicBezTo>
                  <a:cubicBezTo>
                    <a:pt x="217" y="524"/>
                    <a:pt x="215" y="525"/>
                    <a:pt x="215" y="525"/>
                  </a:cubicBezTo>
                  <a:cubicBezTo>
                    <a:pt x="215" y="525"/>
                    <a:pt x="216" y="527"/>
                    <a:pt x="215" y="527"/>
                  </a:cubicBezTo>
                  <a:cubicBezTo>
                    <a:pt x="214" y="528"/>
                    <a:pt x="213" y="529"/>
                    <a:pt x="212" y="529"/>
                  </a:cubicBezTo>
                  <a:cubicBezTo>
                    <a:pt x="212" y="528"/>
                    <a:pt x="210" y="527"/>
                    <a:pt x="210" y="527"/>
                  </a:cubicBezTo>
                  <a:cubicBezTo>
                    <a:pt x="209" y="528"/>
                    <a:pt x="208" y="530"/>
                    <a:pt x="208" y="530"/>
                  </a:cubicBezTo>
                  <a:cubicBezTo>
                    <a:pt x="208" y="531"/>
                    <a:pt x="207" y="532"/>
                    <a:pt x="207" y="532"/>
                  </a:cubicBezTo>
                  <a:cubicBezTo>
                    <a:pt x="207" y="532"/>
                    <a:pt x="200" y="540"/>
                    <a:pt x="200" y="540"/>
                  </a:cubicBezTo>
                  <a:cubicBezTo>
                    <a:pt x="199" y="540"/>
                    <a:pt x="197" y="537"/>
                    <a:pt x="197" y="537"/>
                  </a:cubicBezTo>
                  <a:cubicBezTo>
                    <a:pt x="197" y="538"/>
                    <a:pt x="197" y="540"/>
                    <a:pt x="197" y="540"/>
                  </a:cubicBezTo>
                  <a:cubicBezTo>
                    <a:pt x="196" y="541"/>
                    <a:pt x="194" y="542"/>
                    <a:pt x="194" y="542"/>
                  </a:cubicBezTo>
                  <a:cubicBezTo>
                    <a:pt x="194" y="543"/>
                    <a:pt x="193" y="542"/>
                    <a:pt x="192" y="542"/>
                  </a:cubicBezTo>
                  <a:cubicBezTo>
                    <a:pt x="192" y="543"/>
                    <a:pt x="191" y="543"/>
                    <a:pt x="191" y="544"/>
                  </a:cubicBezTo>
                  <a:cubicBezTo>
                    <a:pt x="191" y="545"/>
                    <a:pt x="190" y="546"/>
                    <a:pt x="190" y="546"/>
                  </a:cubicBezTo>
                  <a:cubicBezTo>
                    <a:pt x="190" y="546"/>
                    <a:pt x="188" y="547"/>
                    <a:pt x="188" y="548"/>
                  </a:cubicBezTo>
                  <a:cubicBezTo>
                    <a:pt x="187" y="549"/>
                    <a:pt x="185" y="550"/>
                    <a:pt x="185" y="550"/>
                  </a:cubicBezTo>
                  <a:cubicBezTo>
                    <a:pt x="185" y="550"/>
                    <a:pt x="184" y="551"/>
                    <a:pt x="183" y="550"/>
                  </a:cubicBezTo>
                  <a:cubicBezTo>
                    <a:pt x="182" y="550"/>
                    <a:pt x="180" y="547"/>
                    <a:pt x="180" y="547"/>
                  </a:cubicBezTo>
                  <a:cubicBezTo>
                    <a:pt x="180" y="547"/>
                    <a:pt x="178" y="547"/>
                    <a:pt x="178" y="548"/>
                  </a:cubicBezTo>
                  <a:cubicBezTo>
                    <a:pt x="177" y="549"/>
                    <a:pt x="177" y="550"/>
                    <a:pt x="176" y="550"/>
                  </a:cubicBezTo>
                  <a:cubicBezTo>
                    <a:pt x="175" y="551"/>
                    <a:pt x="174" y="551"/>
                    <a:pt x="173" y="551"/>
                  </a:cubicBezTo>
                  <a:cubicBezTo>
                    <a:pt x="172" y="552"/>
                    <a:pt x="170" y="552"/>
                    <a:pt x="170" y="553"/>
                  </a:cubicBezTo>
                  <a:cubicBezTo>
                    <a:pt x="169" y="553"/>
                    <a:pt x="168" y="555"/>
                    <a:pt x="168" y="556"/>
                  </a:cubicBezTo>
                  <a:cubicBezTo>
                    <a:pt x="168" y="557"/>
                    <a:pt x="170" y="557"/>
                    <a:pt x="168" y="557"/>
                  </a:cubicBezTo>
                  <a:cubicBezTo>
                    <a:pt x="166" y="558"/>
                    <a:pt x="163" y="558"/>
                    <a:pt x="163" y="558"/>
                  </a:cubicBezTo>
                  <a:cubicBezTo>
                    <a:pt x="163" y="558"/>
                    <a:pt x="161" y="559"/>
                    <a:pt x="161" y="560"/>
                  </a:cubicBezTo>
                  <a:cubicBezTo>
                    <a:pt x="160" y="561"/>
                    <a:pt x="161" y="561"/>
                    <a:pt x="159" y="562"/>
                  </a:cubicBezTo>
                  <a:cubicBezTo>
                    <a:pt x="158" y="562"/>
                    <a:pt x="157" y="563"/>
                    <a:pt x="157" y="563"/>
                  </a:cubicBezTo>
                  <a:cubicBezTo>
                    <a:pt x="155" y="561"/>
                    <a:pt x="155" y="561"/>
                    <a:pt x="155" y="561"/>
                  </a:cubicBezTo>
                  <a:cubicBezTo>
                    <a:pt x="156" y="559"/>
                    <a:pt x="156" y="559"/>
                    <a:pt x="156" y="559"/>
                  </a:cubicBezTo>
                  <a:cubicBezTo>
                    <a:pt x="156" y="559"/>
                    <a:pt x="155" y="557"/>
                    <a:pt x="155" y="558"/>
                  </a:cubicBezTo>
                  <a:cubicBezTo>
                    <a:pt x="154" y="560"/>
                    <a:pt x="155" y="561"/>
                    <a:pt x="155" y="561"/>
                  </a:cubicBezTo>
                  <a:cubicBezTo>
                    <a:pt x="155" y="561"/>
                    <a:pt x="154" y="561"/>
                    <a:pt x="154" y="562"/>
                  </a:cubicBezTo>
                  <a:cubicBezTo>
                    <a:pt x="153" y="563"/>
                    <a:pt x="154" y="563"/>
                    <a:pt x="153" y="564"/>
                  </a:cubicBezTo>
                  <a:cubicBezTo>
                    <a:pt x="153" y="565"/>
                    <a:pt x="152" y="566"/>
                    <a:pt x="151" y="566"/>
                  </a:cubicBezTo>
                  <a:cubicBezTo>
                    <a:pt x="151" y="567"/>
                    <a:pt x="150" y="567"/>
                    <a:pt x="149" y="567"/>
                  </a:cubicBezTo>
                  <a:cubicBezTo>
                    <a:pt x="149" y="567"/>
                    <a:pt x="147" y="567"/>
                    <a:pt x="147" y="567"/>
                  </a:cubicBezTo>
                  <a:cubicBezTo>
                    <a:pt x="146" y="567"/>
                    <a:pt x="145" y="566"/>
                    <a:pt x="146" y="566"/>
                  </a:cubicBezTo>
                  <a:cubicBezTo>
                    <a:pt x="146" y="566"/>
                    <a:pt x="148" y="565"/>
                    <a:pt x="148" y="565"/>
                  </a:cubicBezTo>
                  <a:cubicBezTo>
                    <a:pt x="148" y="565"/>
                    <a:pt x="149" y="564"/>
                    <a:pt x="148" y="564"/>
                  </a:cubicBezTo>
                  <a:cubicBezTo>
                    <a:pt x="147" y="563"/>
                    <a:pt x="146" y="562"/>
                    <a:pt x="146" y="562"/>
                  </a:cubicBezTo>
                  <a:cubicBezTo>
                    <a:pt x="146" y="562"/>
                    <a:pt x="147" y="563"/>
                    <a:pt x="144" y="563"/>
                  </a:cubicBezTo>
                  <a:cubicBezTo>
                    <a:pt x="142" y="564"/>
                    <a:pt x="141" y="564"/>
                    <a:pt x="141" y="563"/>
                  </a:cubicBezTo>
                  <a:cubicBezTo>
                    <a:pt x="141" y="563"/>
                    <a:pt x="139" y="563"/>
                    <a:pt x="140" y="562"/>
                  </a:cubicBezTo>
                  <a:cubicBezTo>
                    <a:pt x="142" y="561"/>
                    <a:pt x="142" y="560"/>
                    <a:pt x="143" y="560"/>
                  </a:cubicBezTo>
                  <a:cubicBezTo>
                    <a:pt x="144" y="560"/>
                    <a:pt x="144" y="558"/>
                    <a:pt x="144" y="557"/>
                  </a:cubicBezTo>
                  <a:cubicBezTo>
                    <a:pt x="144" y="557"/>
                    <a:pt x="146" y="559"/>
                    <a:pt x="143" y="557"/>
                  </a:cubicBezTo>
                  <a:cubicBezTo>
                    <a:pt x="141" y="554"/>
                    <a:pt x="141" y="554"/>
                    <a:pt x="141" y="554"/>
                  </a:cubicBezTo>
                  <a:cubicBezTo>
                    <a:pt x="141" y="554"/>
                    <a:pt x="140" y="555"/>
                    <a:pt x="140" y="556"/>
                  </a:cubicBezTo>
                  <a:cubicBezTo>
                    <a:pt x="141" y="557"/>
                    <a:pt x="143" y="558"/>
                    <a:pt x="140" y="559"/>
                  </a:cubicBezTo>
                  <a:cubicBezTo>
                    <a:pt x="137" y="559"/>
                    <a:pt x="137" y="559"/>
                    <a:pt x="137" y="559"/>
                  </a:cubicBezTo>
                  <a:cubicBezTo>
                    <a:pt x="136" y="560"/>
                    <a:pt x="133" y="560"/>
                    <a:pt x="133" y="560"/>
                  </a:cubicBezTo>
                  <a:cubicBezTo>
                    <a:pt x="133" y="560"/>
                    <a:pt x="131" y="560"/>
                    <a:pt x="132" y="561"/>
                  </a:cubicBezTo>
                  <a:cubicBezTo>
                    <a:pt x="132" y="562"/>
                    <a:pt x="134" y="563"/>
                    <a:pt x="134" y="563"/>
                  </a:cubicBezTo>
                  <a:cubicBezTo>
                    <a:pt x="134" y="563"/>
                    <a:pt x="134" y="564"/>
                    <a:pt x="132" y="564"/>
                  </a:cubicBezTo>
                  <a:cubicBezTo>
                    <a:pt x="131" y="565"/>
                    <a:pt x="129" y="565"/>
                    <a:pt x="129" y="565"/>
                  </a:cubicBezTo>
                  <a:cubicBezTo>
                    <a:pt x="128" y="566"/>
                    <a:pt x="128" y="566"/>
                    <a:pt x="128" y="566"/>
                  </a:cubicBezTo>
                  <a:cubicBezTo>
                    <a:pt x="128" y="566"/>
                    <a:pt x="127" y="566"/>
                    <a:pt x="127" y="565"/>
                  </a:cubicBezTo>
                  <a:cubicBezTo>
                    <a:pt x="127" y="565"/>
                    <a:pt x="128" y="564"/>
                    <a:pt x="128" y="563"/>
                  </a:cubicBezTo>
                  <a:cubicBezTo>
                    <a:pt x="128" y="562"/>
                    <a:pt x="129" y="563"/>
                    <a:pt x="128" y="562"/>
                  </a:cubicBezTo>
                  <a:cubicBezTo>
                    <a:pt x="127" y="560"/>
                    <a:pt x="126" y="560"/>
                    <a:pt x="126" y="559"/>
                  </a:cubicBezTo>
                  <a:cubicBezTo>
                    <a:pt x="127" y="558"/>
                    <a:pt x="129" y="557"/>
                    <a:pt x="129" y="557"/>
                  </a:cubicBezTo>
                  <a:cubicBezTo>
                    <a:pt x="129" y="556"/>
                    <a:pt x="129" y="555"/>
                    <a:pt x="129" y="555"/>
                  </a:cubicBezTo>
                  <a:cubicBezTo>
                    <a:pt x="129" y="555"/>
                    <a:pt x="128" y="555"/>
                    <a:pt x="129" y="554"/>
                  </a:cubicBezTo>
                  <a:cubicBezTo>
                    <a:pt x="130" y="552"/>
                    <a:pt x="131" y="551"/>
                    <a:pt x="131" y="551"/>
                  </a:cubicBezTo>
                  <a:cubicBezTo>
                    <a:pt x="131" y="550"/>
                    <a:pt x="130" y="549"/>
                    <a:pt x="129" y="549"/>
                  </a:cubicBezTo>
                  <a:cubicBezTo>
                    <a:pt x="129" y="549"/>
                    <a:pt x="128" y="551"/>
                    <a:pt x="128" y="552"/>
                  </a:cubicBezTo>
                  <a:cubicBezTo>
                    <a:pt x="128" y="552"/>
                    <a:pt x="129" y="554"/>
                    <a:pt x="126" y="553"/>
                  </a:cubicBezTo>
                  <a:cubicBezTo>
                    <a:pt x="123" y="553"/>
                    <a:pt x="121" y="553"/>
                    <a:pt x="120" y="552"/>
                  </a:cubicBezTo>
                  <a:cubicBezTo>
                    <a:pt x="120" y="551"/>
                    <a:pt x="118" y="550"/>
                    <a:pt x="121" y="550"/>
                  </a:cubicBezTo>
                  <a:cubicBezTo>
                    <a:pt x="124" y="549"/>
                    <a:pt x="124" y="549"/>
                    <a:pt x="124" y="549"/>
                  </a:cubicBezTo>
                  <a:cubicBezTo>
                    <a:pt x="125" y="548"/>
                    <a:pt x="125" y="547"/>
                    <a:pt x="125" y="546"/>
                  </a:cubicBezTo>
                  <a:cubicBezTo>
                    <a:pt x="124" y="546"/>
                    <a:pt x="123" y="544"/>
                    <a:pt x="123" y="545"/>
                  </a:cubicBezTo>
                  <a:cubicBezTo>
                    <a:pt x="122" y="547"/>
                    <a:pt x="122" y="548"/>
                    <a:pt x="122" y="548"/>
                  </a:cubicBezTo>
                  <a:cubicBezTo>
                    <a:pt x="122" y="548"/>
                    <a:pt x="118" y="548"/>
                    <a:pt x="118" y="548"/>
                  </a:cubicBezTo>
                  <a:cubicBezTo>
                    <a:pt x="118" y="548"/>
                    <a:pt x="117" y="547"/>
                    <a:pt x="117" y="546"/>
                  </a:cubicBezTo>
                  <a:cubicBezTo>
                    <a:pt x="117" y="546"/>
                    <a:pt x="118" y="542"/>
                    <a:pt x="118" y="542"/>
                  </a:cubicBezTo>
                  <a:cubicBezTo>
                    <a:pt x="118" y="542"/>
                    <a:pt x="120" y="541"/>
                    <a:pt x="119" y="541"/>
                  </a:cubicBezTo>
                  <a:cubicBezTo>
                    <a:pt x="119" y="541"/>
                    <a:pt x="117" y="540"/>
                    <a:pt x="117" y="541"/>
                  </a:cubicBezTo>
                  <a:cubicBezTo>
                    <a:pt x="116" y="541"/>
                    <a:pt x="117" y="542"/>
                    <a:pt x="117" y="543"/>
                  </a:cubicBezTo>
                  <a:cubicBezTo>
                    <a:pt x="117" y="544"/>
                    <a:pt x="117" y="545"/>
                    <a:pt x="116" y="545"/>
                  </a:cubicBezTo>
                  <a:cubicBezTo>
                    <a:pt x="115" y="546"/>
                    <a:pt x="111" y="546"/>
                    <a:pt x="111" y="546"/>
                  </a:cubicBezTo>
                  <a:cubicBezTo>
                    <a:pt x="111" y="545"/>
                    <a:pt x="110" y="545"/>
                    <a:pt x="111" y="544"/>
                  </a:cubicBezTo>
                  <a:cubicBezTo>
                    <a:pt x="111" y="543"/>
                    <a:pt x="111" y="542"/>
                    <a:pt x="111" y="542"/>
                  </a:cubicBezTo>
                  <a:cubicBezTo>
                    <a:pt x="111" y="542"/>
                    <a:pt x="110" y="540"/>
                    <a:pt x="110" y="541"/>
                  </a:cubicBezTo>
                  <a:cubicBezTo>
                    <a:pt x="109" y="541"/>
                    <a:pt x="108" y="541"/>
                    <a:pt x="108" y="541"/>
                  </a:cubicBezTo>
                  <a:cubicBezTo>
                    <a:pt x="108" y="539"/>
                    <a:pt x="108" y="539"/>
                    <a:pt x="108" y="539"/>
                  </a:cubicBezTo>
                  <a:cubicBezTo>
                    <a:pt x="106" y="539"/>
                    <a:pt x="106" y="539"/>
                    <a:pt x="106" y="539"/>
                  </a:cubicBezTo>
                  <a:cubicBezTo>
                    <a:pt x="105" y="539"/>
                    <a:pt x="105" y="539"/>
                    <a:pt x="105" y="539"/>
                  </a:cubicBezTo>
                  <a:cubicBezTo>
                    <a:pt x="105" y="539"/>
                    <a:pt x="104" y="538"/>
                    <a:pt x="104" y="538"/>
                  </a:cubicBezTo>
                  <a:cubicBezTo>
                    <a:pt x="103" y="538"/>
                    <a:pt x="103" y="538"/>
                    <a:pt x="103" y="539"/>
                  </a:cubicBezTo>
                  <a:cubicBezTo>
                    <a:pt x="102" y="539"/>
                    <a:pt x="99" y="540"/>
                    <a:pt x="99" y="540"/>
                  </a:cubicBezTo>
                  <a:cubicBezTo>
                    <a:pt x="99" y="540"/>
                    <a:pt x="99" y="538"/>
                    <a:pt x="98" y="540"/>
                  </a:cubicBezTo>
                  <a:cubicBezTo>
                    <a:pt x="98" y="541"/>
                    <a:pt x="93" y="541"/>
                    <a:pt x="93" y="541"/>
                  </a:cubicBezTo>
                  <a:cubicBezTo>
                    <a:pt x="93" y="541"/>
                    <a:pt x="92" y="539"/>
                    <a:pt x="92" y="538"/>
                  </a:cubicBezTo>
                  <a:cubicBezTo>
                    <a:pt x="92" y="538"/>
                    <a:pt x="93" y="535"/>
                    <a:pt x="93" y="535"/>
                  </a:cubicBezTo>
                  <a:cubicBezTo>
                    <a:pt x="94" y="534"/>
                    <a:pt x="94" y="534"/>
                    <a:pt x="94" y="534"/>
                  </a:cubicBezTo>
                  <a:cubicBezTo>
                    <a:pt x="93" y="533"/>
                    <a:pt x="93" y="533"/>
                    <a:pt x="93" y="533"/>
                  </a:cubicBezTo>
                  <a:cubicBezTo>
                    <a:pt x="93" y="533"/>
                    <a:pt x="90" y="533"/>
                    <a:pt x="91" y="533"/>
                  </a:cubicBezTo>
                  <a:cubicBezTo>
                    <a:pt x="91" y="532"/>
                    <a:pt x="93" y="530"/>
                    <a:pt x="93" y="530"/>
                  </a:cubicBezTo>
                  <a:cubicBezTo>
                    <a:pt x="93" y="530"/>
                    <a:pt x="94" y="529"/>
                    <a:pt x="94" y="529"/>
                  </a:cubicBezTo>
                  <a:cubicBezTo>
                    <a:pt x="95" y="528"/>
                    <a:pt x="97" y="528"/>
                    <a:pt x="96" y="527"/>
                  </a:cubicBezTo>
                  <a:cubicBezTo>
                    <a:pt x="95" y="527"/>
                    <a:pt x="94" y="526"/>
                    <a:pt x="94" y="526"/>
                  </a:cubicBezTo>
                  <a:cubicBezTo>
                    <a:pt x="94" y="526"/>
                    <a:pt x="93" y="526"/>
                    <a:pt x="93" y="525"/>
                  </a:cubicBezTo>
                  <a:cubicBezTo>
                    <a:pt x="93" y="525"/>
                    <a:pt x="94" y="523"/>
                    <a:pt x="94" y="522"/>
                  </a:cubicBezTo>
                  <a:cubicBezTo>
                    <a:pt x="94" y="521"/>
                    <a:pt x="93" y="520"/>
                    <a:pt x="93" y="520"/>
                  </a:cubicBezTo>
                  <a:cubicBezTo>
                    <a:pt x="92" y="520"/>
                    <a:pt x="93" y="521"/>
                    <a:pt x="91" y="521"/>
                  </a:cubicBezTo>
                  <a:cubicBezTo>
                    <a:pt x="90" y="522"/>
                    <a:pt x="87" y="524"/>
                    <a:pt x="87" y="524"/>
                  </a:cubicBezTo>
                  <a:cubicBezTo>
                    <a:pt x="87" y="523"/>
                    <a:pt x="87" y="522"/>
                    <a:pt x="87" y="521"/>
                  </a:cubicBezTo>
                  <a:cubicBezTo>
                    <a:pt x="88" y="520"/>
                    <a:pt x="91" y="520"/>
                    <a:pt x="92" y="519"/>
                  </a:cubicBezTo>
                  <a:cubicBezTo>
                    <a:pt x="92" y="518"/>
                    <a:pt x="90" y="515"/>
                    <a:pt x="90" y="515"/>
                  </a:cubicBezTo>
                  <a:cubicBezTo>
                    <a:pt x="90" y="515"/>
                    <a:pt x="92" y="516"/>
                    <a:pt x="91" y="514"/>
                  </a:cubicBezTo>
                  <a:cubicBezTo>
                    <a:pt x="89" y="513"/>
                    <a:pt x="89" y="513"/>
                    <a:pt x="89" y="513"/>
                  </a:cubicBezTo>
                  <a:cubicBezTo>
                    <a:pt x="89" y="512"/>
                    <a:pt x="89" y="511"/>
                    <a:pt x="90" y="510"/>
                  </a:cubicBezTo>
                  <a:cubicBezTo>
                    <a:pt x="91" y="508"/>
                    <a:pt x="92" y="508"/>
                    <a:pt x="92" y="507"/>
                  </a:cubicBezTo>
                  <a:cubicBezTo>
                    <a:pt x="92" y="507"/>
                    <a:pt x="89" y="506"/>
                    <a:pt x="89" y="505"/>
                  </a:cubicBezTo>
                  <a:cubicBezTo>
                    <a:pt x="89" y="504"/>
                    <a:pt x="87" y="504"/>
                    <a:pt x="89" y="502"/>
                  </a:cubicBezTo>
                  <a:cubicBezTo>
                    <a:pt x="90" y="501"/>
                    <a:pt x="91" y="501"/>
                    <a:pt x="91" y="501"/>
                  </a:cubicBezTo>
                  <a:cubicBezTo>
                    <a:pt x="91" y="501"/>
                    <a:pt x="91" y="498"/>
                    <a:pt x="91" y="497"/>
                  </a:cubicBezTo>
                  <a:cubicBezTo>
                    <a:pt x="91" y="496"/>
                    <a:pt x="92" y="496"/>
                    <a:pt x="92" y="495"/>
                  </a:cubicBezTo>
                  <a:cubicBezTo>
                    <a:pt x="91" y="494"/>
                    <a:pt x="90" y="494"/>
                    <a:pt x="89" y="492"/>
                  </a:cubicBezTo>
                  <a:cubicBezTo>
                    <a:pt x="89" y="491"/>
                    <a:pt x="89" y="491"/>
                    <a:pt x="89" y="490"/>
                  </a:cubicBezTo>
                  <a:cubicBezTo>
                    <a:pt x="90" y="490"/>
                    <a:pt x="91" y="489"/>
                    <a:pt x="90" y="489"/>
                  </a:cubicBezTo>
                  <a:cubicBezTo>
                    <a:pt x="90" y="488"/>
                    <a:pt x="90" y="487"/>
                    <a:pt x="90" y="487"/>
                  </a:cubicBezTo>
                  <a:cubicBezTo>
                    <a:pt x="90" y="487"/>
                    <a:pt x="90" y="487"/>
                    <a:pt x="89" y="485"/>
                  </a:cubicBezTo>
                  <a:cubicBezTo>
                    <a:pt x="88" y="484"/>
                    <a:pt x="88" y="482"/>
                    <a:pt x="88" y="481"/>
                  </a:cubicBezTo>
                  <a:cubicBezTo>
                    <a:pt x="88" y="480"/>
                    <a:pt x="89" y="476"/>
                    <a:pt x="89" y="476"/>
                  </a:cubicBezTo>
                  <a:cubicBezTo>
                    <a:pt x="89" y="476"/>
                    <a:pt x="89" y="473"/>
                    <a:pt x="87" y="472"/>
                  </a:cubicBezTo>
                  <a:cubicBezTo>
                    <a:pt x="86" y="470"/>
                    <a:pt x="84" y="469"/>
                    <a:pt x="84" y="469"/>
                  </a:cubicBezTo>
                  <a:cubicBezTo>
                    <a:pt x="84" y="469"/>
                    <a:pt x="84" y="467"/>
                    <a:pt x="84" y="466"/>
                  </a:cubicBezTo>
                  <a:cubicBezTo>
                    <a:pt x="84" y="466"/>
                    <a:pt x="82" y="465"/>
                    <a:pt x="82" y="464"/>
                  </a:cubicBezTo>
                  <a:cubicBezTo>
                    <a:pt x="82" y="463"/>
                    <a:pt x="81" y="461"/>
                    <a:pt x="81" y="461"/>
                  </a:cubicBezTo>
                  <a:cubicBezTo>
                    <a:pt x="81" y="461"/>
                    <a:pt x="80" y="461"/>
                    <a:pt x="81" y="459"/>
                  </a:cubicBezTo>
                  <a:cubicBezTo>
                    <a:pt x="81" y="456"/>
                    <a:pt x="81" y="455"/>
                    <a:pt x="81" y="454"/>
                  </a:cubicBezTo>
                  <a:cubicBezTo>
                    <a:pt x="80" y="453"/>
                    <a:pt x="79" y="451"/>
                    <a:pt x="79" y="450"/>
                  </a:cubicBezTo>
                  <a:cubicBezTo>
                    <a:pt x="79" y="449"/>
                    <a:pt x="79" y="447"/>
                    <a:pt x="79" y="447"/>
                  </a:cubicBezTo>
                  <a:cubicBezTo>
                    <a:pt x="79" y="447"/>
                    <a:pt x="79" y="446"/>
                    <a:pt x="78" y="445"/>
                  </a:cubicBezTo>
                  <a:cubicBezTo>
                    <a:pt x="77" y="444"/>
                    <a:pt x="74" y="439"/>
                    <a:pt x="74" y="439"/>
                  </a:cubicBezTo>
                  <a:cubicBezTo>
                    <a:pt x="74" y="439"/>
                    <a:pt x="73" y="439"/>
                    <a:pt x="73" y="437"/>
                  </a:cubicBezTo>
                  <a:cubicBezTo>
                    <a:pt x="72" y="435"/>
                    <a:pt x="72" y="433"/>
                    <a:pt x="72" y="433"/>
                  </a:cubicBezTo>
                  <a:cubicBezTo>
                    <a:pt x="72" y="433"/>
                    <a:pt x="72" y="430"/>
                    <a:pt x="72" y="430"/>
                  </a:cubicBezTo>
                  <a:cubicBezTo>
                    <a:pt x="69" y="427"/>
                    <a:pt x="69" y="427"/>
                    <a:pt x="69" y="427"/>
                  </a:cubicBezTo>
                  <a:cubicBezTo>
                    <a:pt x="70" y="423"/>
                    <a:pt x="70" y="423"/>
                    <a:pt x="70" y="423"/>
                  </a:cubicBezTo>
                  <a:cubicBezTo>
                    <a:pt x="70" y="419"/>
                    <a:pt x="70" y="419"/>
                    <a:pt x="70" y="419"/>
                  </a:cubicBezTo>
                  <a:cubicBezTo>
                    <a:pt x="70" y="419"/>
                    <a:pt x="70" y="414"/>
                    <a:pt x="71" y="414"/>
                  </a:cubicBezTo>
                  <a:cubicBezTo>
                    <a:pt x="72" y="414"/>
                    <a:pt x="74" y="411"/>
                    <a:pt x="74" y="411"/>
                  </a:cubicBezTo>
                  <a:cubicBezTo>
                    <a:pt x="74" y="411"/>
                    <a:pt x="76" y="408"/>
                    <a:pt x="75" y="407"/>
                  </a:cubicBezTo>
                  <a:cubicBezTo>
                    <a:pt x="75" y="406"/>
                    <a:pt x="74" y="402"/>
                    <a:pt x="74" y="402"/>
                  </a:cubicBezTo>
                  <a:cubicBezTo>
                    <a:pt x="74" y="402"/>
                    <a:pt x="76" y="399"/>
                    <a:pt x="75" y="399"/>
                  </a:cubicBezTo>
                  <a:cubicBezTo>
                    <a:pt x="75" y="398"/>
                    <a:pt x="73" y="394"/>
                    <a:pt x="73" y="394"/>
                  </a:cubicBezTo>
                  <a:cubicBezTo>
                    <a:pt x="70" y="397"/>
                    <a:pt x="70" y="397"/>
                    <a:pt x="70" y="397"/>
                  </a:cubicBezTo>
                  <a:cubicBezTo>
                    <a:pt x="68" y="396"/>
                    <a:pt x="68" y="396"/>
                    <a:pt x="68" y="396"/>
                  </a:cubicBezTo>
                  <a:cubicBezTo>
                    <a:pt x="69" y="392"/>
                    <a:pt x="69" y="392"/>
                    <a:pt x="69" y="392"/>
                  </a:cubicBezTo>
                  <a:cubicBezTo>
                    <a:pt x="69" y="392"/>
                    <a:pt x="67" y="390"/>
                    <a:pt x="67" y="389"/>
                  </a:cubicBezTo>
                  <a:cubicBezTo>
                    <a:pt x="67" y="388"/>
                    <a:pt x="69" y="386"/>
                    <a:pt x="69" y="386"/>
                  </a:cubicBezTo>
                  <a:cubicBezTo>
                    <a:pt x="69" y="386"/>
                    <a:pt x="71" y="390"/>
                    <a:pt x="71" y="391"/>
                  </a:cubicBezTo>
                  <a:cubicBezTo>
                    <a:pt x="71" y="392"/>
                    <a:pt x="73" y="393"/>
                    <a:pt x="73" y="393"/>
                  </a:cubicBezTo>
                  <a:cubicBezTo>
                    <a:pt x="74" y="392"/>
                    <a:pt x="74" y="390"/>
                    <a:pt x="75" y="390"/>
                  </a:cubicBezTo>
                  <a:cubicBezTo>
                    <a:pt x="76" y="390"/>
                    <a:pt x="77" y="391"/>
                    <a:pt x="77" y="392"/>
                  </a:cubicBezTo>
                  <a:cubicBezTo>
                    <a:pt x="77" y="392"/>
                    <a:pt x="81" y="391"/>
                    <a:pt x="81" y="391"/>
                  </a:cubicBezTo>
                  <a:cubicBezTo>
                    <a:pt x="81" y="391"/>
                    <a:pt x="80" y="390"/>
                    <a:pt x="83" y="390"/>
                  </a:cubicBezTo>
                  <a:cubicBezTo>
                    <a:pt x="86" y="391"/>
                    <a:pt x="86" y="390"/>
                    <a:pt x="86" y="388"/>
                  </a:cubicBezTo>
                  <a:cubicBezTo>
                    <a:pt x="86" y="387"/>
                    <a:pt x="83" y="383"/>
                    <a:pt x="85" y="383"/>
                  </a:cubicBezTo>
                  <a:cubicBezTo>
                    <a:pt x="88" y="383"/>
                    <a:pt x="89" y="384"/>
                    <a:pt x="89" y="384"/>
                  </a:cubicBezTo>
                  <a:cubicBezTo>
                    <a:pt x="89" y="384"/>
                    <a:pt x="89" y="385"/>
                    <a:pt x="89" y="386"/>
                  </a:cubicBezTo>
                  <a:cubicBezTo>
                    <a:pt x="89" y="388"/>
                    <a:pt x="92" y="390"/>
                    <a:pt x="92" y="388"/>
                  </a:cubicBezTo>
                  <a:cubicBezTo>
                    <a:pt x="93" y="386"/>
                    <a:pt x="93" y="387"/>
                    <a:pt x="93" y="385"/>
                  </a:cubicBezTo>
                  <a:cubicBezTo>
                    <a:pt x="93" y="383"/>
                    <a:pt x="91" y="383"/>
                    <a:pt x="90" y="381"/>
                  </a:cubicBezTo>
                  <a:cubicBezTo>
                    <a:pt x="90" y="380"/>
                    <a:pt x="89" y="382"/>
                    <a:pt x="89" y="379"/>
                  </a:cubicBezTo>
                  <a:cubicBezTo>
                    <a:pt x="90" y="376"/>
                    <a:pt x="90" y="375"/>
                    <a:pt x="91" y="375"/>
                  </a:cubicBezTo>
                  <a:cubicBezTo>
                    <a:pt x="93" y="374"/>
                    <a:pt x="91" y="375"/>
                    <a:pt x="93" y="374"/>
                  </a:cubicBezTo>
                  <a:cubicBezTo>
                    <a:pt x="95" y="374"/>
                    <a:pt x="96" y="372"/>
                    <a:pt x="95" y="369"/>
                  </a:cubicBezTo>
                  <a:cubicBezTo>
                    <a:pt x="95" y="367"/>
                    <a:pt x="94" y="366"/>
                    <a:pt x="95" y="365"/>
                  </a:cubicBezTo>
                  <a:cubicBezTo>
                    <a:pt x="97" y="364"/>
                    <a:pt x="96" y="363"/>
                    <a:pt x="98" y="364"/>
                  </a:cubicBezTo>
                  <a:cubicBezTo>
                    <a:pt x="100" y="365"/>
                    <a:pt x="99" y="365"/>
                    <a:pt x="101" y="365"/>
                  </a:cubicBezTo>
                  <a:cubicBezTo>
                    <a:pt x="102" y="364"/>
                    <a:pt x="102" y="359"/>
                    <a:pt x="102" y="359"/>
                  </a:cubicBezTo>
                  <a:cubicBezTo>
                    <a:pt x="101" y="360"/>
                    <a:pt x="99" y="358"/>
                    <a:pt x="99" y="358"/>
                  </a:cubicBezTo>
                  <a:cubicBezTo>
                    <a:pt x="98" y="358"/>
                    <a:pt x="98" y="356"/>
                    <a:pt x="99" y="355"/>
                  </a:cubicBezTo>
                  <a:cubicBezTo>
                    <a:pt x="99" y="355"/>
                    <a:pt x="99" y="353"/>
                    <a:pt x="100" y="353"/>
                  </a:cubicBezTo>
                  <a:cubicBezTo>
                    <a:pt x="102" y="353"/>
                    <a:pt x="102" y="354"/>
                    <a:pt x="104" y="353"/>
                  </a:cubicBezTo>
                  <a:cubicBezTo>
                    <a:pt x="105" y="352"/>
                    <a:pt x="105" y="352"/>
                    <a:pt x="106" y="351"/>
                  </a:cubicBezTo>
                  <a:cubicBezTo>
                    <a:pt x="107" y="350"/>
                    <a:pt x="108" y="350"/>
                    <a:pt x="109" y="348"/>
                  </a:cubicBezTo>
                  <a:cubicBezTo>
                    <a:pt x="109" y="347"/>
                    <a:pt x="110" y="341"/>
                    <a:pt x="110" y="341"/>
                  </a:cubicBezTo>
                  <a:cubicBezTo>
                    <a:pt x="109" y="340"/>
                    <a:pt x="111" y="341"/>
                    <a:pt x="113" y="340"/>
                  </a:cubicBezTo>
                  <a:cubicBezTo>
                    <a:pt x="114" y="339"/>
                    <a:pt x="115" y="333"/>
                    <a:pt x="116" y="332"/>
                  </a:cubicBezTo>
                  <a:cubicBezTo>
                    <a:pt x="117" y="330"/>
                    <a:pt x="120" y="326"/>
                    <a:pt x="120" y="325"/>
                  </a:cubicBezTo>
                  <a:cubicBezTo>
                    <a:pt x="120" y="324"/>
                    <a:pt x="123" y="317"/>
                    <a:pt x="123" y="317"/>
                  </a:cubicBezTo>
                  <a:cubicBezTo>
                    <a:pt x="127" y="310"/>
                    <a:pt x="127" y="310"/>
                    <a:pt x="127" y="310"/>
                  </a:cubicBezTo>
                  <a:cubicBezTo>
                    <a:pt x="127" y="310"/>
                    <a:pt x="127" y="308"/>
                    <a:pt x="126" y="306"/>
                  </a:cubicBezTo>
                  <a:cubicBezTo>
                    <a:pt x="126" y="305"/>
                    <a:pt x="125" y="301"/>
                    <a:pt x="126" y="300"/>
                  </a:cubicBezTo>
                  <a:cubicBezTo>
                    <a:pt x="127" y="300"/>
                    <a:pt x="128" y="297"/>
                    <a:pt x="128" y="297"/>
                  </a:cubicBezTo>
                  <a:cubicBezTo>
                    <a:pt x="128" y="293"/>
                    <a:pt x="128" y="293"/>
                    <a:pt x="128" y="293"/>
                  </a:cubicBezTo>
                  <a:cubicBezTo>
                    <a:pt x="128" y="293"/>
                    <a:pt x="133" y="290"/>
                    <a:pt x="133" y="290"/>
                  </a:cubicBezTo>
                  <a:cubicBezTo>
                    <a:pt x="139" y="289"/>
                    <a:pt x="135" y="286"/>
                    <a:pt x="142" y="289"/>
                  </a:cubicBezTo>
                  <a:cubicBezTo>
                    <a:pt x="142" y="289"/>
                    <a:pt x="146" y="288"/>
                    <a:pt x="145" y="287"/>
                  </a:cubicBezTo>
                  <a:cubicBezTo>
                    <a:pt x="145" y="287"/>
                    <a:pt x="141" y="283"/>
                    <a:pt x="141" y="283"/>
                  </a:cubicBezTo>
                  <a:cubicBezTo>
                    <a:pt x="143" y="280"/>
                    <a:pt x="143" y="280"/>
                    <a:pt x="143" y="280"/>
                  </a:cubicBezTo>
                  <a:cubicBezTo>
                    <a:pt x="143" y="280"/>
                    <a:pt x="146" y="278"/>
                    <a:pt x="143" y="277"/>
                  </a:cubicBezTo>
                  <a:cubicBezTo>
                    <a:pt x="141" y="276"/>
                    <a:pt x="139" y="275"/>
                    <a:pt x="139" y="274"/>
                  </a:cubicBezTo>
                  <a:cubicBezTo>
                    <a:pt x="139" y="274"/>
                    <a:pt x="138" y="270"/>
                    <a:pt x="138" y="269"/>
                  </a:cubicBezTo>
                  <a:cubicBezTo>
                    <a:pt x="138" y="268"/>
                    <a:pt x="137" y="265"/>
                    <a:pt x="137" y="265"/>
                  </a:cubicBezTo>
                  <a:cubicBezTo>
                    <a:pt x="137" y="265"/>
                    <a:pt x="137" y="261"/>
                    <a:pt x="137" y="260"/>
                  </a:cubicBezTo>
                  <a:cubicBezTo>
                    <a:pt x="137" y="259"/>
                    <a:pt x="136" y="256"/>
                    <a:pt x="135" y="255"/>
                  </a:cubicBezTo>
                  <a:cubicBezTo>
                    <a:pt x="134" y="254"/>
                    <a:pt x="130" y="251"/>
                    <a:pt x="130" y="251"/>
                  </a:cubicBezTo>
                  <a:cubicBezTo>
                    <a:pt x="123" y="248"/>
                    <a:pt x="123" y="248"/>
                    <a:pt x="123" y="248"/>
                  </a:cubicBezTo>
                  <a:cubicBezTo>
                    <a:pt x="121" y="250"/>
                    <a:pt x="121" y="250"/>
                    <a:pt x="121" y="250"/>
                  </a:cubicBezTo>
                  <a:cubicBezTo>
                    <a:pt x="116" y="245"/>
                    <a:pt x="116" y="245"/>
                    <a:pt x="116" y="245"/>
                  </a:cubicBezTo>
                  <a:cubicBezTo>
                    <a:pt x="112" y="244"/>
                    <a:pt x="112" y="244"/>
                    <a:pt x="112" y="244"/>
                  </a:cubicBezTo>
                  <a:cubicBezTo>
                    <a:pt x="108" y="244"/>
                    <a:pt x="108" y="244"/>
                    <a:pt x="108" y="244"/>
                  </a:cubicBezTo>
                  <a:cubicBezTo>
                    <a:pt x="101" y="229"/>
                    <a:pt x="101" y="229"/>
                    <a:pt x="101" y="229"/>
                  </a:cubicBezTo>
                  <a:cubicBezTo>
                    <a:pt x="95" y="226"/>
                    <a:pt x="95" y="226"/>
                    <a:pt x="95" y="226"/>
                  </a:cubicBezTo>
                  <a:cubicBezTo>
                    <a:pt x="91" y="222"/>
                    <a:pt x="91" y="222"/>
                    <a:pt x="91" y="222"/>
                  </a:cubicBezTo>
                  <a:cubicBezTo>
                    <a:pt x="91" y="217"/>
                    <a:pt x="91" y="217"/>
                    <a:pt x="91" y="217"/>
                  </a:cubicBezTo>
                  <a:cubicBezTo>
                    <a:pt x="88" y="213"/>
                    <a:pt x="88" y="213"/>
                    <a:pt x="88" y="213"/>
                  </a:cubicBezTo>
                  <a:cubicBezTo>
                    <a:pt x="88" y="213"/>
                    <a:pt x="89" y="210"/>
                    <a:pt x="89" y="209"/>
                  </a:cubicBezTo>
                  <a:cubicBezTo>
                    <a:pt x="90" y="208"/>
                    <a:pt x="92" y="203"/>
                    <a:pt x="92" y="203"/>
                  </a:cubicBezTo>
                  <a:cubicBezTo>
                    <a:pt x="92" y="203"/>
                    <a:pt x="91" y="199"/>
                    <a:pt x="91" y="198"/>
                  </a:cubicBezTo>
                  <a:cubicBezTo>
                    <a:pt x="91" y="197"/>
                    <a:pt x="92" y="192"/>
                    <a:pt x="92" y="192"/>
                  </a:cubicBezTo>
                  <a:cubicBezTo>
                    <a:pt x="91" y="187"/>
                    <a:pt x="91" y="187"/>
                    <a:pt x="91" y="187"/>
                  </a:cubicBezTo>
                  <a:cubicBezTo>
                    <a:pt x="79" y="173"/>
                    <a:pt x="79" y="173"/>
                    <a:pt x="79" y="173"/>
                  </a:cubicBezTo>
                  <a:cubicBezTo>
                    <a:pt x="80" y="167"/>
                    <a:pt x="80" y="167"/>
                    <a:pt x="80" y="167"/>
                  </a:cubicBezTo>
                  <a:cubicBezTo>
                    <a:pt x="79" y="164"/>
                    <a:pt x="79" y="164"/>
                    <a:pt x="79" y="164"/>
                  </a:cubicBezTo>
                  <a:cubicBezTo>
                    <a:pt x="78" y="161"/>
                    <a:pt x="78" y="161"/>
                    <a:pt x="79" y="159"/>
                  </a:cubicBezTo>
                  <a:cubicBezTo>
                    <a:pt x="79" y="158"/>
                    <a:pt x="79" y="158"/>
                    <a:pt x="79" y="158"/>
                  </a:cubicBezTo>
                  <a:cubicBezTo>
                    <a:pt x="75" y="159"/>
                    <a:pt x="75" y="159"/>
                    <a:pt x="75" y="159"/>
                  </a:cubicBezTo>
                  <a:cubicBezTo>
                    <a:pt x="72" y="155"/>
                    <a:pt x="72" y="155"/>
                    <a:pt x="72" y="155"/>
                  </a:cubicBezTo>
                  <a:cubicBezTo>
                    <a:pt x="73" y="150"/>
                    <a:pt x="73" y="150"/>
                    <a:pt x="73" y="150"/>
                  </a:cubicBezTo>
                  <a:cubicBezTo>
                    <a:pt x="71" y="138"/>
                    <a:pt x="71" y="138"/>
                    <a:pt x="71" y="138"/>
                  </a:cubicBezTo>
                  <a:cubicBezTo>
                    <a:pt x="73" y="132"/>
                    <a:pt x="73" y="132"/>
                    <a:pt x="73" y="132"/>
                  </a:cubicBezTo>
                  <a:cubicBezTo>
                    <a:pt x="67" y="129"/>
                    <a:pt x="67" y="129"/>
                    <a:pt x="67" y="129"/>
                  </a:cubicBezTo>
                  <a:cubicBezTo>
                    <a:pt x="63" y="123"/>
                    <a:pt x="63" y="123"/>
                    <a:pt x="63" y="123"/>
                  </a:cubicBezTo>
                  <a:cubicBezTo>
                    <a:pt x="63" y="123"/>
                    <a:pt x="62" y="125"/>
                    <a:pt x="61" y="124"/>
                  </a:cubicBezTo>
                  <a:cubicBezTo>
                    <a:pt x="60" y="123"/>
                    <a:pt x="55" y="115"/>
                    <a:pt x="55" y="115"/>
                  </a:cubicBezTo>
                  <a:cubicBezTo>
                    <a:pt x="46" y="112"/>
                    <a:pt x="46" y="112"/>
                    <a:pt x="46" y="112"/>
                  </a:cubicBezTo>
                  <a:cubicBezTo>
                    <a:pt x="42" y="110"/>
                    <a:pt x="42" y="110"/>
                    <a:pt x="42" y="110"/>
                  </a:cubicBezTo>
                  <a:cubicBezTo>
                    <a:pt x="37" y="109"/>
                    <a:pt x="37" y="109"/>
                    <a:pt x="37" y="109"/>
                  </a:cubicBezTo>
                  <a:cubicBezTo>
                    <a:pt x="37" y="109"/>
                    <a:pt x="36" y="111"/>
                    <a:pt x="35" y="109"/>
                  </a:cubicBezTo>
                  <a:cubicBezTo>
                    <a:pt x="34" y="107"/>
                    <a:pt x="32" y="105"/>
                    <a:pt x="32" y="105"/>
                  </a:cubicBezTo>
                  <a:cubicBezTo>
                    <a:pt x="28" y="106"/>
                    <a:pt x="28" y="106"/>
                    <a:pt x="28" y="106"/>
                  </a:cubicBezTo>
                  <a:cubicBezTo>
                    <a:pt x="25" y="102"/>
                    <a:pt x="25" y="102"/>
                    <a:pt x="25" y="102"/>
                  </a:cubicBezTo>
                  <a:cubicBezTo>
                    <a:pt x="25" y="102"/>
                    <a:pt x="24" y="102"/>
                    <a:pt x="23" y="102"/>
                  </a:cubicBezTo>
                  <a:cubicBezTo>
                    <a:pt x="22" y="101"/>
                    <a:pt x="20" y="100"/>
                    <a:pt x="20" y="100"/>
                  </a:cubicBezTo>
                  <a:close/>
                  <a:moveTo>
                    <a:pt x="142" y="568"/>
                  </a:moveTo>
                  <a:cubicBezTo>
                    <a:pt x="142" y="568"/>
                    <a:pt x="142" y="568"/>
                    <a:pt x="142" y="568"/>
                  </a:cubicBezTo>
                  <a:cubicBezTo>
                    <a:pt x="142" y="568"/>
                    <a:pt x="142" y="569"/>
                    <a:pt x="142" y="570"/>
                  </a:cubicBezTo>
                  <a:cubicBezTo>
                    <a:pt x="142" y="570"/>
                    <a:pt x="143" y="571"/>
                    <a:pt x="144" y="571"/>
                  </a:cubicBezTo>
                  <a:cubicBezTo>
                    <a:pt x="144" y="571"/>
                    <a:pt x="146" y="570"/>
                    <a:pt x="147" y="569"/>
                  </a:cubicBezTo>
                  <a:cubicBezTo>
                    <a:pt x="149" y="568"/>
                    <a:pt x="147" y="569"/>
                    <a:pt x="147" y="569"/>
                  </a:cubicBezTo>
                  <a:cubicBezTo>
                    <a:pt x="145" y="567"/>
                    <a:pt x="145" y="567"/>
                    <a:pt x="145" y="567"/>
                  </a:cubicBezTo>
                  <a:cubicBezTo>
                    <a:pt x="145" y="567"/>
                    <a:pt x="143" y="568"/>
                    <a:pt x="142" y="568"/>
                  </a:cubicBezTo>
                  <a:close/>
                  <a:moveTo>
                    <a:pt x="129" y="568"/>
                  </a:moveTo>
                  <a:cubicBezTo>
                    <a:pt x="129" y="568"/>
                    <a:pt x="129" y="568"/>
                    <a:pt x="129" y="568"/>
                  </a:cubicBezTo>
                  <a:cubicBezTo>
                    <a:pt x="129" y="568"/>
                    <a:pt x="129" y="570"/>
                    <a:pt x="129" y="570"/>
                  </a:cubicBezTo>
                  <a:cubicBezTo>
                    <a:pt x="129" y="571"/>
                    <a:pt x="130" y="571"/>
                    <a:pt x="131" y="570"/>
                  </a:cubicBezTo>
                  <a:cubicBezTo>
                    <a:pt x="131" y="570"/>
                    <a:pt x="132" y="570"/>
                    <a:pt x="133" y="569"/>
                  </a:cubicBezTo>
                  <a:cubicBezTo>
                    <a:pt x="134" y="568"/>
                    <a:pt x="133" y="567"/>
                    <a:pt x="132" y="567"/>
                  </a:cubicBezTo>
                  <a:cubicBezTo>
                    <a:pt x="132" y="566"/>
                    <a:pt x="131" y="567"/>
                    <a:pt x="131" y="567"/>
                  </a:cubicBezTo>
                  <a:cubicBezTo>
                    <a:pt x="130" y="567"/>
                    <a:pt x="129" y="568"/>
                    <a:pt x="129" y="568"/>
                  </a:cubicBezTo>
                  <a:close/>
                  <a:moveTo>
                    <a:pt x="105" y="556"/>
                  </a:moveTo>
                  <a:cubicBezTo>
                    <a:pt x="105" y="556"/>
                    <a:pt x="105" y="556"/>
                    <a:pt x="105" y="556"/>
                  </a:cubicBezTo>
                  <a:cubicBezTo>
                    <a:pt x="104" y="557"/>
                    <a:pt x="104" y="557"/>
                    <a:pt x="104" y="557"/>
                  </a:cubicBezTo>
                  <a:cubicBezTo>
                    <a:pt x="104" y="557"/>
                    <a:pt x="103" y="558"/>
                    <a:pt x="104" y="559"/>
                  </a:cubicBezTo>
                  <a:cubicBezTo>
                    <a:pt x="104" y="561"/>
                    <a:pt x="105" y="561"/>
                    <a:pt x="105" y="561"/>
                  </a:cubicBezTo>
                  <a:cubicBezTo>
                    <a:pt x="105" y="561"/>
                    <a:pt x="106" y="560"/>
                    <a:pt x="108" y="560"/>
                  </a:cubicBezTo>
                  <a:cubicBezTo>
                    <a:pt x="109" y="560"/>
                    <a:pt x="111" y="558"/>
                    <a:pt x="111" y="557"/>
                  </a:cubicBezTo>
                  <a:cubicBezTo>
                    <a:pt x="112" y="557"/>
                    <a:pt x="112" y="555"/>
                    <a:pt x="113" y="555"/>
                  </a:cubicBezTo>
                  <a:cubicBezTo>
                    <a:pt x="114" y="555"/>
                    <a:pt x="117" y="556"/>
                    <a:pt x="118" y="556"/>
                  </a:cubicBezTo>
                  <a:cubicBezTo>
                    <a:pt x="119" y="556"/>
                    <a:pt x="117" y="553"/>
                    <a:pt x="117" y="553"/>
                  </a:cubicBezTo>
                  <a:cubicBezTo>
                    <a:pt x="117" y="552"/>
                    <a:pt x="114" y="553"/>
                    <a:pt x="114" y="553"/>
                  </a:cubicBezTo>
                  <a:cubicBezTo>
                    <a:pt x="114" y="553"/>
                    <a:pt x="112" y="553"/>
                    <a:pt x="111" y="552"/>
                  </a:cubicBezTo>
                  <a:cubicBezTo>
                    <a:pt x="110" y="552"/>
                    <a:pt x="110" y="552"/>
                    <a:pt x="110" y="552"/>
                  </a:cubicBezTo>
                  <a:cubicBezTo>
                    <a:pt x="109" y="553"/>
                    <a:pt x="109" y="554"/>
                    <a:pt x="108" y="555"/>
                  </a:cubicBezTo>
                  <a:cubicBezTo>
                    <a:pt x="107" y="556"/>
                    <a:pt x="107" y="555"/>
                    <a:pt x="107" y="554"/>
                  </a:cubicBezTo>
                  <a:cubicBezTo>
                    <a:pt x="107" y="554"/>
                    <a:pt x="105" y="553"/>
                    <a:pt x="104" y="554"/>
                  </a:cubicBezTo>
                  <a:cubicBezTo>
                    <a:pt x="104" y="554"/>
                    <a:pt x="105" y="555"/>
                    <a:pt x="105" y="556"/>
                  </a:cubicBezTo>
                  <a:close/>
                  <a:moveTo>
                    <a:pt x="97" y="556"/>
                  </a:moveTo>
                  <a:cubicBezTo>
                    <a:pt x="97" y="556"/>
                    <a:pt x="97" y="556"/>
                    <a:pt x="97" y="556"/>
                  </a:cubicBezTo>
                  <a:cubicBezTo>
                    <a:pt x="97" y="556"/>
                    <a:pt x="99" y="557"/>
                    <a:pt x="101" y="557"/>
                  </a:cubicBezTo>
                  <a:cubicBezTo>
                    <a:pt x="102" y="557"/>
                    <a:pt x="101" y="556"/>
                    <a:pt x="102" y="555"/>
                  </a:cubicBezTo>
                  <a:cubicBezTo>
                    <a:pt x="102" y="554"/>
                    <a:pt x="101" y="555"/>
                    <a:pt x="100" y="554"/>
                  </a:cubicBezTo>
                  <a:cubicBezTo>
                    <a:pt x="99" y="554"/>
                    <a:pt x="99" y="554"/>
                    <a:pt x="98" y="554"/>
                  </a:cubicBezTo>
                  <a:cubicBezTo>
                    <a:pt x="96" y="554"/>
                    <a:pt x="97" y="556"/>
                    <a:pt x="97" y="556"/>
                  </a:cubicBezTo>
                  <a:close/>
                  <a:moveTo>
                    <a:pt x="88" y="545"/>
                  </a:moveTo>
                  <a:cubicBezTo>
                    <a:pt x="88" y="545"/>
                    <a:pt x="88" y="545"/>
                    <a:pt x="88" y="545"/>
                  </a:cubicBezTo>
                  <a:cubicBezTo>
                    <a:pt x="87" y="550"/>
                    <a:pt x="92" y="547"/>
                    <a:pt x="92" y="544"/>
                  </a:cubicBezTo>
                  <a:cubicBezTo>
                    <a:pt x="91" y="542"/>
                    <a:pt x="92" y="542"/>
                    <a:pt x="90" y="540"/>
                  </a:cubicBezTo>
                  <a:cubicBezTo>
                    <a:pt x="89" y="537"/>
                    <a:pt x="89" y="540"/>
                    <a:pt x="88" y="541"/>
                  </a:cubicBezTo>
                  <a:cubicBezTo>
                    <a:pt x="87" y="543"/>
                    <a:pt x="89" y="543"/>
                    <a:pt x="89" y="544"/>
                  </a:cubicBezTo>
                  <a:cubicBezTo>
                    <a:pt x="89" y="545"/>
                    <a:pt x="88" y="544"/>
                    <a:pt x="88" y="545"/>
                  </a:cubicBezTo>
                  <a:close/>
                  <a:moveTo>
                    <a:pt x="80" y="557"/>
                  </a:moveTo>
                  <a:cubicBezTo>
                    <a:pt x="80" y="557"/>
                    <a:pt x="80" y="557"/>
                    <a:pt x="80" y="557"/>
                  </a:cubicBezTo>
                  <a:cubicBezTo>
                    <a:pt x="80" y="557"/>
                    <a:pt x="79" y="558"/>
                    <a:pt x="80" y="560"/>
                  </a:cubicBezTo>
                  <a:cubicBezTo>
                    <a:pt x="80" y="561"/>
                    <a:pt x="80" y="560"/>
                    <a:pt x="83" y="558"/>
                  </a:cubicBezTo>
                  <a:cubicBezTo>
                    <a:pt x="85" y="556"/>
                    <a:pt x="82" y="557"/>
                    <a:pt x="82" y="557"/>
                  </a:cubicBezTo>
                  <a:cubicBezTo>
                    <a:pt x="82" y="556"/>
                    <a:pt x="81" y="557"/>
                    <a:pt x="80" y="557"/>
                  </a:cubicBezTo>
                  <a:close/>
                  <a:moveTo>
                    <a:pt x="80" y="563"/>
                  </a:moveTo>
                  <a:cubicBezTo>
                    <a:pt x="80" y="563"/>
                    <a:pt x="80" y="563"/>
                    <a:pt x="80" y="563"/>
                  </a:cubicBezTo>
                  <a:cubicBezTo>
                    <a:pt x="80" y="563"/>
                    <a:pt x="80" y="565"/>
                    <a:pt x="81" y="565"/>
                  </a:cubicBezTo>
                  <a:cubicBezTo>
                    <a:pt x="82" y="565"/>
                    <a:pt x="82" y="564"/>
                    <a:pt x="83" y="563"/>
                  </a:cubicBezTo>
                  <a:cubicBezTo>
                    <a:pt x="83" y="562"/>
                    <a:pt x="82" y="562"/>
                    <a:pt x="82" y="561"/>
                  </a:cubicBezTo>
                  <a:cubicBezTo>
                    <a:pt x="81" y="561"/>
                    <a:pt x="80" y="562"/>
                    <a:pt x="80" y="563"/>
                  </a:cubicBezTo>
                  <a:close/>
                  <a:moveTo>
                    <a:pt x="77" y="568"/>
                  </a:moveTo>
                  <a:cubicBezTo>
                    <a:pt x="77" y="568"/>
                    <a:pt x="77" y="568"/>
                    <a:pt x="77" y="568"/>
                  </a:cubicBezTo>
                  <a:cubicBezTo>
                    <a:pt x="75" y="568"/>
                    <a:pt x="75" y="568"/>
                    <a:pt x="75" y="568"/>
                  </a:cubicBezTo>
                  <a:cubicBezTo>
                    <a:pt x="75" y="568"/>
                    <a:pt x="75" y="568"/>
                    <a:pt x="72" y="570"/>
                  </a:cubicBezTo>
                  <a:cubicBezTo>
                    <a:pt x="69" y="571"/>
                    <a:pt x="71" y="572"/>
                    <a:pt x="71" y="573"/>
                  </a:cubicBezTo>
                  <a:cubicBezTo>
                    <a:pt x="71" y="575"/>
                    <a:pt x="74" y="573"/>
                    <a:pt x="76" y="572"/>
                  </a:cubicBezTo>
                  <a:cubicBezTo>
                    <a:pt x="77" y="572"/>
                    <a:pt x="76" y="571"/>
                    <a:pt x="77" y="571"/>
                  </a:cubicBezTo>
                  <a:cubicBezTo>
                    <a:pt x="77" y="571"/>
                    <a:pt x="77" y="571"/>
                    <a:pt x="79" y="570"/>
                  </a:cubicBezTo>
                  <a:cubicBezTo>
                    <a:pt x="81" y="569"/>
                    <a:pt x="80" y="569"/>
                    <a:pt x="80" y="568"/>
                  </a:cubicBezTo>
                  <a:cubicBezTo>
                    <a:pt x="80" y="568"/>
                    <a:pt x="78" y="567"/>
                    <a:pt x="77" y="568"/>
                  </a:cubicBezTo>
                  <a:close/>
                  <a:moveTo>
                    <a:pt x="51" y="573"/>
                  </a:moveTo>
                  <a:cubicBezTo>
                    <a:pt x="51" y="573"/>
                    <a:pt x="51" y="573"/>
                    <a:pt x="51" y="573"/>
                  </a:cubicBezTo>
                  <a:cubicBezTo>
                    <a:pt x="52" y="573"/>
                    <a:pt x="53" y="572"/>
                    <a:pt x="54" y="573"/>
                  </a:cubicBezTo>
                  <a:cubicBezTo>
                    <a:pt x="55" y="574"/>
                    <a:pt x="54" y="576"/>
                    <a:pt x="54" y="576"/>
                  </a:cubicBezTo>
                  <a:cubicBezTo>
                    <a:pt x="53" y="577"/>
                    <a:pt x="52" y="578"/>
                    <a:pt x="51" y="578"/>
                  </a:cubicBezTo>
                  <a:cubicBezTo>
                    <a:pt x="50" y="578"/>
                    <a:pt x="49" y="578"/>
                    <a:pt x="48" y="577"/>
                  </a:cubicBezTo>
                  <a:cubicBezTo>
                    <a:pt x="48" y="576"/>
                    <a:pt x="48" y="573"/>
                    <a:pt x="48" y="573"/>
                  </a:cubicBezTo>
                  <a:cubicBezTo>
                    <a:pt x="49" y="573"/>
                    <a:pt x="51" y="573"/>
                    <a:pt x="51" y="573"/>
                  </a:cubicBezTo>
                  <a:close/>
                  <a:moveTo>
                    <a:pt x="59" y="558"/>
                  </a:moveTo>
                  <a:cubicBezTo>
                    <a:pt x="59" y="558"/>
                    <a:pt x="59" y="558"/>
                    <a:pt x="59" y="558"/>
                  </a:cubicBezTo>
                  <a:cubicBezTo>
                    <a:pt x="59" y="558"/>
                    <a:pt x="59" y="558"/>
                    <a:pt x="59" y="558"/>
                  </a:cubicBezTo>
                  <a:cubicBezTo>
                    <a:pt x="59" y="558"/>
                    <a:pt x="59" y="560"/>
                    <a:pt x="58" y="560"/>
                  </a:cubicBezTo>
                  <a:cubicBezTo>
                    <a:pt x="56" y="561"/>
                    <a:pt x="57" y="558"/>
                    <a:pt x="57" y="557"/>
                  </a:cubicBezTo>
                  <a:cubicBezTo>
                    <a:pt x="57" y="556"/>
                    <a:pt x="53" y="558"/>
                    <a:pt x="53" y="558"/>
                  </a:cubicBezTo>
                  <a:cubicBezTo>
                    <a:pt x="53" y="558"/>
                    <a:pt x="53" y="561"/>
                    <a:pt x="52" y="562"/>
                  </a:cubicBezTo>
                  <a:cubicBezTo>
                    <a:pt x="51" y="562"/>
                    <a:pt x="51" y="562"/>
                    <a:pt x="50" y="563"/>
                  </a:cubicBezTo>
                  <a:cubicBezTo>
                    <a:pt x="49" y="564"/>
                    <a:pt x="49" y="566"/>
                    <a:pt x="49" y="566"/>
                  </a:cubicBezTo>
                  <a:cubicBezTo>
                    <a:pt x="50" y="567"/>
                    <a:pt x="52" y="567"/>
                    <a:pt x="52" y="567"/>
                  </a:cubicBezTo>
                  <a:cubicBezTo>
                    <a:pt x="53" y="567"/>
                    <a:pt x="53" y="567"/>
                    <a:pt x="56" y="569"/>
                  </a:cubicBezTo>
                  <a:cubicBezTo>
                    <a:pt x="60" y="570"/>
                    <a:pt x="57" y="569"/>
                    <a:pt x="60" y="569"/>
                  </a:cubicBezTo>
                  <a:cubicBezTo>
                    <a:pt x="62" y="569"/>
                    <a:pt x="61" y="570"/>
                    <a:pt x="62" y="570"/>
                  </a:cubicBezTo>
                  <a:cubicBezTo>
                    <a:pt x="63" y="570"/>
                    <a:pt x="64" y="572"/>
                    <a:pt x="65" y="573"/>
                  </a:cubicBezTo>
                  <a:cubicBezTo>
                    <a:pt x="67" y="574"/>
                    <a:pt x="68" y="572"/>
                    <a:pt x="69" y="572"/>
                  </a:cubicBezTo>
                  <a:cubicBezTo>
                    <a:pt x="69" y="571"/>
                    <a:pt x="71" y="568"/>
                    <a:pt x="71" y="568"/>
                  </a:cubicBezTo>
                  <a:cubicBezTo>
                    <a:pt x="71" y="568"/>
                    <a:pt x="65" y="566"/>
                    <a:pt x="65" y="566"/>
                  </a:cubicBezTo>
                  <a:cubicBezTo>
                    <a:pt x="64" y="566"/>
                    <a:pt x="63" y="563"/>
                    <a:pt x="65" y="563"/>
                  </a:cubicBezTo>
                  <a:cubicBezTo>
                    <a:pt x="66" y="563"/>
                    <a:pt x="66" y="564"/>
                    <a:pt x="67" y="565"/>
                  </a:cubicBezTo>
                  <a:cubicBezTo>
                    <a:pt x="67" y="566"/>
                    <a:pt x="68" y="566"/>
                    <a:pt x="69" y="566"/>
                  </a:cubicBezTo>
                  <a:cubicBezTo>
                    <a:pt x="70" y="566"/>
                    <a:pt x="71" y="565"/>
                    <a:pt x="71" y="564"/>
                  </a:cubicBezTo>
                  <a:cubicBezTo>
                    <a:pt x="71" y="563"/>
                    <a:pt x="70" y="564"/>
                    <a:pt x="68" y="561"/>
                  </a:cubicBezTo>
                  <a:cubicBezTo>
                    <a:pt x="65" y="558"/>
                    <a:pt x="68" y="559"/>
                    <a:pt x="69" y="559"/>
                  </a:cubicBezTo>
                  <a:cubicBezTo>
                    <a:pt x="69" y="558"/>
                    <a:pt x="71" y="556"/>
                    <a:pt x="71" y="556"/>
                  </a:cubicBezTo>
                  <a:cubicBezTo>
                    <a:pt x="72" y="555"/>
                    <a:pt x="69" y="555"/>
                    <a:pt x="68" y="554"/>
                  </a:cubicBezTo>
                  <a:cubicBezTo>
                    <a:pt x="67" y="554"/>
                    <a:pt x="67" y="554"/>
                    <a:pt x="67" y="554"/>
                  </a:cubicBezTo>
                  <a:cubicBezTo>
                    <a:pt x="67" y="555"/>
                    <a:pt x="64" y="554"/>
                    <a:pt x="63" y="553"/>
                  </a:cubicBezTo>
                  <a:cubicBezTo>
                    <a:pt x="63" y="553"/>
                    <a:pt x="63" y="551"/>
                    <a:pt x="62" y="550"/>
                  </a:cubicBezTo>
                  <a:cubicBezTo>
                    <a:pt x="62" y="550"/>
                    <a:pt x="60" y="550"/>
                    <a:pt x="58" y="550"/>
                  </a:cubicBezTo>
                  <a:cubicBezTo>
                    <a:pt x="56" y="550"/>
                    <a:pt x="57" y="553"/>
                    <a:pt x="57" y="553"/>
                  </a:cubicBezTo>
                  <a:cubicBezTo>
                    <a:pt x="57" y="553"/>
                    <a:pt x="58" y="555"/>
                    <a:pt x="59" y="556"/>
                  </a:cubicBezTo>
                  <a:cubicBezTo>
                    <a:pt x="59" y="556"/>
                    <a:pt x="59" y="558"/>
                    <a:pt x="59" y="558"/>
                  </a:cubicBezTo>
                  <a:close/>
                </a:path>
              </a:pathLst>
            </a:custGeom>
            <a:solidFill>
              <a:srgbClr val="E6EFF1"/>
            </a:solidFill>
            <a:ln w="12700" cap="rnd" cmpd="sng">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Lato Light"/>
              </a:endParaRPr>
            </a:p>
          </p:txBody>
        </p:sp>
      </p:grpSp>
      <p:grpSp>
        <p:nvGrpSpPr>
          <p:cNvPr id="254" name="Group 253">
            <a:extLst>
              <a:ext uri="{FF2B5EF4-FFF2-40B4-BE49-F238E27FC236}">
                <a16:creationId xmlns:a16="http://schemas.microsoft.com/office/drawing/2014/main" id="{9296CB1E-0379-5239-2AC5-495C53CB5B47}"/>
              </a:ext>
            </a:extLst>
          </p:cNvPr>
          <p:cNvGrpSpPr/>
          <p:nvPr/>
        </p:nvGrpSpPr>
        <p:grpSpPr>
          <a:xfrm>
            <a:off x="396258" y="4073209"/>
            <a:ext cx="3607164" cy="2452000"/>
            <a:chOff x="4206098" y="1683222"/>
            <a:chExt cx="3607164" cy="2452000"/>
          </a:xfrm>
        </p:grpSpPr>
        <p:sp>
          <p:nvSpPr>
            <p:cNvPr id="248" name="Text Placeholder 5">
              <a:extLst>
                <a:ext uri="{FF2B5EF4-FFF2-40B4-BE49-F238E27FC236}">
                  <a16:creationId xmlns:a16="http://schemas.microsoft.com/office/drawing/2014/main" id="{D73F1ACB-CB2C-FACE-40FF-F0548EEA80D9}"/>
                </a:ext>
              </a:extLst>
            </p:cNvPr>
            <p:cNvSpPr txBox="1">
              <a:spLocks/>
            </p:cNvSpPr>
            <p:nvPr/>
          </p:nvSpPr>
          <p:spPr>
            <a:xfrm>
              <a:off x="4206098" y="1683222"/>
              <a:ext cx="3492137" cy="2452000"/>
            </a:xfrm>
            <a:prstGeom prst="rect">
              <a:avLst/>
            </a:prstGeom>
          </p:spPr>
          <p:txBody>
            <a:bodyPr vert="horz" lIns="0" tIns="0" rIns="0" bIns="0" rtlCol="0">
              <a:noAutofit/>
            </a:bodyPr>
            <a:lstStyle>
              <a:lvl1pPr marL="288000" indent="-288000" algn="l" defTabSz="914400" rtl="0" eaLnBrk="1" latinLnBrk="0" hangingPunct="1">
                <a:lnSpc>
                  <a:spcPct val="120000"/>
                </a:lnSpc>
                <a:spcBef>
                  <a:spcPts val="0"/>
                </a:spcBef>
                <a:spcAft>
                  <a:spcPts val="1000"/>
                </a:spcAft>
                <a:buClr>
                  <a:schemeClr val="bg2"/>
                </a:buClr>
                <a:buFont typeface="Courier New" panose="02070309020205020404" pitchFamily="49" charset="0"/>
                <a:buChar char="o"/>
                <a:defRPr sz="1600" kern="1200">
                  <a:solidFill>
                    <a:schemeClr val="tx1"/>
                  </a:solidFill>
                  <a:latin typeface="+mn-lt"/>
                  <a:ea typeface="+mn-ea"/>
                  <a:cs typeface="+mn-cs"/>
                </a:defRPr>
              </a:lvl1pPr>
              <a:lvl2pPr marL="576000" indent="-288000" algn="l" defTabSz="914400" rtl="0" eaLnBrk="1" latinLnBrk="0" hangingPunct="1">
                <a:lnSpc>
                  <a:spcPct val="120000"/>
                </a:lnSpc>
                <a:spcBef>
                  <a:spcPts val="0"/>
                </a:spcBef>
                <a:spcAft>
                  <a:spcPts val="1000"/>
                </a:spcAft>
                <a:buClr>
                  <a:schemeClr val="bg2"/>
                </a:buClr>
                <a:buFont typeface="Wingdings" panose="05000000000000000000" pitchFamily="2" charset="2"/>
                <a:buChar char="§"/>
                <a:defRPr sz="1400" kern="1200">
                  <a:solidFill>
                    <a:schemeClr val="tx1"/>
                  </a:solidFill>
                  <a:latin typeface="+mn-lt"/>
                  <a:ea typeface="+mn-ea"/>
                  <a:cs typeface="+mn-cs"/>
                </a:defRPr>
              </a:lvl2pPr>
              <a:lvl3pPr marL="864000" indent="-288000" algn="l" defTabSz="914400" rtl="0" eaLnBrk="1" latinLnBrk="0" hangingPunct="1">
                <a:lnSpc>
                  <a:spcPct val="120000"/>
                </a:lnSpc>
                <a:spcBef>
                  <a:spcPts val="0"/>
                </a:spcBef>
                <a:spcAft>
                  <a:spcPts val="1000"/>
                </a:spcAft>
                <a:buClr>
                  <a:schemeClr val="bg2"/>
                </a:buClr>
                <a:buFont typeface="Wingdings" panose="05000000000000000000" pitchFamily="2" charset="2"/>
                <a:buChar char="§"/>
                <a:defRPr sz="1200" kern="1200">
                  <a:solidFill>
                    <a:schemeClr val="tx1"/>
                  </a:solidFill>
                  <a:latin typeface="+mn-lt"/>
                  <a:ea typeface="+mn-ea"/>
                  <a:cs typeface="+mn-cs"/>
                </a:defRPr>
              </a:lvl3pPr>
              <a:lvl4pPr marL="1152000" indent="-288000" algn="l" defTabSz="914400" rtl="0" eaLnBrk="1" latinLnBrk="0" hangingPunct="1">
                <a:lnSpc>
                  <a:spcPct val="120000"/>
                </a:lnSpc>
                <a:spcBef>
                  <a:spcPts val="0"/>
                </a:spcBef>
                <a:spcAft>
                  <a:spcPts val="1000"/>
                </a:spcAft>
                <a:buClr>
                  <a:schemeClr val="bg2"/>
                </a:buClr>
                <a:buSzPct val="100000"/>
                <a:buFont typeface="Wingdings" panose="05000000000000000000" pitchFamily="2" charset="2"/>
                <a:buChar char="§"/>
                <a:defRPr sz="1200" kern="1200">
                  <a:solidFill>
                    <a:schemeClr val="tx1"/>
                  </a:solidFill>
                  <a:latin typeface="+mn-lt"/>
                  <a:ea typeface="+mn-ea"/>
                  <a:cs typeface="+mn-cs"/>
                </a:defRPr>
              </a:lvl4pPr>
              <a:lvl5pPr marL="1152000" indent="-288000" algn="l" defTabSz="914400" rtl="0" eaLnBrk="1" latinLnBrk="0" hangingPunct="1">
                <a:lnSpc>
                  <a:spcPct val="120000"/>
                </a:lnSpc>
                <a:spcBef>
                  <a:spcPts val="0"/>
                </a:spcBef>
                <a:spcAft>
                  <a:spcPts val="1000"/>
                </a:spcAft>
                <a:buClr>
                  <a:schemeClr val="bg2"/>
                </a:buClr>
                <a:buFont typeface="Wingdings" panose="05000000000000000000" pitchFamily="2" charset="2"/>
                <a:buChar char="§"/>
                <a:defRPr sz="1200" kern="1200">
                  <a:solidFill>
                    <a:schemeClr val="tx1"/>
                  </a:solidFill>
                  <a:latin typeface="+mn-lt"/>
                  <a:ea typeface="+mn-ea"/>
                  <a:cs typeface="+mn-cs"/>
                </a:defRPr>
              </a:lvl5pPr>
              <a:lvl6pPr marL="1152000" indent="-288000" algn="l" defTabSz="914400" rtl="0" eaLnBrk="1" latinLnBrk="0" hangingPunct="1">
                <a:lnSpc>
                  <a:spcPct val="120000"/>
                </a:lnSpc>
                <a:spcBef>
                  <a:spcPts val="0"/>
                </a:spcBef>
                <a:spcAft>
                  <a:spcPts val="1000"/>
                </a:spcAft>
                <a:buClr>
                  <a:schemeClr val="bg2"/>
                </a:buClr>
                <a:buFont typeface="Wingdings" panose="05000000000000000000" pitchFamily="2" charset="2"/>
                <a:buChar char="§"/>
                <a:defRPr sz="1200" kern="1200">
                  <a:solidFill>
                    <a:schemeClr val="tx1"/>
                  </a:solidFill>
                  <a:latin typeface="+mn-lt"/>
                  <a:ea typeface="+mn-ea"/>
                  <a:cs typeface="+mn-cs"/>
                </a:defRPr>
              </a:lvl6pPr>
              <a:lvl7pPr marL="1728000" indent="-288000" algn="l" defTabSz="914400" rtl="0" eaLnBrk="1" latinLnBrk="0" hangingPunct="1">
                <a:lnSpc>
                  <a:spcPct val="120000"/>
                </a:lnSpc>
                <a:spcBef>
                  <a:spcPts val="0"/>
                </a:spcBef>
                <a:spcAft>
                  <a:spcPts val="1000"/>
                </a:spcAft>
                <a:buClr>
                  <a:schemeClr val="tx1"/>
                </a:buClr>
                <a:buFont typeface="Wingdings" panose="05000000000000000000" pitchFamily="2" charset="2"/>
                <a:buChar char="§"/>
                <a:defRPr sz="1200" kern="1200">
                  <a:solidFill>
                    <a:schemeClr val="tx1"/>
                  </a:solidFill>
                  <a:latin typeface="+mn-lt"/>
                  <a:ea typeface="+mn-ea"/>
                  <a:cs typeface="+mn-cs"/>
                </a:defRPr>
              </a:lvl7pPr>
              <a:lvl8pPr marL="2016000" indent="-288000" algn="l" defTabSz="914400" rtl="0" eaLnBrk="1" latinLnBrk="0" hangingPunct="1">
                <a:lnSpc>
                  <a:spcPct val="120000"/>
                </a:lnSpc>
                <a:spcBef>
                  <a:spcPts val="0"/>
                </a:spcBef>
                <a:spcAft>
                  <a:spcPts val="1000"/>
                </a:spcAft>
                <a:buClr>
                  <a:schemeClr val="tx1"/>
                </a:buClr>
                <a:buFont typeface="Wingdings" panose="05000000000000000000" pitchFamily="2" charset="2"/>
                <a:buChar char="§"/>
                <a:defRPr sz="1200" kern="1200">
                  <a:solidFill>
                    <a:schemeClr val="tx1"/>
                  </a:solidFill>
                  <a:latin typeface="+mn-lt"/>
                  <a:ea typeface="+mn-ea"/>
                  <a:cs typeface="+mn-cs"/>
                </a:defRPr>
              </a:lvl8pPr>
              <a:lvl9pPr marL="2304000" indent="-288000" algn="l" defTabSz="914400" rtl="0" eaLnBrk="1" latinLnBrk="0" hangingPunct="1">
                <a:lnSpc>
                  <a:spcPct val="120000"/>
                </a:lnSpc>
                <a:spcBef>
                  <a:spcPts val="0"/>
                </a:spcBef>
                <a:spcAft>
                  <a:spcPts val="1000"/>
                </a:spcAft>
                <a:buClr>
                  <a:schemeClr val="tx1"/>
                </a:buClr>
                <a:buFont typeface="Wingdings" panose="05000000000000000000" pitchFamily="2" charset="2"/>
                <a:buChar char="§"/>
                <a:defRPr sz="1200" kern="1200">
                  <a:solidFill>
                    <a:schemeClr val="tx1"/>
                  </a:solidFill>
                  <a:latin typeface="+mn-lt"/>
                  <a:ea typeface="+mn-ea"/>
                  <a:cs typeface="+mn-cs"/>
                </a:defRPr>
              </a:lvl9pPr>
            </a:lstStyle>
            <a:p>
              <a:pPr marL="0" indent="0">
                <a:buNone/>
              </a:pPr>
              <a:r>
                <a:rPr lang="en-GB" sz="1800" b="1">
                  <a:solidFill>
                    <a:schemeClr val="accent1"/>
                  </a:solidFill>
                  <a:ea typeface="Google Sans"/>
                  <a:cs typeface="MV Boli"/>
                  <a:sym typeface="Google Sans"/>
                </a:rPr>
                <a:t>Fieldwork specifications</a:t>
              </a:r>
            </a:p>
            <a:p>
              <a:endParaRPr lang="en-US"/>
            </a:p>
          </p:txBody>
        </p:sp>
        <p:pic>
          <p:nvPicPr>
            <p:cNvPr id="249" name="Graphic 248">
              <a:extLst>
                <a:ext uri="{FF2B5EF4-FFF2-40B4-BE49-F238E27FC236}">
                  <a16:creationId xmlns:a16="http://schemas.microsoft.com/office/drawing/2014/main" id="{F0C1D60B-617B-38E6-2EBC-617D93801467}"/>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4243856" y="2124432"/>
              <a:ext cx="375915" cy="375915"/>
            </a:xfrm>
            <a:prstGeom prst="rect">
              <a:avLst/>
            </a:prstGeom>
          </p:spPr>
        </p:pic>
        <p:pic>
          <p:nvPicPr>
            <p:cNvPr id="250" name="Graphic 249">
              <a:extLst>
                <a:ext uri="{FF2B5EF4-FFF2-40B4-BE49-F238E27FC236}">
                  <a16:creationId xmlns:a16="http://schemas.microsoft.com/office/drawing/2014/main" id="{153C85B5-E779-E3E3-4E41-7546E38519FA}"/>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4279677" y="3159655"/>
              <a:ext cx="304273" cy="304273"/>
            </a:xfrm>
            <a:prstGeom prst="rect">
              <a:avLst/>
            </a:prstGeom>
          </p:spPr>
        </p:pic>
        <p:pic>
          <p:nvPicPr>
            <p:cNvPr id="251" name="Graphic 250">
              <a:extLst>
                <a:ext uri="{FF2B5EF4-FFF2-40B4-BE49-F238E27FC236}">
                  <a16:creationId xmlns:a16="http://schemas.microsoft.com/office/drawing/2014/main" id="{0F9491B1-7732-4482-2592-417A97826BA2}"/>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4287813" y="2653130"/>
              <a:ext cx="288000" cy="288000"/>
            </a:xfrm>
            <a:prstGeom prst="rect">
              <a:avLst/>
            </a:prstGeom>
          </p:spPr>
        </p:pic>
        <p:sp>
          <p:nvSpPr>
            <p:cNvPr id="252" name="TextBox 251">
              <a:extLst>
                <a:ext uri="{FF2B5EF4-FFF2-40B4-BE49-F238E27FC236}">
                  <a16:creationId xmlns:a16="http://schemas.microsoft.com/office/drawing/2014/main" id="{4D73B6B2-7758-7693-40AA-6D43404C51B6}"/>
                </a:ext>
              </a:extLst>
            </p:cNvPr>
            <p:cNvSpPr txBox="1"/>
            <p:nvPr/>
          </p:nvSpPr>
          <p:spPr>
            <a:xfrm>
              <a:off x="4602070" y="2070098"/>
              <a:ext cx="3211192" cy="1994690"/>
            </a:xfrm>
            <a:prstGeom prst="rect">
              <a:avLst/>
            </a:prstGeom>
            <a:noFill/>
          </p:spPr>
          <p:txBody>
            <a:bodyPr wrap="square" lIns="108000" tIns="72000" rIns="108000" bIns="108000" rtlCol="0">
              <a:spAutoFit/>
            </a:bodyPr>
            <a:lstStyle/>
            <a:p>
              <a:pPr indent="0" algn="l">
                <a:spcAft>
                  <a:spcPts val="1000"/>
                </a:spcAft>
              </a:pPr>
              <a:r>
                <a:rPr lang="en-US">
                  <a:latin typeface="+mj-lt"/>
                </a:rPr>
                <a:t>N=100</a:t>
              </a:r>
            </a:p>
            <a:p>
              <a:pPr indent="0" algn="l">
                <a:spcAft>
                  <a:spcPts val="1000"/>
                </a:spcAft>
              </a:pPr>
              <a:r>
                <a:rPr lang="en-US">
                  <a:latin typeface="+mj-lt"/>
                </a:rPr>
                <a:t>Assumed Incidence Rate &gt; 20%</a:t>
              </a:r>
            </a:p>
            <a:p>
              <a:pPr indent="0" algn="l">
                <a:spcAft>
                  <a:spcPts val="1000"/>
                </a:spcAft>
              </a:pPr>
              <a:r>
                <a:rPr lang="en-US">
                  <a:latin typeface="+mj-lt"/>
                </a:rPr>
                <a:t>&lt; 5 min length</a:t>
              </a:r>
            </a:p>
            <a:p>
              <a:pPr indent="0" algn="l">
                <a:spcAft>
                  <a:spcPts val="1000"/>
                </a:spcAft>
              </a:pPr>
              <a:r>
                <a:rPr lang="en-US">
                  <a:latin typeface="+mj-lt"/>
                </a:rPr>
                <a:t>Device agnostic survey</a:t>
              </a:r>
            </a:p>
          </p:txBody>
        </p:sp>
        <p:pic>
          <p:nvPicPr>
            <p:cNvPr id="253" name="Graphic 252">
              <a:extLst>
                <a:ext uri="{FF2B5EF4-FFF2-40B4-BE49-F238E27FC236}">
                  <a16:creationId xmlns:a16="http://schemas.microsoft.com/office/drawing/2014/main" id="{668C0850-482F-2DF9-A6F9-908C34930B84}"/>
                </a:ext>
              </a:extLst>
            </p:cNvPr>
            <p:cNvPicPr>
              <a:picLocks noChangeAspect="1"/>
            </p:cNvPicPr>
            <p:nvPr/>
          </p:nvPicPr>
          <p:blipFill>
            <a:blip r:embed="rId9" cstate="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4259560" y="3682453"/>
              <a:ext cx="357318" cy="357318"/>
            </a:xfrm>
            <a:prstGeom prst="rect">
              <a:avLst/>
            </a:prstGeom>
          </p:spPr>
        </p:pic>
      </p:grpSp>
      <p:sp>
        <p:nvSpPr>
          <p:cNvPr id="15" name="Speech Bubble: Rectangle with Corners Rounded 217">
            <a:extLst>
              <a:ext uri="{FF2B5EF4-FFF2-40B4-BE49-F238E27FC236}">
                <a16:creationId xmlns:a16="http://schemas.microsoft.com/office/drawing/2014/main" id="{E38E82B7-2AA2-6FAA-BB24-7ECC0C99B8DA}"/>
              </a:ext>
            </a:extLst>
          </p:cNvPr>
          <p:cNvSpPr/>
          <p:nvPr/>
        </p:nvSpPr>
        <p:spPr>
          <a:xfrm>
            <a:off x="8658214" y="3541414"/>
            <a:ext cx="483979" cy="346184"/>
          </a:xfrm>
          <a:prstGeom prst="wedgeRoundRectCallout">
            <a:avLst>
              <a:gd name="adj1" fmla="val -88145"/>
              <a:gd name="adj2" fmla="val -12943"/>
              <a:gd name="adj3" fmla="val 16667"/>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tIns="36000" bIns="36000" rtlCol="0" anchor="t" anchorCtr="0">
            <a:spAutoFit/>
          </a:bodyPr>
          <a:lstStyle/>
          <a:p>
            <a:pPr indent="-287993" algn="ctr">
              <a:defRPr/>
            </a:pPr>
            <a:r>
              <a:rPr lang="en-US" sz="1200">
                <a:solidFill>
                  <a:prstClr val="white"/>
                </a:solidFill>
                <a:latin typeface="Rawline"/>
              </a:rPr>
              <a:t>DE</a:t>
            </a:r>
          </a:p>
        </p:txBody>
      </p:sp>
    </p:spTree>
    <p:extLst>
      <p:ext uri="{BB962C8B-B14F-4D97-AF65-F5344CB8AC3E}">
        <p14:creationId xmlns:p14="http://schemas.microsoft.com/office/powerpoint/2010/main" val="322523094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Placeholder 7">
            <a:extLst>
              <a:ext uri="{FF2B5EF4-FFF2-40B4-BE49-F238E27FC236}">
                <a16:creationId xmlns:a16="http://schemas.microsoft.com/office/drawing/2014/main" id="{3694ECD8-7F0E-4438-8524-59131EF51DCF}"/>
              </a:ext>
            </a:extLst>
          </p:cNvPr>
          <p:cNvPicPr>
            <a:picLocks noGrp="1" noChangeAspect="1"/>
          </p:cNvPicPr>
          <p:nvPr>
            <p:ph type="pic" sz="quarter" idx="13"/>
          </p:nvPr>
        </p:nvPicPr>
        <p:blipFill>
          <a:blip r:embed="rId2">
            <a:extLst>
              <a:ext uri="{28A0092B-C50C-407E-A947-70E740481C1C}">
                <a14:useLocalDpi xmlns:a14="http://schemas.microsoft.com/office/drawing/2010/main" val="0"/>
              </a:ext>
            </a:extLst>
          </a:blip>
          <a:srcRect t="7" b="7"/>
          <a:stretch>
            <a:fillRect/>
          </a:stretch>
        </p:blipFill>
        <p:spPr/>
      </p:pic>
      <p:sp>
        <p:nvSpPr>
          <p:cNvPr id="11" name="doOverlay">
            <a:extLst>
              <a:ext uri="{FF2B5EF4-FFF2-40B4-BE49-F238E27FC236}">
                <a16:creationId xmlns:a16="http://schemas.microsoft.com/office/drawing/2014/main" id="{5F50AAB9-526D-417D-A483-3DB895E3F74F}"/>
              </a:ext>
            </a:extLst>
          </p:cNvPr>
          <p:cNvSpPr/>
          <p:nvPr/>
        </p:nvSpPr>
        <p:spPr>
          <a:xfrm>
            <a:off x="-1588" y="0"/>
            <a:ext cx="12192000" cy="6858000"/>
          </a:xfrm>
          <a:prstGeom prst="rect">
            <a:avLst/>
          </a:prstGeom>
          <a:solidFill>
            <a:schemeClr val="accent1">
              <a:alpha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54000" bIns="54000" rtlCol="0" anchor="t" anchorCtr="0">
            <a:noAutofit/>
          </a:bodyPr>
          <a:lstStyle/>
          <a:p>
            <a:pPr algn="l">
              <a:lnSpc>
                <a:spcPct val="110000"/>
              </a:lnSpc>
            </a:pPr>
            <a:endParaRPr lang="en-US" sz="1400">
              <a:solidFill>
                <a:schemeClr val="tx1"/>
              </a:solidFill>
            </a:endParaRPr>
          </a:p>
        </p:txBody>
      </p:sp>
      <p:sp>
        <p:nvSpPr>
          <p:cNvPr id="4" name="Title 3">
            <a:extLst>
              <a:ext uri="{FF2B5EF4-FFF2-40B4-BE49-F238E27FC236}">
                <a16:creationId xmlns:a16="http://schemas.microsoft.com/office/drawing/2014/main" id="{825F0A6F-9FCE-4813-A5D2-652158B907C3}"/>
              </a:ext>
            </a:extLst>
          </p:cNvPr>
          <p:cNvSpPr>
            <a:spLocks noGrp="1"/>
          </p:cNvSpPr>
          <p:nvPr>
            <p:ph type="ctrTitle"/>
          </p:nvPr>
        </p:nvSpPr>
        <p:spPr/>
        <p:txBody>
          <a:bodyPr/>
          <a:lstStyle/>
          <a:p>
            <a:r>
              <a:rPr lang="en-US"/>
              <a:t>Phase 1: </a:t>
            </a:r>
            <a:br>
              <a:rPr lang="en-US"/>
            </a:br>
            <a:r>
              <a:rPr lang="en-US"/>
              <a:t>Claims Lab</a:t>
            </a:r>
          </a:p>
        </p:txBody>
      </p:sp>
      <p:pic>
        <p:nvPicPr>
          <p:cNvPr id="12" name="doLogoWhite">
            <a:extLst>
              <a:ext uri="{FF2B5EF4-FFF2-40B4-BE49-F238E27FC236}">
                <a16:creationId xmlns:a16="http://schemas.microsoft.com/office/drawing/2014/main" id="{5EB8363A-7E68-44C5-8ECD-AF3C7E3E07FE}"/>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559600" y="6364799"/>
            <a:ext cx="386197" cy="266610"/>
          </a:xfrm>
          <a:prstGeom prst="rect">
            <a:avLst/>
          </a:prstGeom>
        </p:spPr>
      </p:pic>
    </p:spTree>
    <p:extLst>
      <p:ext uri="{BB962C8B-B14F-4D97-AF65-F5344CB8AC3E}">
        <p14:creationId xmlns:p14="http://schemas.microsoft.com/office/powerpoint/2010/main" val="160942621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 name="Rectangle 73">
            <a:extLst>
              <a:ext uri="{FF2B5EF4-FFF2-40B4-BE49-F238E27FC236}">
                <a16:creationId xmlns:a16="http://schemas.microsoft.com/office/drawing/2014/main" id="{AB0E78A6-D71B-F292-CFF5-47089E38BECD}"/>
              </a:ext>
            </a:extLst>
          </p:cNvPr>
          <p:cNvSpPr/>
          <p:nvPr/>
        </p:nvSpPr>
        <p:spPr>
          <a:xfrm>
            <a:off x="389749" y="5290287"/>
            <a:ext cx="11107032" cy="107197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swald Light"/>
              <a:ea typeface="+mn-ea"/>
              <a:cs typeface="+mn-cs"/>
            </a:endParaRPr>
          </a:p>
        </p:txBody>
      </p:sp>
      <p:sp>
        <p:nvSpPr>
          <p:cNvPr id="72" name="Rectangle 71">
            <a:extLst>
              <a:ext uri="{FF2B5EF4-FFF2-40B4-BE49-F238E27FC236}">
                <a16:creationId xmlns:a16="http://schemas.microsoft.com/office/drawing/2014/main" id="{622D4C96-477C-A229-024E-F08919156835}"/>
              </a:ext>
            </a:extLst>
          </p:cNvPr>
          <p:cNvSpPr/>
          <p:nvPr/>
        </p:nvSpPr>
        <p:spPr>
          <a:xfrm>
            <a:off x="256702" y="3976099"/>
            <a:ext cx="11240079" cy="109616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swald Light"/>
              <a:ea typeface="+mn-ea"/>
              <a:cs typeface="+mn-cs"/>
            </a:endParaRPr>
          </a:p>
        </p:txBody>
      </p:sp>
      <p:sp>
        <p:nvSpPr>
          <p:cNvPr id="52" name="Rectangle 51">
            <a:extLst>
              <a:ext uri="{FF2B5EF4-FFF2-40B4-BE49-F238E27FC236}">
                <a16:creationId xmlns:a16="http://schemas.microsoft.com/office/drawing/2014/main" id="{2CC3922C-DE42-DD17-5517-FA8AB254C02D}"/>
              </a:ext>
            </a:extLst>
          </p:cNvPr>
          <p:cNvSpPr/>
          <p:nvPr/>
        </p:nvSpPr>
        <p:spPr>
          <a:xfrm>
            <a:off x="226030" y="1342501"/>
            <a:ext cx="11270751" cy="5150765"/>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swald Light"/>
              <a:ea typeface="+mn-ea"/>
              <a:cs typeface="+mn-cs"/>
            </a:endParaRPr>
          </a:p>
        </p:txBody>
      </p:sp>
      <p:sp>
        <p:nvSpPr>
          <p:cNvPr id="3" name="Espace réservé du pied de page 2">
            <a:extLst>
              <a:ext uri="{FF2B5EF4-FFF2-40B4-BE49-F238E27FC236}">
                <a16:creationId xmlns:a16="http://schemas.microsoft.com/office/drawing/2014/main" id="{0B263E91-A458-568D-9C67-DEC76D583EE9}"/>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all" spc="0" normalizeH="0" baseline="0" noProof="0">
                <a:ln>
                  <a:noFill/>
                </a:ln>
                <a:solidFill>
                  <a:srgbClr val="FFFFFF"/>
                </a:solidFill>
                <a:effectLst/>
                <a:uLnTx/>
                <a:uFillTx/>
                <a:latin typeface="Oswald SemiBold" pitchFamily="2" charset="0"/>
                <a:ea typeface="+mn-ea"/>
                <a:cs typeface="Aharoni" panose="02010803020104030203" pitchFamily="2" charset="-79"/>
              </a:rPr>
              <a:t>CLAIM LAB – STEP BY STEP</a:t>
            </a:r>
          </a:p>
        </p:txBody>
      </p:sp>
      <p:sp>
        <p:nvSpPr>
          <p:cNvPr id="4" name="Espace réservé du numéro de diapositive 3">
            <a:extLst>
              <a:ext uri="{FF2B5EF4-FFF2-40B4-BE49-F238E27FC236}">
                <a16:creationId xmlns:a16="http://schemas.microsoft.com/office/drawing/2014/main" id="{D68CEA24-E649-3976-336A-659E7AB6BB89}"/>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B5F9A4F6-7BA3-4126-88A5-A8B8CE7104E5}" type="slidenum">
              <a:rPr kumimoji="0" lang="en-GB" sz="1400" b="0" i="0" u="none" strike="noStrike" kern="1200" cap="none" spc="0" normalizeH="0" baseline="0" noProof="0" smtClean="0">
                <a:ln>
                  <a:noFill/>
                </a:ln>
                <a:solidFill>
                  <a:srgbClr val="FFFFFF"/>
                </a:solidFill>
                <a:effectLst/>
                <a:uLnTx/>
                <a:uFillTx/>
                <a:latin typeface="Oswald SemiBold" pitchFamily="2" charset="0"/>
                <a:ea typeface="+mn-ea"/>
                <a:cs typeface="Aharoni" panose="02010803020104030203" pitchFamily="2" charset="-79"/>
              </a:rPr>
              <a:pPr marL="0" marR="0" lvl="0" indent="0" algn="ctr" defTabSz="914400" rtl="0" eaLnBrk="1" fontAlgn="auto" latinLnBrk="0" hangingPunct="1">
                <a:lnSpc>
                  <a:spcPct val="100000"/>
                </a:lnSpc>
                <a:spcBef>
                  <a:spcPts val="0"/>
                </a:spcBef>
                <a:spcAft>
                  <a:spcPts val="0"/>
                </a:spcAft>
                <a:buClrTx/>
                <a:buSzTx/>
                <a:buFontTx/>
                <a:buNone/>
                <a:tabLst/>
                <a:defRPr/>
              </a:pPr>
              <a:t>22</a:t>
            </a:fld>
            <a:endParaRPr kumimoji="0" lang="en-GB" sz="1400" b="0" i="0" u="none" strike="noStrike" kern="1200" cap="none" spc="0" normalizeH="0" baseline="0" noProof="0">
              <a:ln>
                <a:noFill/>
              </a:ln>
              <a:solidFill>
                <a:srgbClr val="FFFFFF"/>
              </a:solidFill>
              <a:effectLst/>
              <a:uLnTx/>
              <a:uFillTx/>
              <a:latin typeface="Oswald SemiBold" pitchFamily="2" charset="0"/>
              <a:ea typeface="+mn-ea"/>
              <a:cs typeface="Aharoni" panose="02010803020104030203" pitchFamily="2" charset="-79"/>
            </a:endParaRPr>
          </a:p>
        </p:txBody>
      </p:sp>
      <p:sp>
        <p:nvSpPr>
          <p:cNvPr id="5" name="Espace réservé du texte 4">
            <a:extLst>
              <a:ext uri="{FF2B5EF4-FFF2-40B4-BE49-F238E27FC236}">
                <a16:creationId xmlns:a16="http://schemas.microsoft.com/office/drawing/2014/main" id="{EF052641-6D06-F100-8E98-305009DC5B20}"/>
              </a:ext>
            </a:extLst>
          </p:cNvPr>
          <p:cNvSpPr>
            <a:spLocks noGrp="1"/>
          </p:cNvSpPr>
          <p:nvPr>
            <p:ph type="body" sz="quarter" idx="13"/>
          </p:nvPr>
        </p:nvSpPr>
        <p:spPr>
          <a:xfrm>
            <a:off x="260320" y="238563"/>
            <a:ext cx="4496617" cy="400110"/>
          </a:xfrm>
        </p:spPr>
        <p:txBody>
          <a:bodyPr/>
          <a:lstStyle/>
          <a:p>
            <a:r>
              <a:rPr lang="en-US" sz="2400">
                <a:solidFill>
                  <a:schemeClr val="tx2"/>
                </a:solidFill>
              </a:rPr>
              <a:t>CLAIMs LAB STEP BY STEP</a:t>
            </a:r>
          </a:p>
        </p:txBody>
      </p:sp>
      <p:sp>
        <p:nvSpPr>
          <p:cNvPr id="6" name="Rectangle 5">
            <a:extLst>
              <a:ext uri="{FF2B5EF4-FFF2-40B4-BE49-F238E27FC236}">
                <a16:creationId xmlns:a16="http://schemas.microsoft.com/office/drawing/2014/main" id="{AB48BDF2-4D7A-0AEF-A013-18B1EAA794F3}"/>
              </a:ext>
            </a:extLst>
          </p:cNvPr>
          <p:cNvSpPr/>
          <p:nvPr/>
        </p:nvSpPr>
        <p:spPr>
          <a:xfrm>
            <a:off x="519879" y="2794559"/>
            <a:ext cx="1440000" cy="784612"/>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02677">
                    <a:lumMod val="20000"/>
                    <a:lumOff val="80000"/>
                  </a:srgbClr>
                </a:solidFill>
                <a:effectLst/>
                <a:uLnTx/>
                <a:uFillTx/>
                <a:latin typeface="Oswald Light"/>
                <a:ea typeface="+mn-ea"/>
                <a:cs typeface="+mn-cs"/>
              </a:rPr>
              <a:t>PRE-WORK</a:t>
            </a:r>
            <a:endParaRPr kumimoji="0" lang="en-US" sz="1400" b="0" i="0" u="none" strike="noStrike" kern="1200" cap="none" spc="0" normalizeH="0" baseline="0" noProof="0">
              <a:ln>
                <a:noFill/>
              </a:ln>
              <a:solidFill>
                <a:srgbClr val="002677">
                  <a:lumMod val="20000"/>
                  <a:lumOff val="80000"/>
                </a:srgbClr>
              </a:solidFill>
              <a:effectLst/>
              <a:uLnTx/>
              <a:uFillTx/>
              <a:latin typeface="Oswald Light"/>
              <a:ea typeface="+mn-ea"/>
              <a:cs typeface="+mn-cs"/>
            </a:endParaRPr>
          </a:p>
        </p:txBody>
      </p:sp>
      <p:sp>
        <p:nvSpPr>
          <p:cNvPr id="7" name="Rectangle 6">
            <a:extLst>
              <a:ext uri="{FF2B5EF4-FFF2-40B4-BE49-F238E27FC236}">
                <a16:creationId xmlns:a16="http://schemas.microsoft.com/office/drawing/2014/main" id="{88E86A9B-8E09-3C60-BFAD-D4B2CD2F73B5}"/>
              </a:ext>
            </a:extLst>
          </p:cNvPr>
          <p:cNvSpPr/>
          <p:nvPr/>
        </p:nvSpPr>
        <p:spPr>
          <a:xfrm>
            <a:off x="4300007" y="2794647"/>
            <a:ext cx="1440000" cy="784612"/>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0B0F0"/>
                </a:solidFill>
                <a:effectLst/>
                <a:uLnTx/>
                <a:uFillTx/>
                <a:latin typeface="Oswald Light"/>
                <a:ea typeface="+mn-ea"/>
                <a:cs typeface="+mn-cs"/>
              </a:rPr>
              <a:t>IDEATE</a:t>
            </a:r>
            <a:endParaRPr kumimoji="0" lang="en-US" sz="1400" b="1" i="0" u="none" strike="noStrike" kern="1200" cap="none" spc="0" normalizeH="0" baseline="0" noProof="0">
              <a:ln>
                <a:noFill/>
              </a:ln>
              <a:solidFill>
                <a:srgbClr val="00B0F0"/>
              </a:solidFill>
              <a:effectLst/>
              <a:uLnTx/>
              <a:uFillTx/>
              <a:latin typeface="Oswald Light"/>
              <a:ea typeface="+mn-ea"/>
              <a:cs typeface="+mn-cs"/>
            </a:endParaRPr>
          </a:p>
        </p:txBody>
      </p:sp>
      <p:sp>
        <p:nvSpPr>
          <p:cNvPr id="11" name="Freeform 6">
            <a:extLst>
              <a:ext uri="{FF2B5EF4-FFF2-40B4-BE49-F238E27FC236}">
                <a16:creationId xmlns:a16="http://schemas.microsoft.com/office/drawing/2014/main" id="{7597F6BC-7B03-C0F1-182F-2CD21151CBA4}"/>
              </a:ext>
            </a:extLst>
          </p:cNvPr>
          <p:cNvSpPr>
            <a:spLocks noChangeAspect="1"/>
          </p:cNvSpPr>
          <p:nvPr/>
        </p:nvSpPr>
        <p:spPr bwMode="auto">
          <a:xfrm>
            <a:off x="2057403" y="2877413"/>
            <a:ext cx="255016" cy="639758"/>
          </a:xfrm>
          <a:custGeom>
            <a:avLst/>
            <a:gdLst>
              <a:gd name="T0" fmla="*/ 0 w 240"/>
              <a:gd name="T1" fmla="*/ 48 h 1200"/>
              <a:gd name="T2" fmla="*/ 86 w 240"/>
              <a:gd name="T3" fmla="*/ 600 h 1200"/>
              <a:gd name="T4" fmla="*/ 0 w 240"/>
              <a:gd name="T5" fmla="*/ 1152 h 1200"/>
              <a:gd name="T6" fmla="*/ 19 w 240"/>
              <a:gd name="T7" fmla="*/ 1200 h 1200"/>
              <a:gd name="T8" fmla="*/ 240 w 240"/>
              <a:gd name="T9" fmla="*/ 600 h 1200"/>
              <a:gd name="T10" fmla="*/ 19 w 240"/>
              <a:gd name="T11" fmla="*/ 0 h 1200"/>
              <a:gd name="T12" fmla="*/ 0 w 240"/>
              <a:gd name="T13" fmla="*/ 48 h 1200"/>
            </a:gdLst>
            <a:ahLst/>
            <a:cxnLst>
              <a:cxn ang="0">
                <a:pos x="T0" y="T1"/>
              </a:cxn>
              <a:cxn ang="0">
                <a:pos x="T2" y="T3"/>
              </a:cxn>
              <a:cxn ang="0">
                <a:pos x="T4" y="T5"/>
              </a:cxn>
              <a:cxn ang="0">
                <a:pos x="T6" y="T7"/>
              </a:cxn>
              <a:cxn ang="0">
                <a:pos x="T8" y="T9"/>
              </a:cxn>
              <a:cxn ang="0">
                <a:pos x="T10" y="T11"/>
              </a:cxn>
              <a:cxn ang="0">
                <a:pos x="T12" y="T13"/>
              </a:cxn>
            </a:cxnLst>
            <a:rect l="0" t="0" r="r" b="b"/>
            <a:pathLst>
              <a:path w="240" h="1200">
                <a:moveTo>
                  <a:pt x="0" y="48"/>
                </a:moveTo>
                <a:cubicBezTo>
                  <a:pt x="16" y="96"/>
                  <a:pt x="86" y="416"/>
                  <a:pt x="86" y="600"/>
                </a:cubicBezTo>
                <a:cubicBezTo>
                  <a:pt x="86" y="784"/>
                  <a:pt x="16" y="1104"/>
                  <a:pt x="0" y="1152"/>
                </a:cubicBezTo>
                <a:cubicBezTo>
                  <a:pt x="9" y="1176"/>
                  <a:pt x="19" y="1200"/>
                  <a:pt x="19" y="1200"/>
                </a:cubicBezTo>
                <a:lnTo>
                  <a:pt x="240" y="600"/>
                </a:lnTo>
                <a:lnTo>
                  <a:pt x="19" y="0"/>
                </a:lnTo>
                <a:cubicBezTo>
                  <a:pt x="19" y="0"/>
                  <a:pt x="0" y="48"/>
                  <a:pt x="0" y="48"/>
                </a:cubicBezTo>
                <a:close/>
              </a:path>
            </a:pathLst>
          </a:custGeom>
          <a:solidFill>
            <a:schemeClr val="accent1"/>
          </a:solidFill>
          <a:ln>
            <a:noFill/>
          </a:ln>
          <a:effectLst/>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fr-FR" sz="1000" b="0" i="0" u="none" strike="noStrike" kern="1200" cap="none" spc="0" normalizeH="0" baseline="0" noProof="0">
              <a:ln>
                <a:noFill/>
              </a:ln>
              <a:solidFill>
                <a:prstClr val="black"/>
              </a:solidFill>
              <a:effectLst/>
              <a:uLnTx/>
              <a:uFillTx/>
              <a:latin typeface="Century Gothic"/>
              <a:ea typeface="ＭＳ Ｐゴシック" charset="0"/>
              <a:cs typeface="ＭＳ Ｐゴシック" charset="0"/>
            </a:endParaRPr>
          </a:p>
        </p:txBody>
      </p:sp>
      <p:sp>
        <p:nvSpPr>
          <p:cNvPr id="15" name="Freeform 6">
            <a:extLst>
              <a:ext uri="{FF2B5EF4-FFF2-40B4-BE49-F238E27FC236}">
                <a16:creationId xmlns:a16="http://schemas.microsoft.com/office/drawing/2014/main" id="{223A44D5-B82B-39D0-7559-1EEDC902C1FD}"/>
              </a:ext>
            </a:extLst>
          </p:cNvPr>
          <p:cNvSpPr>
            <a:spLocks noChangeAspect="1"/>
          </p:cNvSpPr>
          <p:nvPr/>
        </p:nvSpPr>
        <p:spPr bwMode="auto">
          <a:xfrm>
            <a:off x="5837531" y="2866985"/>
            <a:ext cx="255016" cy="639758"/>
          </a:xfrm>
          <a:custGeom>
            <a:avLst/>
            <a:gdLst>
              <a:gd name="T0" fmla="*/ 0 w 240"/>
              <a:gd name="T1" fmla="*/ 48 h 1200"/>
              <a:gd name="T2" fmla="*/ 86 w 240"/>
              <a:gd name="T3" fmla="*/ 600 h 1200"/>
              <a:gd name="T4" fmla="*/ 0 w 240"/>
              <a:gd name="T5" fmla="*/ 1152 h 1200"/>
              <a:gd name="T6" fmla="*/ 19 w 240"/>
              <a:gd name="T7" fmla="*/ 1200 h 1200"/>
              <a:gd name="T8" fmla="*/ 240 w 240"/>
              <a:gd name="T9" fmla="*/ 600 h 1200"/>
              <a:gd name="T10" fmla="*/ 19 w 240"/>
              <a:gd name="T11" fmla="*/ 0 h 1200"/>
              <a:gd name="T12" fmla="*/ 0 w 240"/>
              <a:gd name="T13" fmla="*/ 48 h 1200"/>
            </a:gdLst>
            <a:ahLst/>
            <a:cxnLst>
              <a:cxn ang="0">
                <a:pos x="T0" y="T1"/>
              </a:cxn>
              <a:cxn ang="0">
                <a:pos x="T2" y="T3"/>
              </a:cxn>
              <a:cxn ang="0">
                <a:pos x="T4" y="T5"/>
              </a:cxn>
              <a:cxn ang="0">
                <a:pos x="T6" y="T7"/>
              </a:cxn>
              <a:cxn ang="0">
                <a:pos x="T8" y="T9"/>
              </a:cxn>
              <a:cxn ang="0">
                <a:pos x="T10" y="T11"/>
              </a:cxn>
              <a:cxn ang="0">
                <a:pos x="T12" y="T13"/>
              </a:cxn>
            </a:cxnLst>
            <a:rect l="0" t="0" r="r" b="b"/>
            <a:pathLst>
              <a:path w="240" h="1200">
                <a:moveTo>
                  <a:pt x="0" y="48"/>
                </a:moveTo>
                <a:cubicBezTo>
                  <a:pt x="16" y="96"/>
                  <a:pt x="86" y="416"/>
                  <a:pt x="86" y="600"/>
                </a:cubicBezTo>
                <a:cubicBezTo>
                  <a:pt x="86" y="784"/>
                  <a:pt x="16" y="1104"/>
                  <a:pt x="0" y="1152"/>
                </a:cubicBezTo>
                <a:cubicBezTo>
                  <a:pt x="9" y="1176"/>
                  <a:pt x="19" y="1200"/>
                  <a:pt x="19" y="1200"/>
                </a:cubicBezTo>
                <a:lnTo>
                  <a:pt x="240" y="600"/>
                </a:lnTo>
                <a:lnTo>
                  <a:pt x="19" y="0"/>
                </a:lnTo>
                <a:cubicBezTo>
                  <a:pt x="19" y="0"/>
                  <a:pt x="0" y="48"/>
                  <a:pt x="0" y="48"/>
                </a:cubicBezTo>
                <a:close/>
              </a:path>
            </a:pathLst>
          </a:custGeom>
          <a:solidFill>
            <a:schemeClr val="accent1"/>
          </a:solidFill>
          <a:ln>
            <a:noFill/>
          </a:ln>
          <a:effectLst/>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fr-FR" sz="1000" b="0" i="0" u="none" strike="noStrike" kern="1200" cap="none" spc="0" normalizeH="0" baseline="0" noProof="0">
              <a:ln>
                <a:noFill/>
              </a:ln>
              <a:solidFill>
                <a:prstClr val="black"/>
              </a:solidFill>
              <a:effectLst/>
              <a:uLnTx/>
              <a:uFillTx/>
              <a:latin typeface="Century Gothic"/>
              <a:ea typeface="ＭＳ Ｐゴシック" charset="0"/>
              <a:cs typeface="ＭＳ Ｐゴシック" charset="0"/>
            </a:endParaRPr>
          </a:p>
        </p:txBody>
      </p:sp>
      <p:sp>
        <p:nvSpPr>
          <p:cNvPr id="18" name="ZoneTexte 17">
            <a:extLst>
              <a:ext uri="{FF2B5EF4-FFF2-40B4-BE49-F238E27FC236}">
                <a16:creationId xmlns:a16="http://schemas.microsoft.com/office/drawing/2014/main" id="{7AD3E739-5DEA-782A-A982-4C37CAFC5563}"/>
              </a:ext>
            </a:extLst>
          </p:cNvPr>
          <p:cNvSpPr txBox="1"/>
          <p:nvPr/>
        </p:nvSpPr>
        <p:spPr>
          <a:xfrm>
            <a:off x="163585" y="599459"/>
            <a:ext cx="2682985" cy="400110"/>
          </a:xfrm>
          <a:prstGeom prst="rect">
            <a:avLst/>
          </a:prstGeom>
          <a:solidFill>
            <a:schemeClr val="bg1"/>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1" u="none" strike="noStrike" kern="1200" cap="none" spc="0" normalizeH="0" baseline="0" noProof="0">
                <a:ln>
                  <a:noFill/>
                </a:ln>
                <a:solidFill>
                  <a:srgbClr val="002677"/>
                </a:solidFill>
                <a:effectLst/>
                <a:uLnTx/>
                <a:uFillTx/>
                <a:latin typeface="Oswald Light"/>
                <a:ea typeface="+mn-ea"/>
                <a:cs typeface="+mn-cs"/>
              </a:rPr>
              <a:t>Claim Generation Process</a:t>
            </a:r>
          </a:p>
        </p:txBody>
      </p:sp>
      <p:sp>
        <p:nvSpPr>
          <p:cNvPr id="19" name="Rectangle 18">
            <a:extLst>
              <a:ext uri="{FF2B5EF4-FFF2-40B4-BE49-F238E27FC236}">
                <a16:creationId xmlns:a16="http://schemas.microsoft.com/office/drawing/2014/main" id="{47D5AB39-1A65-253E-32D1-889E5BFA27DE}"/>
              </a:ext>
            </a:extLst>
          </p:cNvPr>
          <p:cNvSpPr/>
          <p:nvPr/>
        </p:nvSpPr>
        <p:spPr>
          <a:xfrm>
            <a:off x="2409943" y="2794559"/>
            <a:ext cx="1440000" cy="784612"/>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02060"/>
                </a:solidFill>
                <a:effectLst/>
                <a:uLnTx/>
                <a:uFillTx/>
                <a:latin typeface="Oswald Light"/>
                <a:ea typeface="+mn-ea"/>
                <a:cs typeface="+mn-cs"/>
              </a:rPr>
              <a:t>IMMERSE</a:t>
            </a:r>
            <a:endParaRPr kumimoji="0" lang="en-US" sz="1400" b="0" i="0" u="none" strike="noStrike" kern="1200" cap="none" spc="0" normalizeH="0" baseline="0" noProof="0">
              <a:ln>
                <a:noFill/>
              </a:ln>
              <a:solidFill>
                <a:srgbClr val="002060"/>
              </a:solidFill>
              <a:effectLst/>
              <a:uLnTx/>
              <a:uFillTx/>
              <a:latin typeface="Oswald Light"/>
              <a:ea typeface="+mn-ea"/>
              <a:cs typeface="+mn-cs"/>
            </a:endParaRPr>
          </a:p>
        </p:txBody>
      </p:sp>
      <p:sp>
        <p:nvSpPr>
          <p:cNvPr id="20" name="Freeform 6">
            <a:extLst>
              <a:ext uri="{FF2B5EF4-FFF2-40B4-BE49-F238E27FC236}">
                <a16:creationId xmlns:a16="http://schemas.microsoft.com/office/drawing/2014/main" id="{2E18D7FF-E6C0-EE94-94B2-D56B6511D963}"/>
              </a:ext>
            </a:extLst>
          </p:cNvPr>
          <p:cNvSpPr>
            <a:spLocks noChangeAspect="1"/>
          </p:cNvSpPr>
          <p:nvPr/>
        </p:nvSpPr>
        <p:spPr bwMode="auto">
          <a:xfrm>
            <a:off x="3947467" y="2877413"/>
            <a:ext cx="255016" cy="639758"/>
          </a:xfrm>
          <a:custGeom>
            <a:avLst/>
            <a:gdLst>
              <a:gd name="T0" fmla="*/ 0 w 240"/>
              <a:gd name="T1" fmla="*/ 48 h 1200"/>
              <a:gd name="T2" fmla="*/ 86 w 240"/>
              <a:gd name="T3" fmla="*/ 600 h 1200"/>
              <a:gd name="T4" fmla="*/ 0 w 240"/>
              <a:gd name="T5" fmla="*/ 1152 h 1200"/>
              <a:gd name="T6" fmla="*/ 19 w 240"/>
              <a:gd name="T7" fmla="*/ 1200 h 1200"/>
              <a:gd name="T8" fmla="*/ 240 w 240"/>
              <a:gd name="T9" fmla="*/ 600 h 1200"/>
              <a:gd name="T10" fmla="*/ 19 w 240"/>
              <a:gd name="T11" fmla="*/ 0 h 1200"/>
              <a:gd name="T12" fmla="*/ 0 w 240"/>
              <a:gd name="T13" fmla="*/ 48 h 1200"/>
            </a:gdLst>
            <a:ahLst/>
            <a:cxnLst>
              <a:cxn ang="0">
                <a:pos x="T0" y="T1"/>
              </a:cxn>
              <a:cxn ang="0">
                <a:pos x="T2" y="T3"/>
              </a:cxn>
              <a:cxn ang="0">
                <a:pos x="T4" y="T5"/>
              </a:cxn>
              <a:cxn ang="0">
                <a:pos x="T6" y="T7"/>
              </a:cxn>
              <a:cxn ang="0">
                <a:pos x="T8" y="T9"/>
              </a:cxn>
              <a:cxn ang="0">
                <a:pos x="T10" y="T11"/>
              </a:cxn>
              <a:cxn ang="0">
                <a:pos x="T12" y="T13"/>
              </a:cxn>
            </a:cxnLst>
            <a:rect l="0" t="0" r="r" b="b"/>
            <a:pathLst>
              <a:path w="240" h="1200">
                <a:moveTo>
                  <a:pt x="0" y="48"/>
                </a:moveTo>
                <a:cubicBezTo>
                  <a:pt x="16" y="96"/>
                  <a:pt x="86" y="416"/>
                  <a:pt x="86" y="600"/>
                </a:cubicBezTo>
                <a:cubicBezTo>
                  <a:pt x="86" y="784"/>
                  <a:pt x="16" y="1104"/>
                  <a:pt x="0" y="1152"/>
                </a:cubicBezTo>
                <a:cubicBezTo>
                  <a:pt x="9" y="1176"/>
                  <a:pt x="19" y="1200"/>
                  <a:pt x="19" y="1200"/>
                </a:cubicBezTo>
                <a:lnTo>
                  <a:pt x="240" y="600"/>
                </a:lnTo>
                <a:lnTo>
                  <a:pt x="19" y="0"/>
                </a:lnTo>
                <a:cubicBezTo>
                  <a:pt x="19" y="0"/>
                  <a:pt x="0" y="48"/>
                  <a:pt x="0" y="48"/>
                </a:cubicBezTo>
                <a:close/>
              </a:path>
            </a:pathLst>
          </a:custGeom>
          <a:solidFill>
            <a:schemeClr val="accent1"/>
          </a:solidFill>
          <a:ln>
            <a:noFill/>
          </a:ln>
          <a:effectLst/>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fr-FR" sz="1000" b="0" i="0" u="none" strike="noStrike" kern="1200" cap="none" spc="0" normalizeH="0" baseline="0" noProof="0">
              <a:ln>
                <a:noFill/>
              </a:ln>
              <a:solidFill>
                <a:prstClr val="black"/>
              </a:solidFill>
              <a:effectLst/>
              <a:uLnTx/>
              <a:uFillTx/>
              <a:latin typeface="Century Gothic"/>
              <a:ea typeface="ＭＳ Ｐゴシック" charset="0"/>
              <a:cs typeface="ＭＳ Ｐゴシック" charset="0"/>
            </a:endParaRPr>
          </a:p>
        </p:txBody>
      </p:sp>
      <p:sp>
        <p:nvSpPr>
          <p:cNvPr id="21" name="Ellipse 20">
            <a:extLst>
              <a:ext uri="{FF2B5EF4-FFF2-40B4-BE49-F238E27FC236}">
                <a16:creationId xmlns:a16="http://schemas.microsoft.com/office/drawing/2014/main" id="{13A39EF5-3F0E-147C-D058-42BC2070B142}"/>
              </a:ext>
            </a:extLst>
          </p:cNvPr>
          <p:cNvSpPr>
            <a:spLocks noChangeAspect="1"/>
          </p:cNvSpPr>
          <p:nvPr/>
        </p:nvSpPr>
        <p:spPr>
          <a:xfrm>
            <a:off x="989243" y="2096309"/>
            <a:ext cx="589724" cy="589724"/>
          </a:xfrm>
          <a:prstGeom prst="ellipse">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85000"/>
              </a:lnSpc>
              <a:spcBef>
                <a:spcPts val="0"/>
              </a:spcBef>
              <a:spcAft>
                <a:spcPts val="0"/>
              </a:spcAft>
              <a:buClrTx/>
              <a:buSzTx/>
              <a:buFontTx/>
              <a:buNone/>
              <a:tabLst/>
              <a:defRPr/>
            </a:pPr>
            <a:r>
              <a:rPr kumimoji="0" lang="fr-FR" sz="2800" b="0" i="0" u="none" strike="noStrike" kern="1200" cap="none" spc="0" normalizeH="0" baseline="0" noProof="0">
                <a:ln>
                  <a:noFill/>
                </a:ln>
                <a:solidFill>
                  <a:srgbClr val="FFFFFF"/>
                </a:solidFill>
                <a:effectLst/>
                <a:uLnTx/>
                <a:uFillTx/>
                <a:latin typeface="Oswald SemiBold"/>
                <a:ea typeface="+mn-ea"/>
                <a:cs typeface="+mn-cs"/>
              </a:rPr>
              <a:t>0</a:t>
            </a:r>
          </a:p>
        </p:txBody>
      </p:sp>
      <p:sp>
        <p:nvSpPr>
          <p:cNvPr id="22" name="Rectangle 21">
            <a:extLst>
              <a:ext uri="{FF2B5EF4-FFF2-40B4-BE49-F238E27FC236}">
                <a16:creationId xmlns:a16="http://schemas.microsoft.com/office/drawing/2014/main" id="{1A826021-6675-8CDE-480A-DC79EAF85C11}"/>
              </a:ext>
            </a:extLst>
          </p:cNvPr>
          <p:cNvSpPr/>
          <p:nvPr/>
        </p:nvSpPr>
        <p:spPr>
          <a:xfrm>
            <a:off x="6190071" y="2794559"/>
            <a:ext cx="1440000" cy="784612"/>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EBB6EC">
                    <a:lumMod val="50000"/>
                  </a:srgbClr>
                </a:solidFill>
                <a:effectLst/>
                <a:uLnTx/>
                <a:uFillTx/>
                <a:latin typeface="Oswald Light"/>
                <a:ea typeface="+mn-ea"/>
                <a:cs typeface="+mn-cs"/>
              </a:rPr>
              <a:t>SCREEN &amp; REFINE</a:t>
            </a:r>
            <a:endParaRPr kumimoji="0" lang="en-US" sz="1600" b="0" i="0" u="none" strike="noStrike" kern="1200" cap="none" spc="0" normalizeH="0" baseline="0" noProof="0">
              <a:ln>
                <a:noFill/>
              </a:ln>
              <a:solidFill>
                <a:srgbClr val="EBB6EC">
                  <a:lumMod val="50000"/>
                </a:srgbClr>
              </a:solidFill>
              <a:effectLst/>
              <a:uLnTx/>
              <a:uFillTx/>
              <a:latin typeface="Oswald Light"/>
              <a:ea typeface="+mn-ea"/>
              <a:cs typeface="+mn-cs"/>
            </a:endParaRPr>
          </a:p>
        </p:txBody>
      </p:sp>
      <p:cxnSp>
        <p:nvCxnSpPr>
          <p:cNvPr id="25" name="Connecteur droit 24">
            <a:extLst>
              <a:ext uri="{FF2B5EF4-FFF2-40B4-BE49-F238E27FC236}">
                <a16:creationId xmlns:a16="http://schemas.microsoft.com/office/drawing/2014/main" id="{5FB65750-6894-9768-6A64-7EA5E99B099D}"/>
              </a:ext>
            </a:extLst>
          </p:cNvPr>
          <p:cNvCxnSpPr>
            <a:cxnSpLocks/>
          </p:cNvCxnSpPr>
          <p:nvPr/>
        </p:nvCxnSpPr>
        <p:spPr>
          <a:xfrm>
            <a:off x="2475413" y="6186336"/>
            <a:ext cx="7044722" cy="0"/>
          </a:xfrm>
          <a:prstGeom prst="line">
            <a:avLst/>
          </a:prstGeom>
          <a:ln>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26" name="ZoneTexte 25">
            <a:extLst>
              <a:ext uri="{FF2B5EF4-FFF2-40B4-BE49-F238E27FC236}">
                <a16:creationId xmlns:a16="http://schemas.microsoft.com/office/drawing/2014/main" id="{0A6D5E42-63A7-5768-37D4-B1D9E82A9DCE}"/>
              </a:ext>
            </a:extLst>
          </p:cNvPr>
          <p:cNvSpPr txBox="1"/>
          <p:nvPr/>
        </p:nvSpPr>
        <p:spPr>
          <a:xfrm>
            <a:off x="4283594" y="5280369"/>
            <a:ext cx="3155622"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1" u="none" strike="noStrike" kern="1200" cap="none" spc="0" normalizeH="0" baseline="0" noProof="0">
                <a:ln>
                  <a:noFill/>
                </a:ln>
                <a:solidFill>
                  <a:sysClr val="windowText" lastClr="000000"/>
                </a:solidFill>
                <a:effectLst/>
                <a:uLnTx/>
                <a:uFillTx/>
                <a:latin typeface="Oswald Light"/>
                <a:ea typeface="+mn-ea"/>
                <a:cs typeface="+mn-cs"/>
              </a:rPr>
              <a:t>CLAIM LAB duration </a:t>
            </a:r>
            <a:r>
              <a:rPr kumimoji="0" lang="en-US" sz="1100" b="0" i="1" u="none" strike="noStrike" kern="1200" cap="none" spc="0" normalizeH="0" baseline="0" noProof="0">
                <a:ln>
                  <a:noFill/>
                </a:ln>
                <a:solidFill>
                  <a:sysClr val="windowText" lastClr="000000"/>
                </a:solidFill>
                <a:effectLst/>
                <a:uLnTx/>
                <a:uFillTx/>
                <a:latin typeface="Oswald Light"/>
                <a:ea typeface="+mn-ea"/>
                <a:cs typeface="+mn-cs"/>
              </a:rPr>
              <a:t>(4-5 hours session including breaks)</a:t>
            </a:r>
            <a:endParaRPr kumimoji="0" lang="en-US" sz="1400" b="0" i="1" u="none" strike="noStrike" kern="1200" cap="none" spc="0" normalizeH="0" baseline="0" noProof="0">
              <a:ln>
                <a:noFill/>
              </a:ln>
              <a:solidFill>
                <a:sysClr val="windowText" lastClr="000000"/>
              </a:solidFill>
              <a:effectLst/>
              <a:uLnTx/>
              <a:uFillTx/>
              <a:latin typeface="Oswald Light"/>
              <a:ea typeface="+mn-ea"/>
              <a:cs typeface="+mn-cs"/>
            </a:endParaRPr>
          </a:p>
        </p:txBody>
      </p:sp>
      <p:cxnSp>
        <p:nvCxnSpPr>
          <p:cNvPr id="38" name="Connecteur droit 37">
            <a:extLst>
              <a:ext uri="{FF2B5EF4-FFF2-40B4-BE49-F238E27FC236}">
                <a16:creationId xmlns:a16="http://schemas.microsoft.com/office/drawing/2014/main" id="{2AC7CD36-4C34-8CCE-380F-75161D9CA173}"/>
              </a:ext>
            </a:extLst>
          </p:cNvPr>
          <p:cNvCxnSpPr>
            <a:cxnSpLocks/>
          </p:cNvCxnSpPr>
          <p:nvPr/>
        </p:nvCxnSpPr>
        <p:spPr>
          <a:xfrm>
            <a:off x="566826" y="6186336"/>
            <a:ext cx="1653591" cy="0"/>
          </a:xfrm>
          <a:prstGeom prst="line">
            <a:avLst/>
          </a:prstGeom>
          <a:ln>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40" name="ZoneTexte 39">
            <a:extLst>
              <a:ext uri="{FF2B5EF4-FFF2-40B4-BE49-F238E27FC236}">
                <a16:creationId xmlns:a16="http://schemas.microsoft.com/office/drawing/2014/main" id="{FDC10FAD-B6BB-6DAA-5D2B-A162EC7FE5AD}"/>
              </a:ext>
            </a:extLst>
          </p:cNvPr>
          <p:cNvSpPr txBox="1"/>
          <p:nvPr/>
        </p:nvSpPr>
        <p:spPr>
          <a:xfrm>
            <a:off x="581141" y="5550314"/>
            <a:ext cx="1670625" cy="492443"/>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1" u="none" strike="noStrike" kern="1200" cap="none" spc="0" normalizeH="0" baseline="0" noProof="0">
                <a:ln>
                  <a:noFill/>
                </a:ln>
                <a:solidFill>
                  <a:sysClr val="windowText" lastClr="000000"/>
                </a:solidFill>
                <a:effectLst/>
                <a:uLnTx/>
                <a:uFillTx/>
                <a:latin typeface="Oswald Light"/>
                <a:ea typeface="+mn-ea"/>
                <a:cs typeface="+mn-cs"/>
              </a:rPr>
              <a:t>Preparatory tim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1" u="none" strike="noStrike" kern="1200" cap="none" spc="0" normalizeH="0" baseline="0" noProof="0">
                <a:ln>
                  <a:noFill/>
                </a:ln>
                <a:solidFill>
                  <a:sysClr val="windowText" lastClr="000000"/>
                </a:solidFill>
                <a:effectLst/>
                <a:uLnTx/>
                <a:uFillTx/>
                <a:latin typeface="Oswald Light"/>
                <a:ea typeface="+mn-ea"/>
                <a:cs typeface="+mn-cs"/>
              </a:rPr>
              <a:t>(2 weeks before the Claim Lab)</a:t>
            </a:r>
          </a:p>
        </p:txBody>
      </p:sp>
      <p:sp>
        <p:nvSpPr>
          <p:cNvPr id="35" name="Rectangle 34">
            <a:extLst>
              <a:ext uri="{FF2B5EF4-FFF2-40B4-BE49-F238E27FC236}">
                <a16:creationId xmlns:a16="http://schemas.microsoft.com/office/drawing/2014/main" id="{D3672EE7-C9FD-95D3-0566-024B4719D925}"/>
              </a:ext>
            </a:extLst>
          </p:cNvPr>
          <p:cNvSpPr/>
          <p:nvPr/>
        </p:nvSpPr>
        <p:spPr>
          <a:xfrm>
            <a:off x="8080135" y="2794559"/>
            <a:ext cx="1440000" cy="784612"/>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FE9C28"/>
                </a:solidFill>
                <a:effectLst/>
                <a:uLnTx/>
                <a:uFillTx/>
                <a:latin typeface="Oswald Light"/>
                <a:ea typeface="+mn-ea"/>
                <a:cs typeface="+mn-cs"/>
              </a:rPr>
              <a:t>FINALIZE</a:t>
            </a:r>
            <a:endParaRPr kumimoji="0" lang="en-US" sz="1600" b="0" i="0" u="none" strike="noStrike" kern="1200" cap="none" spc="0" normalizeH="0" baseline="0" noProof="0">
              <a:ln>
                <a:noFill/>
              </a:ln>
              <a:solidFill>
                <a:srgbClr val="FE9C28"/>
              </a:solidFill>
              <a:effectLst/>
              <a:uLnTx/>
              <a:uFillTx/>
              <a:latin typeface="Oswald Light"/>
              <a:ea typeface="+mn-ea"/>
              <a:cs typeface="+mn-cs"/>
            </a:endParaRPr>
          </a:p>
        </p:txBody>
      </p:sp>
      <p:sp>
        <p:nvSpPr>
          <p:cNvPr id="36" name="Freeform 6">
            <a:extLst>
              <a:ext uri="{FF2B5EF4-FFF2-40B4-BE49-F238E27FC236}">
                <a16:creationId xmlns:a16="http://schemas.microsoft.com/office/drawing/2014/main" id="{A3CE5B96-B5C9-3AFF-84F0-CF0267D39595}"/>
              </a:ext>
            </a:extLst>
          </p:cNvPr>
          <p:cNvSpPr>
            <a:spLocks noChangeAspect="1"/>
          </p:cNvSpPr>
          <p:nvPr/>
        </p:nvSpPr>
        <p:spPr bwMode="auto">
          <a:xfrm>
            <a:off x="7727595" y="2866985"/>
            <a:ext cx="255016" cy="639758"/>
          </a:xfrm>
          <a:custGeom>
            <a:avLst/>
            <a:gdLst>
              <a:gd name="T0" fmla="*/ 0 w 240"/>
              <a:gd name="T1" fmla="*/ 48 h 1200"/>
              <a:gd name="T2" fmla="*/ 86 w 240"/>
              <a:gd name="T3" fmla="*/ 600 h 1200"/>
              <a:gd name="T4" fmla="*/ 0 w 240"/>
              <a:gd name="T5" fmla="*/ 1152 h 1200"/>
              <a:gd name="T6" fmla="*/ 19 w 240"/>
              <a:gd name="T7" fmla="*/ 1200 h 1200"/>
              <a:gd name="T8" fmla="*/ 240 w 240"/>
              <a:gd name="T9" fmla="*/ 600 h 1200"/>
              <a:gd name="T10" fmla="*/ 19 w 240"/>
              <a:gd name="T11" fmla="*/ 0 h 1200"/>
              <a:gd name="T12" fmla="*/ 0 w 240"/>
              <a:gd name="T13" fmla="*/ 48 h 1200"/>
            </a:gdLst>
            <a:ahLst/>
            <a:cxnLst>
              <a:cxn ang="0">
                <a:pos x="T0" y="T1"/>
              </a:cxn>
              <a:cxn ang="0">
                <a:pos x="T2" y="T3"/>
              </a:cxn>
              <a:cxn ang="0">
                <a:pos x="T4" y="T5"/>
              </a:cxn>
              <a:cxn ang="0">
                <a:pos x="T6" y="T7"/>
              </a:cxn>
              <a:cxn ang="0">
                <a:pos x="T8" y="T9"/>
              </a:cxn>
              <a:cxn ang="0">
                <a:pos x="T10" y="T11"/>
              </a:cxn>
              <a:cxn ang="0">
                <a:pos x="T12" y="T13"/>
              </a:cxn>
            </a:cxnLst>
            <a:rect l="0" t="0" r="r" b="b"/>
            <a:pathLst>
              <a:path w="240" h="1200">
                <a:moveTo>
                  <a:pt x="0" y="48"/>
                </a:moveTo>
                <a:cubicBezTo>
                  <a:pt x="16" y="96"/>
                  <a:pt x="86" y="416"/>
                  <a:pt x="86" y="600"/>
                </a:cubicBezTo>
                <a:cubicBezTo>
                  <a:pt x="86" y="784"/>
                  <a:pt x="16" y="1104"/>
                  <a:pt x="0" y="1152"/>
                </a:cubicBezTo>
                <a:cubicBezTo>
                  <a:pt x="9" y="1176"/>
                  <a:pt x="19" y="1200"/>
                  <a:pt x="19" y="1200"/>
                </a:cubicBezTo>
                <a:lnTo>
                  <a:pt x="240" y="600"/>
                </a:lnTo>
                <a:lnTo>
                  <a:pt x="19" y="0"/>
                </a:lnTo>
                <a:cubicBezTo>
                  <a:pt x="19" y="0"/>
                  <a:pt x="0" y="48"/>
                  <a:pt x="0" y="48"/>
                </a:cubicBezTo>
                <a:close/>
              </a:path>
            </a:pathLst>
          </a:custGeom>
          <a:solidFill>
            <a:schemeClr val="accent1"/>
          </a:solidFill>
          <a:ln>
            <a:noFill/>
          </a:ln>
          <a:effectLst/>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fr-FR" sz="1000" b="0" i="0" u="none" strike="noStrike" kern="1200" cap="none" spc="0" normalizeH="0" baseline="0" noProof="0">
              <a:ln>
                <a:noFill/>
              </a:ln>
              <a:solidFill>
                <a:prstClr val="black"/>
              </a:solidFill>
              <a:effectLst/>
              <a:uLnTx/>
              <a:uFillTx/>
              <a:latin typeface="Century Gothic"/>
              <a:ea typeface="ＭＳ Ｐゴシック" charset="0"/>
              <a:cs typeface="ＭＳ Ｐゴシック" charset="0"/>
            </a:endParaRPr>
          </a:p>
        </p:txBody>
      </p:sp>
      <p:sp>
        <p:nvSpPr>
          <p:cNvPr id="42" name="ZoneTexte 41">
            <a:extLst>
              <a:ext uri="{FF2B5EF4-FFF2-40B4-BE49-F238E27FC236}">
                <a16:creationId xmlns:a16="http://schemas.microsoft.com/office/drawing/2014/main" id="{F9294D02-AF89-CA54-A8D6-862C4FD31DB0}"/>
              </a:ext>
            </a:extLst>
          </p:cNvPr>
          <p:cNvSpPr txBox="1"/>
          <p:nvPr/>
        </p:nvSpPr>
        <p:spPr>
          <a:xfrm>
            <a:off x="519879" y="4302949"/>
            <a:ext cx="1537524" cy="430887"/>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253032"/>
                </a:solidFill>
                <a:effectLst/>
                <a:uLnTx/>
                <a:uFillTx/>
                <a:latin typeface="Oswald Light"/>
                <a:ea typeface="+mn-ea"/>
                <a:cs typeface="+mn-cs"/>
              </a:rPr>
              <a:t>Align &amp; prepare participants to the upcoming workshop</a:t>
            </a:r>
            <a:endParaRPr kumimoji="0" lang="en-US" sz="1100" b="0" i="0" u="none" strike="noStrike" kern="1200" cap="none" spc="0" normalizeH="0" baseline="0" noProof="0">
              <a:ln>
                <a:noFill/>
              </a:ln>
              <a:solidFill>
                <a:srgbClr val="000000"/>
              </a:solidFill>
              <a:effectLst/>
              <a:uLnTx/>
              <a:uFillTx/>
              <a:latin typeface="Oswald Light"/>
              <a:ea typeface="+mn-ea"/>
              <a:cs typeface="+mn-cs"/>
            </a:endParaRPr>
          </a:p>
        </p:txBody>
      </p:sp>
      <p:sp>
        <p:nvSpPr>
          <p:cNvPr id="43" name="ZoneTexte 42">
            <a:extLst>
              <a:ext uri="{FF2B5EF4-FFF2-40B4-BE49-F238E27FC236}">
                <a16:creationId xmlns:a16="http://schemas.microsoft.com/office/drawing/2014/main" id="{404BCD7C-D612-09B8-01AA-66705F82217D}"/>
              </a:ext>
            </a:extLst>
          </p:cNvPr>
          <p:cNvSpPr txBox="1"/>
          <p:nvPr/>
        </p:nvSpPr>
        <p:spPr>
          <a:xfrm>
            <a:off x="2418511" y="4261853"/>
            <a:ext cx="1440000" cy="60016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253032"/>
                </a:solidFill>
                <a:effectLst/>
                <a:uLnTx/>
                <a:uFillTx/>
                <a:latin typeface="Oswald Light"/>
                <a:ea typeface="+mn-ea"/>
                <a:cs typeface="+mn-cs"/>
              </a:rPr>
              <a:t>Step into the workshop with the right mindset &amp; information's</a:t>
            </a:r>
            <a:endParaRPr kumimoji="0" lang="en-US" sz="1100" b="0" i="0" u="none" strike="noStrike" kern="1200" cap="none" spc="0" normalizeH="0" baseline="0" noProof="0">
              <a:ln>
                <a:noFill/>
              </a:ln>
              <a:solidFill>
                <a:srgbClr val="000000"/>
              </a:solidFill>
              <a:effectLst/>
              <a:uLnTx/>
              <a:uFillTx/>
              <a:latin typeface="Oswald Light"/>
              <a:ea typeface="+mn-ea"/>
              <a:cs typeface="+mn-cs"/>
            </a:endParaRPr>
          </a:p>
        </p:txBody>
      </p:sp>
      <p:sp>
        <p:nvSpPr>
          <p:cNvPr id="44" name="ZoneTexte 43">
            <a:extLst>
              <a:ext uri="{FF2B5EF4-FFF2-40B4-BE49-F238E27FC236}">
                <a16:creationId xmlns:a16="http://schemas.microsoft.com/office/drawing/2014/main" id="{534E5F6C-6543-FC9A-3DB1-65E3EE03364A}"/>
              </a:ext>
            </a:extLst>
          </p:cNvPr>
          <p:cNvSpPr txBox="1"/>
          <p:nvPr/>
        </p:nvSpPr>
        <p:spPr>
          <a:xfrm>
            <a:off x="4300007" y="4235669"/>
            <a:ext cx="1440000" cy="60016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253032"/>
                </a:solidFill>
                <a:effectLst/>
                <a:uLnTx/>
                <a:uFillTx/>
                <a:latin typeface="Oswald Light"/>
                <a:ea typeface="+mn-ea"/>
                <a:cs typeface="+mn-cs"/>
              </a:rPr>
              <a:t>Full brainstorm to ensure limitless creativity on selected exploration areas</a:t>
            </a:r>
          </a:p>
        </p:txBody>
      </p:sp>
      <p:sp>
        <p:nvSpPr>
          <p:cNvPr id="46" name="ZoneTexte 45">
            <a:extLst>
              <a:ext uri="{FF2B5EF4-FFF2-40B4-BE49-F238E27FC236}">
                <a16:creationId xmlns:a16="http://schemas.microsoft.com/office/drawing/2014/main" id="{F89E7C0A-5C17-ADE3-A29B-A5082ACBAE8D}"/>
              </a:ext>
            </a:extLst>
          </p:cNvPr>
          <p:cNvSpPr txBox="1"/>
          <p:nvPr/>
        </p:nvSpPr>
        <p:spPr>
          <a:xfrm>
            <a:off x="6123309" y="4083305"/>
            <a:ext cx="1859302" cy="938719"/>
          </a:xfrm>
          <a:prstGeom prst="rect">
            <a:avLst/>
          </a:prstGeom>
          <a:noFill/>
        </p:spPr>
        <p:txBody>
          <a:bodyPr wrap="square">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253032"/>
                </a:solidFill>
                <a:effectLst/>
                <a:uLnTx/>
                <a:uFillTx/>
                <a:latin typeface="Oswald Light"/>
                <a:ea typeface="+mn-ea"/>
                <a:cs typeface="+mn-cs"/>
              </a:rPr>
              <a:t>Review tips and best practice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253032"/>
                </a:solidFill>
                <a:effectLst/>
                <a:uLnTx/>
                <a:uFillTx/>
                <a:latin typeface="Oswald Light"/>
                <a:ea typeface="+mn-ea"/>
                <a:cs typeface="+mn-cs"/>
              </a:rPr>
              <a:t>Bring outside i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253032"/>
                </a:solidFill>
                <a:effectLst/>
                <a:uLnTx/>
                <a:uFillTx/>
                <a:latin typeface="Oswald Light"/>
                <a:ea typeface="+mn-ea"/>
                <a:cs typeface="+mn-cs"/>
              </a:rPr>
              <a:t>      </a:t>
            </a:r>
            <a:r>
              <a:rPr kumimoji="0" lang="en-US" sz="1100" b="0" i="0" u="none" strike="noStrike" kern="1200" cap="none" spc="0" normalizeH="0" baseline="0" noProof="0">
                <a:ln>
                  <a:noFill/>
                </a:ln>
                <a:solidFill>
                  <a:srgbClr val="253032"/>
                </a:solidFill>
                <a:effectLst/>
                <a:uLnTx/>
                <a:uFillTx/>
                <a:latin typeface="Oswald Light"/>
                <a:ea typeface="+mn-ea"/>
                <a:cs typeface="+mn-cs"/>
                <a:sym typeface="Wingdings" panose="05000000000000000000" pitchFamily="2" charset="2"/>
              </a:rPr>
              <a:t> </a:t>
            </a:r>
            <a:r>
              <a:rPr kumimoji="0" lang="en-US" sz="1100" b="0" i="0" u="none" strike="noStrike" kern="1200" cap="none" spc="0" normalizeH="0" baseline="0" noProof="0">
                <a:ln>
                  <a:noFill/>
                </a:ln>
                <a:solidFill>
                  <a:srgbClr val="253032"/>
                </a:solidFill>
                <a:effectLst/>
                <a:uLnTx/>
                <a:uFillTx/>
                <a:latin typeface="Oswald Light"/>
                <a:ea typeface="+mn-ea"/>
                <a:cs typeface="+mn-cs"/>
              </a:rPr>
              <a:t>connect with “lead user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253032"/>
                </a:solidFill>
                <a:effectLst/>
                <a:uLnTx/>
                <a:uFillTx/>
                <a:latin typeface="Oswald Light"/>
                <a:ea typeface="+mn-ea"/>
                <a:cs typeface="+mn-cs"/>
              </a:rPr>
              <a:t>Filter &amp; prioritiz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253032"/>
                </a:solidFill>
                <a:effectLst/>
                <a:uLnTx/>
                <a:uFillTx/>
                <a:latin typeface="Oswald Light"/>
                <a:ea typeface="+mn-ea"/>
                <a:cs typeface="+mn-cs"/>
              </a:rPr>
              <a:t>Reformulate at best</a:t>
            </a:r>
            <a:endParaRPr kumimoji="0" lang="en-US" sz="1100" b="0" i="0" u="none" strike="noStrike" kern="1200" cap="none" spc="0" normalizeH="0" baseline="0" noProof="0">
              <a:ln>
                <a:noFill/>
              </a:ln>
              <a:solidFill>
                <a:srgbClr val="000000"/>
              </a:solidFill>
              <a:effectLst/>
              <a:uLnTx/>
              <a:uFillTx/>
              <a:latin typeface="Oswald Light"/>
              <a:ea typeface="+mn-ea"/>
              <a:cs typeface="+mn-cs"/>
            </a:endParaRPr>
          </a:p>
        </p:txBody>
      </p:sp>
      <p:sp>
        <p:nvSpPr>
          <p:cNvPr id="49" name="ZoneTexte 48">
            <a:extLst>
              <a:ext uri="{FF2B5EF4-FFF2-40B4-BE49-F238E27FC236}">
                <a16:creationId xmlns:a16="http://schemas.microsoft.com/office/drawing/2014/main" id="{08CED410-06A0-B506-E6B4-E19ADD57D61C}"/>
              </a:ext>
            </a:extLst>
          </p:cNvPr>
          <p:cNvSpPr txBox="1"/>
          <p:nvPr/>
        </p:nvSpPr>
        <p:spPr>
          <a:xfrm>
            <a:off x="8102389" y="4190178"/>
            <a:ext cx="1667094" cy="938719"/>
          </a:xfrm>
          <a:prstGeom prst="rect">
            <a:avLst/>
          </a:prstGeom>
          <a:noFill/>
        </p:spPr>
        <p:txBody>
          <a:bodyPr wrap="square" lIns="91440" tIns="45720" rIns="91440" bIns="45720" anchor="t">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253032"/>
                </a:solidFill>
                <a:effectLst/>
                <a:uLnTx/>
                <a:uFillTx/>
                <a:latin typeface="Oswald Light"/>
                <a:ea typeface="+mn-ea"/>
                <a:cs typeface="+mn-cs"/>
              </a:rPr>
              <a:t>Come up with winning list of claims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253032"/>
                </a:solidFill>
                <a:effectLst/>
                <a:uLnTx/>
                <a:uFillTx/>
                <a:latin typeface="Oswald Light"/>
                <a:ea typeface="+mn-ea"/>
                <a:cs typeface="+mn-cs"/>
              </a:rPr>
              <a:t>Think touchpoint, illustration, preliminary demos…</a:t>
            </a:r>
          </a:p>
        </p:txBody>
      </p:sp>
      <p:grpSp>
        <p:nvGrpSpPr>
          <p:cNvPr id="55" name="Groupe 54">
            <a:extLst>
              <a:ext uri="{FF2B5EF4-FFF2-40B4-BE49-F238E27FC236}">
                <a16:creationId xmlns:a16="http://schemas.microsoft.com/office/drawing/2014/main" id="{34525CA6-2A91-3608-3E18-ACAC705F4685}"/>
              </a:ext>
            </a:extLst>
          </p:cNvPr>
          <p:cNvGrpSpPr/>
          <p:nvPr/>
        </p:nvGrpSpPr>
        <p:grpSpPr>
          <a:xfrm>
            <a:off x="2776521" y="5693831"/>
            <a:ext cx="1170946" cy="323833"/>
            <a:chOff x="2676184" y="4571931"/>
            <a:chExt cx="1170946" cy="323833"/>
          </a:xfrm>
        </p:grpSpPr>
        <p:pic>
          <p:nvPicPr>
            <p:cNvPr id="51" name="Graphique 50" descr="Chronomètre 75% avec un remplissage uni">
              <a:extLst>
                <a:ext uri="{FF2B5EF4-FFF2-40B4-BE49-F238E27FC236}">
                  <a16:creationId xmlns:a16="http://schemas.microsoft.com/office/drawing/2014/main" id="{4DAC7920-774E-0757-ED35-8AAD9ADEA6DB}"/>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2676184" y="4571931"/>
              <a:ext cx="323833" cy="323833"/>
            </a:xfrm>
            <a:prstGeom prst="rect">
              <a:avLst/>
            </a:prstGeom>
          </p:spPr>
        </p:pic>
        <p:sp>
          <p:nvSpPr>
            <p:cNvPr id="54" name="ZoneTexte 53">
              <a:extLst>
                <a:ext uri="{FF2B5EF4-FFF2-40B4-BE49-F238E27FC236}">
                  <a16:creationId xmlns:a16="http://schemas.microsoft.com/office/drawing/2014/main" id="{098310D9-8A71-FC84-2537-DBC119E458F9}"/>
                </a:ext>
              </a:extLst>
            </p:cNvPr>
            <p:cNvSpPr txBox="1"/>
            <p:nvPr/>
          </p:nvSpPr>
          <p:spPr>
            <a:xfrm>
              <a:off x="3000017" y="4603042"/>
              <a:ext cx="847113" cy="26161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253032"/>
                  </a:solidFill>
                  <a:effectLst/>
                  <a:uLnTx/>
                  <a:uFillTx/>
                  <a:latin typeface="Oswald Light"/>
                  <a:ea typeface="+mn-ea"/>
                  <a:cs typeface="+mn-cs"/>
                </a:rPr>
                <a:t>30-45 min</a:t>
              </a:r>
              <a:endParaRPr kumimoji="0" lang="en-US" sz="1100" b="0" i="0" u="none" strike="noStrike" kern="1200" cap="none" spc="0" normalizeH="0" baseline="0" noProof="0">
                <a:ln>
                  <a:noFill/>
                </a:ln>
                <a:solidFill>
                  <a:srgbClr val="000000"/>
                </a:solidFill>
                <a:effectLst/>
                <a:uLnTx/>
                <a:uFillTx/>
                <a:latin typeface="Oswald Light"/>
                <a:ea typeface="+mn-ea"/>
                <a:cs typeface="+mn-cs"/>
              </a:endParaRPr>
            </a:p>
          </p:txBody>
        </p:sp>
      </p:grpSp>
      <p:grpSp>
        <p:nvGrpSpPr>
          <p:cNvPr id="56" name="Groupe 55">
            <a:extLst>
              <a:ext uri="{FF2B5EF4-FFF2-40B4-BE49-F238E27FC236}">
                <a16:creationId xmlns:a16="http://schemas.microsoft.com/office/drawing/2014/main" id="{2DDD3753-BA0B-90A0-4D73-01FF15704B4B}"/>
              </a:ext>
            </a:extLst>
          </p:cNvPr>
          <p:cNvGrpSpPr/>
          <p:nvPr/>
        </p:nvGrpSpPr>
        <p:grpSpPr>
          <a:xfrm>
            <a:off x="4517082" y="5693831"/>
            <a:ext cx="1134507" cy="323833"/>
            <a:chOff x="2676184" y="4571931"/>
            <a:chExt cx="1134507" cy="323833"/>
          </a:xfrm>
        </p:grpSpPr>
        <p:pic>
          <p:nvPicPr>
            <p:cNvPr id="57" name="Graphique 56" descr="Chronomètre 75% avec un remplissage uni">
              <a:extLst>
                <a:ext uri="{FF2B5EF4-FFF2-40B4-BE49-F238E27FC236}">
                  <a16:creationId xmlns:a16="http://schemas.microsoft.com/office/drawing/2014/main" id="{2AE5868D-1F17-C4AB-0981-5E183FC075E0}"/>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2676184" y="4571931"/>
              <a:ext cx="323833" cy="323833"/>
            </a:xfrm>
            <a:prstGeom prst="rect">
              <a:avLst/>
            </a:prstGeom>
          </p:spPr>
        </p:pic>
        <p:sp>
          <p:nvSpPr>
            <p:cNvPr id="58" name="ZoneTexte 57">
              <a:extLst>
                <a:ext uri="{FF2B5EF4-FFF2-40B4-BE49-F238E27FC236}">
                  <a16:creationId xmlns:a16="http://schemas.microsoft.com/office/drawing/2014/main" id="{20A3E797-D085-E71C-FBDA-F1261F033047}"/>
                </a:ext>
              </a:extLst>
            </p:cNvPr>
            <p:cNvSpPr txBox="1"/>
            <p:nvPr/>
          </p:nvSpPr>
          <p:spPr>
            <a:xfrm>
              <a:off x="3000016" y="4603042"/>
              <a:ext cx="810675" cy="26161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253032"/>
                  </a:solidFill>
                  <a:effectLst/>
                  <a:uLnTx/>
                  <a:uFillTx/>
                  <a:latin typeface="Oswald Light"/>
                  <a:ea typeface="+mn-ea"/>
                  <a:cs typeface="+mn-cs"/>
                </a:rPr>
                <a:t>60-90 min</a:t>
              </a:r>
              <a:endParaRPr kumimoji="0" lang="en-US" sz="1100" b="0" i="0" u="none" strike="noStrike" kern="1200" cap="none" spc="0" normalizeH="0" baseline="0" noProof="0">
                <a:ln>
                  <a:noFill/>
                </a:ln>
                <a:solidFill>
                  <a:srgbClr val="000000"/>
                </a:solidFill>
                <a:effectLst/>
                <a:uLnTx/>
                <a:uFillTx/>
                <a:latin typeface="Oswald Light"/>
                <a:ea typeface="+mn-ea"/>
                <a:cs typeface="+mn-cs"/>
              </a:endParaRPr>
            </a:p>
          </p:txBody>
        </p:sp>
      </p:grpSp>
      <p:grpSp>
        <p:nvGrpSpPr>
          <p:cNvPr id="62" name="Groupe 61">
            <a:extLst>
              <a:ext uri="{FF2B5EF4-FFF2-40B4-BE49-F238E27FC236}">
                <a16:creationId xmlns:a16="http://schemas.microsoft.com/office/drawing/2014/main" id="{197B5EF7-F261-A19C-12E0-78A15B19DFE8}"/>
              </a:ext>
            </a:extLst>
          </p:cNvPr>
          <p:cNvGrpSpPr/>
          <p:nvPr/>
        </p:nvGrpSpPr>
        <p:grpSpPr>
          <a:xfrm>
            <a:off x="6421514" y="5693831"/>
            <a:ext cx="1129984" cy="323833"/>
            <a:chOff x="2676184" y="4571931"/>
            <a:chExt cx="1129984" cy="323833"/>
          </a:xfrm>
        </p:grpSpPr>
        <p:pic>
          <p:nvPicPr>
            <p:cNvPr id="63" name="Graphique 62" descr="Chronomètre 75% avec un remplissage uni">
              <a:extLst>
                <a:ext uri="{FF2B5EF4-FFF2-40B4-BE49-F238E27FC236}">
                  <a16:creationId xmlns:a16="http://schemas.microsoft.com/office/drawing/2014/main" id="{C6997CD9-0E46-1F2E-C1CA-564B3D53B978}"/>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2676184" y="4571931"/>
              <a:ext cx="323833" cy="323833"/>
            </a:xfrm>
            <a:prstGeom prst="rect">
              <a:avLst/>
            </a:prstGeom>
          </p:spPr>
        </p:pic>
        <p:sp>
          <p:nvSpPr>
            <p:cNvPr id="64" name="ZoneTexte 63">
              <a:extLst>
                <a:ext uri="{FF2B5EF4-FFF2-40B4-BE49-F238E27FC236}">
                  <a16:creationId xmlns:a16="http://schemas.microsoft.com/office/drawing/2014/main" id="{A7F2AACB-D0D8-9941-EEBE-C162CF271C33}"/>
                </a:ext>
              </a:extLst>
            </p:cNvPr>
            <p:cNvSpPr txBox="1"/>
            <p:nvPr/>
          </p:nvSpPr>
          <p:spPr>
            <a:xfrm>
              <a:off x="3000017" y="4603042"/>
              <a:ext cx="806151" cy="26161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253032"/>
                  </a:solidFill>
                  <a:effectLst/>
                  <a:uLnTx/>
                  <a:uFillTx/>
                  <a:latin typeface="Oswald Light"/>
                  <a:ea typeface="+mn-ea"/>
                  <a:cs typeface="+mn-cs"/>
                </a:rPr>
                <a:t>60-90 min</a:t>
              </a:r>
              <a:endParaRPr kumimoji="0" lang="en-US" sz="1100" b="0" i="0" u="none" strike="noStrike" kern="1200" cap="none" spc="0" normalizeH="0" baseline="0" noProof="0">
                <a:ln>
                  <a:noFill/>
                </a:ln>
                <a:solidFill>
                  <a:srgbClr val="000000"/>
                </a:solidFill>
                <a:effectLst/>
                <a:uLnTx/>
                <a:uFillTx/>
                <a:latin typeface="Oswald Light"/>
                <a:ea typeface="+mn-ea"/>
                <a:cs typeface="+mn-cs"/>
              </a:endParaRPr>
            </a:p>
          </p:txBody>
        </p:sp>
      </p:grpSp>
      <p:grpSp>
        <p:nvGrpSpPr>
          <p:cNvPr id="65" name="Groupe 64">
            <a:extLst>
              <a:ext uri="{FF2B5EF4-FFF2-40B4-BE49-F238E27FC236}">
                <a16:creationId xmlns:a16="http://schemas.microsoft.com/office/drawing/2014/main" id="{C14B2840-1BDD-507B-F24C-582A43E01D73}"/>
              </a:ext>
            </a:extLst>
          </p:cNvPr>
          <p:cNvGrpSpPr/>
          <p:nvPr/>
        </p:nvGrpSpPr>
        <p:grpSpPr>
          <a:xfrm>
            <a:off x="8321423" y="5693831"/>
            <a:ext cx="1091534" cy="323833"/>
            <a:chOff x="2676184" y="4571931"/>
            <a:chExt cx="1091534" cy="323833"/>
          </a:xfrm>
        </p:grpSpPr>
        <p:pic>
          <p:nvPicPr>
            <p:cNvPr id="66" name="Graphique 65" descr="Chronomètre 75% avec un remplissage uni">
              <a:extLst>
                <a:ext uri="{FF2B5EF4-FFF2-40B4-BE49-F238E27FC236}">
                  <a16:creationId xmlns:a16="http://schemas.microsoft.com/office/drawing/2014/main" id="{91875216-4F6F-22DD-DD1B-236BF715DCFB}"/>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2676184" y="4571931"/>
              <a:ext cx="323833" cy="323833"/>
            </a:xfrm>
            <a:prstGeom prst="rect">
              <a:avLst/>
            </a:prstGeom>
          </p:spPr>
        </p:pic>
        <p:sp>
          <p:nvSpPr>
            <p:cNvPr id="67" name="ZoneTexte 66">
              <a:extLst>
                <a:ext uri="{FF2B5EF4-FFF2-40B4-BE49-F238E27FC236}">
                  <a16:creationId xmlns:a16="http://schemas.microsoft.com/office/drawing/2014/main" id="{D0362A6B-57F1-F679-9EC8-73D3308CCE9B}"/>
                </a:ext>
              </a:extLst>
            </p:cNvPr>
            <p:cNvSpPr txBox="1"/>
            <p:nvPr/>
          </p:nvSpPr>
          <p:spPr>
            <a:xfrm>
              <a:off x="3000017" y="4603042"/>
              <a:ext cx="767701" cy="26161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253032"/>
                  </a:solidFill>
                  <a:effectLst/>
                  <a:uLnTx/>
                  <a:uFillTx/>
                  <a:latin typeface="Oswald Light"/>
                  <a:ea typeface="+mn-ea"/>
                  <a:cs typeface="+mn-cs"/>
                </a:rPr>
                <a:t>45 min</a:t>
              </a:r>
              <a:endParaRPr kumimoji="0" lang="en-US" sz="1100" b="0" i="0" u="none" strike="noStrike" kern="1200" cap="none" spc="0" normalizeH="0" baseline="0" noProof="0">
                <a:ln>
                  <a:noFill/>
                </a:ln>
                <a:solidFill>
                  <a:srgbClr val="000000"/>
                </a:solidFill>
                <a:effectLst/>
                <a:uLnTx/>
                <a:uFillTx/>
                <a:latin typeface="Oswald Light"/>
                <a:ea typeface="+mn-ea"/>
                <a:cs typeface="+mn-cs"/>
              </a:endParaRPr>
            </a:p>
          </p:txBody>
        </p:sp>
      </p:grpSp>
      <p:sp>
        <p:nvSpPr>
          <p:cNvPr id="2" name="Rectangle 1">
            <a:extLst>
              <a:ext uri="{FF2B5EF4-FFF2-40B4-BE49-F238E27FC236}">
                <a16:creationId xmlns:a16="http://schemas.microsoft.com/office/drawing/2014/main" id="{1D1D1A58-79D9-BA1E-5D57-2C627BF79099}"/>
              </a:ext>
            </a:extLst>
          </p:cNvPr>
          <p:cNvSpPr/>
          <p:nvPr/>
        </p:nvSpPr>
        <p:spPr>
          <a:xfrm>
            <a:off x="9970197" y="2794559"/>
            <a:ext cx="1440000" cy="784612"/>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0B494"/>
                </a:solidFill>
                <a:effectLst/>
                <a:uLnTx/>
                <a:uFillTx/>
                <a:latin typeface="Oswald Light"/>
                <a:ea typeface="+mn-ea"/>
                <a:cs typeface="+mn-cs"/>
              </a:rPr>
              <a:t>BRING IT TO LIFE</a:t>
            </a:r>
            <a:endParaRPr kumimoji="0" lang="en-US" sz="1600" b="0" i="0" u="none" strike="noStrike" kern="1200" cap="none" spc="0" normalizeH="0" baseline="0" noProof="0">
              <a:ln>
                <a:noFill/>
              </a:ln>
              <a:solidFill>
                <a:srgbClr val="00B494"/>
              </a:solidFill>
              <a:effectLst/>
              <a:uLnTx/>
              <a:uFillTx/>
              <a:latin typeface="Oswald Light"/>
              <a:ea typeface="+mn-ea"/>
              <a:cs typeface="+mn-cs"/>
            </a:endParaRPr>
          </a:p>
        </p:txBody>
      </p:sp>
      <p:sp>
        <p:nvSpPr>
          <p:cNvPr id="10" name="Ellipse 9">
            <a:extLst>
              <a:ext uri="{FF2B5EF4-FFF2-40B4-BE49-F238E27FC236}">
                <a16:creationId xmlns:a16="http://schemas.microsoft.com/office/drawing/2014/main" id="{A9B8766B-C2E1-DBFD-EA19-19334B22775A}"/>
              </a:ext>
            </a:extLst>
          </p:cNvPr>
          <p:cNvSpPr>
            <a:spLocks noChangeAspect="1"/>
          </p:cNvSpPr>
          <p:nvPr/>
        </p:nvSpPr>
        <p:spPr>
          <a:xfrm>
            <a:off x="10423265" y="2096309"/>
            <a:ext cx="589724" cy="589724"/>
          </a:xfrm>
          <a:prstGeom prst="ellipse">
            <a:avLst/>
          </a:prstGeom>
          <a:solidFill>
            <a:srgbClr val="00B49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85000"/>
              </a:lnSpc>
              <a:spcBef>
                <a:spcPts val="0"/>
              </a:spcBef>
              <a:spcAft>
                <a:spcPts val="0"/>
              </a:spcAft>
              <a:buClrTx/>
              <a:buSzTx/>
              <a:buFontTx/>
              <a:buNone/>
              <a:tabLst/>
              <a:defRPr/>
            </a:pPr>
            <a:r>
              <a:rPr kumimoji="0" lang="fr-FR" sz="2800" b="0" i="0" u="none" strike="noStrike" kern="1200" cap="none" spc="0" normalizeH="0" baseline="0" noProof="0">
                <a:ln>
                  <a:noFill/>
                </a:ln>
                <a:solidFill>
                  <a:srgbClr val="FFFFFF"/>
                </a:solidFill>
                <a:effectLst/>
                <a:uLnTx/>
                <a:uFillTx/>
                <a:latin typeface="Oswald SemiBold"/>
                <a:ea typeface="+mn-ea"/>
                <a:cs typeface="+mn-cs"/>
              </a:rPr>
              <a:t>5</a:t>
            </a:r>
          </a:p>
        </p:txBody>
      </p:sp>
      <p:sp>
        <p:nvSpPr>
          <p:cNvPr id="16" name="ZoneTexte 15">
            <a:extLst>
              <a:ext uri="{FF2B5EF4-FFF2-40B4-BE49-F238E27FC236}">
                <a16:creationId xmlns:a16="http://schemas.microsoft.com/office/drawing/2014/main" id="{A42FF1ED-2BF1-2764-2C0C-5E94D4D5F6B0}"/>
              </a:ext>
            </a:extLst>
          </p:cNvPr>
          <p:cNvSpPr txBox="1"/>
          <p:nvPr/>
        </p:nvSpPr>
        <p:spPr>
          <a:xfrm>
            <a:off x="9834928" y="4229387"/>
            <a:ext cx="1667094" cy="600164"/>
          </a:xfrm>
          <a:prstGeom prst="rect">
            <a:avLst/>
          </a:prstGeom>
          <a:noFill/>
        </p:spPr>
        <p:txBody>
          <a:bodyPr wrap="square">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253032"/>
                </a:solidFill>
                <a:effectLst/>
                <a:uLnTx/>
                <a:uFillTx/>
                <a:latin typeface="Oswald Light"/>
                <a:ea typeface="+mn-ea"/>
                <a:cs typeface="+mn-cs"/>
              </a:rPr>
              <a:t>Copywriting to power claim</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253032"/>
                </a:solidFill>
                <a:effectLst/>
                <a:uLnTx/>
                <a:uFillTx/>
                <a:latin typeface="Oswald Light"/>
                <a:ea typeface="+mn-ea"/>
                <a:cs typeface="+mn-cs"/>
              </a:rPr>
              <a:t>Legal pre-check before moving to consumer test</a:t>
            </a:r>
          </a:p>
        </p:txBody>
      </p:sp>
      <p:grpSp>
        <p:nvGrpSpPr>
          <p:cNvPr id="24" name="Groupe 23">
            <a:extLst>
              <a:ext uri="{FF2B5EF4-FFF2-40B4-BE49-F238E27FC236}">
                <a16:creationId xmlns:a16="http://schemas.microsoft.com/office/drawing/2014/main" id="{0ED85837-1060-5085-5404-A1318BE46E38}"/>
              </a:ext>
            </a:extLst>
          </p:cNvPr>
          <p:cNvGrpSpPr/>
          <p:nvPr/>
        </p:nvGrpSpPr>
        <p:grpSpPr>
          <a:xfrm>
            <a:off x="10182882" y="5693831"/>
            <a:ext cx="1091534" cy="323833"/>
            <a:chOff x="2676184" y="4571931"/>
            <a:chExt cx="1091534" cy="323833"/>
          </a:xfrm>
        </p:grpSpPr>
        <p:pic>
          <p:nvPicPr>
            <p:cNvPr id="27" name="Graphique 26" descr="Chronomètre 75% avec un remplissage uni">
              <a:extLst>
                <a:ext uri="{FF2B5EF4-FFF2-40B4-BE49-F238E27FC236}">
                  <a16:creationId xmlns:a16="http://schemas.microsoft.com/office/drawing/2014/main" id="{C06D65C9-9226-79A6-8588-BD747486EC6F}"/>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2676184" y="4571931"/>
              <a:ext cx="323833" cy="323833"/>
            </a:xfrm>
            <a:prstGeom prst="rect">
              <a:avLst/>
            </a:prstGeom>
          </p:spPr>
        </p:pic>
        <p:sp>
          <p:nvSpPr>
            <p:cNvPr id="28" name="ZoneTexte 27">
              <a:extLst>
                <a:ext uri="{FF2B5EF4-FFF2-40B4-BE49-F238E27FC236}">
                  <a16:creationId xmlns:a16="http://schemas.microsoft.com/office/drawing/2014/main" id="{6AAF300E-FAF5-806D-41C8-598119ED0A74}"/>
                </a:ext>
              </a:extLst>
            </p:cNvPr>
            <p:cNvSpPr txBox="1"/>
            <p:nvPr/>
          </p:nvSpPr>
          <p:spPr>
            <a:xfrm>
              <a:off x="3000017" y="4603042"/>
              <a:ext cx="767701" cy="26161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253032"/>
                  </a:solidFill>
                  <a:effectLst/>
                  <a:uLnTx/>
                  <a:uFillTx/>
                  <a:latin typeface="Oswald Light"/>
                  <a:ea typeface="+mn-ea"/>
                  <a:cs typeface="+mn-cs"/>
                </a:rPr>
                <a:t>2 weeks</a:t>
              </a:r>
              <a:endParaRPr kumimoji="0" lang="en-US" sz="1100" b="0" i="0" u="none" strike="noStrike" kern="1200" cap="none" spc="0" normalizeH="0" baseline="0" noProof="0">
                <a:ln>
                  <a:noFill/>
                </a:ln>
                <a:solidFill>
                  <a:srgbClr val="000000"/>
                </a:solidFill>
                <a:effectLst/>
                <a:uLnTx/>
                <a:uFillTx/>
                <a:latin typeface="Oswald Light"/>
                <a:ea typeface="+mn-ea"/>
                <a:cs typeface="+mn-cs"/>
              </a:endParaRPr>
            </a:p>
          </p:txBody>
        </p:sp>
      </p:grpSp>
      <p:pic>
        <p:nvPicPr>
          <p:cNvPr id="39" name="Image 38">
            <a:extLst>
              <a:ext uri="{FF2B5EF4-FFF2-40B4-BE49-F238E27FC236}">
                <a16:creationId xmlns:a16="http://schemas.microsoft.com/office/drawing/2014/main" id="{4217793E-4CBF-B8F4-55F1-F8701A512C7E}"/>
              </a:ext>
            </a:extLst>
          </p:cNvPr>
          <p:cNvPicPr>
            <a:picLocks noChangeAspect="1"/>
          </p:cNvPicPr>
          <p:nvPr/>
        </p:nvPicPr>
        <p:blipFill>
          <a:blip r:embed="rId5"/>
          <a:stretch>
            <a:fillRect/>
          </a:stretch>
        </p:blipFill>
        <p:spPr>
          <a:xfrm>
            <a:off x="4819191" y="175149"/>
            <a:ext cx="1733729" cy="2041163"/>
          </a:xfrm>
          <a:prstGeom prst="rect">
            <a:avLst/>
          </a:prstGeom>
        </p:spPr>
      </p:pic>
      <p:sp>
        <p:nvSpPr>
          <p:cNvPr id="45" name="ZoneTexte 44">
            <a:extLst>
              <a:ext uri="{FF2B5EF4-FFF2-40B4-BE49-F238E27FC236}">
                <a16:creationId xmlns:a16="http://schemas.microsoft.com/office/drawing/2014/main" id="{8AE1D82B-B6E5-6586-CCBB-0784D5933C24}"/>
              </a:ext>
            </a:extLst>
          </p:cNvPr>
          <p:cNvSpPr txBox="1"/>
          <p:nvPr/>
        </p:nvSpPr>
        <p:spPr>
          <a:xfrm rot="16200000">
            <a:off x="-149013" y="2995020"/>
            <a:ext cx="736688" cy="338554"/>
          </a:xfrm>
          <a:prstGeom prst="rect">
            <a:avLst/>
          </a:prstGeom>
          <a:solidFill>
            <a:schemeClr val="bg1"/>
          </a:solid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02060"/>
                </a:solidFill>
                <a:effectLst/>
                <a:uLnTx/>
                <a:uFillTx/>
                <a:latin typeface="Oswald Light"/>
                <a:ea typeface="+mn-ea"/>
                <a:cs typeface="+mn-cs"/>
              </a:rPr>
              <a:t>STEPS</a:t>
            </a:r>
            <a:endParaRPr kumimoji="0" lang="en-US" sz="1800" b="0" i="0" u="none" strike="noStrike" kern="1200" cap="none" spc="0" normalizeH="0" baseline="0" noProof="0">
              <a:ln>
                <a:noFill/>
              </a:ln>
              <a:solidFill>
                <a:srgbClr val="000000"/>
              </a:solidFill>
              <a:effectLst/>
              <a:uLnTx/>
              <a:uFillTx/>
              <a:latin typeface="Oswald Light"/>
              <a:ea typeface="+mn-ea"/>
              <a:cs typeface="+mn-cs"/>
            </a:endParaRPr>
          </a:p>
        </p:txBody>
      </p:sp>
      <p:sp>
        <p:nvSpPr>
          <p:cNvPr id="47" name="ZoneTexte 46">
            <a:extLst>
              <a:ext uri="{FF2B5EF4-FFF2-40B4-BE49-F238E27FC236}">
                <a16:creationId xmlns:a16="http://schemas.microsoft.com/office/drawing/2014/main" id="{3118657D-B7AC-AAA8-22BE-B55E416941D1}"/>
              </a:ext>
            </a:extLst>
          </p:cNvPr>
          <p:cNvSpPr txBox="1"/>
          <p:nvPr/>
        </p:nvSpPr>
        <p:spPr>
          <a:xfrm rot="16200000">
            <a:off x="-355448" y="4328514"/>
            <a:ext cx="1186444" cy="338554"/>
          </a:xfrm>
          <a:prstGeom prst="rect">
            <a:avLst/>
          </a:prstGeom>
          <a:solidFill>
            <a:schemeClr val="bg1"/>
          </a:solidFill>
        </p:spPr>
        <p:txBody>
          <a:bodyPr wrap="square"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02060"/>
                </a:solidFill>
                <a:effectLst/>
                <a:uLnTx/>
                <a:uFillTx/>
                <a:latin typeface="Oswald Light"/>
                <a:ea typeface="+mn-ea"/>
                <a:cs typeface="+mn-cs"/>
              </a:rPr>
              <a:t>OBJECTIVES</a:t>
            </a:r>
            <a:endParaRPr kumimoji="0" lang="en-US" sz="1800" b="0" i="0" u="none" strike="noStrike" kern="1200" cap="none" spc="0" normalizeH="0" baseline="0" noProof="0">
              <a:ln>
                <a:noFill/>
              </a:ln>
              <a:solidFill>
                <a:srgbClr val="000000"/>
              </a:solidFill>
              <a:effectLst/>
              <a:uLnTx/>
              <a:uFillTx/>
              <a:latin typeface="Oswald Light"/>
              <a:ea typeface="+mn-ea"/>
              <a:cs typeface="+mn-cs"/>
            </a:endParaRPr>
          </a:p>
        </p:txBody>
      </p:sp>
      <p:sp>
        <p:nvSpPr>
          <p:cNvPr id="50" name="ZoneTexte 49">
            <a:extLst>
              <a:ext uri="{FF2B5EF4-FFF2-40B4-BE49-F238E27FC236}">
                <a16:creationId xmlns:a16="http://schemas.microsoft.com/office/drawing/2014/main" id="{905A77FC-4BDA-6166-3507-A35333E8B8E8}"/>
              </a:ext>
            </a:extLst>
          </p:cNvPr>
          <p:cNvSpPr txBox="1"/>
          <p:nvPr/>
        </p:nvSpPr>
        <p:spPr>
          <a:xfrm rot="16200000">
            <a:off x="-148476" y="5730456"/>
            <a:ext cx="810357" cy="307776"/>
          </a:xfrm>
          <a:prstGeom prst="rect">
            <a:avLst/>
          </a:prstGeom>
          <a:solidFill>
            <a:schemeClr val="bg1"/>
          </a:solidFill>
        </p:spPr>
        <p:txBody>
          <a:bodyPr wrap="square"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02060"/>
                </a:solidFill>
                <a:effectLst/>
                <a:uLnTx/>
                <a:uFillTx/>
                <a:latin typeface="Oswald Light"/>
                <a:ea typeface="+mn-ea"/>
                <a:cs typeface="+mn-cs"/>
              </a:rPr>
              <a:t>TIMINGS</a:t>
            </a:r>
            <a:endParaRPr kumimoji="0" lang="en-US" sz="1800" b="0" i="0" u="none" strike="noStrike" kern="1200" cap="none" spc="0" normalizeH="0" baseline="0" noProof="0">
              <a:ln>
                <a:noFill/>
              </a:ln>
              <a:solidFill>
                <a:srgbClr val="000000"/>
              </a:solidFill>
              <a:effectLst/>
              <a:uLnTx/>
              <a:uFillTx/>
              <a:latin typeface="Oswald Light"/>
              <a:ea typeface="+mn-ea"/>
              <a:cs typeface="+mn-cs"/>
            </a:endParaRPr>
          </a:p>
        </p:txBody>
      </p:sp>
      <p:cxnSp>
        <p:nvCxnSpPr>
          <p:cNvPr id="53" name="Connecteur droit 52">
            <a:extLst>
              <a:ext uri="{FF2B5EF4-FFF2-40B4-BE49-F238E27FC236}">
                <a16:creationId xmlns:a16="http://schemas.microsoft.com/office/drawing/2014/main" id="{864E4F68-ECD3-F565-BC10-51108A4C30B3}"/>
              </a:ext>
            </a:extLst>
          </p:cNvPr>
          <p:cNvCxnSpPr>
            <a:cxnSpLocks/>
          </p:cNvCxnSpPr>
          <p:nvPr/>
        </p:nvCxnSpPr>
        <p:spPr>
          <a:xfrm>
            <a:off x="9854920" y="6186336"/>
            <a:ext cx="1503265" cy="0"/>
          </a:xfrm>
          <a:prstGeom prst="line">
            <a:avLst/>
          </a:prstGeom>
          <a:ln>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75" name="Rectangle 74">
            <a:extLst>
              <a:ext uri="{FF2B5EF4-FFF2-40B4-BE49-F238E27FC236}">
                <a16:creationId xmlns:a16="http://schemas.microsoft.com/office/drawing/2014/main" id="{5EACF370-D109-CA31-FFA2-2412BB7045CB}"/>
              </a:ext>
            </a:extLst>
          </p:cNvPr>
          <p:cNvSpPr/>
          <p:nvPr/>
        </p:nvSpPr>
        <p:spPr>
          <a:xfrm>
            <a:off x="388608" y="6538912"/>
            <a:ext cx="2086805" cy="31188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swald Light"/>
              <a:ea typeface="+mn-ea"/>
              <a:cs typeface="+mn-cs"/>
            </a:endParaRPr>
          </a:p>
        </p:txBody>
      </p:sp>
      <p:sp>
        <p:nvSpPr>
          <p:cNvPr id="76" name="Rectangle 75">
            <a:extLst>
              <a:ext uri="{FF2B5EF4-FFF2-40B4-BE49-F238E27FC236}">
                <a16:creationId xmlns:a16="http://schemas.microsoft.com/office/drawing/2014/main" id="{64F4DD26-AAE6-5BF9-3903-EDDB971971A3}"/>
              </a:ext>
            </a:extLst>
          </p:cNvPr>
          <p:cNvSpPr/>
          <p:nvPr/>
        </p:nvSpPr>
        <p:spPr>
          <a:xfrm>
            <a:off x="2341446" y="2384984"/>
            <a:ext cx="7258124" cy="1354680"/>
          </a:xfrm>
          <a:prstGeom prst="rect">
            <a:avLst/>
          </a:prstGeom>
          <a:noFill/>
          <a:ln>
            <a:solidFill>
              <a:srgbClr val="C0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2060"/>
              </a:solidFill>
              <a:effectLst/>
              <a:uLnTx/>
              <a:uFillTx/>
              <a:latin typeface="Oswald Light"/>
              <a:ea typeface="+mn-ea"/>
              <a:cs typeface="+mn-cs"/>
            </a:endParaRPr>
          </a:p>
        </p:txBody>
      </p:sp>
      <p:sp>
        <p:nvSpPr>
          <p:cNvPr id="12" name="Ellipse 11">
            <a:extLst>
              <a:ext uri="{FF2B5EF4-FFF2-40B4-BE49-F238E27FC236}">
                <a16:creationId xmlns:a16="http://schemas.microsoft.com/office/drawing/2014/main" id="{9B27741B-73B3-6845-763F-6EB281835104}"/>
              </a:ext>
            </a:extLst>
          </p:cNvPr>
          <p:cNvSpPr>
            <a:spLocks noChangeAspect="1"/>
          </p:cNvSpPr>
          <p:nvPr/>
        </p:nvSpPr>
        <p:spPr>
          <a:xfrm>
            <a:off x="2876047" y="2096309"/>
            <a:ext cx="589724" cy="589724"/>
          </a:xfrm>
          <a:prstGeom prst="ellipse">
            <a:avLst/>
          </a:prstGeom>
          <a:solidFill>
            <a:srgbClr val="153D6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85000"/>
              </a:lnSpc>
              <a:spcBef>
                <a:spcPts val="0"/>
              </a:spcBef>
              <a:spcAft>
                <a:spcPts val="0"/>
              </a:spcAft>
              <a:buClrTx/>
              <a:buSzTx/>
              <a:buFontTx/>
              <a:buNone/>
              <a:tabLst/>
              <a:defRPr/>
            </a:pPr>
            <a:r>
              <a:rPr kumimoji="0" lang="fr-FR" sz="2800" b="0" i="0" u="none" strike="noStrike" kern="1200" cap="none" spc="0" normalizeH="0" baseline="0" noProof="0">
                <a:ln>
                  <a:noFill/>
                </a:ln>
                <a:solidFill>
                  <a:srgbClr val="FFFFFF"/>
                </a:solidFill>
                <a:effectLst/>
                <a:uLnTx/>
                <a:uFillTx/>
                <a:latin typeface="Oswald SemiBold"/>
                <a:ea typeface="+mn-ea"/>
                <a:cs typeface="+mn-cs"/>
              </a:rPr>
              <a:t>1</a:t>
            </a:r>
          </a:p>
        </p:txBody>
      </p:sp>
      <p:sp>
        <p:nvSpPr>
          <p:cNvPr id="13" name="Ellipse 12">
            <a:extLst>
              <a:ext uri="{FF2B5EF4-FFF2-40B4-BE49-F238E27FC236}">
                <a16:creationId xmlns:a16="http://schemas.microsoft.com/office/drawing/2014/main" id="{BF1A8F13-B01D-2FB6-457A-177BF3714BAC}"/>
              </a:ext>
            </a:extLst>
          </p:cNvPr>
          <p:cNvSpPr>
            <a:spLocks noChangeAspect="1"/>
          </p:cNvSpPr>
          <p:nvPr/>
        </p:nvSpPr>
        <p:spPr>
          <a:xfrm>
            <a:off x="4762851" y="2096309"/>
            <a:ext cx="589724" cy="589724"/>
          </a:xfrm>
          <a:prstGeom prst="ellipse">
            <a:avLst/>
          </a:prstGeom>
          <a:solidFill>
            <a:srgbClr val="20BA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85000"/>
              </a:lnSpc>
              <a:spcBef>
                <a:spcPts val="0"/>
              </a:spcBef>
              <a:spcAft>
                <a:spcPts val="0"/>
              </a:spcAft>
              <a:buClrTx/>
              <a:buSzTx/>
              <a:buFontTx/>
              <a:buNone/>
              <a:tabLst/>
              <a:defRPr/>
            </a:pPr>
            <a:r>
              <a:rPr kumimoji="0" lang="fr-FR" sz="2800" b="0" i="0" u="none" strike="noStrike" kern="1200" cap="none" spc="0" normalizeH="0" baseline="0" noProof="0">
                <a:ln>
                  <a:noFill/>
                </a:ln>
                <a:solidFill>
                  <a:srgbClr val="FFFFFF"/>
                </a:solidFill>
                <a:effectLst/>
                <a:uLnTx/>
                <a:uFillTx/>
                <a:latin typeface="Oswald SemiBold"/>
                <a:ea typeface="+mn-ea"/>
                <a:cs typeface="+mn-cs"/>
              </a:rPr>
              <a:t>2</a:t>
            </a:r>
          </a:p>
        </p:txBody>
      </p:sp>
      <p:sp>
        <p:nvSpPr>
          <p:cNvPr id="48" name="Ellipse 47">
            <a:extLst>
              <a:ext uri="{FF2B5EF4-FFF2-40B4-BE49-F238E27FC236}">
                <a16:creationId xmlns:a16="http://schemas.microsoft.com/office/drawing/2014/main" id="{674BDB76-B6B2-A616-07FA-650DBA9E1ADC}"/>
              </a:ext>
            </a:extLst>
          </p:cNvPr>
          <p:cNvSpPr>
            <a:spLocks noChangeAspect="1"/>
          </p:cNvSpPr>
          <p:nvPr/>
        </p:nvSpPr>
        <p:spPr>
          <a:xfrm>
            <a:off x="6649655" y="2096309"/>
            <a:ext cx="589724" cy="589724"/>
          </a:xfrm>
          <a:prstGeom prst="ellipse">
            <a:avLst/>
          </a:prstGeom>
          <a:solidFill>
            <a:srgbClr val="BF6AC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85000"/>
              </a:lnSpc>
              <a:spcBef>
                <a:spcPts val="0"/>
              </a:spcBef>
              <a:spcAft>
                <a:spcPts val="0"/>
              </a:spcAft>
              <a:buClrTx/>
              <a:buSzTx/>
              <a:buFontTx/>
              <a:buNone/>
              <a:tabLst/>
              <a:defRPr/>
            </a:pPr>
            <a:r>
              <a:rPr kumimoji="0" lang="fr-FR" sz="2800" b="0" i="0" u="none" strike="noStrike" kern="1200" cap="none" spc="0" normalizeH="0" baseline="0" noProof="0">
                <a:ln>
                  <a:noFill/>
                </a:ln>
                <a:solidFill>
                  <a:srgbClr val="FFFFFF"/>
                </a:solidFill>
                <a:effectLst/>
                <a:uLnTx/>
                <a:uFillTx/>
                <a:latin typeface="Oswald SemiBold"/>
                <a:ea typeface="+mn-ea"/>
                <a:cs typeface="+mn-cs"/>
              </a:rPr>
              <a:t>3</a:t>
            </a:r>
          </a:p>
        </p:txBody>
      </p:sp>
      <p:sp>
        <p:nvSpPr>
          <p:cNvPr id="37" name="Ellipse 36">
            <a:extLst>
              <a:ext uri="{FF2B5EF4-FFF2-40B4-BE49-F238E27FC236}">
                <a16:creationId xmlns:a16="http://schemas.microsoft.com/office/drawing/2014/main" id="{55A73D9C-9E08-7F26-B2AE-D41C14F6688F}"/>
              </a:ext>
            </a:extLst>
          </p:cNvPr>
          <p:cNvSpPr>
            <a:spLocks noChangeAspect="1"/>
          </p:cNvSpPr>
          <p:nvPr/>
        </p:nvSpPr>
        <p:spPr>
          <a:xfrm>
            <a:off x="8536459" y="2096309"/>
            <a:ext cx="589724" cy="589724"/>
          </a:xfrm>
          <a:prstGeom prst="ellipse">
            <a:avLst/>
          </a:prstGeom>
          <a:solidFill>
            <a:srgbClr val="FE9C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85000"/>
              </a:lnSpc>
              <a:spcBef>
                <a:spcPts val="0"/>
              </a:spcBef>
              <a:spcAft>
                <a:spcPts val="0"/>
              </a:spcAft>
              <a:buClrTx/>
              <a:buSzTx/>
              <a:buFontTx/>
              <a:buNone/>
              <a:tabLst/>
              <a:defRPr/>
            </a:pPr>
            <a:r>
              <a:rPr kumimoji="0" lang="fr-FR" sz="2800" b="0" i="0" u="none" strike="noStrike" kern="1200" cap="none" spc="0" normalizeH="0" baseline="0" noProof="0">
                <a:ln>
                  <a:noFill/>
                </a:ln>
                <a:solidFill>
                  <a:srgbClr val="FFFFFF"/>
                </a:solidFill>
                <a:effectLst/>
                <a:uLnTx/>
                <a:uFillTx/>
                <a:latin typeface="Oswald SemiBold"/>
                <a:ea typeface="+mn-ea"/>
                <a:cs typeface="+mn-cs"/>
              </a:rPr>
              <a:t>4</a:t>
            </a:r>
          </a:p>
        </p:txBody>
      </p:sp>
      <p:sp>
        <p:nvSpPr>
          <p:cNvPr id="77" name="Freeform 6">
            <a:extLst>
              <a:ext uri="{FF2B5EF4-FFF2-40B4-BE49-F238E27FC236}">
                <a16:creationId xmlns:a16="http://schemas.microsoft.com/office/drawing/2014/main" id="{D04083E8-F2B9-4C6D-1689-748464B67046}"/>
              </a:ext>
            </a:extLst>
          </p:cNvPr>
          <p:cNvSpPr>
            <a:spLocks noChangeAspect="1"/>
          </p:cNvSpPr>
          <p:nvPr/>
        </p:nvSpPr>
        <p:spPr bwMode="auto">
          <a:xfrm>
            <a:off x="9686154" y="2866985"/>
            <a:ext cx="255016" cy="639758"/>
          </a:xfrm>
          <a:custGeom>
            <a:avLst/>
            <a:gdLst>
              <a:gd name="T0" fmla="*/ 0 w 240"/>
              <a:gd name="T1" fmla="*/ 48 h 1200"/>
              <a:gd name="T2" fmla="*/ 86 w 240"/>
              <a:gd name="T3" fmla="*/ 600 h 1200"/>
              <a:gd name="T4" fmla="*/ 0 w 240"/>
              <a:gd name="T5" fmla="*/ 1152 h 1200"/>
              <a:gd name="T6" fmla="*/ 19 w 240"/>
              <a:gd name="T7" fmla="*/ 1200 h 1200"/>
              <a:gd name="T8" fmla="*/ 240 w 240"/>
              <a:gd name="T9" fmla="*/ 600 h 1200"/>
              <a:gd name="T10" fmla="*/ 19 w 240"/>
              <a:gd name="T11" fmla="*/ 0 h 1200"/>
              <a:gd name="T12" fmla="*/ 0 w 240"/>
              <a:gd name="T13" fmla="*/ 48 h 1200"/>
            </a:gdLst>
            <a:ahLst/>
            <a:cxnLst>
              <a:cxn ang="0">
                <a:pos x="T0" y="T1"/>
              </a:cxn>
              <a:cxn ang="0">
                <a:pos x="T2" y="T3"/>
              </a:cxn>
              <a:cxn ang="0">
                <a:pos x="T4" y="T5"/>
              </a:cxn>
              <a:cxn ang="0">
                <a:pos x="T6" y="T7"/>
              </a:cxn>
              <a:cxn ang="0">
                <a:pos x="T8" y="T9"/>
              </a:cxn>
              <a:cxn ang="0">
                <a:pos x="T10" y="T11"/>
              </a:cxn>
              <a:cxn ang="0">
                <a:pos x="T12" y="T13"/>
              </a:cxn>
            </a:cxnLst>
            <a:rect l="0" t="0" r="r" b="b"/>
            <a:pathLst>
              <a:path w="240" h="1200">
                <a:moveTo>
                  <a:pt x="0" y="48"/>
                </a:moveTo>
                <a:cubicBezTo>
                  <a:pt x="16" y="96"/>
                  <a:pt x="86" y="416"/>
                  <a:pt x="86" y="600"/>
                </a:cubicBezTo>
                <a:cubicBezTo>
                  <a:pt x="86" y="784"/>
                  <a:pt x="16" y="1104"/>
                  <a:pt x="0" y="1152"/>
                </a:cubicBezTo>
                <a:cubicBezTo>
                  <a:pt x="9" y="1176"/>
                  <a:pt x="19" y="1200"/>
                  <a:pt x="19" y="1200"/>
                </a:cubicBezTo>
                <a:lnTo>
                  <a:pt x="240" y="600"/>
                </a:lnTo>
                <a:lnTo>
                  <a:pt x="19" y="0"/>
                </a:lnTo>
                <a:cubicBezTo>
                  <a:pt x="19" y="0"/>
                  <a:pt x="0" y="48"/>
                  <a:pt x="0" y="48"/>
                </a:cubicBezTo>
                <a:close/>
              </a:path>
            </a:pathLst>
          </a:custGeom>
          <a:solidFill>
            <a:schemeClr val="accent1"/>
          </a:solidFill>
          <a:ln>
            <a:noFill/>
          </a:ln>
          <a:effectLst/>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fr-FR" sz="1000" b="0" i="0" u="none" strike="noStrike" kern="1200" cap="none" spc="0" normalizeH="0" baseline="0" noProof="0">
              <a:ln>
                <a:noFill/>
              </a:ln>
              <a:solidFill>
                <a:prstClr val="black"/>
              </a:solidFill>
              <a:effectLst/>
              <a:uLnTx/>
              <a:uFillTx/>
              <a:latin typeface="Century Gothic"/>
              <a:ea typeface="ＭＳ Ｐゴシック" charset="0"/>
              <a:cs typeface="ＭＳ Ｐゴシック" charset="0"/>
            </a:endParaRPr>
          </a:p>
        </p:txBody>
      </p:sp>
    </p:spTree>
    <p:extLst>
      <p:ext uri="{BB962C8B-B14F-4D97-AF65-F5344CB8AC3E}">
        <p14:creationId xmlns:p14="http://schemas.microsoft.com/office/powerpoint/2010/main" val="30643788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 name="Rectangle 51">
            <a:extLst>
              <a:ext uri="{FF2B5EF4-FFF2-40B4-BE49-F238E27FC236}">
                <a16:creationId xmlns:a16="http://schemas.microsoft.com/office/drawing/2014/main" id="{2CC3922C-DE42-DD17-5517-FA8AB254C02D}"/>
              </a:ext>
            </a:extLst>
          </p:cNvPr>
          <p:cNvSpPr/>
          <p:nvPr/>
        </p:nvSpPr>
        <p:spPr>
          <a:xfrm>
            <a:off x="226030" y="1342501"/>
            <a:ext cx="11270751" cy="5150765"/>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swald Light"/>
              <a:ea typeface="+mn-ea"/>
              <a:cs typeface="+mn-cs"/>
            </a:endParaRPr>
          </a:p>
        </p:txBody>
      </p:sp>
      <p:sp>
        <p:nvSpPr>
          <p:cNvPr id="3" name="Espace réservé du pied de page 2">
            <a:extLst>
              <a:ext uri="{FF2B5EF4-FFF2-40B4-BE49-F238E27FC236}">
                <a16:creationId xmlns:a16="http://schemas.microsoft.com/office/drawing/2014/main" id="{0B263E91-A458-568D-9C67-DEC76D583EE9}"/>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all" spc="0" normalizeH="0" baseline="0" noProof="0">
                <a:ln>
                  <a:noFill/>
                </a:ln>
                <a:solidFill>
                  <a:srgbClr val="FFFFFF"/>
                </a:solidFill>
                <a:effectLst/>
                <a:uLnTx/>
                <a:uFillTx/>
                <a:latin typeface="Oswald SemiBold" pitchFamily="2" charset="0"/>
                <a:ea typeface="+mn-ea"/>
                <a:cs typeface="Aharoni" panose="02010803020104030203" pitchFamily="2" charset="-79"/>
              </a:rPr>
              <a:t>CLAIM LAB – STEP BY STEP</a:t>
            </a:r>
          </a:p>
        </p:txBody>
      </p:sp>
      <p:sp>
        <p:nvSpPr>
          <p:cNvPr id="5" name="Espace réservé du texte 4">
            <a:extLst>
              <a:ext uri="{FF2B5EF4-FFF2-40B4-BE49-F238E27FC236}">
                <a16:creationId xmlns:a16="http://schemas.microsoft.com/office/drawing/2014/main" id="{EF052641-6D06-F100-8E98-305009DC5B20}"/>
              </a:ext>
            </a:extLst>
          </p:cNvPr>
          <p:cNvSpPr>
            <a:spLocks noGrp="1"/>
          </p:cNvSpPr>
          <p:nvPr>
            <p:ph type="body" sz="quarter" idx="13"/>
          </p:nvPr>
        </p:nvSpPr>
        <p:spPr>
          <a:xfrm>
            <a:off x="260320" y="238563"/>
            <a:ext cx="4496617" cy="400110"/>
          </a:xfrm>
        </p:spPr>
        <p:txBody>
          <a:bodyPr/>
          <a:lstStyle/>
          <a:p>
            <a:r>
              <a:rPr lang="en-US" sz="2400">
                <a:solidFill>
                  <a:schemeClr val="tx2"/>
                </a:solidFill>
              </a:rPr>
              <a:t>CLAIMs LAB STEP BY STEP</a:t>
            </a:r>
          </a:p>
        </p:txBody>
      </p:sp>
      <p:sp>
        <p:nvSpPr>
          <p:cNvPr id="6" name="Rectangle 5">
            <a:extLst>
              <a:ext uri="{FF2B5EF4-FFF2-40B4-BE49-F238E27FC236}">
                <a16:creationId xmlns:a16="http://schemas.microsoft.com/office/drawing/2014/main" id="{AB48BDF2-4D7A-0AEF-A013-18B1EAA794F3}"/>
              </a:ext>
            </a:extLst>
          </p:cNvPr>
          <p:cNvSpPr/>
          <p:nvPr/>
        </p:nvSpPr>
        <p:spPr>
          <a:xfrm>
            <a:off x="519879" y="2794559"/>
            <a:ext cx="1440000" cy="784612"/>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02677">
                    <a:lumMod val="20000"/>
                    <a:lumOff val="80000"/>
                  </a:srgbClr>
                </a:solidFill>
                <a:effectLst/>
                <a:uLnTx/>
                <a:uFillTx/>
                <a:latin typeface="Oswald Light"/>
                <a:ea typeface="+mn-ea"/>
                <a:cs typeface="+mn-cs"/>
              </a:rPr>
              <a:t>PRE-WORK</a:t>
            </a:r>
            <a:endParaRPr kumimoji="0" lang="en-US" sz="1400" b="0" i="0" u="none" strike="noStrike" kern="1200" cap="none" spc="0" normalizeH="0" baseline="0" noProof="0">
              <a:ln>
                <a:noFill/>
              </a:ln>
              <a:solidFill>
                <a:srgbClr val="002677">
                  <a:lumMod val="20000"/>
                  <a:lumOff val="80000"/>
                </a:srgbClr>
              </a:solidFill>
              <a:effectLst/>
              <a:uLnTx/>
              <a:uFillTx/>
              <a:latin typeface="Oswald Light"/>
              <a:ea typeface="+mn-ea"/>
              <a:cs typeface="+mn-cs"/>
            </a:endParaRPr>
          </a:p>
        </p:txBody>
      </p:sp>
      <p:sp>
        <p:nvSpPr>
          <p:cNvPr id="7" name="Rectangle 6">
            <a:extLst>
              <a:ext uri="{FF2B5EF4-FFF2-40B4-BE49-F238E27FC236}">
                <a16:creationId xmlns:a16="http://schemas.microsoft.com/office/drawing/2014/main" id="{88E86A9B-8E09-3C60-BFAD-D4B2CD2F73B5}"/>
              </a:ext>
            </a:extLst>
          </p:cNvPr>
          <p:cNvSpPr/>
          <p:nvPr/>
        </p:nvSpPr>
        <p:spPr>
          <a:xfrm>
            <a:off x="4300007" y="2794647"/>
            <a:ext cx="1440000" cy="784612"/>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0B0F0"/>
                </a:solidFill>
                <a:effectLst/>
                <a:uLnTx/>
                <a:uFillTx/>
                <a:latin typeface="Oswald Light"/>
                <a:ea typeface="+mn-ea"/>
                <a:cs typeface="+mn-cs"/>
              </a:rPr>
              <a:t>IDEATE</a:t>
            </a:r>
            <a:endParaRPr kumimoji="0" lang="en-US" sz="1400" b="1" i="0" u="none" strike="noStrike" kern="1200" cap="none" spc="0" normalizeH="0" baseline="0" noProof="0">
              <a:ln>
                <a:noFill/>
              </a:ln>
              <a:solidFill>
                <a:srgbClr val="00B0F0"/>
              </a:solidFill>
              <a:effectLst/>
              <a:uLnTx/>
              <a:uFillTx/>
              <a:latin typeface="Oswald Light"/>
              <a:ea typeface="+mn-ea"/>
              <a:cs typeface="+mn-cs"/>
            </a:endParaRPr>
          </a:p>
        </p:txBody>
      </p:sp>
      <p:sp>
        <p:nvSpPr>
          <p:cNvPr id="11" name="Freeform 6">
            <a:extLst>
              <a:ext uri="{FF2B5EF4-FFF2-40B4-BE49-F238E27FC236}">
                <a16:creationId xmlns:a16="http://schemas.microsoft.com/office/drawing/2014/main" id="{7597F6BC-7B03-C0F1-182F-2CD21151CBA4}"/>
              </a:ext>
            </a:extLst>
          </p:cNvPr>
          <p:cNvSpPr>
            <a:spLocks noChangeAspect="1"/>
          </p:cNvSpPr>
          <p:nvPr/>
        </p:nvSpPr>
        <p:spPr bwMode="auto">
          <a:xfrm>
            <a:off x="2057403" y="2877413"/>
            <a:ext cx="255016" cy="639758"/>
          </a:xfrm>
          <a:custGeom>
            <a:avLst/>
            <a:gdLst>
              <a:gd name="T0" fmla="*/ 0 w 240"/>
              <a:gd name="T1" fmla="*/ 48 h 1200"/>
              <a:gd name="T2" fmla="*/ 86 w 240"/>
              <a:gd name="T3" fmla="*/ 600 h 1200"/>
              <a:gd name="T4" fmla="*/ 0 w 240"/>
              <a:gd name="T5" fmla="*/ 1152 h 1200"/>
              <a:gd name="T6" fmla="*/ 19 w 240"/>
              <a:gd name="T7" fmla="*/ 1200 h 1200"/>
              <a:gd name="T8" fmla="*/ 240 w 240"/>
              <a:gd name="T9" fmla="*/ 600 h 1200"/>
              <a:gd name="T10" fmla="*/ 19 w 240"/>
              <a:gd name="T11" fmla="*/ 0 h 1200"/>
              <a:gd name="T12" fmla="*/ 0 w 240"/>
              <a:gd name="T13" fmla="*/ 48 h 1200"/>
            </a:gdLst>
            <a:ahLst/>
            <a:cxnLst>
              <a:cxn ang="0">
                <a:pos x="T0" y="T1"/>
              </a:cxn>
              <a:cxn ang="0">
                <a:pos x="T2" y="T3"/>
              </a:cxn>
              <a:cxn ang="0">
                <a:pos x="T4" y="T5"/>
              </a:cxn>
              <a:cxn ang="0">
                <a:pos x="T6" y="T7"/>
              </a:cxn>
              <a:cxn ang="0">
                <a:pos x="T8" y="T9"/>
              </a:cxn>
              <a:cxn ang="0">
                <a:pos x="T10" y="T11"/>
              </a:cxn>
              <a:cxn ang="0">
                <a:pos x="T12" y="T13"/>
              </a:cxn>
            </a:cxnLst>
            <a:rect l="0" t="0" r="r" b="b"/>
            <a:pathLst>
              <a:path w="240" h="1200">
                <a:moveTo>
                  <a:pt x="0" y="48"/>
                </a:moveTo>
                <a:cubicBezTo>
                  <a:pt x="16" y="96"/>
                  <a:pt x="86" y="416"/>
                  <a:pt x="86" y="600"/>
                </a:cubicBezTo>
                <a:cubicBezTo>
                  <a:pt x="86" y="784"/>
                  <a:pt x="16" y="1104"/>
                  <a:pt x="0" y="1152"/>
                </a:cubicBezTo>
                <a:cubicBezTo>
                  <a:pt x="9" y="1176"/>
                  <a:pt x="19" y="1200"/>
                  <a:pt x="19" y="1200"/>
                </a:cubicBezTo>
                <a:lnTo>
                  <a:pt x="240" y="600"/>
                </a:lnTo>
                <a:lnTo>
                  <a:pt x="19" y="0"/>
                </a:lnTo>
                <a:cubicBezTo>
                  <a:pt x="19" y="0"/>
                  <a:pt x="0" y="48"/>
                  <a:pt x="0" y="48"/>
                </a:cubicBezTo>
                <a:close/>
              </a:path>
            </a:pathLst>
          </a:custGeom>
          <a:solidFill>
            <a:schemeClr val="accent1"/>
          </a:solidFill>
          <a:ln>
            <a:noFill/>
          </a:ln>
          <a:effectLst/>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fr-FR" sz="1000" b="0" i="0" u="none" strike="noStrike" kern="1200" cap="none" spc="0" normalizeH="0" baseline="0" noProof="0">
              <a:ln>
                <a:noFill/>
              </a:ln>
              <a:solidFill>
                <a:prstClr val="black"/>
              </a:solidFill>
              <a:effectLst/>
              <a:uLnTx/>
              <a:uFillTx/>
              <a:latin typeface="Century Gothic"/>
              <a:ea typeface="ＭＳ Ｐゴシック" charset="0"/>
              <a:cs typeface="ＭＳ Ｐゴシック" charset="0"/>
            </a:endParaRPr>
          </a:p>
        </p:txBody>
      </p:sp>
      <p:sp>
        <p:nvSpPr>
          <p:cNvPr id="15" name="Freeform 6">
            <a:extLst>
              <a:ext uri="{FF2B5EF4-FFF2-40B4-BE49-F238E27FC236}">
                <a16:creationId xmlns:a16="http://schemas.microsoft.com/office/drawing/2014/main" id="{223A44D5-B82B-39D0-7559-1EEDC902C1FD}"/>
              </a:ext>
            </a:extLst>
          </p:cNvPr>
          <p:cNvSpPr>
            <a:spLocks noChangeAspect="1"/>
          </p:cNvSpPr>
          <p:nvPr/>
        </p:nvSpPr>
        <p:spPr bwMode="auto">
          <a:xfrm>
            <a:off x="5837531" y="2866985"/>
            <a:ext cx="255016" cy="639758"/>
          </a:xfrm>
          <a:custGeom>
            <a:avLst/>
            <a:gdLst>
              <a:gd name="T0" fmla="*/ 0 w 240"/>
              <a:gd name="T1" fmla="*/ 48 h 1200"/>
              <a:gd name="T2" fmla="*/ 86 w 240"/>
              <a:gd name="T3" fmla="*/ 600 h 1200"/>
              <a:gd name="T4" fmla="*/ 0 w 240"/>
              <a:gd name="T5" fmla="*/ 1152 h 1200"/>
              <a:gd name="T6" fmla="*/ 19 w 240"/>
              <a:gd name="T7" fmla="*/ 1200 h 1200"/>
              <a:gd name="T8" fmla="*/ 240 w 240"/>
              <a:gd name="T9" fmla="*/ 600 h 1200"/>
              <a:gd name="T10" fmla="*/ 19 w 240"/>
              <a:gd name="T11" fmla="*/ 0 h 1200"/>
              <a:gd name="T12" fmla="*/ 0 w 240"/>
              <a:gd name="T13" fmla="*/ 48 h 1200"/>
            </a:gdLst>
            <a:ahLst/>
            <a:cxnLst>
              <a:cxn ang="0">
                <a:pos x="T0" y="T1"/>
              </a:cxn>
              <a:cxn ang="0">
                <a:pos x="T2" y="T3"/>
              </a:cxn>
              <a:cxn ang="0">
                <a:pos x="T4" y="T5"/>
              </a:cxn>
              <a:cxn ang="0">
                <a:pos x="T6" y="T7"/>
              </a:cxn>
              <a:cxn ang="0">
                <a:pos x="T8" y="T9"/>
              </a:cxn>
              <a:cxn ang="0">
                <a:pos x="T10" y="T11"/>
              </a:cxn>
              <a:cxn ang="0">
                <a:pos x="T12" y="T13"/>
              </a:cxn>
            </a:cxnLst>
            <a:rect l="0" t="0" r="r" b="b"/>
            <a:pathLst>
              <a:path w="240" h="1200">
                <a:moveTo>
                  <a:pt x="0" y="48"/>
                </a:moveTo>
                <a:cubicBezTo>
                  <a:pt x="16" y="96"/>
                  <a:pt x="86" y="416"/>
                  <a:pt x="86" y="600"/>
                </a:cubicBezTo>
                <a:cubicBezTo>
                  <a:pt x="86" y="784"/>
                  <a:pt x="16" y="1104"/>
                  <a:pt x="0" y="1152"/>
                </a:cubicBezTo>
                <a:cubicBezTo>
                  <a:pt x="9" y="1176"/>
                  <a:pt x="19" y="1200"/>
                  <a:pt x="19" y="1200"/>
                </a:cubicBezTo>
                <a:lnTo>
                  <a:pt x="240" y="600"/>
                </a:lnTo>
                <a:lnTo>
                  <a:pt x="19" y="0"/>
                </a:lnTo>
                <a:cubicBezTo>
                  <a:pt x="19" y="0"/>
                  <a:pt x="0" y="48"/>
                  <a:pt x="0" y="48"/>
                </a:cubicBezTo>
                <a:close/>
              </a:path>
            </a:pathLst>
          </a:custGeom>
          <a:solidFill>
            <a:schemeClr val="accent1"/>
          </a:solidFill>
          <a:ln>
            <a:noFill/>
          </a:ln>
          <a:effectLst/>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fr-FR" sz="1000" b="0" i="0" u="none" strike="noStrike" kern="1200" cap="none" spc="0" normalizeH="0" baseline="0" noProof="0">
              <a:ln>
                <a:noFill/>
              </a:ln>
              <a:solidFill>
                <a:prstClr val="black"/>
              </a:solidFill>
              <a:effectLst/>
              <a:uLnTx/>
              <a:uFillTx/>
              <a:latin typeface="Century Gothic"/>
              <a:ea typeface="ＭＳ Ｐゴシック" charset="0"/>
              <a:cs typeface="ＭＳ Ｐゴシック" charset="0"/>
            </a:endParaRPr>
          </a:p>
        </p:txBody>
      </p:sp>
      <p:sp>
        <p:nvSpPr>
          <p:cNvPr id="18" name="ZoneTexte 17">
            <a:extLst>
              <a:ext uri="{FF2B5EF4-FFF2-40B4-BE49-F238E27FC236}">
                <a16:creationId xmlns:a16="http://schemas.microsoft.com/office/drawing/2014/main" id="{7AD3E739-5DEA-782A-A982-4C37CAFC5563}"/>
              </a:ext>
            </a:extLst>
          </p:cNvPr>
          <p:cNvSpPr txBox="1"/>
          <p:nvPr/>
        </p:nvSpPr>
        <p:spPr>
          <a:xfrm>
            <a:off x="163585" y="599459"/>
            <a:ext cx="2682985" cy="400110"/>
          </a:xfrm>
          <a:prstGeom prst="rect">
            <a:avLst/>
          </a:prstGeom>
          <a:solidFill>
            <a:schemeClr val="bg1"/>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1" u="none" strike="noStrike" kern="1200" cap="none" spc="0" normalizeH="0" baseline="0" noProof="0">
                <a:ln>
                  <a:noFill/>
                </a:ln>
                <a:solidFill>
                  <a:srgbClr val="002677"/>
                </a:solidFill>
                <a:effectLst/>
                <a:uLnTx/>
                <a:uFillTx/>
                <a:latin typeface="Oswald Light"/>
                <a:ea typeface="+mn-ea"/>
                <a:cs typeface="+mn-cs"/>
              </a:rPr>
              <a:t>Claim Generation Process</a:t>
            </a:r>
          </a:p>
        </p:txBody>
      </p:sp>
      <p:sp>
        <p:nvSpPr>
          <p:cNvPr id="19" name="Rectangle 18">
            <a:extLst>
              <a:ext uri="{FF2B5EF4-FFF2-40B4-BE49-F238E27FC236}">
                <a16:creationId xmlns:a16="http://schemas.microsoft.com/office/drawing/2014/main" id="{47D5AB39-1A65-253E-32D1-889E5BFA27DE}"/>
              </a:ext>
            </a:extLst>
          </p:cNvPr>
          <p:cNvSpPr/>
          <p:nvPr/>
        </p:nvSpPr>
        <p:spPr>
          <a:xfrm>
            <a:off x="2409943" y="2794559"/>
            <a:ext cx="1440000" cy="784612"/>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02060"/>
                </a:solidFill>
                <a:effectLst/>
                <a:uLnTx/>
                <a:uFillTx/>
                <a:latin typeface="Oswald Light"/>
                <a:ea typeface="+mn-ea"/>
                <a:cs typeface="+mn-cs"/>
              </a:rPr>
              <a:t>IMMERSE</a:t>
            </a:r>
            <a:endParaRPr kumimoji="0" lang="en-US" sz="1400" b="0" i="0" u="none" strike="noStrike" kern="1200" cap="none" spc="0" normalizeH="0" baseline="0" noProof="0">
              <a:ln>
                <a:noFill/>
              </a:ln>
              <a:solidFill>
                <a:srgbClr val="002060"/>
              </a:solidFill>
              <a:effectLst/>
              <a:uLnTx/>
              <a:uFillTx/>
              <a:latin typeface="Oswald Light"/>
              <a:ea typeface="+mn-ea"/>
              <a:cs typeface="+mn-cs"/>
            </a:endParaRPr>
          </a:p>
        </p:txBody>
      </p:sp>
      <p:sp>
        <p:nvSpPr>
          <p:cNvPr id="20" name="Freeform 6">
            <a:extLst>
              <a:ext uri="{FF2B5EF4-FFF2-40B4-BE49-F238E27FC236}">
                <a16:creationId xmlns:a16="http://schemas.microsoft.com/office/drawing/2014/main" id="{2E18D7FF-E6C0-EE94-94B2-D56B6511D963}"/>
              </a:ext>
            </a:extLst>
          </p:cNvPr>
          <p:cNvSpPr>
            <a:spLocks noChangeAspect="1"/>
          </p:cNvSpPr>
          <p:nvPr/>
        </p:nvSpPr>
        <p:spPr bwMode="auto">
          <a:xfrm>
            <a:off x="3947467" y="2877413"/>
            <a:ext cx="255016" cy="639758"/>
          </a:xfrm>
          <a:custGeom>
            <a:avLst/>
            <a:gdLst>
              <a:gd name="T0" fmla="*/ 0 w 240"/>
              <a:gd name="T1" fmla="*/ 48 h 1200"/>
              <a:gd name="T2" fmla="*/ 86 w 240"/>
              <a:gd name="T3" fmla="*/ 600 h 1200"/>
              <a:gd name="T4" fmla="*/ 0 w 240"/>
              <a:gd name="T5" fmla="*/ 1152 h 1200"/>
              <a:gd name="T6" fmla="*/ 19 w 240"/>
              <a:gd name="T7" fmla="*/ 1200 h 1200"/>
              <a:gd name="T8" fmla="*/ 240 w 240"/>
              <a:gd name="T9" fmla="*/ 600 h 1200"/>
              <a:gd name="T10" fmla="*/ 19 w 240"/>
              <a:gd name="T11" fmla="*/ 0 h 1200"/>
              <a:gd name="T12" fmla="*/ 0 w 240"/>
              <a:gd name="T13" fmla="*/ 48 h 1200"/>
            </a:gdLst>
            <a:ahLst/>
            <a:cxnLst>
              <a:cxn ang="0">
                <a:pos x="T0" y="T1"/>
              </a:cxn>
              <a:cxn ang="0">
                <a:pos x="T2" y="T3"/>
              </a:cxn>
              <a:cxn ang="0">
                <a:pos x="T4" y="T5"/>
              </a:cxn>
              <a:cxn ang="0">
                <a:pos x="T6" y="T7"/>
              </a:cxn>
              <a:cxn ang="0">
                <a:pos x="T8" y="T9"/>
              </a:cxn>
              <a:cxn ang="0">
                <a:pos x="T10" y="T11"/>
              </a:cxn>
              <a:cxn ang="0">
                <a:pos x="T12" y="T13"/>
              </a:cxn>
            </a:cxnLst>
            <a:rect l="0" t="0" r="r" b="b"/>
            <a:pathLst>
              <a:path w="240" h="1200">
                <a:moveTo>
                  <a:pt x="0" y="48"/>
                </a:moveTo>
                <a:cubicBezTo>
                  <a:pt x="16" y="96"/>
                  <a:pt x="86" y="416"/>
                  <a:pt x="86" y="600"/>
                </a:cubicBezTo>
                <a:cubicBezTo>
                  <a:pt x="86" y="784"/>
                  <a:pt x="16" y="1104"/>
                  <a:pt x="0" y="1152"/>
                </a:cubicBezTo>
                <a:cubicBezTo>
                  <a:pt x="9" y="1176"/>
                  <a:pt x="19" y="1200"/>
                  <a:pt x="19" y="1200"/>
                </a:cubicBezTo>
                <a:lnTo>
                  <a:pt x="240" y="600"/>
                </a:lnTo>
                <a:lnTo>
                  <a:pt x="19" y="0"/>
                </a:lnTo>
                <a:cubicBezTo>
                  <a:pt x="19" y="0"/>
                  <a:pt x="0" y="48"/>
                  <a:pt x="0" y="48"/>
                </a:cubicBezTo>
                <a:close/>
              </a:path>
            </a:pathLst>
          </a:custGeom>
          <a:solidFill>
            <a:schemeClr val="accent1"/>
          </a:solidFill>
          <a:ln>
            <a:noFill/>
          </a:ln>
          <a:effectLst/>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fr-FR" sz="1000" b="0" i="0" u="none" strike="noStrike" kern="1200" cap="none" spc="0" normalizeH="0" baseline="0" noProof="0">
              <a:ln>
                <a:noFill/>
              </a:ln>
              <a:solidFill>
                <a:prstClr val="black"/>
              </a:solidFill>
              <a:effectLst/>
              <a:uLnTx/>
              <a:uFillTx/>
              <a:latin typeface="Century Gothic"/>
              <a:ea typeface="ＭＳ Ｐゴシック" charset="0"/>
              <a:cs typeface="ＭＳ Ｐゴシック" charset="0"/>
            </a:endParaRPr>
          </a:p>
        </p:txBody>
      </p:sp>
      <p:sp>
        <p:nvSpPr>
          <p:cNvPr id="21" name="Ellipse 20">
            <a:extLst>
              <a:ext uri="{FF2B5EF4-FFF2-40B4-BE49-F238E27FC236}">
                <a16:creationId xmlns:a16="http://schemas.microsoft.com/office/drawing/2014/main" id="{13A39EF5-3F0E-147C-D058-42BC2070B142}"/>
              </a:ext>
            </a:extLst>
          </p:cNvPr>
          <p:cNvSpPr>
            <a:spLocks noChangeAspect="1"/>
          </p:cNvSpPr>
          <p:nvPr/>
        </p:nvSpPr>
        <p:spPr>
          <a:xfrm>
            <a:off x="989243" y="2096309"/>
            <a:ext cx="589724" cy="589724"/>
          </a:xfrm>
          <a:prstGeom prst="ellipse">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85000"/>
              </a:lnSpc>
              <a:spcBef>
                <a:spcPts val="0"/>
              </a:spcBef>
              <a:spcAft>
                <a:spcPts val="0"/>
              </a:spcAft>
              <a:buClrTx/>
              <a:buSzTx/>
              <a:buFontTx/>
              <a:buNone/>
              <a:tabLst/>
              <a:defRPr/>
            </a:pPr>
            <a:r>
              <a:rPr kumimoji="0" lang="fr-FR" sz="2800" b="0" i="0" u="none" strike="noStrike" kern="1200" cap="none" spc="0" normalizeH="0" baseline="0" noProof="0">
                <a:ln>
                  <a:noFill/>
                </a:ln>
                <a:solidFill>
                  <a:srgbClr val="FFFFFF"/>
                </a:solidFill>
                <a:effectLst/>
                <a:uLnTx/>
                <a:uFillTx/>
                <a:latin typeface="Oswald SemiBold"/>
                <a:ea typeface="+mn-ea"/>
                <a:cs typeface="+mn-cs"/>
              </a:rPr>
              <a:t>0</a:t>
            </a:r>
          </a:p>
        </p:txBody>
      </p:sp>
      <p:sp>
        <p:nvSpPr>
          <p:cNvPr id="22" name="Rectangle 21">
            <a:extLst>
              <a:ext uri="{FF2B5EF4-FFF2-40B4-BE49-F238E27FC236}">
                <a16:creationId xmlns:a16="http://schemas.microsoft.com/office/drawing/2014/main" id="{1A826021-6675-8CDE-480A-DC79EAF85C11}"/>
              </a:ext>
            </a:extLst>
          </p:cNvPr>
          <p:cNvSpPr/>
          <p:nvPr/>
        </p:nvSpPr>
        <p:spPr>
          <a:xfrm>
            <a:off x="6190071" y="2794559"/>
            <a:ext cx="1440000" cy="784612"/>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EBB6EC">
                    <a:lumMod val="50000"/>
                  </a:srgbClr>
                </a:solidFill>
                <a:effectLst/>
                <a:uLnTx/>
                <a:uFillTx/>
                <a:latin typeface="Oswald Light"/>
                <a:ea typeface="+mn-ea"/>
                <a:cs typeface="+mn-cs"/>
              </a:rPr>
              <a:t>SCREEN &amp; REFINE</a:t>
            </a:r>
            <a:endParaRPr kumimoji="0" lang="en-US" sz="1600" b="0" i="0" u="none" strike="noStrike" kern="1200" cap="none" spc="0" normalizeH="0" baseline="0" noProof="0">
              <a:ln>
                <a:noFill/>
              </a:ln>
              <a:solidFill>
                <a:srgbClr val="EBB6EC">
                  <a:lumMod val="50000"/>
                </a:srgbClr>
              </a:solidFill>
              <a:effectLst/>
              <a:uLnTx/>
              <a:uFillTx/>
              <a:latin typeface="Oswald Light"/>
              <a:ea typeface="+mn-ea"/>
              <a:cs typeface="+mn-cs"/>
            </a:endParaRPr>
          </a:p>
        </p:txBody>
      </p:sp>
      <p:sp>
        <p:nvSpPr>
          <p:cNvPr id="35" name="Rectangle 34">
            <a:extLst>
              <a:ext uri="{FF2B5EF4-FFF2-40B4-BE49-F238E27FC236}">
                <a16:creationId xmlns:a16="http://schemas.microsoft.com/office/drawing/2014/main" id="{D3672EE7-C9FD-95D3-0566-024B4719D925}"/>
              </a:ext>
            </a:extLst>
          </p:cNvPr>
          <p:cNvSpPr/>
          <p:nvPr/>
        </p:nvSpPr>
        <p:spPr>
          <a:xfrm>
            <a:off x="8080135" y="2794559"/>
            <a:ext cx="1440000" cy="784612"/>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FE9C28"/>
                </a:solidFill>
                <a:effectLst/>
                <a:uLnTx/>
                <a:uFillTx/>
                <a:latin typeface="Oswald Light"/>
                <a:ea typeface="+mn-ea"/>
                <a:cs typeface="+mn-cs"/>
              </a:rPr>
              <a:t>FINALIZE</a:t>
            </a:r>
            <a:endParaRPr kumimoji="0" lang="en-US" sz="1600" b="0" i="0" u="none" strike="noStrike" kern="1200" cap="none" spc="0" normalizeH="0" baseline="0" noProof="0">
              <a:ln>
                <a:noFill/>
              </a:ln>
              <a:solidFill>
                <a:srgbClr val="FE9C28"/>
              </a:solidFill>
              <a:effectLst/>
              <a:uLnTx/>
              <a:uFillTx/>
              <a:latin typeface="Oswald Light"/>
              <a:ea typeface="+mn-ea"/>
              <a:cs typeface="+mn-cs"/>
            </a:endParaRPr>
          </a:p>
        </p:txBody>
      </p:sp>
      <p:sp>
        <p:nvSpPr>
          <p:cNvPr id="36" name="Freeform 6">
            <a:extLst>
              <a:ext uri="{FF2B5EF4-FFF2-40B4-BE49-F238E27FC236}">
                <a16:creationId xmlns:a16="http://schemas.microsoft.com/office/drawing/2014/main" id="{A3CE5B96-B5C9-3AFF-84F0-CF0267D39595}"/>
              </a:ext>
            </a:extLst>
          </p:cNvPr>
          <p:cNvSpPr>
            <a:spLocks noChangeAspect="1"/>
          </p:cNvSpPr>
          <p:nvPr/>
        </p:nvSpPr>
        <p:spPr bwMode="auto">
          <a:xfrm>
            <a:off x="7727595" y="2866985"/>
            <a:ext cx="255016" cy="639758"/>
          </a:xfrm>
          <a:custGeom>
            <a:avLst/>
            <a:gdLst>
              <a:gd name="T0" fmla="*/ 0 w 240"/>
              <a:gd name="T1" fmla="*/ 48 h 1200"/>
              <a:gd name="T2" fmla="*/ 86 w 240"/>
              <a:gd name="T3" fmla="*/ 600 h 1200"/>
              <a:gd name="T4" fmla="*/ 0 w 240"/>
              <a:gd name="T5" fmla="*/ 1152 h 1200"/>
              <a:gd name="T6" fmla="*/ 19 w 240"/>
              <a:gd name="T7" fmla="*/ 1200 h 1200"/>
              <a:gd name="T8" fmla="*/ 240 w 240"/>
              <a:gd name="T9" fmla="*/ 600 h 1200"/>
              <a:gd name="T10" fmla="*/ 19 w 240"/>
              <a:gd name="T11" fmla="*/ 0 h 1200"/>
              <a:gd name="T12" fmla="*/ 0 w 240"/>
              <a:gd name="T13" fmla="*/ 48 h 1200"/>
            </a:gdLst>
            <a:ahLst/>
            <a:cxnLst>
              <a:cxn ang="0">
                <a:pos x="T0" y="T1"/>
              </a:cxn>
              <a:cxn ang="0">
                <a:pos x="T2" y="T3"/>
              </a:cxn>
              <a:cxn ang="0">
                <a:pos x="T4" y="T5"/>
              </a:cxn>
              <a:cxn ang="0">
                <a:pos x="T6" y="T7"/>
              </a:cxn>
              <a:cxn ang="0">
                <a:pos x="T8" y="T9"/>
              </a:cxn>
              <a:cxn ang="0">
                <a:pos x="T10" y="T11"/>
              </a:cxn>
              <a:cxn ang="0">
                <a:pos x="T12" y="T13"/>
              </a:cxn>
            </a:cxnLst>
            <a:rect l="0" t="0" r="r" b="b"/>
            <a:pathLst>
              <a:path w="240" h="1200">
                <a:moveTo>
                  <a:pt x="0" y="48"/>
                </a:moveTo>
                <a:cubicBezTo>
                  <a:pt x="16" y="96"/>
                  <a:pt x="86" y="416"/>
                  <a:pt x="86" y="600"/>
                </a:cubicBezTo>
                <a:cubicBezTo>
                  <a:pt x="86" y="784"/>
                  <a:pt x="16" y="1104"/>
                  <a:pt x="0" y="1152"/>
                </a:cubicBezTo>
                <a:cubicBezTo>
                  <a:pt x="9" y="1176"/>
                  <a:pt x="19" y="1200"/>
                  <a:pt x="19" y="1200"/>
                </a:cubicBezTo>
                <a:lnTo>
                  <a:pt x="240" y="600"/>
                </a:lnTo>
                <a:lnTo>
                  <a:pt x="19" y="0"/>
                </a:lnTo>
                <a:cubicBezTo>
                  <a:pt x="19" y="0"/>
                  <a:pt x="0" y="48"/>
                  <a:pt x="0" y="48"/>
                </a:cubicBezTo>
                <a:close/>
              </a:path>
            </a:pathLst>
          </a:custGeom>
          <a:solidFill>
            <a:schemeClr val="accent1"/>
          </a:solidFill>
          <a:ln>
            <a:noFill/>
          </a:ln>
          <a:effectLst/>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fr-FR" sz="1000" b="0" i="0" u="none" strike="noStrike" kern="1200" cap="none" spc="0" normalizeH="0" baseline="0" noProof="0">
              <a:ln>
                <a:noFill/>
              </a:ln>
              <a:solidFill>
                <a:prstClr val="black"/>
              </a:solidFill>
              <a:effectLst/>
              <a:uLnTx/>
              <a:uFillTx/>
              <a:latin typeface="Century Gothic"/>
              <a:ea typeface="ＭＳ Ｐゴシック" charset="0"/>
              <a:cs typeface="ＭＳ Ｐゴシック" charset="0"/>
            </a:endParaRPr>
          </a:p>
        </p:txBody>
      </p:sp>
      <p:sp>
        <p:nvSpPr>
          <p:cNvPr id="2" name="Rectangle 1">
            <a:extLst>
              <a:ext uri="{FF2B5EF4-FFF2-40B4-BE49-F238E27FC236}">
                <a16:creationId xmlns:a16="http://schemas.microsoft.com/office/drawing/2014/main" id="{1D1D1A58-79D9-BA1E-5D57-2C627BF79099}"/>
              </a:ext>
            </a:extLst>
          </p:cNvPr>
          <p:cNvSpPr/>
          <p:nvPr/>
        </p:nvSpPr>
        <p:spPr>
          <a:xfrm>
            <a:off x="9970197" y="2794559"/>
            <a:ext cx="1440000" cy="784612"/>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0B494"/>
                </a:solidFill>
                <a:effectLst/>
                <a:uLnTx/>
                <a:uFillTx/>
                <a:latin typeface="Oswald Light"/>
                <a:ea typeface="+mn-ea"/>
                <a:cs typeface="+mn-cs"/>
              </a:rPr>
              <a:t>BRING IT TO LIFE</a:t>
            </a:r>
            <a:endParaRPr kumimoji="0" lang="en-US" sz="1600" b="0" i="0" u="none" strike="noStrike" kern="1200" cap="none" spc="0" normalizeH="0" baseline="0" noProof="0">
              <a:ln>
                <a:noFill/>
              </a:ln>
              <a:solidFill>
                <a:srgbClr val="00B494"/>
              </a:solidFill>
              <a:effectLst/>
              <a:uLnTx/>
              <a:uFillTx/>
              <a:latin typeface="Oswald Light"/>
              <a:ea typeface="+mn-ea"/>
              <a:cs typeface="+mn-cs"/>
            </a:endParaRPr>
          </a:p>
        </p:txBody>
      </p:sp>
      <p:pic>
        <p:nvPicPr>
          <p:cNvPr id="39" name="Image 38">
            <a:extLst>
              <a:ext uri="{FF2B5EF4-FFF2-40B4-BE49-F238E27FC236}">
                <a16:creationId xmlns:a16="http://schemas.microsoft.com/office/drawing/2014/main" id="{4217793E-4CBF-B8F4-55F1-F8701A512C7E}"/>
              </a:ext>
            </a:extLst>
          </p:cNvPr>
          <p:cNvPicPr>
            <a:picLocks noChangeAspect="1"/>
          </p:cNvPicPr>
          <p:nvPr/>
        </p:nvPicPr>
        <p:blipFill>
          <a:blip r:embed="rId3"/>
          <a:stretch>
            <a:fillRect/>
          </a:stretch>
        </p:blipFill>
        <p:spPr>
          <a:xfrm>
            <a:off x="4819191" y="175149"/>
            <a:ext cx="1733729" cy="2041163"/>
          </a:xfrm>
          <a:prstGeom prst="rect">
            <a:avLst/>
          </a:prstGeom>
        </p:spPr>
      </p:pic>
      <p:sp>
        <p:nvSpPr>
          <p:cNvPr id="45" name="ZoneTexte 44">
            <a:extLst>
              <a:ext uri="{FF2B5EF4-FFF2-40B4-BE49-F238E27FC236}">
                <a16:creationId xmlns:a16="http://schemas.microsoft.com/office/drawing/2014/main" id="{8AE1D82B-B6E5-6586-CCBB-0784D5933C24}"/>
              </a:ext>
            </a:extLst>
          </p:cNvPr>
          <p:cNvSpPr txBox="1"/>
          <p:nvPr/>
        </p:nvSpPr>
        <p:spPr>
          <a:xfrm rot="16200000">
            <a:off x="-149013" y="2995020"/>
            <a:ext cx="736688" cy="338554"/>
          </a:xfrm>
          <a:prstGeom prst="rect">
            <a:avLst/>
          </a:prstGeom>
          <a:solidFill>
            <a:schemeClr val="bg1"/>
          </a:solid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02060"/>
                </a:solidFill>
                <a:effectLst/>
                <a:uLnTx/>
                <a:uFillTx/>
                <a:latin typeface="Oswald Light"/>
                <a:ea typeface="+mn-ea"/>
                <a:cs typeface="+mn-cs"/>
              </a:rPr>
              <a:t>STEPS</a:t>
            </a:r>
            <a:endParaRPr kumimoji="0" lang="en-US" sz="1800" b="0" i="0" u="none" strike="noStrike" kern="1200" cap="none" spc="0" normalizeH="0" baseline="0" noProof="0">
              <a:ln>
                <a:noFill/>
              </a:ln>
              <a:solidFill>
                <a:srgbClr val="000000"/>
              </a:solidFill>
              <a:effectLst/>
              <a:uLnTx/>
              <a:uFillTx/>
              <a:latin typeface="Oswald Light"/>
              <a:ea typeface="+mn-ea"/>
              <a:cs typeface="+mn-cs"/>
            </a:endParaRPr>
          </a:p>
        </p:txBody>
      </p:sp>
      <p:sp>
        <p:nvSpPr>
          <p:cNvPr id="75" name="Rectangle 74">
            <a:extLst>
              <a:ext uri="{FF2B5EF4-FFF2-40B4-BE49-F238E27FC236}">
                <a16:creationId xmlns:a16="http://schemas.microsoft.com/office/drawing/2014/main" id="{5EACF370-D109-CA31-FFA2-2412BB7045CB}"/>
              </a:ext>
            </a:extLst>
          </p:cNvPr>
          <p:cNvSpPr/>
          <p:nvPr/>
        </p:nvSpPr>
        <p:spPr>
          <a:xfrm>
            <a:off x="388608" y="6538912"/>
            <a:ext cx="2086805" cy="31188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swald Light"/>
              <a:ea typeface="+mn-ea"/>
              <a:cs typeface="+mn-cs"/>
            </a:endParaRPr>
          </a:p>
        </p:txBody>
      </p:sp>
      <p:sp>
        <p:nvSpPr>
          <p:cNvPr id="77" name="Freeform 6">
            <a:extLst>
              <a:ext uri="{FF2B5EF4-FFF2-40B4-BE49-F238E27FC236}">
                <a16:creationId xmlns:a16="http://schemas.microsoft.com/office/drawing/2014/main" id="{D04083E8-F2B9-4C6D-1689-748464B67046}"/>
              </a:ext>
            </a:extLst>
          </p:cNvPr>
          <p:cNvSpPr>
            <a:spLocks noChangeAspect="1"/>
          </p:cNvSpPr>
          <p:nvPr/>
        </p:nvSpPr>
        <p:spPr bwMode="auto">
          <a:xfrm>
            <a:off x="9686154" y="2866985"/>
            <a:ext cx="255016" cy="639758"/>
          </a:xfrm>
          <a:custGeom>
            <a:avLst/>
            <a:gdLst>
              <a:gd name="T0" fmla="*/ 0 w 240"/>
              <a:gd name="T1" fmla="*/ 48 h 1200"/>
              <a:gd name="T2" fmla="*/ 86 w 240"/>
              <a:gd name="T3" fmla="*/ 600 h 1200"/>
              <a:gd name="T4" fmla="*/ 0 w 240"/>
              <a:gd name="T5" fmla="*/ 1152 h 1200"/>
              <a:gd name="T6" fmla="*/ 19 w 240"/>
              <a:gd name="T7" fmla="*/ 1200 h 1200"/>
              <a:gd name="T8" fmla="*/ 240 w 240"/>
              <a:gd name="T9" fmla="*/ 600 h 1200"/>
              <a:gd name="T10" fmla="*/ 19 w 240"/>
              <a:gd name="T11" fmla="*/ 0 h 1200"/>
              <a:gd name="T12" fmla="*/ 0 w 240"/>
              <a:gd name="T13" fmla="*/ 48 h 1200"/>
            </a:gdLst>
            <a:ahLst/>
            <a:cxnLst>
              <a:cxn ang="0">
                <a:pos x="T0" y="T1"/>
              </a:cxn>
              <a:cxn ang="0">
                <a:pos x="T2" y="T3"/>
              </a:cxn>
              <a:cxn ang="0">
                <a:pos x="T4" y="T5"/>
              </a:cxn>
              <a:cxn ang="0">
                <a:pos x="T6" y="T7"/>
              </a:cxn>
              <a:cxn ang="0">
                <a:pos x="T8" y="T9"/>
              </a:cxn>
              <a:cxn ang="0">
                <a:pos x="T10" y="T11"/>
              </a:cxn>
              <a:cxn ang="0">
                <a:pos x="T12" y="T13"/>
              </a:cxn>
            </a:cxnLst>
            <a:rect l="0" t="0" r="r" b="b"/>
            <a:pathLst>
              <a:path w="240" h="1200">
                <a:moveTo>
                  <a:pt x="0" y="48"/>
                </a:moveTo>
                <a:cubicBezTo>
                  <a:pt x="16" y="96"/>
                  <a:pt x="86" y="416"/>
                  <a:pt x="86" y="600"/>
                </a:cubicBezTo>
                <a:cubicBezTo>
                  <a:pt x="86" y="784"/>
                  <a:pt x="16" y="1104"/>
                  <a:pt x="0" y="1152"/>
                </a:cubicBezTo>
                <a:cubicBezTo>
                  <a:pt x="9" y="1176"/>
                  <a:pt x="19" y="1200"/>
                  <a:pt x="19" y="1200"/>
                </a:cubicBezTo>
                <a:lnTo>
                  <a:pt x="240" y="600"/>
                </a:lnTo>
                <a:lnTo>
                  <a:pt x="19" y="0"/>
                </a:lnTo>
                <a:cubicBezTo>
                  <a:pt x="19" y="0"/>
                  <a:pt x="0" y="48"/>
                  <a:pt x="0" y="48"/>
                </a:cubicBezTo>
                <a:close/>
              </a:path>
            </a:pathLst>
          </a:custGeom>
          <a:solidFill>
            <a:schemeClr val="accent1"/>
          </a:solidFill>
          <a:ln>
            <a:noFill/>
          </a:ln>
          <a:effectLst/>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fr-FR" sz="1000" b="0" i="0" u="none" strike="noStrike" kern="1200" cap="none" spc="0" normalizeH="0" baseline="0" noProof="0">
              <a:ln>
                <a:noFill/>
              </a:ln>
              <a:solidFill>
                <a:prstClr val="black"/>
              </a:solidFill>
              <a:effectLst/>
              <a:uLnTx/>
              <a:uFillTx/>
              <a:latin typeface="Century Gothic"/>
              <a:ea typeface="ＭＳ Ｐゴシック" charset="0"/>
              <a:cs typeface="ＭＳ Ｐゴシック" charset="0"/>
            </a:endParaRPr>
          </a:p>
        </p:txBody>
      </p:sp>
      <p:sp>
        <p:nvSpPr>
          <p:cNvPr id="14" name="Rectangle 13">
            <a:extLst>
              <a:ext uri="{FF2B5EF4-FFF2-40B4-BE49-F238E27FC236}">
                <a16:creationId xmlns:a16="http://schemas.microsoft.com/office/drawing/2014/main" id="{51744706-AC68-A1F7-F01C-04B193D51A5F}"/>
              </a:ext>
            </a:extLst>
          </p:cNvPr>
          <p:cNvSpPr/>
          <p:nvPr/>
        </p:nvSpPr>
        <p:spPr>
          <a:xfrm>
            <a:off x="367491" y="1985100"/>
            <a:ext cx="1996607" cy="3188141"/>
          </a:xfrm>
          <a:prstGeom prst="rect">
            <a:avLst/>
          </a:prstGeom>
          <a:solidFill>
            <a:schemeClr val="bg1">
              <a:alpha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72000" rIns="108000" bIns="108000" rtlCol="0" anchor="t" anchorCtr="0">
            <a:noAutofit/>
          </a:bodyPr>
          <a:lstStyle/>
          <a:p>
            <a:pPr indent="0" algn="l">
              <a:lnSpc>
                <a:spcPct val="120000"/>
              </a:lnSpc>
            </a:pPr>
            <a:endParaRPr lang="en-US" sz="1400" err="1">
              <a:solidFill>
                <a:schemeClr val="bg2"/>
              </a:solidFill>
            </a:endParaRPr>
          </a:p>
        </p:txBody>
      </p:sp>
      <p:sp>
        <p:nvSpPr>
          <p:cNvPr id="9" name="Speech Bubble: Rectangle with Corners Rounded 8">
            <a:extLst>
              <a:ext uri="{FF2B5EF4-FFF2-40B4-BE49-F238E27FC236}">
                <a16:creationId xmlns:a16="http://schemas.microsoft.com/office/drawing/2014/main" id="{1760A4AF-6DA5-CB89-F4EE-76A76BEF6AF8}"/>
              </a:ext>
            </a:extLst>
          </p:cNvPr>
          <p:cNvSpPr/>
          <p:nvPr/>
        </p:nvSpPr>
        <p:spPr>
          <a:xfrm>
            <a:off x="367491" y="4505428"/>
            <a:ext cx="10997510" cy="1686967"/>
          </a:xfrm>
          <a:prstGeom prst="wedgeRoundRectCallout">
            <a:avLst>
              <a:gd name="adj1" fmla="val -23109"/>
              <a:gd name="adj2" fmla="val -42545"/>
              <a:gd name="adj3" fmla="val 16667"/>
            </a:avLst>
          </a:prstGeom>
          <a:solidFill>
            <a:srgbClr val="E6EFF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72000" rIns="108000" bIns="108000" rtlCol="0" anchor="t" anchorCtr="0">
            <a:noAutofit/>
          </a:bodyPr>
          <a:lstStyle/>
          <a:p>
            <a:pPr indent="0" algn="l">
              <a:lnSpc>
                <a:spcPct val="120000"/>
              </a:lnSpc>
            </a:pPr>
            <a:r>
              <a:rPr lang="en-US" sz="1400">
                <a:solidFill>
                  <a:schemeClr val="bg2"/>
                </a:solidFill>
              </a:rPr>
              <a:t>For the purpose of a sustainability focused claims lab, we recommend more time for the immersion. </a:t>
            </a:r>
          </a:p>
          <a:p>
            <a:pPr indent="0" algn="l">
              <a:lnSpc>
                <a:spcPct val="120000"/>
              </a:lnSpc>
            </a:pPr>
            <a:r>
              <a:rPr lang="en-US" sz="1400">
                <a:solidFill>
                  <a:schemeClr val="bg2"/>
                </a:solidFill>
              </a:rPr>
              <a:t>This part of the workshop will be used to (1) educate participants (by both SKIM and Danone) on sustainability, and (2) get into the sustainability mindset by discussing these questions:</a:t>
            </a:r>
          </a:p>
          <a:p>
            <a:pPr marL="742950" marR="0" lvl="1" indent="-285750">
              <a:lnSpc>
                <a:spcPct val="107000"/>
              </a:lnSpc>
              <a:spcBef>
                <a:spcPts val="0"/>
              </a:spcBef>
              <a:spcAft>
                <a:spcPts val="0"/>
              </a:spcAft>
              <a:buFont typeface="Courier New" panose="02070309020205020404" pitchFamily="49" charset="0"/>
              <a:buChar char="o"/>
            </a:pPr>
            <a:r>
              <a:rPr lang="en-US" sz="1400" kern="100">
                <a:solidFill>
                  <a:schemeClr val="bg2"/>
                </a:solidFill>
                <a:effectLst/>
                <a:ea typeface="DengXian" panose="02010600030101010101" pitchFamily="2" charset="-122"/>
                <a:cs typeface="Times New Roman" panose="02020603050405020304" pitchFamily="18" charset="0"/>
              </a:rPr>
              <a:t>What are the consumer jobs in your category related to carbon &amp; climate?</a:t>
            </a:r>
          </a:p>
          <a:p>
            <a:pPr marL="742950" marR="0" lvl="1" indent="-285750">
              <a:lnSpc>
                <a:spcPct val="107000"/>
              </a:lnSpc>
              <a:spcBef>
                <a:spcPts val="0"/>
              </a:spcBef>
              <a:spcAft>
                <a:spcPts val="0"/>
              </a:spcAft>
              <a:buFont typeface="Courier New" panose="02070309020205020404" pitchFamily="49" charset="0"/>
              <a:buChar char="o"/>
            </a:pPr>
            <a:r>
              <a:rPr lang="en-US" sz="1400" kern="100">
                <a:solidFill>
                  <a:schemeClr val="bg2"/>
                </a:solidFill>
                <a:effectLst/>
                <a:ea typeface="DengXian" panose="02010600030101010101" pitchFamily="2" charset="-122"/>
                <a:cs typeface="Times New Roman" panose="02020603050405020304" pitchFamily="18" charset="0"/>
              </a:rPr>
              <a:t>How can we make carbon and climate claims matter more to consumers (to influence purchase)?</a:t>
            </a:r>
          </a:p>
          <a:p>
            <a:pPr marL="742950" marR="0" lvl="1" indent="-285750">
              <a:lnSpc>
                <a:spcPct val="107000"/>
              </a:lnSpc>
              <a:spcBef>
                <a:spcPts val="0"/>
              </a:spcBef>
              <a:spcAft>
                <a:spcPts val="800"/>
              </a:spcAft>
              <a:buFont typeface="Courier New" panose="02070309020205020404" pitchFamily="49" charset="0"/>
              <a:buChar char="o"/>
            </a:pPr>
            <a:r>
              <a:rPr lang="en-US" sz="1400" kern="100">
                <a:solidFill>
                  <a:schemeClr val="bg2"/>
                </a:solidFill>
                <a:effectLst/>
                <a:ea typeface="DengXian" panose="02010600030101010101" pitchFamily="2" charset="-122"/>
                <a:cs typeface="Times New Roman" panose="02020603050405020304" pitchFamily="18" charset="0"/>
              </a:rPr>
              <a:t>What are some of the compelling (and terrible!) examples of carbon messaging you’ve seen?</a:t>
            </a:r>
          </a:p>
          <a:p>
            <a:pPr indent="0" algn="l">
              <a:lnSpc>
                <a:spcPct val="120000"/>
              </a:lnSpc>
            </a:pPr>
            <a:endParaRPr lang="en-US" sz="1400">
              <a:solidFill>
                <a:schemeClr val="bg2"/>
              </a:solidFill>
            </a:endParaRPr>
          </a:p>
        </p:txBody>
      </p:sp>
      <p:grpSp>
        <p:nvGrpSpPr>
          <p:cNvPr id="17" name="Groupe 54">
            <a:extLst>
              <a:ext uri="{FF2B5EF4-FFF2-40B4-BE49-F238E27FC236}">
                <a16:creationId xmlns:a16="http://schemas.microsoft.com/office/drawing/2014/main" id="{9D6334D8-E61B-096C-3A0A-9D0F9925D05B}"/>
              </a:ext>
            </a:extLst>
          </p:cNvPr>
          <p:cNvGrpSpPr/>
          <p:nvPr/>
        </p:nvGrpSpPr>
        <p:grpSpPr>
          <a:xfrm>
            <a:off x="2590407" y="3892060"/>
            <a:ext cx="1170946" cy="323833"/>
            <a:chOff x="2676184" y="4571931"/>
            <a:chExt cx="1170946" cy="323833"/>
          </a:xfrm>
        </p:grpSpPr>
        <p:pic>
          <p:nvPicPr>
            <p:cNvPr id="23" name="Graphique 50" descr="Chronomètre 75% avec un remplissage uni">
              <a:extLst>
                <a:ext uri="{FF2B5EF4-FFF2-40B4-BE49-F238E27FC236}">
                  <a16:creationId xmlns:a16="http://schemas.microsoft.com/office/drawing/2014/main" id="{31BDA016-7B4B-429F-B38F-C432FF5F46F9}"/>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2676184" y="4571931"/>
              <a:ext cx="323833" cy="323833"/>
            </a:xfrm>
            <a:prstGeom prst="rect">
              <a:avLst/>
            </a:prstGeom>
          </p:spPr>
        </p:pic>
        <p:sp>
          <p:nvSpPr>
            <p:cNvPr id="29" name="ZoneTexte 53">
              <a:extLst>
                <a:ext uri="{FF2B5EF4-FFF2-40B4-BE49-F238E27FC236}">
                  <a16:creationId xmlns:a16="http://schemas.microsoft.com/office/drawing/2014/main" id="{0C284AE6-91DD-D9A9-F38A-F44DEC8EBD71}"/>
                </a:ext>
              </a:extLst>
            </p:cNvPr>
            <p:cNvSpPr txBox="1"/>
            <p:nvPr/>
          </p:nvSpPr>
          <p:spPr>
            <a:xfrm>
              <a:off x="3000017" y="4603042"/>
              <a:ext cx="847113" cy="26161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rgbClr val="253032"/>
                  </a:solidFill>
                  <a:effectLst/>
                  <a:uLnTx/>
                  <a:uFillTx/>
                  <a:latin typeface="Oswald Light"/>
                  <a:ea typeface="+mn-ea"/>
                  <a:cs typeface="+mn-cs"/>
                </a:rPr>
                <a:t>45-60 min</a:t>
              </a:r>
              <a:endParaRPr kumimoji="0" lang="en-US" sz="1100" b="1" i="0" u="none" strike="noStrike" kern="1200" cap="none" spc="0" normalizeH="0" baseline="0" noProof="0">
                <a:ln>
                  <a:noFill/>
                </a:ln>
                <a:solidFill>
                  <a:srgbClr val="000000"/>
                </a:solidFill>
                <a:effectLst/>
                <a:uLnTx/>
                <a:uFillTx/>
                <a:latin typeface="Oswald Light"/>
                <a:ea typeface="+mn-ea"/>
                <a:cs typeface="+mn-cs"/>
              </a:endParaRPr>
            </a:p>
          </p:txBody>
        </p:sp>
      </p:grpSp>
      <p:sp>
        <p:nvSpPr>
          <p:cNvPr id="10" name="Ellipse 9">
            <a:extLst>
              <a:ext uri="{FF2B5EF4-FFF2-40B4-BE49-F238E27FC236}">
                <a16:creationId xmlns:a16="http://schemas.microsoft.com/office/drawing/2014/main" id="{A9B8766B-C2E1-DBFD-EA19-19334B22775A}"/>
              </a:ext>
            </a:extLst>
          </p:cNvPr>
          <p:cNvSpPr>
            <a:spLocks noChangeAspect="1"/>
          </p:cNvSpPr>
          <p:nvPr/>
        </p:nvSpPr>
        <p:spPr>
          <a:xfrm>
            <a:off x="10423265" y="2096309"/>
            <a:ext cx="589724" cy="589724"/>
          </a:xfrm>
          <a:prstGeom prst="ellipse">
            <a:avLst/>
          </a:prstGeom>
          <a:solidFill>
            <a:srgbClr val="00B49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85000"/>
              </a:lnSpc>
              <a:spcBef>
                <a:spcPts val="0"/>
              </a:spcBef>
              <a:spcAft>
                <a:spcPts val="0"/>
              </a:spcAft>
              <a:buClrTx/>
              <a:buSzTx/>
              <a:buFontTx/>
              <a:buNone/>
              <a:tabLst/>
              <a:defRPr/>
            </a:pPr>
            <a:r>
              <a:rPr kumimoji="0" lang="fr-FR" sz="2800" b="0" i="0" u="none" strike="noStrike" kern="1200" cap="none" spc="0" normalizeH="0" baseline="0" noProof="0">
                <a:ln>
                  <a:noFill/>
                </a:ln>
                <a:solidFill>
                  <a:srgbClr val="FFFFFF"/>
                </a:solidFill>
                <a:effectLst/>
                <a:uLnTx/>
                <a:uFillTx/>
                <a:latin typeface="Oswald SemiBold"/>
                <a:ea typeface="+mn-ea"/>
                <a:cs typeface="+mn-cs"/>
              </a:rPr>
              <a:t>5</a:t>
            </a:r>
          </a:p>
        </p:txBody>
      </p:sp>
      <p:sp>
        <p:nvSpPr>
          <p:cNvPr id="12" name="Ellipse 11">
            <a:extLst>
              <a:ext uri="{FF2B5EF4-FFF2-40B4-BE49-F238E27FC236}">
                <a16:creationId xmlns:a16="http://schemas.microsoft.com/office/drawing/2014/main" id="{9B27741B-73B3-6845-763F-6EB281835104}"/>
              </a:ext>
            </a:extLst>
          </p:cNvPr>
          <p:cNvSpPr>
            <a:spLocks noChangeAspect="1"/>
          </p:cNvSpPr>
          <p:nvPr/>
        </p:nvSpPr>
        <p:spPr>
          <a:xfrm>
            <a:off x="2876047" y="2096309"/>
            <a:ext cx="589724" cy="589724"/>
          </a:xfrm>
          <a:prstGeom prst="ellipse">
            <a:avLst/>
          </a:prstGeom>
          <a:solidFill>
            <a:srgbClr val="153D6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85000"/>
              </a:lnSpc>
              <a:spcBef>
                <a:spcPts val="0"/>
              </a:spcBef>
              <a:spcAft>
                <a:spcPts val="0"/>
              </a:spcAft>
              <a:buClrTx/>
              <a:buSzTx/>
              <a:buFontTx/>
              <a:buNone/>
              <a:tabLst/>
              <a:defRPr/>
            </a:pPr>
            <a:r>
              <a:rPr kumimoji="0" lang="fr-FR" sz="2800" b="0" i="0" u="none" strike="noStrike" kern="1200" cap="none" spc="0" normalizeH="0" baseline="0" noProof="0">
                <a:ln>
                  <a:noFill/>
                </a:ln>
                <a:solidFill>
                  <a:srgbClr val="FFFFFF"/>
                </a:solidFill>
                <a:effectLst/>
                <a:uLnTx/>
                <a:uFillTx/>
                <a:latin typeface="Oswald SemiBold"/>
                <a:ea typeface="+mn-ea"/>
                <a:cs typeface="+mn-cs"/>
              </a:rPr>
              <a:t>1</a:t>
            </a:r>
          </a:p>
        </p:txBody>
      </p:sp>
      <p:sp>
        <p:nvSpPr>
          <p:cNvPr id="13" name="Ellipse 12">
            <a:extLst>
              <a:ext uri="{FF2B5EF4-FFF2-40B4-BE49-F238E27FC236}">
                <a16:creationId xmlns:a16="http://schemas.microsoft.com/office/drawing/2014/main" id="{BF1A8F13-B01D-2FB6-457A-177BF3714BAC}"/>
              </a:ext>
            </a:extLst>
          </p:cNvPr>
          <p:cNvSpPr>
            <a:spLocks noChangeAspect="1"/>
          </p:cNvSpPr>
          <p:nvPr/>
        </p:nvSpPr>
        <p:spPr>
          <a:xfrm>
            <a:off x="4762851" y="2096309"/>
            <a:ext cx="589724" cy="589724"/>
          </a:xfrm>
          <a:prstGeom prst="ellipse">
            <a:avLst/>
          </a:prstGeom>
          <a:solidFill>
            <a:srgbClr val="20BA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85000"/>
              </a:lnSpc>
              <a:spcBef>
                <a:spcPts val="0"/>
              </a:spcBef>
              <a:spcAft>
                <a:spcPts val="0"/>
              </a:spcAft>
              <a:buClrTx/>
              <a:buSzTx/>
              <a:buFontTx/>
              <a:buNone/>
              <a:tabLst/>
              <a:defRPr/>
            </a:pPr>
            <a:r>
              <a:rPr kumimoji="0" lang="fr-FR" sz="2800" b="0" i="0" u="none" strike="noStrike" kern="1200" cap="none" spc="0" normalizeH="0" baseline="0" noProof="0">
                <a:ln>
                  <a:noFill/>
                </a:ln>
                <a:solidFill>
                  <a:srgbClr val="FFFFFF"/>
                </a:solidFill>
                <a:effectLst/>
                <a:uLnTx/>
                <a:uFillTx/>
                <a:latin typeface="Oswald SemiBold"/>
                <a:ea typeface="+mn-ea"/>
                <a:cs typeface="+mn-cs"/>
              </a:rPr>
              <a:t>2</a:t>
            </a:r>
          </a:p>
        </p:txBody>
      </p:sp>
      <p:sp>
        <p:nvSpPr>
          <p:cNvPr id="48" name="Ellipse 47">
            <a:extLst>
              <a:ext uri="{FF2B5EF4-FFF2-40B4-BE49-F238E27FC236}">
                <a16:creationId xmlns:a16="http://schemas.microsoft.com/office/drawing/2014/main" id="{674BDB76-B6B2-A616-07FA-650DBA9E1ADC}"/>
              </a:ext>
            </a:extLst>
          </p:cNvPr>
          <p:cNvSpPr>
            <a:spLocks noChangeAspect="1"/>
          </p:cNvSpPr>
          <p:nvPr/>
        </p:nvSpPr>
        <p:spPr>
          <a:xfrm>
            <a:off x="6649655" y="2096309"/>
            <a:ext cx="589724" cy="589724"/>
          </a:xfrm>
          <a:prstGeom prst="ellipse">
            <a:avLst/>
          </a:prstGeom>
          <a:solidFill>
            <a:srgbClr val="BF6AC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85000"/>
              </a:lnSpc>
              <a:spcBef>
                <a:spcPts val="0"/>
              </a:spcBef>
              <a:spcAft>
                <a:spcPts val="0"/>
              </a:spcAft>
              <a:buClrTx/>
              <a:buSzTx/>
              <a:buFontTx/>
              <a:buNone/>
              <a:tabLst/>
              <a:defRPr/>
            </a:pPr>
            <a:r>
              <a:rPr kumimoji="0" lang="fr-FR" sz="2800" b="0" i="0" u="none" strike="noStrike" kern="1200" cap="none" spc="0" normalizeH="0" baseline="0" noProof="0">
                <a:ln>
                  <a:noFill/>
                </a:ln>
                <a:solidFill>
                  <a:srgbClr val="FFFFFF"/>
                </a:solidFill>
                <a:effectLst/>
                <a:uLnTx/>
                <a:uFillTx/>
                <a:latin typeface="Oswald SemiBold"/>
                <a:ea typeface="+mn-ea"/>
                <a:cs typeface="+mn-cs"/>
              </a:rPr>
              <a:t>3</a:t>
            </a:r>
          </a:p>
        </p:txBody>
      </p:sp>
      <p:sp>
        <p:nvSpPr>
          <p:cNvPr id="37" name="Ellipse 36">
            <a:extLst>
              <a:ext uri="{FF2B5EF4-FFF2-40B4-BE49-F238E27FC236}">
                <a16:creationId xmlns:a16="http://schemas.microsoft.com/office/drawing/2014/main" id="{55A73D9C-9E08-7F26-B2AE-D41C14F6688F}"/>
              </a:ext>
            </a:extLst>
          </p:cNvPr>
          <p:cNvSpPr>
            <a:spLocks noChangeAspect="1"/>
          </p:cNvSpPr>
          <p:nvPr/>
        </p:nvSpPr>
        <p:spPr>
          <a:xfrm>
            <a:off x="8536459" y="2096309"/>
            <a:ext cx="589724" cy="589724"/>
          </a:xfrm>
          <a:prstGeom prst="ellipse">
            <a:avLst/>
          </a:prstGeom>
          <a:solidFill>
            <a:srgbClr val="FE9C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85000"/>
              </a:lnSpc>
              <a:spcBef>
                <a:spcPts val="0"/>
              </a:spcBef>
              <a:spcAft>
                <a:spcPts val="0"/>
              </a:spcAft>
              <a:buClrTx/>
              <a:buSzTx/>
              <a:buFontTx/>
              <a:buNone/>
              <a:tabLst/>
              <a:defRPr/>
            </a:pPr>
            <a:r>
              <a:rPr kumimoji="0" lang="fr-FR" sz="2800" b="0" i="0" u="none" strike="noStrike" kern="1200" cap="none" spc="0" normalizeH="0" baseline="0" noProof="0">
                <a:ln>
                  <a:noFill/>
                </a:ln>
                <a:solidFill>
                  <a:srgbClr val="FFFFFF"/>
                </a:solidFill>
                <a:effectLst/>
                <a:uLnTx/>
                <a:uFillTx/>
                <a:latin typeface="Oswald SemiBold"/>
                <a:ea typeface="+mn-ea"/>
                <a:cs typeface="+mn-cs"/>
              </a:rPr>
              <a:t>4</a:t>
            </a:r>
          </a:p>
        </p:txBody>
      </p:sp>
      <p:sp>
        <p:nvSpPr>
          <p:cNvPr id="8" name="Rectangle 7">
            <a:extLst>
              <a:ext uri="{FF2B5EF4-FFF2-40B4-BE49-F238E27FC236}">
                <a16:creationId xmlns:a16="http://schemas.microsoft.com/office/drawing/2014/main" id="{C91FFB04-DB11-904D-B951-F89CEDDA3A47}"/>
              </a:ext>
            </a:extLst>
          </p:cNvPr>
          <p:cNvSpPr/>
          <p:nvPr/>
        </p:nvSpPr>
        <p:spPr>
          <a:xfrm>
            <a:off x="4173776" y="1996185"/>
            <a:ext cx="7277162" cy="2366426"/>
          </a:xfrm>
          <a:prstGeom prst="rect">
            <a:avLst/>
          </a:prstGeom>
          <a:solidFill>
            <a:schemeClr val="bg1">
              <a:alpha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72000" rIns="108000" bIns="108000" rtlCol="0" anchor="t" anchorCtr="0">
            <a:noAutofit/>
          </a:bodyPr>
          <a:lstStyle/>
          <a:p>
            <a:pPr indent="0" algn="l">
              <a:lnSpc>
                <a:spcPct val="120000"/>
              </a:lnSpc>
            </a:pPr>
            <a:endParaRPr lang="en-US" sz="1400" err="1">
              <a:solidFill>
                <a:schemeClr val="bg2"/>
              </a:solidFill>
            </a:endParaRPr>
          </a:p>
        </p:txBody>
      </p:sp>
    </p:spTree>
    <p:extLst>
      <p:ext uri="{BB962C8B-B14F-4D97-AF65-F5344CB8AC3E}">
        <p14:creationId xmlns:p14="http://schemas.microsoft.com/office/powerpoint/2010/main" val="8869019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Objet 16" hidden="1">
            <a:extLst>
              <a:ext uri="{FF2B5EF4-FFF2-40B4-BE49-F238E27FC236}">
                <a16:creationId xmlns:a16="http://schemas.microsoft.com/office/drawing/2014/main" id="{0E5816DB-2BF5-49DE-A58A-9CED8C6163A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3" imgW="395" imgH="394" progId="TCLayout.ActiveDocument.1">
                  <p:embed/>
                </p:oleObj>
              </mc:Choice>
              <mc:Fallback>
                <p:oleObj name="Diapositive think-cell" r:id="rId3" imgW="395" imgH="394" progId="TCLayout.ActiveDocument.1">
                  <p:embed/>
                  <p:pic>
                    <p:nvPicPr>
                      <p:cNvPr id="17" name="Objet 16" hidden="1">
                        <a:extLst>
                          <a:ext uri="{FF2B5EF4-FFF2-40B4-BE49-F238E27FC236}">
                            <a16:creationId xmlns:a16="http://schemas.microsoft.com/office/drawing/2014/main" id="{0E5816DB-2BF5-49DE-A58A-9CED8C6163A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2" name="Rectangle 31">
            <a:extLst>
              <a:ext uri="{FF2B5EF4-FFF2-40B4-BE49-F238E27FC236}">
                <a16:creationId xmlns:a16="http://schemas.microsoft.com/office/drawing/2014/main" id="{1DA5384D-8EDE-31A2-B6F6-2E6CF2614013}"/>
              </a:ext>
            </a:extLst>
          </p:cNvPr>
          <p:cNvSpPr/>
          <p:nvPr/>
        </p:nvSpPr>
        <p:spPr>
          <a:xfrm rot="16200000">
            <a:off x="4638117" y="-83600"/>
            <a:ext cx="2363452" cy="11214262"/>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a:ln>
                  <a:noFill/>
                </a:ln>
                <a:solidFill>
                  <a:srgbClr val="000000"/>
                </a:solidFill>
                <a:effectLst/>
                <a:uLnTx/>
                <a:uFillTx/>
                <a:latin typeface="Oswald Light"/>
                <a:ea typeface="+mn-ea"/>
                <a:cs typeface="+mn-cs"/>
              </a:rPr>
              <a:t>External</a:t>
            </a:r>
            <a:endParaRPr kumimoji="0" lang="en-US" sz="1200" b="1" i="0" u="none" strike="noStrike" kern="1200" cap="none" spc="0" normalizeH="0" baseline="0" noProof="0">
              <a:ln>
                <a:noFill/>
              </a:ln>
              <a:solidFill>
                <a:srgbClr val="000000"/>
              </a:solidFill>
              <a:effectLst/>
              <a:uLnTx/>
              <a:uFillTx/>
              <a:latin typeface="Oswald Light"/>
              <a:ea typeface="+mn-ea"/>
              <a:cs typeface="+mn-cs"/>
            </a:endParaRPr>
          </a:p>
        </p:txBody>
      </p:sp>
      <p:sp>
        <p:nvSpPr>
          <p:cNvPr id="41" name="Rectangle 40">
            <a:extLst>
              <a:ext uri="{FF2B5EF4-FFF2-40B4-BE49-F238E27FC236}">
                <a16:creationId xmlns:a16="http://schemas.microsoft.com/office/drawing/2014/main" id="{A15204FB-EFA1-E654-0B16-308530CE00D0}"/>
              </a:ext>
            </a:extLst>
          </p:cNvPr>
          <p:cNvSpPr/>
          <p:nvPr/>
        </p:nvSpPr>
        <p:spPr>
          <a:xfrm rot="16200000">
            <a:off x="4377167" y="-2876041"/>
            <a:ext cx="2885352" cy="11214262"/>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a:ln>
                  <a:noFill/>
                </a:ln>
                <a:solidFill>
                  <a:srgbClr val="000000"/>
                </a:solidFill>
                <a:effectLst/>
                <a:uLnTx/>
                <a:uFillTx/>
                <a:latin typeface="Oswald Light"/>
                <a:ea typeface="+mn-ea"/>
                <a:cs typeface="+mn-cs"/>
              </a:rPr>
              <a:t>Internal</a:t>
            </a:r>
            <a:endParaRPr kumimoji="0" lang="en-US" sz="1200" b="1" i="0" u="none" strike="noStrike" kern="1200" cap="none" spc="0" normalizeH="0" baseline="0" noProof="0">
              <a:ln>
                <a:noFill/>
              </a:ln>
              <a:solidFill>
                <a:srgbClr val="000000"/>
              </a:solidFill>
              <a:effectLst/>
              <a:uLnTx/>
              <a:uFillTx/>
              <a:latin typeface="Oswald Light"/>
              <a:ea typeface="+mn-ea"/>
              <a:cs typeface="+mn-cs"/>
            </a:endParaRPr>
          </a:p>
        </p:txBody>
      </p:sp>
      <p:sp>
        <p:nvSpPr>
          <p:cNvPr id="3" name="Espace réservé du pied de page 2">
            <a:extLst>
              <a:ext uri="{FF2B5EF4-FFF2-40B4-BE49-F238E27FC236}">
                <a16:creationId xmlns:a16="http://schemas.microsoft.com/office/drawing/2014/main" id="{0393B325-CC7E-1A73-3771-97C0A307B35B}"/>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all" spc="0" normalizeH="0" baseline="0" noProof="0">
                <a:ln>
                  <a:noFill/>
                </a:ln>
                <a:solidFill>
                  <a:srgbClr val="FFFFFF"/>
                </a:solidFill>
                <a:effectLst/>
                <a:uLnTx/>
                <a:uFillTx/>
                <a:latin typeface="Oswald SemiBold" pitchFamily="2" charset="0"/>
                <a:ea typeface="+mn-ea"/>
                <a:cs typeface="Aharoni" panose="02010803020104030203" pitchFamily="2" charset="-79"/>
              </a:rPr>
              <a:t>Insert Section title here</a:t>
            </a:r>
          </a:p>
        </p:txBody>
      </p:sp>
      <p:sp>
        <p:nvSpPr>
          <p:cNvPr id="4" name="Espace réservé du numéro de diapositive 3">
            <a:extLst>
              <a:ext uri="{FF2B5EF4-FFF2-40B4-BE49-F238E27FC236}">
                <a16:creationId xmlns:a16="http://schemas.microsoft.com/office/drawing/2014/main" id="{765E916D-631B-E899-A4BC-302486E02608}"/>
              </a:ext>
            </a:extLst>
          </p:cNvPr>
          <p:cNvSpPr>
            <a:spLocks noGrp="1"/>
          </p:cNvSpPr>
          <p:nvPr>
            <p:ph type="sldNum" sz="quarter" idx="12"/>
          </p:nvPr>
        </p:nvSpPr>
        <p:spPr>
          <a:xfrm>
            <a:off x="11581275" y="6356350"/>
            <a:ext cx="365127" cy="365125"/>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B5F9A4F6-7BA3-4126-88A5-A8B8CE7104E5}" type="slidenum">
              <a:rPr kumimoji="0" lang="en-GB" sz="1400" b="0" i="0" u="none" strike="noStrike" kern="1200" cap="none" spc="0" normalizeH="0" baseline="0" noProof="0" smtClean="0">
                <a:ln>
                  <a:noFill/>
                </a:ln>
                <a:solidFill>
                  <a:srgbClr val="FFFFFF"/>
                </a:solidFill>
                <a:effectLst/>
                <a:uLnTx/>
                <a:uFillTx/>
                <a:latin typeface="Oswald SemiBold" pitchFamily="2" charset="0"/>
                <a:ea typeface="+mn-ea"/>
                <a:cs typeface="Aharoni" panose="02010803020104030203" pitchFamily="2" charset="-79"/>
              </a:rPr>
              <a:pPr marL="0" marR="0" lvl="0" indent="0" algn="ctr" defTabSz="914400" rtl="0" eaLnBrk="1" fontAlgn="auto" latinLnBrk="0" hangingPunct="1">
                <a:lnSpc>
                  <a:spcPct val="100000"/>
                </a:lnSpc>
                <a:spcBef>
                  <a:spcPts val="0"/>
                </a:spcBef>
                <a:spcAft>
                  <a:spcPts val="0"/>
                </a:spcAft>
                <a:buClrTx/>
                <a:buSzTx/>
                <a:buFontTx/>
                <a:buNone/>
                <a:tabLst/>
                <a:defRPr/>
              </a:pPr>
              <a:t>24</a:t>
            </a:fld>
            <a:endParaRPr kumimoji="0" lang="en-GB" sz="1400" b="0" i="0" u="none" strike="noStrike" kern="1200" cap="none" spc="0" normalizeH="0" baseline="0" noProof="0">
              <a:ln>
                <a:noFill/>
              </a:ln>
              <a:solidFill>
                <a:srgbClr val="FFFFFF"/>
              </a:solidFill>
              <a:effectLst/>
              <a:uLnTx/>
              <a:uFillTx/>
              <a:latin typeface="Oswald SemiBold" pitchFamily="2" charset="0"/>
              <a:ea typeface="+mn-ea"/>
              <a:cs typeface="Aharoni" panose="02010803020104030203" pitchFamily="2" charset="-79"/>
            </a:endParaRPr>
          </a:p>
        </p:txBody>
      </p:sp>
      <p:cxnSp>
        <p:nvCxnSpPr>
          <p:cNvPr id="33" name="Connecteur droit 32">
            <a:extLst>
              <a:ext uri="{FF2B5EF4-FFF2-40B4-BE49-F238E27FC236}">
                <a16:creationId xmlns:a16="http://schemas.microsoft.com/office/drawing/2014/main" id="{0F6E0FA2-8803-610C-6FCF-D48673994F72}"/>
              </a:ext>
            </a:extLst>
          </p:cNvPr>
          <p:cNvCxnSpPr>
            <a:cxnSpLocks/>
          </p:cNvCxnSpPr>
          <p:nvPr/>
        </p:nvCxnSpPr>
        <p:spPr>
          <a:xfrm>
            <a:off x="9409151" y="4502044"/>
            <a:ext cx="0" cy="2111233"/>
          </a:xfrm>
          <a:prstGeom prst="line">
            <a:avLst/>
          </a:prstGeom>
          <a:ln>
            <a:prstDash val="dash"/>
          </a:ln>
        </p:spPr>
        <p:style>
          <a:lnRef idx="1">
            <a:schemeClr val="accent1"/>
          </a:lnRef>
          <a:fillRef idx="0">
            <a:schemeClr val="accent1"/>
          </a:fillRef>
          <a:effectRef idx="0">
            <a:schemeClr val="accent1"/>
          </a:effectRef>
          <a:fontRef idx="minor">
            <a:schemeClr val="tx1"/>
          </a:fontRef>
        </p:style>
      </p:cxnSp>
      <p:sp>
        <p:nvSpPr>
          <p:cNvPr id="45" name="Ellipse 44">
            <a:extLst>
              <a:ext uri="{FF2B5EF4-FFF2-40B4-BE49-F238E27FC236}">
                <a16:creationId xmlns:a16="http://schemas.microsoft.com/office/drawing/2014/main" id="{D8ABD6BC-6080-4175-004D-DD549D5E07B5}"/>
              </a:ext>
            </a:extLst>
          </p:cNvPr>
          <p:cNvSpPr/>
          <p:nvPr/>
        </p:nvSpPr>
        <p:spPr>
          <a:xfrm>
            <a:off x="38455" y="3632158"/>
            <a:ext cx="1044000" cy="1044000"/>
          </a:xfrm>
          <a:prstGeom prst="ellipse">
            <a:avLst/>
          </a:prstGeom>
          <a:solidFill>
            <a:schemeClr val="bg1"/>
          </a:solid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ysClr val="windowText" lastClr="000000"/>
                </a:solidFill>
                <a:effectLst/>
                <a:uLnTx/>
                <a:uFillTx/>
                <a:latin typeface="Oswald Light"/>
                <a:ea typeface="+mn-ea"/>
                <a:cs typeface="+mn-cs"/>
              </a:rPr>
              <a:t>Facilitator</a:t>
            </a:r>
          </a:p>
        </p:txBody>
      </p:sp>
      <p:sp>
        <p:nvSpPr>
          <p:cNvPr id="13" name="ZoneTexte 12">
            <a:extLst>
              <a:ext uri="{FF2B5EF4-FFF2-40B4-BE49-F238E27FC236}">
                <a16:creationId xmlns:a16="http://schemas.microsoft.com/office/drawing/2014/main" id="{49472B89-8404-629B-3F54-8802D625D25D}"/>
              </a:ext>
            </a:extLst>
          </p:cNvPr>
          <p:cNvSpPr txBox="1"/>
          <p:nvPr/>
        </p:nvSpPr>
        <p:spPr>
          <a:xfrm>
            <a:off x="980227" y="2753279"/>
            <a:ext cx="1282024" cy="769441"/>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ysClr val="windowText" lastClr="000000"/>
                </a:solidFill>
                <a:effectLst/>
                <a:uLnTx/>
                <a:uFillTx/>
                <a:latin typeface="Oswald Light"/>
                <a:ea typeface="+mn-ea"/>
                <a:cs typeface="+mn-cs"/>
              </a:rPr>
              <a:t>Expertise on the brand, ambition, positioning, inno/reno, communications</a:t>
            </a:r>
          </a:p>
        </p:txBody>
      </p:sp>
      <p:sp>
        <p:nvSpPr>
          <p:cNvPr id="26" name="Ellipse 25">
            <a:extLst>
              <a:ext uri="{FF2B5EF4-FFF2-40B4-BE49-F238E27FC236}">
                <a16:creationId xmlns:a16="http://schemas.microsoft.com/office/drawing/2014/main" id="{3D459EDC-D1B4-71B5-FDA4-EDC45FA9B17D}"/>
              </a:ext>
            </a:extLst>
          </p:cNvPr>
          <p:cNvSpPr/>
          <p:nvPr/>
        </p:nvSpPr>
        <p:spPr>
          <a:xfrm>
            <a:off x="1052227" y="1511920"/>
            <a:ext cx="1044000" cy="1044000"/>
          </a:xfrm>
          <a:prstGeom prst="ellipse">
            <a:avLst/>
          </a:prstGeom>
          <a:solidFill>
            <a:schemeClr val="bg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ysClr val="windowText" lastClr="000000"/>
                </a:solidFill>
                <a:effectLst/>
                <a:uLnTx/>
                <a:uFillTx/>
                <a:latin typeface="Oswald Light"/>
                <a:ea typeface="+mn-ea"/>
                <a:cs typeface="+mn-cs"/>
              </a:rPr>
              <a:t>Marketing</a:t>
            </a:r>
          </a:p>
        </p:txBody>
      </p:sp>
      <p:sp>
        <p:nvSpPr>
          <p:cNvPr id="9" name="ZoneTexte 8">
            <a:extLst>
              <a:ext uri="{FF2B5EF4-FFF2-40B4-BE49-F238E27FC236}">
                <a16:creationId xmlns:a16="http://schemas.microsoft.com/office/drawing/2014/main" id="{C08C7054-3397-7D9F-89CC-00D435AD2696}"/>
              </a:ext>
            </a:extLst>
          </p:cNvPr>
          <p:cNvSpPr txBox="1"/>
          <p:nvPr/>
        </p:nvSpPr>
        <p:spPr>
          <a:xfrm>
            <a:off x="2368247" y="2753279"/>
            <a:ext cx="1188000" cy="938719"/>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ysClr val="windowText" lastClr="000000"/>
                </a:solidFill>
                <a:effectLst/>
                <a:uLnTx/>
                <a:uFillTx/>
                <a:latin typeface="Oswald Light"/>
                <a:ea typeface="+mn-ea"/>
                <a:cs typeface="+mn-cs"/>
              </a:rPr>
              <a:t>Expertise on previous consumer (claims) research, BHT, internal analysis, etc.</a:t>
            </a:r>
          </a:p>
        </p:txBody>
      </p:sp>
      <p:sp>
        <p:nvSpPr>
          <p:cNvPr id="24" name="Ellipse 23">
            <a:extLst>
              <a:ext uri="{FF2B5EF4-FFF2-40B4-BE49-F238E27FC236}">
                <a16:creationId xmlns:a16="http://schemas.microsoft.com/office/drawing/2014/main" id="{33CDCAC2-510E-5F72-AE5D-DEB830473626}"/>
              </a:ext>
            </a:extLst>
          </p:cNvPr>
          <p:cNvSpPr/>
          <p:nvPr/>
        </p:nvSpPr>
        <p:spPr>
          <a:xfrm>
            <a:off x="2440247" y="1511920"/>
            <a:ext cx="1044000" cy="1044000"/>
          </a:xfrm>
          <a:prstGeom prst="ellipse">
            <a:avLst/>
          </a:prstGeom>
          <a:solidFill>
            <a:schemeClr val="bg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ysClr val="windowText" lastClr="000000"/>
                </a:solidFill>
                <a:effectLst/>
                <a:uLnTx/>
                <a:uFillTx/>
                <a:latin typeface="Oswald Light"/>
                <a:ea typeface="+mn-ea"/>
                <a:cs typeface="+mn-cs"/>
              </a:rPr>
              <a:t>S&amp;I</a:t>
            </a:r>
          </a:p>
        </p:txBody>
      </p:sp>
      <p:sp>
        <p:nvSpPr>
          <p:cNvPr id="15" name="ZoneTexte 14">
            <a:extLst>
              <a:ext uri="{FF2B5EF4-FFF2-40B4-BE49-F238E27FC236}">
                <a16:creationId xmlns:a16="http://schemas.microsoft.com/office/drawing/2014/main" id="{206FE60C-47AE-1761-F8CB-F6728D2502B0}"/>
              </a:ext>
            </a:extLst>
          </p:cNvPr>
          <p:cNvSpPr txBox="1"/>
          <p:nvPr/>
        </p:nvSpPr>
        <p:spPr>
          <a:xfrm>
            <a:off x="8710997" y="2820884"/>
            <a:ext cx="1248846" cy="938719"/>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ysClr val="windowText" lastClr="000000"/>
                </a:solidFill>
                <a:effectLst/>
                <a:uLnTx/>
                <a:uFillTx/>
                <a:latin typeface="Oswald Light"/>
                <a:ea typeface="+mn-ea"/>
                <a:cs typeface="+mn-cs"/>
              </a:rPr>
              <a:t>Expertise on sales of the brand, distribution, customer reactions, BTL activations, etc.</a:t>
            </a:r>
          </a:p>
        </p:txBody>
      </p:sp>
      <p:sp>
        <p:nvSpPr>
          <p:cNvPr id="27" name="Ellipse 26">
            <a:extLst>
              <a:ext uri="{FF2B5EF4-FFF2-40B4-BE49-F238E27FC236}">
                <a16:creationId xmlns:a16="http://schemas.microsoft.com/office/drawing/2014/main" id="{A1675E86-35A2-D42E-4A9B-CC4269B2B36F}"/>
              </a:ext>
            </a:extLst>
          </p:cNvPr>
          <p:cNvSpPr/>
          <p:nvPr/>
        </p:nvSpPr>
        <p:spPr>
          <a:xfrm>
            <a:off x="8783421" y="1579525"/>
            <a:ext cx="1044000" cy="1044000"/>
          </a:xfrm>
          <a:prstGeom prst="ellipse">
            <a:avLst/>
          </a:prstGeom>
          <a:solidFill>
            <a:schemeClr val="bg1"/>
          </a:solidFill>
          <a:ln w="28575">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ysClr val="windowText" lastClr="000000"/>
                </a:solidFill>
                <a:effectLst/>
                <a:uLnTx/>
                <a:uFillTx/>
                <a:latin typeface="Oswald Light"/>
                <a:ea typeface="+mn-ea"/>
                <a:cs typeface="+mn-cs"/>
              </a:rPr>
              <a:t>Sales</a:t>
            </a:r>
          </a:p>
        </p:txBody>
      </p:sp>
      <p:sp>
        <p:nvSpPr>
          <p:cNvPr id="11" name="ZoneTexte 10">
            <a:extLst>
              <a:ext uri="{FF2B5EF4-FFF2-40B4-BE49-F238E27FC236}">
                <a16:creationId xmlns:a16="http://schemas.microsoft.com/office/drawing/2014/main" id="{7B98E78F-4B10-C4B6-A85E-8C687EE0C192}"/>
              </a:ext>
            </a:extLst>
          </p:cNvPr>
          <p:cNvSpPr txBox="1"/>
          <p:nvPr/>
        </p:nvSpPr>
        <p:spPr>
          <a:xfrm>
            <a:off x="6563444" y="3235048"/>
            <a:ext cx="2015555" cy="938719"/>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Oswald Light"/>
                <a:ea typeface="+mn-ea"/>
                <a:cs typeface="+mn-cs"/>
              </a:rPr>
              <a:t>Expertise on user experience in terms of recipe and packaging</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1200" cap="none" spc="0" normalizeH="0" baseline="0" noProof="0">
                <a:ln>
                  <a:noFill/>
                </a:ln>
                <a:solidFill>
                  <a:srgbClr val="000000"/>
                </a:solidFill>
                <a:effectLst/>
                <a:uLnTx/>
                <a:uFillTx/>
                <a:latin typeface="Oswald Light"/>
                <a:ea typeface="+mn-ea"/>
                <a:cs typeface="+mn-cs"/>
              </a:rPr>
              <a:t>Expertise on </a:t>
            </a:r>
            <a:r>
              <a:rPr kumimoji="0" lang="fr-FR" sz="1100" b="0" i="0" u="none" strike="noStrike" kern="1200" cap="none" spc="0" normalizeH="0" baseline="0" noProof="0" err="1">
                <a:ln>
                  <a:noFill/>
                </a:ln>
                <a:solidFill>
                  <a:srgbClr val="000000"/>
                </a:solidFill>
                <a:effectLst/>
                <a:uLnTx/>
                <a:uFillTx/>
                <a:latin typeface="Oswald Light"/>
                <a:ea typeface="+mn-ea"/>
                <a:cs typeface="+mn-cs"/>
              </a:rPr>
              <a:t>recipe</a:t>
            </a:r>
            <a:r>
              <a:rPr kumimoji="0" lang="fr-FR" sz="1100" b="0" i="0" u="none" strike="noStrike" kern="1200" cap="none" spc="0" normalizeH="0" baseline="0" noProof="0">
                <a:ln>
                  <a:noFill/>
                </a:ln>
                <a:solidFill>
                  <a:srgbClr val="000000"/>
                </a:solidFill>
                <a:effectLst/>
                <a:uLnTx/>
                <a:uFillTx/>
                <a:latin typeface="Oswald Light"/>
                <a:ea typeface="+mn-ea"/>
                <a:cs typeface="+mn-cs"/>
              </a:rPr>
              <a:t>, </a:t>
            </a:r>
            <a:r>
              <a:rPr kumimoji="0" lang="fr-FR" sz="1100" b="0" i="0" u="none" strike="noStrike" kern="1200" cap="none" spc="0" normalizeH="0" baseline="0" noProof="0" err="1">
                <a:ln>
                  <a:noFill/>
                </a:ln>
                <a:solidFill>
                  <a:srgbClr val="000000"/>
                </a:solidFill>
                <a:effectLst/>
                <a:uLnTx/>
                <a:uFillTx/>
                <a:latin typeface="Oswald Light"/>
                <a:ea typeface="+mn-ea"/>
                <a:cs typeface="+mn-cs"/>
              </a:rPr>
              <a:t>ingredients</a:t>
            </a:r>
            <a:r>
              <a:rPr kumimoji="0" lang="fr-FR" sz="1100" b="0" i="0" u="none" strike="noStrike" kern="1200" cap="none" spc="0" normalizeH="0" baseline="0" noProof="0">
                <a:ln>
                  <a:noFill/>
                </a:ln>
                <a:solidFill>
                  <a:srgbClr val="000000"/>
                </a:solidFill>
                <a:effectLst/>
                <a:uLnTx/>
                <a:uFillTx/>
                <a:latin typeface="Oswald Light"/>
                <a:ea typeface="+mn-ea"/>
                <a:cs typeface="+mn-cs"/>
              </a:rPr>
              <a:t>, NPD, etc.</a:t>
            </a:r>
            <a:endParaRPr kumimoji="0" lang="en-US" sz="1100" b="0" i="0" u="none" strike="noStrike" kern="1200" cap="none" spc="0" normalizeH="0" baseline="0" noProof="0">
              <a:ln>
                <a:noFill/>
              </a:ln>
              <a:solidFill>
                <a:srgbClr val="000000"/>
              </a:solidFill>
              <a:effectLst/>
              <a:uLnTx/>
              <a:uFillTx/>
              <a:latin typeface="Oswald Light"/>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000000"/>
              </a:solidFill>
              <a:effectLst/>
              <a:uLnTx/>
              <a:uFillTx/>
              <a:latin typeface="Oswald Light"/>
              <a:ea typeface="+mn-ea"/>
              <a:cs typeface="+mn-cs"/>
            </a:endParaRPr>
          </a:p>
        </p:txBody>
      </p:sp>
      <p:sp>
        <p:nvSpPr>
          <p:cNvPr id="28" name="Ellipse 27">
            <a:extLst>
              <a:ext uri="{FF2B5EF4-FFF2-40B4-BE49-F238E27FC236}">
                <a16:creationId xmlns:a16="http://schemas.microsoft.com/office/drawing/2014/main" id="{A1704A21-C6F6-2CA2-771C-4DDAA81B3341}"/>
              </a:ext>
            </a:extLst>
          </p:cNvPr>
          <p:cNvSpPr/>
          <p:nvPr/>
        </p:nvSpPr>
        <p:spPr>
          <a:xfrm>
            <a:off x="7654336" y="2522772"/>
            <a:ext cx="728030" cy="614808"/>
          </a:xfrm>
          <a:prstGeom prst="ellipse">
            <a:avLst/>
          </a:prstGeom>
          <a:solidFill>
            <a:schemeClr val="bg1"/>
          </a:solidFill>
          <a:ln w="28575">
            <a:solidFill>
              <a:srgbClr val="E6EFF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bg1">
                    <a:lumMod val="85000"/>
                  </a:schemeClr>
                </a:solidFill>
                <a:effectLst/>
                <a:uLnTx/>
                <a:uFillTx/>
                <a:latin typeface="Oswald Light"/>
                <a:ea typeface="+mn-ea"/>
                <a:cs typeface="+mn-cs"/>
              </a:rPr>
              <a:t>Prod dev</a:t>
            </a:r>
          </a:p>
        </p:txBody>
      </p:sp>
      <p:sp>
        <p:nvSpPr>
          <p:cNvPr id="2" name="Ellipse 1">
            <a:extLst>
              <a:ext uri="{FF2B5EF4-FFF2-40B4-BE49-F238E27FC236}">
                <a16:creationId xmlns:a16="http://schemas.microsoft.com/office/drawing/2014/main" id="{5FD75E1C-B643-F773-6EA7-F71CFFF5E05C}"/>
              </a:ext>
            </a:extLst>
          </p:cNvPr>
          <p:cNvSpPr/>
          <p:nvPr/>
        </p:nvSpPr>
        <p:spPr>
          <a:xfrm>
            <a:off x="7654336" y="1458889"/>
            <a:ext cx="728030" cy="614808"/>
          </a:xfrm>
          <a:prstGeom prst="ellipse">
            <a:avLst/>
          </a:prstGeom>
          <a:solidFill>
            <a:schemeClr val="bg1"/>
          </a:solidFill>
          <a:ln w="28575">
            <a:solidFill>
              <a:srgbClr val="E6EFF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ysClr val="windowText" lastClr="000000"/>
                </a:solidFill>
                <a:effectLst/>
                <a:uLnTx/>
                <a:uFillTx/>
                <a:latin typeface="Oswald Light"/>
                <a:ea typeface="+mn-ea"/>
                <a:cs typeface="+mn-cs"/>
              </a:rPr>
              <a:t>UX</a:t>
            </a:r>
          </a:p>
        </p:txBody>
      </p:sp>
      <p:sp>
        <p:nvSpPr>
          <p:cNvPr id="6" name="Ellipse 5">
            <a:extLst>
              <a:ext uri="{FF2B5EF4-FFF2-40B4-BE49-F238E27FC236}">
                <a16:creationId xmlns:a16="http://schemas.microsoft.com/office/drawing/2014/main" id="{E2D78C71-99EE-EABC-5980-8867044C99F4}"/>
              </a:ext>
            </a:extLst>
          </p:cNvPr>
          <p:cNvSpPr/>
          <p:nvPr/>
        </p:nvSpPr>
        <p:spPr>
          <a:xfrm>
            <a:off x="6727990" y="1458889"/>
            <a:ext cx="728030" cy="614808"/>
          </a:xfrm>
          <a:prstGeom prst="ellipse">
            <a:avLst/>
          </a:prstGeom>
          <a:solidFill>
            <a:schemeClr val="bg1"/>
          </a:solidFill>
          <a:ln w="28575">
            <a:solidFill>
              <a:srgbClr val="E6EFF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bg1">
                    <a:lumMod val="85000"/>
                  </a:schemeClr>
                </a:solidFill>
                <a:effectLst/>
                <a:uLnTx/>
                <a:uFillTx/>
                <a:latin typeface="Oswald Light"/>
                <a:ea typeface="+mn-ea"/>
                <a:cs typeface="+mn-cs"/>
              </a:rPr>
              <a:t>H&amp;S</a:t>
            </a:r>
          </a:p>
        </p:txBody>
      </p:sp>
      <p:sp>
        <p:nvSpPr>
          <p:cNvPr id="7" name="Ellipse 6">
            <a:extLst>
              <a:ext uri="{FF2B5EF4-FFF2-40B4-BE49-F238E27FC236}">
                <a16:creationId xmlns:a16="http://schemas.microsoft.com/office/drawing/2014/main" id="{450D7065-9F11-0AD3-16F8-F47A75BC585B}"/>
              </a:ext>
            </a:extLst>
          </p:cNvPr>
          <p:cNvSpPr/>
          <p:nvPr/>
        </p:nvSpPr>
        <p:spPr>
          <a:xfrm>
            <a:off x="6727990" y="2522950"/>
            <a:ext cx="728030" cy="614808"/>
          </a:xfrm>
          <a:prstGeom prst="ellipse">
            <a:avLst/>
          </a:prstGeom>
          <a:solidFill>
            <a:schemeClr val="bg1"/>
          </a:solidFill>
          <a:ln w="28575">
            <a:solidFill>
              <a:srgbClr val="E6EFF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ysClr val="windowText" lastClr="000000"/>
                </a:solidFill>
                <a:effectLst/>
                <a:uLnTx/>
                <a:uFillTx/>
                <a:latin typeface="Oswald Light"/>
                <a:ea typeface="+mn-ea"/>
                <a:cs typeface="+mn-cs"/>
              </a:rPr>
              <a:t>Adv. Tech.</a:t>
            </a:r>
          </a:p>
        </p:txBody>
      </p:sp>
      <p:sp>
        <p:nvSpPr>
          <p:cNvPr id="25" name="Ellipse 24">
            <a:extLst>
              <a:ext uri="{FF2B5EF4-FFF2-40B4-BE49-F238E27FC236}">
                <a16:creationId xmlns:a16="http://schemas.microsoft.com/office/drawing/2014/main" id="{D7012E9F-9929-180F-C81C-2F19F0E38198}"/>
              </a:ext>
            </a:extLst>
          </p:cNvPr>
          <p:cNvSpPr/>
          <p:nvPr/>
        </p:nvSpPr>
        <p:spPr>
          <a:xfrm>
            <a:off x="7022875" y="1740935"/>
            <a:ext cx="1044000" cy="1044000"/>
          </a:xfrm>
          <a:prstGeom prst="ellipse">
            <a:avLst/>
          </a:prstGeom>
          <a:solidFill>
            <a:schemeClr val="bg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ysClr val="windowText" lastClr="000000"/>
                </a:solidFill>
                <a:effectLst/>
                <a:uLnTx/>
                <a:uFillTx/>
                <a:latin typeface="Oswald Light"/>
                <a:ea typeface="+mn-ea"/>
                <a:cs typeface="+mn-cs"/>
              </a:rPr>
              <a:t>R&amp;I</a:t>
            </a:r>
          </a:p>
        </p:txBody>
      </p:sp>
      <p:sp>
        <p:nvSpPr>
          <p:cNvPr id="21" name="ZoneTexte 20">
            <a:extLst>
              <a:ext uri="{FF2B5EF4-FFF2-40B4-BE49-F238E27FC236}">
                <a16:creationId xmlns:a16="http://schemas.microsoft.com/office/drawing/2014/main" id="{1D466A5C-0C26-6BED-E27C-EF50F36A5567}"/>
              </a:ext>
            </a:extLst>
          </p:cNvPr>
          <p:cNvSpPr txBox="1"/>
          <p:nvPr/>
        </p:nvSpPr>
        <p:spPr>
          <a:xfrm>
            <a:off x="9959843" y="2753279"/>
            <a:ext cx="1188000" cy="938719"/>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Oswald Light"/>
                <a:ea typeface="+mn-ea"/>
                <a:cs typeface="+mn-cs"/>
              </a:rPr>
              <a:t>Expertise on consumer feedback about the brand and the products and consumer language</a:t>
            </a:r>
          </a:p>
        </p:txBody>
      </p:sp>
      <p:sp>
        <p:nvSpPr>
          <p:cNvPr id="30" name="Ellipse 29">
            <a:extLst>
              <a:ext uri="{FF2B5EF4-FFF2-40B4-BE49-F238E27FC236}">
                <a16:creationId xmlns:a16="http://schemas.microsoft.com/office/drawing/2014/main" id="{E057A47C-67FE-24BF-5E78-CC91CCFB1430}"/>
              </a:ext>
            </a:extLst>
          </p:cNvPr>
          <p:cNvSpPr/>
          <p:nvPr/>
        </p:nvSpPr>
        <p:spPr>
          <a:xfrm>
            <a:off x="10031843" y="1555703"/>
            <a:ext cx="1044000" cy="1044000"/>
          </a:xfrm>
          <a:prstGeom prst="ellipse">
            <a:avLst/>
          </a:prstGeom>
          <a:solidFill>
            <a:schemeClr val="bg1"/>
          </a:solidFill>
          <a:ln w="28575">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ysClr val="windowText" lastClr="000000"/>
                </a:solidFill>
                <a:effectLst/>
                <a:uLnTx/>
                <a:uFillTx/>
                <a:latin typeface="Oswald Light"/>
                <a:ea typeface="+mn-ea"/>
                <a:cs typeface="+mn-cs"/>
              </a:rPr>
              <a:t>Consumer Service</a:t>
            </a:r>
          </a:p>
        </p:txBody>
      </p:sp>
      <p:sp>
        <p:nvSpPr>
          <p:cNvPr id="23" name="ZoneTexte 22">
            <a:extLst>
              <a:ext uri="{FF2B5EF4-FFF2-40B4-BE49-F238E27FC236}">
                <a16:creationId xmlns:a16="http://schemas.microsoft.com/office/drawing/2014/main" id="{7FA14BC2-0B2D-B53C-2E75-8BD2BA969E05}"/>
              </a:ext>
            </a:extLst>
          </p:cNvPr>
          <p:cNvSpPr txBox="1"/>
          <p:nvPr/>
        </p:nvSpPr>
        <p:spPr>
          <a:xfrm>
            <a:off x="3591471" y="2709496"/>
            <a:ext cx="1419322" cy="1277273"/>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Oswald Light"/>
                <a:ea typeface="+mn-ea"/>
                <a:cs typeface="+mn-cs"/>
              </a:rPr>
              <a:t>Expertise on legal limits on what can or cannot be claimed. </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1" u="none" strike="noStrike" kern="1200" cap="none" spc="0" normalizeH="0" baseline="0" noProof="0">
              <a:ln>
                <a:noFill/>
              </a:ln>
              <a:solidFill>
                <a:srgbClr val="7E7E7E"/>
              </a:solidFill>
              <a:effectLst/>
              <a:uLnTx/>
              <a:uFillTx/>
              <a:latin typeface="Oswald Light"/>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1" u="none" strike="noStrike" kern="1200" cap="none" spc="0" normalizeH="0" baseline="0" noProof="0">
                <a:ln>
                  <a:noFill/>
                </a:ln>
                <a:solidFill>
                  <a:srgbClr val="7E7E7E"/>
                </a:solidFill>
                <a:effectLst/>
                <a:uLnTx/>
                <a:uFillTx/>
                <a:latin typeface="Oswald Light"/>
                <a:ea typeface="+mn-ea"/>
                <a:cs typeface="+mn-cs"/>
              </a:rPr>
              <a:t>NB : Important to be  in a “Yes but…” / “Yes and…” mindset. Never say “No”!</a:t>
            </a:r>
          </a:p>
        </p:txBody>
      </p:sp>
      <p:sp>
        <p:nvSpPr>
          <p:cNvPr id="31" name="Ellipse 30">
            <a:extLst>
              <a:ext uri="{FF2B5EF4-FFF2-40B4-BE49-F238E27FC236}">
                <a16:creationId xmlns:a16="http://schemas.microsoft.com/office/drawing/2014/main" id="{DB887F1D-8D2C-D947-6AFB-4D590C292864}"/>
              </a:ext>
            </a:extLst>
          </p:cNvPr>
          <p:cNvSpPr/>
          <p:nvPr/>
        </p:nvSpPr>
        <p:spPr>
          <a:xfrm>
            <a:off x="3779132" y="1511920"/>
            <a:ext cx="1044000" cy="1044000"/>
          </a:xfrm>
          <a:prstGeom prst="ellipse">
            <a:avLst/>
          </a:prstGeom>
          <a:solidFill>
            <a:schemeClr val="bg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ysClr val="windowText" lastClr="000000"/>
                </a:solidFill>
                <a:effectLst/>
                <a:uLnTx/>
                <a:uFillTx/>
                <a:latin typeface="Oswald Light"/>
                <a:ea typeface="+mn-ea"/>
                <a:cs typeface="+mn-cs"/>
              </a:rPr>
              <a:t>Legal / Food law</a:t>
            </a:r>
          </a:p>
        </p:txBody>
      </p:sp>
      <p:sp>
        <p:nvSpPr>
          <p:cNvPr id="10" name="Ellipse 9">
            <a:extLst>
              <a:ext uri="{FF2B5EF4-FFF2-40B4-BE49-F238E27FC236}">
                <a16:creationId xmlns:a16="http://schemas.microsoft.com/office/drawing/2014/main" id="{6CE4DDCE-3EE8-52DC-B331-659490912844}"/>
              </a:ext>
            </a:extLst>
          </p:cNvPr>
          <p:cNvSpPr/>
          <p:nvPr/>
        </p:nvSpPr>
        <p:spPr>
          <a:xfrm>
            <a:off x="1113640" y="4700237"/>
            <a:ext cx="1044000" cy="1044000"/>
          </a:xfrm>
          <a:prstGeom prst="ellipse">
            <a:avLst/>
          </a:prstGeom>
          <a:solidFill>
            <a:schemeClr val="bg1"/>
          </a:solidFill>
          <a:ln w="28575">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indent="0" algn="ctr">
              <a:lnSpc>
                <a:spcPct val="100000"/>
              </a:lnSpc>
            </a:pPr>
            <a:r>
              <a:rPr lang="en-US" sz="1200">
                <a:solidFill>
                  <a:sysClr val="windowText" lastClr="000000"/>
                </a:solidFill>
                <a:latin typeface="Oswald Light"/>
              </a:rPr>
              <a:t>Com. Agency</a:t>
            </a:r>
          </a:p>
        </p:txBody>
      </p:sp>
      <p:sp>
        <p:nvSpPr>
          <p:cNvPr id="14" name="ZoneTexte 13">
            <a:extLst>
              <a:ext uri="{FF2B5EF4-FFF2-40B4-BE49-F238E27FC236}">
                <a16:creationId xmlns:a16="http://schemas.microsoft.com/office/drawing/2014/main" id="{4D444463-F5D3-A669-01C2-8719AE114A56}"/>
              </a:ext>
            </a:extLst>
          </p:cNvPr>
          <p:cNvSpPr txBox="1"/>
          <p:nvPr/>
        </p:nvSpPr>
        <p:spPr>
          <a:xfrm>
            <a:off x="1029615" y="5871912"/>
            <a:ext cx="1188000" cy="430887"/>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Oswald Light"/>
                <a:ea typeface="+mn-ea"/>
                <a:cs typeface="+mn-cs"/>
              </a:rPr>
              <a:t>Strat planner or creative? </a:t>
            </a:r>
          </a:p>
        </p:txBody>
      </p:sp>
      <p:sp>
        <p:nvSpPr>
          <p:cNvPr id="16" name="Ellipse 15">
            <a:extLst>
              <a:ext uri="{FF2B5EF4-FFF2-40B4-BE49-F238E27FC236}">
                <a16:creationId xmlns:a16="http://schemas.microsoft.com/office/drawing/2014/main" id="{FA2FBED1-9E12-8A16-005C-895BA73D2CC5}"/>
              </a:ext>
            </a:extLst>
          </p:cNvPr>
          <p:cNvSpPr/>
          <p:nvPr/>
        </p:nvSpPr>
        <p:spPr>
          <a:xfrm>
            <a:off x="3114863" y="4718876"/>
            <a:ext cx="1044000" cy="1044000"/>
          </a:xfrm>
          <a:prstGeom prst="ellipse">
            <a:avLst/>
          </a:prstGeom>
          <a:solidFill>
            <a:schemeClr val="bg1"/>
          </a:solidFill>
          <a:ln w="28575">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ysClr val="windowText" lastClr="000000"/>
                </a:solidFill>
                <a:effectLst/>
                <a:uLnTx/>
                <a:uFillTx/>
                <a:latin typeface="Oswald Light"/>
                <a:ea typeface="+mn-ea"/>
                <a:cs typeface="+mn-cs"/>
              </a:rPr>
              <a:t>Designer / sketcher </a:t>
            </a:r>
          </a:p>
        </p:txBody>
      </p:sp>
      <p:sp>
        <p:nvSpPr>
          <p:cNvPr id="18" name="ZoneTexte 17">
            <a:extLst>
              <a:ext uri="{FF2B5EF4-FFF2-40B4-BE49-F238E27FC236}">
                <a16:creationId xmlns:a16="http://schemas.microsoft.com/office/drawing/2014/main" id="{1857E78A-102D-A83D-2AF5-D6D71704ADB5}"/>
              </a:ext>
            </a:extLst>
          </p:cNvPr>
          <p:cNvSpPr txBox="1"/>
          <p:nvPr/>
        </p:nvSpPr>
        <p:spPr>
          <a:xfrm>
            <a:off x="3042863" y="5871912"/>
            <a:ext cx="1188000" cy="600164"/>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Oswald Light"/>
                <a:ea typeface="+mn-ea"/>
                <a:cs typeface="+mn-cs"/>
              </a:rPr>
              <a:t>Bringing to life claim / narrative / demo / illustration</a:t>
            </a:r>
          </a:p>
        </p:txBody>
      </p:sp>
      <p:sp>
        <p:nvSpPr>
          <p:cNvPr id="20" name="Ellipse 19">
            <a:extLst>
              <a:ext uri="{FF2B5EF4-FFF2-40B4-BE49-F238E27FC236}">
                <a16:creationId xmlns:a16="http://schemas.microsoft.com/office/drawing/2014/main" id="{5A3EC713-2663-9DC0-8147-A1BB324B955A}"/>
              </a:ext>
            </a:extLst>
          </p:cNvPr>
          <p:cNvSpPr/>
          <p:nvPr/>
        </p:nvSpPr>
        <p:spPr>
          <a:xfrm>
            <a:off x="5257748" y="4737515"/>
            <a:ext cx="1044000" cy="1044000"/>
          </a:xfrm>
          <a:prstGeom prst="ellipse">
            <a:avLst/>
          </a:prstGeom>
          <a:solidFill>
            <a:schemeClr val="bg1"/>
          </a:solidFill>
          <a:ln w="28575">
            <a:solidFill>
              <a:schemeClr val="tx2">
                <a:lumMod val="20000"/>
                <a:lumOff val="8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bg1">
                    <a:lumMod val="85000"/>
                  </a:schemeClr>
                </a:solidFill>
                <a:effectLst/>
                <a:uLnTx/>
                <a:uFillTx/>
                <a:latin typeface="Oswald Light"/>
                <a:ea typeface="+mn-ea"/>
                <a:cs typeface="+mn-cs"/>
              </a:rPr>
              <a:t>Lead user</a:t>
            </a:r>
          </a:p>
        </p:txBody>
      </p:sp>
      <p:sp>
        <p:nvSpPr>
          <p:cNvPr id="22" name="ZoneTexte 21">
            <a:extLst>
              <a:ext uri="{FF2B5EF4-FFF2-40B4-BE49-F238E27FC236}">
                <a16:creationId xmlns:a16="http://schemas.microsoft.com/office/drawing/2014/main" id="{69802D9A-52E6-CBA2-C256-27F7C3B379E2}"/>
              </a:ext>
            </a:extLst>
          </p:cNvPr>
          <p:cNvSpPr txBox="1"/>
          <p:nvPr/>
        </p:nvSpPr>
        <p:spPr>
          <a:xfrm>
            <a:off x="5223315" y="5871912"/>
            <a:ext cx="1188000" cy="600164"/>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Oswald Light"/>
                <a:ea typeface="+mn-ea"/>
                <a:cs typeface="+mn-cs"/>
              </a:rPr>
              <a:t>Ex: Influencer / expert / Consumer + / KOL / Heavy user</a:t>
            </a:r>
          </a:p>
        </p:txBody>
      </p:sp>
      <p:sp>
        <p:nvSpPr>
          <p:cNvPr id="34" name="Ellipse 33">
            <a:extLst>
              <a:ext uri="{FF2B5EF4-FFF2-40B4-BE49-F238E27FC236}">
                <a16:creationId xmlns:a16="http://schemas.microsoft.com/office/drawing/2014/main" id="{18BE57F8-B645-D1E9-7102-05480DEEDF1B}"/>
              </a:ext>
            </a:extLst>
          </p:cNvPr>
          <p:cNvSpPr/>
          <p:nvPr/>
        </p:nvSpPr>
        <p:spPr>
          <a:xfrm>
            <a:off x="7360747" y="4718876"/>
            <a:ext cx="1044000" cy="1044000"/>
          </a:xfrm>
          <a:prstGeom prst="ellipse">
            <a:avLst/>
          </a:prstGeom>
          <a:solidFill>
            <a:schemeClr val="bg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ysClr val="windowText" lastClr="000000"/>
                </a:solidFill>
                <a:effectLst/>
                <a:uLnTx/>
                <a:uFillTx/>
                <a:latin typeface="Oswald Light"/>
                <a:ea typeface="+mn-ea"/>
                <a:cs typeface="+mn-cs"/>
              </a:rPr>
              <a:t>Claims AI Tool</a:t>
            </a:r>
          </a:p>
        </p:txBody>
      </p:sp>
      <p:sp>
        <p:nvSpPr>
          <p:cNvPr id="39" name="ZoneTexte 38">
            <a:extLst>
              <a:ext uri="{FF2B5EF4-FFF2-40B4-BE49-F238E27FC236}">
                <a16:creationId xmlns:a16="http://schemas.microsoft.com/office/drawing/2014/main" id="{A201B49D-7447-BFE3-451E-39F95405D2A3}"/>
              </a:ext>
            </a:extLst>
          </p:cNvPr>
          <p:cNvSpPr txBox="1"/>
          <p:nvPr/>
        </p:nvSpPr>
        <p:spPr>
          <a:xfrm>
            <a:off x="6748249" y="5871912"/>
            <a:ext cx="2268996" cy="769441"/>
          </a:xfrm>
          <a:prstGeom prst="rect">
            <a:avLst/>
          </a:prstGeom>
          <a:noFill/>
        </p:spPr>
        <p:txBody>
          <a:bodyPr wrap="square">
            <a:spAutoFit/>
          </a:bodyPr>
          <a:lstStyle>
            <a:defPPr>
              <a:defRPr lang="fr-FR"/>
            </a:defPPr>
            <a:lvl1pPr algn="ctr">
              <a:defRPr sz="1100" b="0" i="0" u="none" strike="noStrike" baseline="0">
                <a:solidFill>
                  <a:srgbClr val="38474A"/>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sng" strike="noStrike" kern="1200" cap="none" spc="0" normalizeH="0" baseline="0" noProof="0">
                <a:ln>
                  <a:noFill/>
                </a:ln>
                <a:solidFill>
                  <a:srgbClr val="000000"/>
                </a:solidFill>
                <a:effectLst/>
                <a:uLnTx/>
                <a:uFillTx/>
                <a:latin typeface="Oswald Light"/>
                <a:ea typeface="+mn-ea"/>
                <a:cs typeface="+mn-cs"/>
              </a:rPr>
              <a:t>Additional voice in the room</a:t>
            </a:r>
          </a:p>
          <a:p>
            <a:pPr marL="171450" marR="0" lvl="0" indent="-171450" algn="ctr" defTabSz="914400" rtl="0" eaLnBrk="1" fontAlgn="auto" latinLnBrk="0" hangingPunct="1">
              <a:lnSpc>
                <a:spcPct val="100000"/>
              </a:lnSpc>
              <a:spcBef>
                <a:spcPts val="0"/>
              </a:spcBef>
              <a:spcAft>
                <a:spcPts val="0"/>
              </a:spcAft>
              <a:buClrTx/>
              <a:buSzTx/>
              <a:buFontTx/>
              <a:buChar char="-"/>
              <a:tabLst/>
              <a:defRPr/>
            </a:pPr>
            <a:r>
              <a:rPr kumimoji="0" lang="en-US" sz="1100" b="0" i="0" u="none" strike="noStrike" kern="1200" cap="none" spc="0" normalizeH="0" baseline="0" noProof="0">
                <a:ln>
                  <a:noFill/>
                </a:ln>
                <a:solidFill>
                  <a:srgbClr val="000000"/>
                </a:solidFill>
                <a:effectLst/>
                <a:uLnTx/>
                <a:uFillTx/>
                <a:latin typeface="Oswald Light"/>
                <a:ea typeface="+mn-ea"/>
                <a:cs typeface="+mn-cs"/>
              </a:rPr>
              <a:t>Generate more claim ideas: uncover new ideas and new </a:t>
            </a:r>
            <a:br>
              <a:rPr kumimoji="0" lang="en-US" sz="1100" b="0" i="0" u="none" strike="noStrike" kern="1200" cap="none" spc="0" normalizeH="0" baseline="0" noProof="0">
                <a:ln>
                  <a:noFill/>
                </a:ln>
                <a:solidFill>
                  <a:srgbClr val="000000"/>
                </a:solidFill>
                <a:effectLst/>
                <a:uLnTx/>
                <a:uFillTx/>
                <a:latin typeface="Oswald Light"/>
                <a:ea typeface="+mn-ea"/>
                <a:cs typeface="+mn-cs"/>
              </a:rPr>
            </a:br>
            <a:r>
              <a:rPr kumimoji="0" lang="en-US" sz="1100" b="0" i="0" u="none" strike="noStrike" kern="1200" cap="none" spc="0" normalizeH="0" baseline="0" noProof="0">
                <a:ln>
                  <a:noFill/>
                </a:ln>
                <a:solidFill>
                  <a:srgbClr val="000000"/>
                </a:solidFill>
                <a:effectLst/>
                <a:uLnTx/>
                <a:uFillTx/>
                <a:latin typeface="Oswald Light"/>
                <a:ea typeface="+mn-ea"/>
                <a:cs typeface="+mn-cs"/>
              </a:rPr>
              <a:t>language/phraseology/claim refinement </a:t>
            </a:r>
          </a:p>
        </p:txBody>
      </p:sp>
      <p:sp>
        <p:nvSpPr>
          <p:cNvPr id="12" name="Ellipse 11">
            <a:extLst>
              <a:ext uri="{FF2B5EF4-FFF2-40B4-BE49-F238E27FC236}">
                <a16:creationId xmlns:a16="http://schemas.microsoft.com/office/drawing/2014/main" id="{A914549F-1347-F9A2-6D61-177684AAFE7F}"/>
              </a:ext>
            </a:extLst>
          </p:cNvPr>
          <p:cNvSpPr/>
          <p:nvPr/>
        </p:nvSpPr>
        <p:spPr>
          <a:xfrm>
            <a:off x="9891556" y="4694302"/>
            <a:ext cx="1044000" cy="1044000"/>
          </a:xfrm>
          <a:prstGeom prst="ellipse">
            <a:avLst/>
          </a:prstGeom>
          <a:solidFill>
            <a:schemeClr val="bg1"/>
          </a:solidFill>
          <a:ln w="28575">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ysClr val="windowText" lastClr="000000"/>
                </a:solidFill>
                <a:effectLst/>
                <a:uLnTx/>
                <a:uFillTx/>
                <a:latin typeface="Oswald Light"/>
                <a:ea typeface="+mn-ea"/>
                <a:cs typeface="+mn-cs"/>
              </a:rPr>
              <a:t>Copy writer</a:t>
            </a:r>
          </a:p>
        </p:txBody>
      </p:sp>
      <p:sp>
        <p:nvSpPr>
          <p:cNvPr id="63" name="ZoneTexte 62">
            <a:extLst>
              <a:ext uri="{FF2B5EF4-FFF2-40B4-BE49-F238E27FC236}">
                <a16:creationId xmlns:a16="http://schemas.microsoft.com/office/drawing/2014/main" id="{862B21E5-3D60-F548-92B6-1E24447BEC99}"/>
              </a:ext>
            </a:extLst>
          </p:cNvPr>
          <p:cNvSpPr txBox="1"/>
          <p:nvPr/>
        </p:nvSpPr>
        <p:spPr>
          <a:xfrm>
            <a:off x="9536169" y="5871912"/>
            <a:ext cx="1763788" cy="600164"/>
          </a:xfrm>
          <a:prstGeom prst="rect">
            <a:avLst/>
          </a:prstGeom>
          <a:noFill/>
        </p:spPr>
        <p:txBody>
          <a:bodyPr wrap="square">
            <a:spAutoFit/>
          </a:bodyPr>
          <a:lstStyle>
            <a:defPPr>
              <a:defRPr lang="fr-FR"/>
            </a:defPPr>
            <a:lvl1pPr algn="ctr">
              <a:defRPr sz="1100" b="0" i="0" u="none" strike="noStrike" baseline="0">
                <a:solidFill>
                  <a:srgbClr val="38474A"/>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Oswald Light"/>
                <a:ea typeface="+mn-ea"/>
                <a:cs typeface="+mn-cs"/>
              </a:rPr>
              <a:t>Turns claim ideas into successful / powerful claims from a consumer point of view</a:t>
            </a:r>
          </a:p>
        </p:txBody>
      </p:sp>
      <p:sp>
        <p:nvSpPr>
          <p:cNvPr id="64" name="Rectangle 63">
            <a:extLst>
              <a:ext uri="{FF2B5EF4-FFF2-40B4-BE49-F238E27FC236}">
                <a16:creationId xmlns:a16="http://schemas.microsoft.com/office/drawing/2014/main" id="{95CF8BAF-D503-7B17-6BFB-C5538CB49C19}"/>
              </a:ext>
            </a:extLst>
          </p:cNvPr>
          <p:cNvSpPr/>
          <p:nvPr/>
        </p:nvSpPr>
        <p:spPr>
          <a:xfrm>
            <a:off x="6385056" y="389278"/>
            <a:ext cx="3275815" cy="600751"/>
          </a:xfrm>
          <a:prstGeom prst="rect">
            <a:avLst/>
          </a:prstGeom>
          <a:no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sng" strike="noStrike" kern="1200" cap="none" spc="0" normalizeH="0" baseline="0" noProof="0">
                <a:ln>
                  <a:noFill/>
                </a:ln>
                <a:solidFill>
                  <a:srgbClr val="000000"/>
                </a:solidFill>
                <a:effectLst/>
                <a:uLnTx/>
                <a:uFillTx/>
                <a:latin typeface="Oswald Light"/>
                <a:ea typeface="+mn-ea"/>
                <a:cs typeface="+mn-cs"/>
              </a:rPr>
              <a:t>Legend:</a:t>
            </a:r>
            <a:endParaRPr kumimoji="0" lang="en-US" sz="1800" b="0" i="0" u="sng" strike="noStrike" kern="1200" cap="none" spc="0" normalizeH="0" baseline="0" noProof="0">
              <a:ln>
                <a:noFill/>
              </a:ln>
              <a:solidFill>
                <a:srgbClr val="000000"/>
              </a:solidFill>
              <a:effectLst/>
              <a:uLnTx/>
              <a:uFillTx/>
              <a:latin typeface="Oswald Light"/>
              <a:ea typeface="+mn-ea"/>
              <a:cs typeface="+mn-cs"/>
            </a:endParaRPr>
          </a:p>
        </p:txBody>
      </p:sp>
      <p:sp>
        <p:nvSpPr>
          <p:cNvPr id="67" name="Ellipse 66">
            <a:extLst>
              <a:ext uri="{FF2B5EF4-FFF2-40B4-BE49-F238E27FC236}">
                <a16:creationId xmlns:a16="http://schemas.microsoft.com/office/drawing/2014/main" id="{8878F6C0-6AEA-D589-1C30-866BD85C52C1}"/>
              </a:ext>
            </a:extLst>
          </p:cNvPr>
          <p:cNvSpPr/>
          <p:nvPr/>
        </p:nvSpPr>
        <p:spPr>
          <a:xfrm flipV="1">
            <a:off x="6905506" y="497898"/>
            <a:ext cx="104860" cy="99564"/>
          </a:xfrm>
          <a:prstGeom prst="ellipse">
            <a:avLst/>
          </a:prstGeom>
          <a:solidFill>
            <a:schemeClr val="bg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ysClr val="windowText" lastClr="000000"/>
              </a:solidFill>
              <a:effectLst/>
              <a:uLnTx/>
              <a:uFillTx/>
              <a:latin typeface="Oswald Light"/>
              <a:ea typeface="+mn-ea"/>
              <a:cs typeface="+mn-cs"/>
            </a:endParaRPr>
          </a:p>
        </p:txBody>
      </p:sp>
      <p:sp>
        <p:nvSpPr>
          <p:cNvPr id="69" name="ZoneTexte 68">
            <a:extLst>
              <a:ext uri="{FF2B5EF4-FFF2-40B4-BE49-F238E27FC236}">
                <a16:creationId xmlns:a16="http://schemas.microsoft.com/office/drawing/2014/main" id="{24F15D31-7C19-7902-0DE1-3EFE414E0F5E}"/>
              </a:ext>
            </a:extLst>
          </p:cNvPr>
          <p:cNvSpPr txBox="1"/>
          <p:nvPr/>
        </p:nvSpPr>
        <p:spPr>
          <a:xfrm>
            <a:off x="7042348" y="437847"/>
            <a:ext cx="1110089" cy="2308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Oswald Light"/>
                <a:ea typeface="+mn-ea"/>
                <a:cs typeface="+mn-cs"/>
              </a:rPr>
              <a:t>Mandatory participants</a:t>
            </a:r>
          </a:p>
        </p:txBody>
      </p:sp>
      <p:sp>
        <p:nvSpPr>
          <p:cNvPr id="70" name="ZoneTexte 69">
            <a:extLst>
              <a:ext uri="{FF2B5EF4-FFF2-40B4-BE49-F238E27FC236}">
                <a16:creationId xmlns:a16="http://schemas.microsoft.com/office/drawing/2014/main" id="{E9F5EB81-DBC7-E9AA-415C-E8AA057023B2}"/>
              </a:ext>
            </a:extLst>
          </p:cNvPr>
          <p:cNvSpPr txBox="1"/>
          <p:nvPr/>
        </p:nvSpPr>
        <p:spPr>
          <a:xfrm>
            <a:off x="7039434" y="627611"/>
            <a:ext cx="1110089"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Oswald Light"/>
                <a:ea typeface="+mn-ea"/>
                <a:cs typeface="+mn-cs"/>
              </a:rPr>
              <a:t>Participants for the whole workshop </a:t>
            </a:r>
          </a:p>
        </p:txBody>
      </p:sp>
      <p:sp>
        <p:nvSpPr>
          <p:cNvPr id="71" name="ZoneTexte 70">
            <a:extLst>
              <a:ext uri="{FF2B5EF4-FFF2-40B4-BE49-F238E27FC236}">
                <a16:creationId xmlns:a16="http://schemas.microsoft.com/office/drawing/2014/main" id="{044CA303-58D2-D43F-B520-563823C64CE3}"/>
              </a:ext>
            </a:extLst>
          </p:cNvPr>
          <p:cNvSpPr txBox="1"/>
          <p:nvPr/>
        </p:nvSpPr>
        <p:spPr>
          <a:xfrm>
            <a:off x="8350152" y="627611"/>
            <a:ext cx="1310719"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Oswald Light"/>
                <a:ea typeface="+mn-ea"/>
                <a:cs typeface="+mn-cs"/>
              </a:rPr>
              <a:t>Participants only for a part of the workshop </a:t>
            </a:r>
          </a:p>
        </p:txBody>
      </p:sp>
      <p:cxnSp>
        <p:nvCxnSpPr>
          <p:cNvPr id="75" name="Connecteur droit 74">
            <a:extLst>
              <a:ext uri="{FF2B5EF4-FFF2-40B4-BE49-F238E27FC236}">
                <a16:creationId xmlns:a16="http://schemas.microsoft.com/office/drawing/2014/main" id="{F2E6BEAF-213E-0EA7-68A6-6CD77A6E6CF7}"/>
              </a:ext>
            </a:extLst>
          </p:cNvPr>
          <p:cNvCxnSpPr>
            <a:cxnSpLocks/>
          </p:cNvCxnSpPr>
          <p:nvPr/>
        </p:nvCxnSpPr>
        <p:spPr>
          <a:xfrm>
            <a:off x="8135955" y="812277"/>
            <a:ext cx="208184" cy="0"/>
          </a:xfrm>
          <a:prstGeom prst="line">
            <a:avLst/>
          </a:prstGeom>
          <a:ln w="38100">
            <a:solidFill>
              <a:schemeClr val="accent1">
                <a:lumMod val="20000"/>
                <a:lumOff val="8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79" name="Connecteur droit 78">
            <a:extLst>
              <a:ext uri="{FF2B5EF4-FFF2-40B4-BE49-F238E27FC236}">
                <a16:creationId xmlns:a16="http://schemas.microsoft.com/office/drawing/2014/main" id="{9ACA1480-7AD6-2689-BCA5-6EB53FCEFD8D}"/>
              </a:ext>
            </a:extLst>
          </p:cNvPr>
          <p:cNvCxnSpPr>
            <a:cxnSpLocks/>
          </p:cNvCxnSpPr>
          <p:nvPr/>
        </p:nvCxnSpPr>
        <p:spPr>
          <a:xfrm>
            <a:off x="6892042" y="812277"/>
            <a:ext cx="156412" cy="0"/>
          </a:xfrm>
          <a:prstGeom prst="line">
            <a:avLst/>
          </a:prstGeom>
          <a:ln w="38100">
            <a:prstDash val="solid"/>
          </a:ln>
        </p:spPr>
        <p:style>
          <a:lnRef idx="1">
            <a:schemeClr val="accent1"/>
          </a:lnRef>
          <a:fillRef idx="0">
            <a:schemeClr val="accent1"/>
          </a:fillRef>
          <a:effectRef idx="0">
            <a:schemeClr val="accent1"/>
          </a:effectRef>
          <a:fontRef idx="minor">
            <a:schemeClr val="tx1"/>
          </a:fontRef>
        </p:style>
      </p:cxnSp>
      <p:sp>
        <p:nvSpPr>
          <p:cNvPr id="38" name="Espace réservé du texte 4">
            <a:extLst>
              <a:ext uri="{FF2B5EF4-FFF2-40B4-BE49-F238E27FC236}">
                <a16:creationId xmlns:a16="http://schemas.microsoft.com/office/drawing/2014/main" id="{7154CFA4-45FA-0358-6257-E665B351BD1B}"/>
              </a:ext>
            </a:extLst>
          </p:cNvPr>
          <p:cNvSpPr>
            <a:spLocks noGrp="1"/>
          </p:cNvSpPr>
          <p:nvPr>
            <p:ph type="body" sz="quarter" idx="13"/>
          </p:nvPr>
        </p:nvSpPr>
        <p:spPr>
          <a:xfrm>
            <a:off x="236243" y="153946"/>
            <a:ext cx="7455559" cy="610555"/>
          </a:xfrm>
        </p:spPr>
        <p:txBody>
          <a:bodyPr anchor="ctr"/>
          <a:lstStyle/>
          <a:p>
            <a:r>
              <a:rPr lang="en-US" sz="2400">
                <a:solidFill>
                  <a:schemeClr val="tx2"/>
                </a:solidFill>
              </a:rPr>
              <a:t>WHO’s IN THE ROOM? Participants</a:t>
            </a:r>
          </a:p>
        </p:txBody>
      </p:sp>
      <p:pic>
        <p:nvPicPr>
          <p:cNvPr id="42" name="Image 41">
            <a:extLst>
              <a:ext uri="{FF2B5EF4-FFF2-40B4-BE49-F238E27FC236}">
                <a16:creationId xmlns:a16="http://schemas.microsoft.com/office/drawing/2014/main" id="{D67149EC-0265-C1CA-FF09-6457E119477D}"/>
              </a:ext>
            </a:extLst>
          </p:cNvPr>
          <p:cNvPicPr>
            <a:picLocks noChangeAspect="1"/>
          </p:cNvPicPr>
          <p:nvPr/>
        </p:nvPicPr>
        <p:blipFill rotWithShape="1">
          <a:blip r:embed="rId5"/>
          <a:srcRect b="13301"/>
          <a:stretch/>
        </p:blipFill>
        <p:spPr>
          <a:xfrm>
            <a:off x="10257207" y="41694"/>
            <a:ext cx="1255896" cy="1281927"/>
          </a:xfrm>
          <a:prstGeom prst="rect">
            <a:avLst/>
          </a:prstGeom>
        </p:spPr>
      </p:pic>
      <p:sp>
        <p:nvSpPr>
          <p:cNvPr id="43" name="Ellipse 42">
            <a:extLst>
              <a:ext uri="{FF2B5EF4-FFF2-40B4-BE49-F238E27FC236}">
                <a16:creationId xmlns:a16="http://schemas.microsoft.com/office/drawing/2014/main" id="{C25A7D23-87A8-E01C-2799-A859D5400705}"/>
              </a:ext>
            </a:extLst>
          </p:cNvPr>
          <p:cNvSpPr/>
          <p:nvPr/>
        </p:nvSpPr>
        <p:spPr>
          <a:xfrm flipV="1">
            <a:off x="8199846" y="497898"/>
            <a:ext cx="104860" cy="99564"/>
          </a:xfrm>
          <a:prstGeom prst="ellipse">
            <a:avLst/>
          </a:prstGeom>
          <a:solidFill>
            <a:schemeClr val="bg1"/>
          </a:solidFill>
          <a:ln w="28575">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ysClr val="windowText" lastClr="000000"/>
              </a:solidFill>
              <a:effectLst/>
              <a:uLnTx/>
              <a:uFillTx/>
              <a:latin typeface="Oswald Light"/>
              <a:ea typeface="+mn-ea"/>
              <a:cs typeface="+mn-cs"/>
            </a:endParaRPr>
          </a:p>
        </p:txBody>
      </p:sp>
      <p:sp>
        <p:nvSpPr>
          <p:cNvPr id="44" name="ZoneTexte 43">
            <a:extLst>
              <a:ext uri="{FF2B5EF4-FFF2-40B4-BE49-F238E27FC236}">
                <a16:creationId xmlns:a16="http://schemas.microsoft.com/office/drawing/2014/main" id="{7A081AE3-B1D9-2F1E-3CE1-399973917E2E}"/>
              </a:ext>
            </a:extLst>
          </p:cNvPr>
          <p:cNvSpPr txBox="1"/>
          <p:nvPr/>
        </p:nvSpPr>
        <p:spPr>
          <a:xfrm>
            <a:off x="8347238" y="437847"/>
            <a:ext cx="1110089" cy="2308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Oswald Light"/>
                <a:ea typeface="+mn-ea"/>
                <a:cs typeface="+mn-cs"/>
              </a:rPr>
              <a:t>Optional participants</a:t>
            </a:r>
          </a:p>
        </p:txBody>
      </p:sp>
      <p:sp>
        <p:nvSpPr>
          <p:cNvPr id="58" name="ZoneTexte 57">
            <a:extLst>
              <a:ext uri="{FF2B5EF4-FFF2-40B4-BE49-F238E27FC236}">
                <a16:creationId xmlns:a16="http://schemas.microsoft.com/office/drawing/2014/main" id="{59429B96-2E56-FBCB-0DED-566C202CEC97}"/>
              </a:ext>
            </a:extLst>
          </p:cNvPr>
          <p:cNvSpPr txBox="1"/>
          <p:nvPr/>
        </p:nvSpPr>
        <p:spPr>
          <a:xfrm>
            <a:off x="155401" y="640622"/>
            <a:ext cx="5805134" cy="400110"/>
          </a:xfrm>
          <a:prstGeom prst="rect">
            <a:avLst/>
          </a:prstGeom>
          <a:solidFill>
            <a:schemeClr val="bg1"/>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1" u="none" strike="noStrike" kern="1200" cap="none" spc="0" normalizeH="0" baseline="0" noProof="0">
                <a:ln>
                  <a:noFill/>
                </a:ln>
                <a:solidFill>
                  <a:srgbClr val="002677"/>
                </a:solidFill>
                <a:effectLst/>
                <a:uLnTx/>
                <a:uFillTx/>
                <a:latin typeface="Oswald Light"/>
                <a:ea typeface="+mn-ea"/>
                <a:cs typeface="+mn-cs"/>
              </a:rPr>
              <a:t>Set of Danone cross functional experts  &amp; bringing outside in </a:t>
            </a:r>
          </a:p>
        </p:txBody>
      </p:sp>
      <p:sp>
        <p:nvSpPr>
          <p:cNvPr id="5" name="ZoneTexte 22">
            <a:extLst>
              <a:ext uri="{FF2B5EF4-FFF2-40B4-BE49-F238E27FC236}">
                <a16:creationId xmlns:a16="http://schemas.microsoft.com/office/drawing/2014/main" id="{7E943B24-7FE1-D672-A0AB-6A11CB5D757E}"/>
              </a:ext>
            </a:extLst>
          </p:cNvPr>
          <p:cNvSpPr txBox="1"/>
          <p:nvPr/>
        </p:nvSpPr>
        <p:spPr>
          <a:xfrm>
            <a:off x="5034697" y="2732924"/>
            <a:ext cx="1419322" cy="430887"/>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Oswald Light"/>
                <a:ea typeface="+mn-ea"/>
                <a:cs typeface="+mn-cs"/>
              </a:rPr>
              <a:t>Expertise on Danone’s sustainability efforts</a:t>
            </a:r>
          </a:p>
        </p:txBody>
      </p:sp>
      <p:sp>
        <p:nvSpPr>
          <p:cNvPr id="8" name="Ellipse 30">
            <a:extLst>
              <a:ext uri="{FF2B5EF4-FFF2-40B4-BE49-F238E27FC236}">
                <a16:creationId xmlns:a16="http://schemas.microsoft.com/office/drawing/2014/main" id="{2A896D02-9C5E-72A9-9B40-3FB6CAADC661}"/>
              </a:ext>
            </a:extLst>
          </p:cNvPr>
          <p:cNvSpPr/>
          <p:nvPr/>
        </p:nvSpPr>
        <p:spPr>
          <a:xfrm>
            <a:off x="5204954" y="1511920"/>
            <a:ext cx="1044000" cy="1044000"/>
          </a:xfrm>
          <a:prstGeom prst="ellipse">
            <a:avLst/>
          </a:prstGeom>
          <a:solidFill>
            <a:schemeClr val="bg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a:solidFill>
                  <a:sysClr val="windowText" lastClr="000000"/>
                </a:solidFill>
                <a:latin typeface="Oswald Light"/>
              </a:rPr>
              <a:t>Sustain-ability</a:t>
            </a:r>
            <a:endParaRPr kumimoji="0" lang="en-US" sz="1200" b="1" i="0" u="none" strike="noStrike" kern="1200" cap="none" spc="0" normalizeH="0" baseline="0" noProof="0">
              <a:ln>
                <a:noFill/>
              </a:ln>
              <a:solidFill>
                <a:sysClr val="windowText" lastClr="000000"/>
              </a:solidFill>
              <a:effectLst/>
              <a:uLnTx/>
              <a:uFillTx/>
              <a:latin typeface="Oswald Light"/>
              <a:ea typeface="+mn-ea"/>
              <a:cs typeface="+mn-cs"/>
            </a:endParaRPr>
          </a:p>
        </p:txBody>
      </p:sp>
    </p:spTree>
    <p:extLst>
      <p:ext uri="{BB962C8B-B14F-4D97-AF65-F5344CB8AC3E}">
        <p14:creationId xmlns:p14="http://schemas.microsoft.com/office/powerpoint/2010/main" val="5649487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Graphic 2" descr="Social network with solid fill">
            <a:extLst>
              <a:ext uri="{FF2B5EF4-FFF2-40B4-BE49-F238E27FC236}">
                <a16:creationId xmlns:a16="http://schemas.microsoft.com/office/drawing/2014/main" id="{584812EE-6779-6219-EA2F-3FC6118F089B}"/>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651123" y="2197707"/>
            <a:ext cx="677467" cy="677467"/>
          </a:xfrm>
          <a:prstGeom prst="rect">
            <a:avLst/>
          </a:prstGeom>
        </p:spPr>
      </p:pic>
      <p:sp>
        <p:nvSpPr>
          <p:cNvPr id="4" name="Title 4">
            <a:extLst>
              <a:ext uri="{FF2B5EF4-FFF2-40B4-BE49-F238E27FC236}">
                <a16:creationId xmlns:a16="http://schemas.microsoft.com/office/drawing/2014/main" id="{095D19B1-B8C0-4F0A-8856-44A1B2935293}"/>
              </a:ext>
            </a:extLst>
          </p:cNvPr>
          <p:cNvSpPr>
            <a:spLocks noGrp="1"/>
          </p:cNvSpPr>
          <p:nvPr>
            <p:ph type="title"/>
          </p:nvPr>
        </p:nvSpPr>
        <p:spPr>
          <a:xfrm>
            <a:off x="504000" y="403200"/>
            <a:ext cx="11082519" cy="972000"/>
          </a:xfrm>
        </p:spPr>
        <p:txBody>
          <a:bodyPr/>
          <a:lstStyle/>
          <a:p>
            <a:r>
              <a:rPr lang="en-US"/>
              <a:t>SKIM’s role in the workshop</a:t>
            </a:r>
          </a:p>
        </p:txBody>
      </p:sp>
      <p:sp>
        <p:nvSpPr>
          <p:cNvPr id="57" name="TextBox 56">
            <a:extLst>
              <a:ext uri="{FF2B5EF4-FFF2-40B4-BE49-F238E27FC236}">
                <a16:creationId xmlns:a16="http://schemas.microsoft.com/office/drawing/2014/main" id="{4F11310C-FB1D-47D5-9F85-B6C5879ED258}"/>
              </a:ext>
            </a:extLst>
          </p:cNvPr>
          <p:cNvSpPr txBox="1">
            <a:spLocks/>
          </p:cNvSpPr>
          <p:nvPr/>
        </p:nvSpPr>
        <p:spPr>
          <a:xfrm>
            <a:off x="6410632" y="3329140"/>
            <a:ext cx="1857068" cy="1994520"/>
          </a:xfrm>
          <a:prstGeom prst="rect">
            <a:avLst/>
          </a:prstGeom>
          <a:noFill/>
        </p:spPr>
        <p:txBody>
          <a:bodyPr wrap="square" lIns="0" rIns="0" rtlCol="0" anchor="t">
            <a:spAutoFit/>
          </a:bodyPr>
          <a:lstStyle/>
          <a:p>
            <a:r>
              <a:rPr lang="en-US" sz="1200" noProof="1">
                <a:latin typeface="+mj-lt"/>
              </a:rPr>
              <a:t>Contrary to all the participants who work with these products every day, SKIM will be able to bring an </a:t>
            </a:r>
            <a:r>
              <a:rPr lang="en-US" sz="1200" b="1" noProof="1">
                <a:latin typeface="+mj-lt"/>
              </a:rPr>
              <a:t>external eye </a:t>
            </a:r>
            <a:r>
              <a:rPr lang="en-US" sz="1200" noProof="1">
                <a:latin typeface="+mj-lt"/>
              </a:rPr>
              <a:t>to act as a </a:t>
            </a:r>
            <a:r>
              <a:rPr lang="en-US" sz="1200" b="1" noProof="1">
                <a:latin typeface="+mj-lt"/>
              </a:rPr>
              <a:t>representative of the consumer</a:t>
            </a:r>
            <a:r>
              <a:rPr lang="en-US" sz="1200" noProof="1">
                <a:latin typeface="+mj-lt"/>
              </a:rPr>
              <a:t>. </a:t>
            </a:r>
          </a:p>
        </p:txBody>
      </p:sp>
      <p:sp>
        <p:nvSpPr>
          <p:cNvPr id="58" name="Rectangle 57">
            <a:extLst>
              <a:ext uri="{FF2B5EF4-FFF2-40B4-BE49-F238E27FC236}">
                <a16:creationId xmlns:a16="http://schemas.microsoft.com/office/drawing/2014/main" id="{696CDF90-6CBA-47F7-812E-5F8EF986EAFB}"/>
              </a:ext>
            </a:extLst>
          </p:cNvPr>
          <p:cNvSpPr>
            <a:spLocks/>
          </p:cNvSpPr>
          <p:nvPr/>
        </p:nvSpPr>
        <p:spPr>
          <a:xfrm>
            <a:off x="6409008" y="2775152"/>
            <a:ext cx="2109946" cy="55270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noAutofit/>
          </a:bodyPr>
          <a:lstStyle/>
          <a:p>
            <a:pPr>
              <a:lnSpc>
                <a:spcPct val="110000"/>
              </a:lnSpc>
              <a:defRPr/>
            </a:pPr>
            <a:r>
              <a:rPr lang="en-US" b="1" noProof="1">
                <a:solidFill>
                  <a:srgbClr val="1C6D7D"/>
                </a:solidFill>
                <a:latin typeface="Rawline"/>
              </a:rPr>
              <a:t>Outsider</a:t>
            </a:r>
          </a:p>
        </p:txBody>
      </p:sp>
      <p:grpSp>
        <p:nvGrpSpPr>
          <p:cNvPr id="60" name="Graphic 8">
            <a:extLst>
              <a:ext uri="{FF2B5EF4-FFF2-40B4-BE49-F238E27FC236}">
                <a16:creationId xmlns:a16="http://schemas.microsoft.com/office/drawing/2014/main" id="{16B94AB1-87D9-448D-A98F-D52EE5085943}"/>
              </a:ext>
            </a:extLst>
          </p:cNvPr>
          <p:cNvGrpSpPr/>
          <p:nvPr/>
        </p:nvGrpSpPr>
        <p:grpSpPr>
          <a:xfrm>
            <a:off x="6256360" y="1922075"/>
            <a:ext cx="2706178" cy="4021525"/>
            <a:chOff x="498475" y="1700213"/>
            <a:chExt cx="2987897" cy="4440174"/>
          </a:xfrm>
          <a:noFill/>
        </p:grpSpPr>
        <p:sp>
          <p:nvSpPr>
            <p:cNvPr id="61" name="Freeform: Shape 60">
              <a:extLst>
                <a:ext uri="{FF2B5EF4-FFF2-40B4-BE49-F238E27FC236}">
                  <a16:creationId xmlns:a16="http://schemas.microsoft.com/office/drawing/2014/main" id="{B8D1DDBB-45BD-42CC-A1AF-F28AB28680A9}"/>
                </a:ext>
              </a:extLst>
            </p:cNvPr>
            <p:cNvSpPr/>
            <p:nvPr/>
          </p:nvSpPr>
          <p:spPr>
            <a:xfrm>
              <a:off x="503237" y="1704975"/>
              <a:ext cx="2983134" cy="4435412"/>
            </a:xfrm>
            <a:custGeom>
              <a:avLst/>
              <a:gdLst>
                <a:gd name="connsiteX0" fmla="*/ 2042351 w 2983134"/>
                <a:gd name="connsiteY0" fmla="*/ 3623310 h 4435412"/>
                <a:gd name="connsiteX1" fmla="*/ 2226469 w 2983134"/>
                <a:gd name="connsiteY1" fmla="*/ 3623310 h 4435412"/>
                <a:gd name="connsiteX2" fmla="*/ 2290096 w 2983134"/>
                <a:gd name="connsiteY2" fmla="*/ 3559588 h 4435412"/>
                <a:gd name="connsiteX3" fmla="*/ 2290096 w 2983134"/>
                <a:gd name="connsiteY3" fmla="*/ 3439001 h 4435412"/>
                <a:gd name="connsiteX4" fmla="*/ 2340197 w 2983134"/>
                <a:gd name="connsiteY4" fmla="*/ 3361944 h 4435412"/>
                <a:gd name="connsiteX5" fmla="*/ 2430685 w 2983134"/>
                <a:gd name="connsiteY5" fmla="*/ 3375279 h 4435412"/>
                <a:gd name="connsiteX6" fmla="*/ 2953036 w 2983134"/>
                <a:gd name="connsiteY6" fmla="*/ 3827431 h 4435412"/>
                <a:gd name="connsiteX7" fmla="*/ 2983135 w 2983134"/>
                <a:gd name="connsiteY7" fmla="*/ 3891153 h 4435412"/>
                <a:gd name="connsiteX8" fmla="*/ 2953036 w 2983134"/>
                <a:gd name="connsiteY8" fmla="*/ 3954875 h 4435412"/>
                <a:gd name="connsiteX9" fmla="*/ 2896172 w 2983134"/>
                <a:gd name="connsiteY9" fmla="*/ 4004120 h 4435412"/>
                <a:gd name="connsiteX10" fmla="*/ 2761679 w 2983134"/>
                <a:gd name="connsiteY10" fmla="*/ 4120515 h 4435412"/>
                <a:gd name="connsiteX11" fmla="*/ 2603468 w 2983134"/>
                <a:gd name="connsiteY11" fmla="*/ 4257390 h 4435412"/>
                <a:gd name="connsiteX12" fmla="*/ 2448306 w 2983134"/>
                <a:gd name="connsiteY12" fmla="*/ 4394168 h 4435412"/>
                <a:gd name="connsiteX13" fmla="*/ 2392109 w 2983134"/>
                <a:gd name="connsiteY13" fmla="*/ 4432078 h 4435412"/>
                <a:gd name="connsiteX14" fmla="*/ 2293430 w 2983134"/>
                <a:gd name="connsiteY14" fmla="*/ 4353211 h 4435412"/>
                <a:gd name="connsiteX15" fmla="*/ 2293430 w 2983134"/>
                <a:gd name="connsiteY15" fmla="*/ 4282916 h 4435412"/>
                <a:gd name="connsiteX16" fmla="*/ 2229803 w 2983134"/>
                <a:gd name="connsiteY16" fmla="*/ 4219194 h 4435412"/>
                <a:gd name="connsiteX17" fmla="*/ 190881 w 2983134"/>
                <a:gd name="connsiteY17" fmla="*/ 4219194 h 4435412"/>
                <a:gd name="connsiteX18" fmla="*/ 0 w 2983134"/>
                <a:gd name="connsiteY18" fmla="*/ 4028408 h 4435412"/>
                <a:gd name="connsiteX19" fmla="*/ 0 w 2983134"/>
                <a:gd name="connsiteY19" fmla="*/ 190786 h 4435412"/>
                <a:gd name="connsiteX20" fmla="*/ 190881 w 2983134"/>
                <a:gd name="connsiteY20" fmla="*/ 0 h 4435412"/>
                <a:gd name="connsiteX21" fmla="*/ 2480977 w 2983134"/>
                <a:gd name="connsiteY21" fmla="*/ 0 h 4435412"/>
                <a:gd name="connsiteX22" fmla="*/ 2671763 w 2983134"/>
                <a:gd name="connsiteY22" fmla="*/ 190786 h 4435412"/>
                <a:gd name="connsiteX23" fmla="*/ 2671763 w 2983134"/>
                <a:gd name="connsiteY23" fmla="*/ 3355181 h 44354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983134" h="4435412">
                  <a:moveTo>
                    <a:pt x="2042351" y="3623310"/>
                  </a:moveTo>
                  <a:lnTo>
                    <a:pt x="2226469" y="3623310"/>
                  </a:lnTo>
                  <a:cubicBezTo>
                    <a:pt x="2259997" y="3623310"/>
                    <a:pt x="2290096" y="3596449"/>
                    <a:pt x="2290096" y="3559588"/>
                  </a:cubicBezTo>
                  <a:lnTo>
                    <a:pt x="2290096" y="3439001"/>
                  </a:lnTo>
                  <a:cubicBezTo>
                    <a:pt x="2290096" y="3405473"/>
                    <a:pt x="2310098" y="3375279"/>
                    <a:pt x="2340197" y="3361944"/>
                  </a:cubicBezTo>
                  <a:cubicBezTo>
                    <a:pt x="2370487" y="3348609"/>
                    <a:pt x="2407158" y="3351848"/>
                    <a:pt x="2430685" y="3375279"/>
                  </a:cubicBezTo>
                  <a:lnTo>
                    <a:pt x="2953036" y="3827431"/>
                  </a:lnTo>
                  <a:cubicBezTo>
                    <a:pt x="2973038" y="3844290"/>
                    <a:pt x="2983135" y="3867722"/>
                    <a:pt x="2983135" y="3891153"/>
                  </a:cubicBezTo>
                  <a:cubicBezTo>
                    <a:pt x="2983135" y="3914585"/>
                    <a:pt x="2973038" y="3938016"/>
                    <a:pt x="2953036" y="3954875"/>
                  </a:cubicBezTo>
                  <a:cubicBezTo>
                    <a:pt x="2934081" y="3971258"/>
                    <a:pt x="2915126" y="3987641"/>
                    <a:pt x="2896172" y="4004120"/>
                  </a:cubicBezTo>
                  <a:cubicBezTo>
                    <a:pt x="2851309" y="4042886"/>
                    <a:pt x="2806446" y="4081748"/>
                    <a:pt x="2761679" y="4120515"/>
                  </a:cubicBezTo>
                  <a:cubicBezTo>
                    <a:pt x="2708910" y="4166140"/>
                    <a:pt x="2656237" y="4211765"/>
                    <a:pt x="2603468" y="4257390"/>
                  </a:cubicBezTo>
                  <a:cubicBezTo>
                    <a:pt x="2551271" y="4302538"/>
                    <a:pt x="2497931" y="4346353"/>
                    <a:pt x="2448306" y="4394168"/>
                  </a:cubicBezTo>
                  <a:cubicBezTo>
                    <a:pt x="2431923" y="4409980"/>
                    <a:pt x="2413826" y="4425125"/>
                    <a:pt x="2392109" y="4432078"/>
                  </a:cubicBezTo>
                  <a:cubicBezTo>
                    <a:pt x="2341912" y="4448175"/>
                    <a:pt x="2293430" y="4403408"/>
                    <a:pt x="2293430" y="4353211"/>
                  </a:cubicBezTo>
                  <a:lnTo>
                    <a:pt x="2293430" y="4282916"/>
                  </a:lnTo>
                  <a:cubicBezTo>
                    <a:pt x="2293430" y="4249389"/>
                    <a:pt x="2266664" y="4219194"/>
                    <a:pt x="2229803" y="4219194"/>
                  </a:cubicBezTo>
                  <a:lnTo>
                    <a:pt x="190881" y="4219194"/>
                  </a:lnTo>
                  <a:cubicBezTo>
                    <a:pt x="83725" y="4219194"/>
                    <a:pt x="0" y="4132326"/>
                    <a:pt x="0" y="4028408"/>
                  </a:cubicBezTo>
                  <a:lnTo>
                    <a:pt x="0" y="190786"/>
                  </a:lnTo>
                  <a:cubicBezTo>
                    <a:pt x="0" y="83820"/>
                    <a:pt x="86963" y="0"/>
                    <a:pt x="190881" y="0"/>
                  </a:cubicBezTo>
                  <a:lnTo>
                    <a:pt x="2480977" y="0"/>
                  </a:lnTo>
                  <a:cubicBezTo>
                    <a:pt x="2588038" y="0"/>
                    <a:pt x="2671763" y="87059"/>
                    <a:pt x="2671763" y="190786"/>
                  </a:cubicBezTo>
                  <a:lnTo>
                    <a:pt x="2671763" y="3355181"/>
                  </a:lnTo>
                </a:path>
              </a:pathLst>
            </a:custGeom>
            <a:noFill/>
            <a:ln w="12700" cap="flat">
              <a:solidFill>
                <a:schemeClr val="accent2"/>
              </a:solidFill>
              <a:prstDash val="solid"/>
              <a:miter/>
            </a:ln>
          </p:spPr>
          <p:txBody>
            <a:bodyPr rtlCol="0" anchor="ctr"/>
            <a:lstStyle/>
            <a:p>
              <a:endParaRPr lang="en-IN"/>
            </a:p>
          </p:txBody>
        </p:sp>
        <p:sp>
          <p:nvSpPr>
            <p:cNvPr id="62" name="Freeform: Shape 61">
              <a:extLst>
                <a:ext uri="{FF2B5EF4-FFF2-40B4-BE49-F238E27FC236}">
                  <a16:creationId xmlns:a16="http://schemas.microsoft.com/office/drawing/2014/main" id="{CD335C53-8801-4BF9-88BC-FD593B7B30F3}"/>
                </a:ext>
              </a:extLst>
            </p:cNvPr>
            <p:cNvSpPr/>
            <p:nvPr/>
          </p:nvSpPr>
          <p:spPr>
            <a:xfrm>
              <a:off x="498475" y="1700213"/>
              <a:ext cx="9525" cy="9525"/>
            </a:xfrm>
            <a:custGeom>
              <a:avLst/>
              <a:gdLst/>
              <a:ahLst/>
              <a:cxnLst/>
              <a:rect l="l" t="t" r="r" b="b"/>
              <a:pathLst>
                <a:path w="9525" h="9525"/>
              </a:pathLst>
            </a:custGeom>
            <a:noFill/>
            <a:ln w="12700" cap="flat">
              <a:solidFill>
                <a:schemeClr val="accent2"/>
              </a:solidFill>
              <a:prstDash val="solid"/>
              <a:miter/>
            </a:ln>
          </p:spPr>
          <p:txBody>
            <a:bodyPr rtlCol="0" anchor="ctr"/>
            <a:lstStyle/>
            <a:p>
              <a:endParaRPr lang="en-IN"/>
            </a:p>
          </p:txBody>
        </p:sp>
      </p:grpSp>
      <p:sp>
        <p:nvSpPr>
          <p:cNvPr id="36" name="Rectangle 35">
            <a:extLst>
              <a:ext uri="{FF2B5EF4-FFF2-40B4-BE49-F238E27FC236}">
                <a16:creationId xmlns:a16="http://schemas.microsoft.com/office/drawing/2014/main" id="{E18C4664-A1CF-48FA-8D0E-880881F78CF3}"/>
              </a:ext>
            </a:extLst>
          </p:cNvPr>
          <p:cNvSpPr>
            <a:spLocks/>
          </p:cNvSpPr>
          <p:nvPr/>
        </p:nvSpPr>
        <p:spPr>
          <a:xfrm>
            <a:off x="651124" y="2775152"/>
            <a:ext cx="2109946" cy="55270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noAutofit/>
          </a:bodyPr>
          <a:lstStyle/>
          <a:p>
            <a:pPr>
              <a:lnSpc>
                <a:spcPct val="110000"/>
              </a:lnSpc>
              <a:defRPr/>
            </a:pPr>
            <a:r>
              <a:rPr lang="en-US" b="1" noProof="1">
                <a:solidFill>
                  <a:srgbClr val="1C6D7D"/>
                </a:solidFill>
                <a:latin typeface="Rawline"/>
              </a:rPr>
              <a:t>Moderator</a:t>
            </a:r>
          </a:p>
        </p:txBody>
      </p:sp>
      <p:grpSp>
        <p:nvGrpSpPr>
          <p:cNvPr id="10" name="Graphic 8">
            <a:extLst>
              <a:ext uri="{FF2B5EF4-FFF2-40B4-BE49-F238E27FC236}">
                <a16:creationId xmlns:a16="http://schemas.microsoft.com/office/drawing/2014/main" id="{12D03213-FAC8-4658-ABF7-674694BE00CA}"/>
              </a:ext>
            </a:extLst>
          </p:cNvPr>
          <p:cNvGrpSpPr/>
          <p:nvPr/>
        </p:nvGrpSpPr>
        <p:grpSpPr>
          <a:xfrm>
            <a:off x="498476" y="1922075"/>
            <a:ext cx="2706178" cy="4021525"/>
            <a:chOff x="498475" y="1700213"/>
            <a:chExt cx="2987897" cy="4440174"/>
          </a:xfrm>
          <a:noFill/>
        </p:grpSpPr>
        <p:sp>
          <p:nvSpPr>
            <p:cNvPr id="11" name="Freeform: Shape 10">
              <a:extLst>
                <a:ext uri="{FF2B5EF4-FFF2-40B4-BE49-F238E27FC236}">
                  <a16:creationId xmlns:a16="http://schemas.microsoft.com/office/drawing/2014/main" id="{BD4AAAB5-0ECB-42FB-A97E-80A384BD79D5}"/>
                </a:ext>
              </a:extLst>
            </p:cNvPr>
            <p:cNvSpPr/>
            <p:nvPr/>
          </p:nvSpPr>
          <p:spPr>
            <a:xfrm>
              <a:off x="503237" y="1704975"/>
              <a:ext cx="2983134" cy="4435412"/>
            </a:xfrm>
            <a:custGeom>
              <a:avLst/>
              <a:gdLst>
                <a:gd name="connsiteX0" fmla="*/ 2042351 w 2983134"/>
                <a:gd name="connsiteY0" fmla="*/ 3623310 h 4435412"/>
                <a:gd name="connsiteX1" fmla="*/ 2226469 w 2983134"/>
                <a:gd name="connsiteY1" fmla="*/ 3623310 h 4435412"/>
                <a:gd name="connsiteX2" fmla="*/ 2290096 w 2983134"/>
                <a:gd name="connsiteY2" fmla="*/ 3559588 h 4435412"/>
                <a:gd name="connsiteX3" fmla="*/ 2290096 w 2983134"/>
                <a:gd name="connsiteY3" fmla="*/ 3439001 h 4435412"/>
                <a:gd name="connsiteX4" fmla="*/ 2340197 w 2983134"/>
                <a:gd name="connsiteY4" fmla="*/ 3361944 h 4435412"/>
                <a:gd name="connsiteX5" fmla="*/ 2430685 w 2983134"/>
                <a:gd name="connsiteY5" fmla="*/ 3375279 h 4435412"/>
                <a:gd name="connsiteX6" fmla="*/ 2953036 w 2983134"/>
                <a:gd name="connsiteY6" fmla="*/ 3827431 h 4435412"/>
                <a:gd name="connsiteX7" fmla="*/ 2983135 w 2983134"/>
                <a:gd name="connsiteY7" fmla="*/ 3891153 h 4435412"/>
                <a:gd name="connsiteX8" fmla="*/ 2953036 w 2983134"/>
                <a:gd name="connsiteY8" fmla="*/ 3954875 h 4435412"/>
                <a:gd name="connsiteX9" fmla="*/ 2896172 w 2983134"/>
                <a:gd name="connsiteY9" fmla="*/ 4004120 h 4435412"/>
                <a:gd name="connsiteX10" fmla="*/ 2761679 w 2983134"/>
                <a:gd name="connsiteY10" fmla="*/ 4120515 h 4435412"/>
                <a:gd name="connsiteX11" fmla="*/ 2603468 w 2983134"/>
                <a:gd name="connsiteY11" fmla="*/ 4257390 h 4435412"/>
                <a:gd name="connsiteX12" fmla="*/ 2448306 w 2983134"/>
                <a:gd name="connsiteY12" fmla="*/ 4394168 h 4435412"/>
                <a:gd name="connsiteX13" fmla="*/ 2392109 w 2983134"/>
                <a:gd name="connsiteY13" fmla="*/ 4432078 h 4435412"/>
                <a:gd name="connsiteX14" fmla="*/ 2293430 w 2983134"/>
                <a:gd name="connsiteY14" fmla="*/ 4353211 h 4435412"/>
                <a:gd name="connsiteX15" fmla="*/ 2293430 w 2983134"/>
                <a:gd name="connsiteY15" fmla="*/ 4282916 h 4435412"/>
                <a:gd name="connsiteX16" fmla="*/ 2229803 w 2983134"/>
                <a:gd name="connsiteY16" fmla="*/ 4219194 h 4435412"/>
                <a:gd name="connsiteX17" fmla="*/ 190881 w 2983134"/>
                <a:gd name="connsiteY17" fmla="*/ 4219194 h 4435412"/>
                <a:gd name="connsiteX18" fmla="*/ 0 w 2983134"/>
                <a:gd name="connsiteY18" fmla="*/ 4028408 h 4435412"/>
                <a:gd name="connsiteX19" fmla="*/ 0 w 2983134"/>
                <a:gd name="connsiteY19" fmla="*/ 190786 h 4435412"/>
                <a:gd name="connsiteX20" fmla="*/ 190881 w 2983134"/>
                <a:gd name="connsiteY20" fmla="*/ 0 h 4435412"/>
                <a:gd name="connsiteX21" fmla="*/ 2480977 w 2983134"/>
                <a:gd name="connsiteY21" fmla="*/ 0 h 4435412"/>
                <a:gd name="connsiteX22" fmla="*/ 2671763 w 2983134"/>
                <a:gd name="connsiteY22" fmla="*/ 190786 h 4435412"/>
                <a:gd name="connsiteX23" fmla="*/ 2671763 w 2983134"/>
                <a:gd name="connsiteY23" fmla="*/ 3355181 h 44354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983134" h="4435412">
                  <a:moveTo>
                    <a:pt x="2042351" y="3623310"/>
                  </a:moveTo>
                  <a:lnTo>
                    <a:pt x="2226469" y="3623310"/>
                  </a:lnTo>
                  <a:cubicBezTo>
                    <a:pt x="2259997" y="3623310"/>
                    <a:pt x="2290096" y="3596449"/>
                    <a:pt x="2290096" y="3559588"/>
                  </a:cubicBezTo>
                  <a:lnTo>
                    <a:pt x="2290096" y="3439001"/>
                  </a:lnTo>
                  <a:cubicBezTo>
                    <a:pt x="2290096" y="3405473"/>
                    <a:pt x="2310098" y="3375279"/>
                    <a:pt x="2340197" y="3361944"/>
                  </a:cubicBezTo>
                  <a:cubicBezTo>
                    <a:pt x="2370487" y="3348609"/>
                    <a:pt x="2407158" y="3351848"/>
                    <a:pt x="2430685" y="3375279"/>
                  </a:cubicBezTo>
                  <a:lnTo>
                    <a:pt x="2953036" y="3827431"/>
                  </a:lnTo>
                  <a:cubicBezTo>
                    <a:pt x="2973038" y="3844290"/>
                    <a:pt x="2983135" y="3867722"/>
                    <a:pt x="2983135" y="3891153"/>
                  </a:cubicBezTo>
                  <a:cubicBezTo>
                    <a:pt x="2983135" y="3914585"/>
                    <a:pt x="2973038" y="3938016"/>
                    <a:pt x="2953036" y="3954875"/>
                  </a:cubicBezTo>
                  <a:cubicBezTo>
                    <a:pt x="2934081" y="3971258"/>
                    <a:pt x="2915126" y="3987641"/>
                    <a:pt x="2896172" y="4004120"/>
                  </a:cubicBezTo>
                  <a:cubicBezTo>
                    <a:pt x="2851309" y="4042886"/>
                    <a:pt x="2806446" y="4081748"/>
                    <a:pt x="2761679" y="4120515"/>
                  </a:cubicBezTo>
                  <a:cubicBezTo>
                    <a:pt x="2708910" y="4166140"/>
                    <a:pt x="2656237" y="4211765"/>
                    <a:pt x="2603468" y="4257390"/>
                  </a:cubicBezTo>
                  <a:cubicBezTo>
                    <a:pt x="2551271" y="4302538"/>
                    <a:pt x="2497931" y="4346353"/>
                    <a:pt x="2448306" y="4394168"/>
                  </a:cubicBezTo>
                  <a:cubicBezTo>
                    <a:pt x="2431923" y="4409980"/>
                    <a:pt x="2413826" y="4425125"/>
                    <a:pt x="2392109" y="4432078"/>
                  </a:cubicBezTo>
                  <a:cubicBezTo>
                    <a:pt x="2341912" y="4448175"/>
                    <a:pt x="2293430" y="4403408"/>
                    <a:pt x="2293430" y="4353211"/>
                  </a:cubicBezTo>
                  <a:lnTo>
                    <a:pt x="2293430" y="4282916"/>
                  </a:lnTo>
                  <a:cubicBezTo>
                    <a:pt x="2293430" y="4249389"/>
                    <a:pt x="2266664" y="4219194"/>
                    <a:pt x="2229803" y="4219194"/>
                  </a:cubicBezTo>
                  <a:lnTo>
                    <a:pt x="190881" y="4219194"/>
                  </a:lnTo>
                  <a:cubicBezTo>
                    <a:pt x="83725" y="4219194"/>
                    <a:pt x="0" y="4132326"/>
                    <a:pt x="0" y="4028408"/>
                  </a:cubicBezTo>
                  <a:lnTo>
                    <a:pt x="0" y="190786"/>
                  </a:lnTo>
                  <a:cubicBezTo>
                    <a:pt x="0" y="83820"/>
                    <a:pt x="86963" y="0"/>
                    <a:pt x="190881" y="0"/>
                  </a:cubicBezTo>
                  <a:lnTo>
                    <a:pt x="2480977" y="0"/>
                  </a:lnTo>
                  <a:cubicBezTo>
                    <a:pt x="2588038" y="0"/>
                    <a:pt x="2671763" y="87059"/>
                    <a:pt x="2671763" y="190786"/>
                  </a:cubicBezTo>
                  <a:lnTo>
                    <a:pt x="2671763" y="3355181"/>
                  </a:lnTo>
                </a:path>
              </a:pathLst>
            </a:custGeom>
            <a:noFill/>
            <a:ln w="12700" cap="flat">
              <a:solidFill>
                <a:schemeClr val="accent2"/>
              </a:solidFill>
              <a:prstDash val="solid"/>
              <a:miter/>
            </a:ln>
          </p:spPr>
          <p:txBody>
            <a:bodyPr rtlCol="0" anchor="ctr"/>
            <a:lstStyle/>
            <a:p>
              <a:endParaRPr lang="en-IN"/>
            </a:p>
          </p:txBody>
        </p:sp>
        <p:sp>
          <p:nvSpPr>
            <p:cNvPr id="12" name="Freeform: Shape 11">
              <a:extLst>
                <a:ext uri="{FF2B5EF4-FFF2-40B4-BE49-F238E27FC236}">
                  <a16:creationId xmlns:a16="http://schemas.microsoft.com/office/drawing/2014/main" id="{0676A837-3B6B-43A3-9330-7356574E8C7F}"/>
                </a:ext>
              </a:extLst>
            </p:cNvPr>
            <p:cNvSpPr/>
            <p:nvPr/>
          </p:nvSpPr>
          <p:spPr>
            <a:xfrm>
              <a:off x="498475" y="1700213"/>
              <a:ext cx="9525" cy="9525"/>
            </a:xfrm>
            <a:custGeom>
              <a:avLst/>
              <a:gdLst/>
              <a:ahLst/>
              <a:cxnLst/>
              <a:rect l="l" t="t" r="r" b="b"/>
              <a:pathLst>
                <a:path w="9525" h="9525"/>
              </a:pathLst>
            </a:custGeom>
            <a:noFill/>
            <a:ln w="12700" cap="flat">
              <a:solidFill>
                <a:schemeClr val="accent2"/>
              </a:solidFill>
              <a:prstDash val="solid"/>
              <a:miter/>
            </a:ln>
          </p:spPr>
          <p:txBody>
            <a:bodyPr rtlCol="0" anchor="ctr"/>
            <a:lstStyle/>
            <a:p>
              <a:endParaRPr lang="en-IN"/>
            </a:p>
          </p:txBody>
        </p:sp>
      </p:grpSp>
      <p:sp>
        <p:nvSpPr>
          <p:cNvPr id="50" name="TextBox 49">
            <a:extLst>
              <a:ext uri="{FF2B5EF4-FFF2-40B4-BE49-F238E27FC236}">
                <a16:creationId xmlns:a16="http://schemas.microsoft.com/office/drawing/2014/main" id="{3F16F4E7-99FD-4A80-9FDF-D2C8D9CC94A0}"/>
              </a:ext>
            </a:extLst>
          </p:cNvPr>
          <p:cNvSpPr txBox="1">
            <a:spLocks/>
          </p:cNvSpPr>
          <p:nvPr/>
        </p:nvSpPr>
        <p:spPr>
          <a:xfrm>
            <a:off x="3501210" y="3329140"/>
            <a:ext cx="2064626" cy="1994520"/>
          </a:xfrm>
          <a:prstGeom prst="rect">
            <a:avLst/>
          </a:prstGeom>
          <a:noFill/>
        </p:spPr>
        <p:txBody>
          <a:bodyPr wrap="square" lIns="0" rIns="0" rtlCol="0" anchor="t">
            <a:spAutoFit/>
          </a:bodyPr>
          <a:lstStyle/>
          <a:p>
            <a:r>
              <a:rPr lang="en-US" sz="1200" noProof="1">
                <a:latin typeface="+mj-lt"/>
              </a:rPr>
              <a:t>We will bring our </a:t>
            </a:r>
            <a:r>
              <a:rPr lang="en-US" sz="1200" b="1" noProof="1">
                <a:latin typeface="+mj-lt"/>
              </a:rPr>
              <a:t>expertise on claims creation and testing</a:t>
            </a:r>
            <a:r>
              <a:rPr lang="en-US" sz="1200" noProof="1">
                <a:latin typeface="+mj-lt"/>
              </a:rPr>
              <a:t>. We will share our best practices and guide participants to ensure the golden rules are applied (refining phase). </a:t>
            </a:r>
          </a:p>
        </p:txBody>
      </p:sp>
      <p:sp>
        <p:nvSpPr>
          <p:cNvPr id="51" name="Rectangle 50">
            <a:extLst>
              <a:ext uri="{FF2B5EF4-FFF2-40B4-BE49-F238E27FC236}">
                <a16:creationId xmlns:a16="http://schemas.microsoft.com/office/drawing/2014/main" id="{AE310273-FBDA-4839-83DD-6EBDAE6283A3}"/>
              </a:ext>
            </a:extLst>
          </p:cNvPr>
          <p:cNvSpPr>
            <a:spLocks/>
          </p:cNvSpPr>
          <p:nvPr/>
        </p:nvSpPr>
        <p:spPr>
          <a:xfrm>
            <a:off x="3499586" y="2775152"/>
            <a:ext cx="2109946" cy="55270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noAutofit/>
          </a:bodyPr>
          <a:lstStyle/>
          <a:p>
            <a:pPr>
              <a:lnSpc>
                <a:spcPct val="110000"/>
              </a:lnSpc>
              <a:defRPr/>
            </a:pPr>
            <a:r>
              <a:rPr lang="en-US" b="1" noProof="1">
                <a:solidFill>
                  <a:srgbClr val="1C6D7D"/>
                </a:solidFill>
                <a:latin typeface="Rawline"/>
              </a:rPr>
              <a:t>Claims Expert</a:t>
            </a:r>
          </a:p>
        </p:txBody>
      </p:sp>
      <p:grpSp>
        <p:nvGrpSpPr>
          <p:cNvPr id="53" name="Graphic 8">
            <a:extLst>
              <a:ext uri="{FF2B5EF4-FFF2-40B4-BE49-F238E27FC236}">
                <a16:creationId xmlns:a16="http://schemas.microsoft.com/office/drawing/2014/main" id="{F0EC99B3-7396-49C4-BB08-FBEED5A44638}"/>
              </a:ext>
            </a:extLst>
          </p:cNvPr>
          <p:cNvGrpSpPr/>
          <p:nvPr/>
        </p:nvGrpSpPr>
        <p:grpSpPr>
          <a:xfrm flipV="1">
            <a:off x="3346938" y="1719870"/>
            <a:ext cx="2706178" cy="4021525"/>
            <a:chOff x="498475" y="1700213"/>
            <a:chExt cx="2987897" cy="4440174"/>
          </a:xfrm>
          <a:noFill/>
        </p:grpSpPr>
        <p:sp>
          <p:nvSpPr>
            <p:cNvPr id="54" name="Freeform: Shape 53">
              <a:extLst>
                <a:ext uri="{FF2B5EF4-FFF2-40B4-BE49-F238E27FC236}">
                  <a16:creationId xmlns:a16="http://schemas.microsoft.com/office/drawing/2014/main" id="{85283A11-8E92-4221-8F85-A1D6C3580884}"/>
                </a:ext>
              </a:extLst>
            </p:cNvPr>
            <p:cNvSpPr/>
            <p:nvPr/>
          </p:nvSpPr>
          <p:spPr>
            <a:xfrm>
              <a:off x="503237" y="1704975"/>
              <a:ext cx="2983134" cy="4435412"/>
            </a:xfrm>
            <a:custGeom>
              <a:avLst/>
              <a:gdLst>
                <a:gd name="connsiteX0" fmla="*/ 2042351 w 2983134"/>
                <a:gd name="connsiteY0" fmla="*/ 3623310 h 4435412"/>
                <a:gd name="connsiteX1" fmla="*/ 2226469 w 2983134"/>
                <a:gd name="connsiteY1" fmla="*/ 3623310 h 4435412"/>
                <a:gd name="connsiteX2" fmla="*/ 2290096 w 2983134"/>
                <a:gd name="connsiteY2" fmla="*/ 3559588 h 4435412"/>
                <a:gd name="connsiteX3" fmla="*/ 2290096 w 2983134"/>
                <a:gd name="connsiteY3" fmla="*/ 3439001 h 4435412"/>
                <a:gd name="connsiteX4" fmla="*/ 2340197 w 2983134"/>
                <a:gd name="connsiteY4" fmla="*/ 3361944 h 4435412"/>
                <a:gd name="connsiteX5" fmla="*/ 2430685 w 2983134"/>
                <a:gd name="connsiteY5" fmla="*/ 3375279 h 4435412"/>
                <a:gd name="connsiteX6" fmla="*/ 2953036 w 2983134"/>
                <a:gd name="connsiteY6" fmla="*/ 3827431 h 4435412"/>
                <a:gd name="connsiteX7" fmla="*/ 2983135 w 2983134"/>
                <a:gd name="connsiteY7" fmla="*/ 3891153 h 4435412"/>
                <a:gd name="connsiteX8" fmla="*/ 2953036 w 2983134"/>
                <a:gd name="connsiteY8" fmla="*/ 3954875 h 4435412"/>
                <a:gd name="connsiteX9" fmla="*/ 2896172 w 2983134"/>
                <a:gd name="connsiteY9" fmla="*/ 4004120 h 4435412"/>
                <a:gd name="connsiteX10" fmla="*/ 2761679 w 2983134"/>
                <a:gd name="connsiteY10" fmla="*/ 4120515 h 4435412"/>
                <a:gd name="connsiteX11" fmla="*/ 2603468 w 2983134"/>
                <a:gd name="connsiteY11" fmla="*/ 4257390 h 4435412"/>
                <a:gd name="connsiteX12" fmla="*/ 2448306 w 2983134"/>
                <a:gd name="connsiteY12" fmla="*/ 4394168 h 4435412"/>
                <a:gd name="connsiteX13" fmla="*/ 2392109 w 2983134"/>
                <a:gd name="connsiteY13" fmla="*/ 4432078 h 4435412"/>
                <a:gd name="connsiteX14" fmla="*/ 2293430 w 2983134"/>
                <a:gd name="connsiteY14" fmla="*/ 4353211 h 4435412"/>
                <a:gd name="connsiteX15" fmla="*/ 2293430 w 2983134"/>
                <a:gd name="connsiteY15" fmla="*/ 4282916 h 4435412"/>
                <a:gd name="connsiteX16" fmla="*/ 2229803 w 2983134"/>
                <a:gd name="connsiteY16" fmla="*/ 4219194 h 4435412"/>
                <a:gd name="connsiteX17" fmla="*/ 190881 w 2983134"/>
                <a:gd name="connsiteY17" fmla="*/ 4219194 h 4435412"/>
                <a:gd name="connsiteX18" fmla="*/ 0 w 2983134"/>
                <a:gd name="connsiteY18" fmla="*/ 4028408 h 4435412"/>
                <a:gd name="connsiteX19" fmla="*/ 0 w 2983134"/>
                <a:gd name="connsiteY19" fmla="*/ 190786 h 4435412"/>
                <a:gd name="connsiteX20" fmla="*/ 190881 w 2983134"/>
                <a:gd name="connsiteY20" fmla="*/ 0 h 4435412"/>
                <a:gd name="connsiteX21" fmla="*/ 2480977 w 2983134"/>
                <a:gd name="connsiteY21" fmla="*/ 0 h 4435412"/>
                <a:gd name="connsiteX22" fmla="*/ 2671763 w 2983134"/>
                <a:gd name="connsiteY22" fmla="*/ 190786 h 4435412"/>
                <a:gd name="connsiteX23" fmla="*/ 2671763 w 2983134"/>
                <a:gd name="connsiteY23" fmla="*/ 3355181 h 44354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983134" h="4435412">
                  <a:moveTo>
                    <a:pt x="2042351" y="3623310"/>
                  </a:moveTo>
                  <a:lnTo>
                    <a:pt x="2226469" y="3623310"/>
                  </a:lnTo>
                  <a:cubicBezTo>
                    <a:pt x="2259997" y="3623310"/>
                    <a:pt x="2290096" y="3596449"/>
                    <a:pt x="2290096" y="3559588"/>
                  </a:cubicBezTo>
                  <a:lnTo>
                    <a:pt x="2290096" y="3439001"/>
                  </a:lnTo>
                  <a:cubicBezTo>
                    <a:pt x="2290096" y="3405473"/>
                    <a:pt x="2310098" y="3375279"/>
                    <a:pt x="2340197" y="3361944"/>
                  </a:cubicBezTo>
                  <a:cubicBezTo>
                    <a:pt x="2370487" y="3348609"/>
                    <a:pt x="2407158" y="3351848"/>
                    <a:pt x="2430685" y="3375279"/>
                  </a:cubicBezTo>
                  <a:lnTo>
                    <a:pt x="2953036" y="3827431"/>
                  </a:lnTo>
                  <a:cubicBezTo>
                    <a:pt x="2973038" y="3844290"/>
                    <a:pt x="2983135" y="3867722"/>
                    <a:pt x="2983135" y="3891153"/>
                  </a:cubicBezTo>
                  <a:cubicBezTo>
                    <a:pt x="2983135" y="3914585"/>
                    <a:pt x="2973038" y="3938016"/>
                    <a:pt x="2953036" y="3954875"/>
                  </a:cubicBezTo>
                  <a:cubicBezTo>
                    <a:pt x="2934081" y="3971258"/>
                    <a:pt x="2915126" y="3987641"/>
                    <a:pt x="2896172" y="4004120"/>
                  </a:cubicBezTo>
                  <a:cubicBezTo>
                    <a:pt x="2851309" y="4042886"/>
                    <a:pt x="2806446" y="4081748"/>
                    <a:pt x="2761679" y="4120515"/>
                  </a:cubicBezTo>
                  <a:cubicBezTo>
                    <a:pt x="2708910" y="4166140"/>
                    <a:pt x="2656237" y="4211765"/>
                    <a:pt x="2603468" y="4257390"/>
                  </a:cubicBezTo>
                  <a:cubicBezTo>
                    <a:pt x="2551271" y="4302538"/>
                    <a:pt x="2497931" y="4346353"/>
                    <a:pt x="2448306" y="4394168"/>
                  </a:cubicBezTo>
                  <a:cubicBezTo>
                    <a:pt x="2431923" y="4409980"/>
                    <a:pt x="2413826" y="4425125"/>
                    <a:pt x="2392109" y="4432078"/>
                  </a:cubicBezTo>
                  <a:cubicBezTo>
                    <a:pt x="2341912" y="4448175"/>
                    <a:pt x="2293430" y="4403408"/>
                    <a:pt x="2293430" y="4353211"/>
                  </a:cubicBezTo>
                  <a:lnTo>
                    <a:pt x="2293430" y="4282916"/>
                  </a:lnTo>
                  <a:cubicBezTo>
                    <a:pt x="2293430" y="4249389"/>
                    <a:pt x="2266664" y="4219194"/>
                    <a:pt x="2229803" y="4219194"/>
                  </a:cubicBezTo>
                  <a:lnTo>
                    <a:pt x="190881" y="4219194"/>
                  </a:lnTo>
                  <a:cubicBezTo>
                    <a:pt x="83725" y="4219194"/>
                    <a:pt x="0" y="4132326"/>
                    <a:pt x="0" y="4028408"/>
                  </a:cubicBezTo>
                  <a:lnTo>
                    <a:pt x="0" y="190786"/>
                  </a:lnTo>
                  <a:cubicBezTo>
                    <a:pt x="0" y="83820"/>
                    <a:pt x="86963" y="0"/>
                    <a:pt x="190881" y="0"/>
                  </a:cubicBezTo>
                  <a:lnTo>
                    <a:pt x="2480977" y="0"/>
                  </a:lnTo>
                  <a:cubicBezTo>
                    <a:pt x="2588038" y="0"/>
                    <a:pt x="2671763" y="87059"/>
                    <a:pt x="2671763" y="190786"/>
                  </a:cubicBezTo>
                  <a:lnTo>
                    <a:pt x="2671763" y="3355181"/>
                  </a:lnTo>
                </a:path>
              </a:pathLst>
            </a:custGeom>
            <a:noFill/>
            <a:ln w="12700" cap="flat">
              <a:solidFill>
                <a:schemeClr val="accent2"/>
              </a:solidFill>
              <a:prstDash val="solid"/>
              <a:miter/>
            </a:ln>
          </p:spPr>
          <p:txBody>
            <a:bodyPr rtlCol="0" anchor="ctr"/>
            <a:lstStyle/>
            <a:p>
              <a:endParaRPr lang="en-IN"/>
            </a:p>
          </p:txBody>
        </p:sp>
        <p:sp>
          <p:nvSpPr>
            <p:cNvPr id="55" name="Freeform: Shape 54">
              <a:extLst>
                <a:ext uri="{FF2B5EF4-FFF2-40B4-BE49-F238E27FC236}">
                  <a16:creationId xmlns:a16="http://schemas.microsoft.com/office/drawing/2014/main" id="{8E285C93-BFD3-446A-B926-F386A8A423D1}"/>
                </a:ext>
              </a:extLst>
            </p:cNvPr>
            <p:cNvSpPr/>
            <p:nvPr/>
          </p:nvSpPr>
          <p:spPr>
            <a:xfrm>
              <a:off x="498475" y="1700213"/>
              <a:ext cx="9525" cy="9525"/>
            </a:xfrm>
            <a:custGeom>
              <a:avLst/>
              <a:gdLst/>
              <a:ahLst/>
              <a:cxnLst/>
              <a:rect l="l" t="t" r="r" b="b"/>
              <a:pathLst>
                <a:path w="9525" h="9525"/>
              </a:pathLst>
            </a:custGeom>
            <a:noFill/>
            <a:ln w="12700" cap="flat">
              <a:solidFill>
                <a:schemeClr val="accent2"/>
              </a:solidFill>
              <a:prstDash val="solid"/>
              <a:miter/>
            </a:ln>
          </p:spPr>
          <p:txBody>
            <a:bodyPr rtlCol="0" anchor="ctr"/>
            <a:lstStyle/>
            <a:p>
              <a:endParaRPr lang="en-IN"/>
            </a:p>
          </p:txBody>
        </p:sp>
      </p:grpSp>
      <p:sp>
        <p:nvSpPr>
          <p:cNvPr id="64" name="TextBox 63">
            <a:extLst>
              <a:ext uri="{FF2B5EF4-FFF2-40B4-BE49-F238E27FC236}">
                <a16:creationId xmlns:a16="http://schemas.microsoft.com/office/drawing/2014/main" id="{F7E11292-4F17-4E3B-989C-2ECBD898B248}"/>
              </a:ext>
            </a:extLst>
          </p:cNvPr>
          <p:cNvSpPr txBox="1">
            <a:spLocks/>
          </p:cNvSpPr>
          <p:nvPr/>
        </p:nvSpPr>
        <p:spPr>
          <a:xfrm>
            <a:off x="9320054" y="3329140"/>
            <a:ext cx="2064626" cy="1441228"/>
          </a:xfrm>
          <a:prstGeom prst="rect">
            <a:avLst/>
          </a:prstGeom>
          <a:noFill/>
        </p:spPr>
        <p:txBody>
          <a:bodyPr wrap="square" lIns="0" rIns="0" rtlCol="0" anchor="t">
            <a:spAutoFit/>
          </a:bodyPr>
          <a:lstStyle/>
          <a:p>
            <a:r>
              <a:rPr lang="en-US" sz="1200" noProof="1">
                <a:latin typeface="+mj-lt"/>
              </a:rPr>
              <a:t>Since everyone’s time is valuable, we will make sure to respect the planned time per phase to </a:t>
            </a:r>
            <a:r>
              <a:rPr lang="en-US" sz="1200" b="1" noProof="1">
                <a:latin typeface="+mj-lt"/>
              </a:rPr>
              <a:t>make the most out of the workshop </a:t>
            </a:r>
            <a:endParaRPr lang="en-US" sz="1200" noProof="1">
              <a:latin typeface="+mj-lt"/>
            </a:endParaRPr>
          </a:p>
        </p:txBody>
      </p:sp>
      <p:sp>
        <p:nvSpPr>
          <p:cNvPr id="65" name="Rectangle 64">
            <a:extLst>
              <a:ext uri="{FF2B5EF4-FFF2-40B4-BE49-F238E27FC236}">
                <a16:creationId xmlns:a16="http://schemas.microsoft.com/office/drawing/2014/main" id="{A832B25A-97A8-44F2-B747-52B7DD42A536}"/>
              </a:ext>
            </a:extLst>
          </p:cNvPr>
          <p:cNvSpPr>
            <a:spLocks/>
          </p:cNvSpPr>
          <p:nvPr/>
        </p:nvSpPr>
        <p:spPr>
          <a:xfrm>
            <a:off x="9318430" y="2775152"/>
            <a:ext cx="2109946" cy="55270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noAutofit/>
          </a:bodyPr>
          <a:lstStyle/>
          <a:p>
            <a:pPr>
              <a:lnSpc>
                <a:spcPct val="110000"/>
              </a:lnSpc>
              <a:defRPr/>
            </a:pPr>
            <a:r>
              <a:rPr lang="en-US" b="1" noProof="1">
                <a:solidFill>
                  <a:srgbClr val="1C6D7D"/>
                </a:solidFill>
                <a:latin typeface="Rawline"/>
              </a:rPr>
              <a:t>Timekeeper</a:t>
            </a:r>
          </a:p>
        </p:txBody>
      </p:sp>
      <p:grpSp>
        <p:nvGrpSpPr>
          <p:cNvPr id="67" name="Graphic 8">
            <a:extLst>
              <a:ext uri="{FF2B5EF4-FFF2-40B4-BE49-F238E27FC236}">
                <a16:creationId xmlns:a16="http://schemas.microsoft.com/office/drawing/2014/main" id="{7C2AD57D-07E9-4506-9580-A70201A1DF4F}"/>
              </a:ext>
            </a:extLst>
          </p:cNvPr>
          <p:cNvGrpSpPr/>
          <p:nvPr/>
        </p:nvGrpSpPr>
        <p:grpSpPr>
          <a:xfrm flipV="1">
            <a:off x="9165782" y="1719870"/>
            <a:ext cx="2706178" cy="4021525"/>
            <a:chOff x="498475" y="1700213"/>
            <a:chExt cx="2987897" cy="4440174"/>
          </a:xfrm>
          <a:noFill/>
        </p:grpSpPr>
        <p:sp>
          <p:nvSpPr>
            <p:cNvPr id="68" name="Freeform: Shape 67">
              <a:extLst>
                <a:ext uri="{FF2B5EF4-FFF2-40B4-BE49-F238E27FC236}">
                  <a16:creationId xmlns:a16="http://schemas.microsoft.com/office/drawing/2014/main" id="{95485E1A-54AB-4EFC-BC2E-79EC71557C75}"/>
                </a:ext>
              </a:extLst>
            </p:cNvPr>
            <p:cNvSpPr/>
            <p:nvPr/>
          </p:nvSpPr>
          <p:spPr>
            <a:xfrm>
              <a:off x="503237" y="1704975"/>
              <a:ext cx="2983134" cy="4435412"/>
            </a:xfrm>
            <a:custGeom>
              <a:avLst/>
              <a:gdLst>
                <a:gd name="connsiteX0" fmla="*/ 2042351 w 2983134"/>
                <a:gd name="connsiteY0" fmla="*/ 3623310 h 4435412"/>
                <a:gd name="connsiteX1" fmla="*/ 2226469 w 2983134"/>
                <a:gd name="connsiteY1" fmla="*/ 3623310 h 4435412"/>
                <a:gd name="connsiteX2" fmla="*/ 2290096 w 2983134"/>
                <a:gd name="connsiteY2" fmla="*/ 3559588 h 4435412"/>
                <a:gd name="connsiteX3" fmla="*/ 2290096 w 2983134"/>
                <a:gd name="connsiteY3" fmla="*/ 3439001 h 4435412"/>
                <a:gd name="connsiteX4" fmla="*/ 2340197 w 2983134"/>
                <a:gd name="connsiteY4" fmla="*/ 3361944 h 4435412"/>
                <a:gd name="connsiteX5" fmla="*/ 2430685 w 2983134"/>
                <a:gd name="connsiteY5" fmla="*/ 3375279 h 4435412"/>
                <a:gd name="connsiteX6" fmla="*/ 2953036 w 2983134"/>
                <a:gd name="connsiteY6" fmla="*/ 3827431 h 4435412"/>
                <a:gd name="connsiteX7" fmla="*/ 2983135 w 2983134"/>
                <a:gd name="connsiteY7" fmla="*/ 3891153 h 4435412"/>
                <a:gd name="connsiteX8" fmla="*/ 2953036 w 2983134"/>
                <a:gd name="connsiteY8" fmla="*/ 3954875 h 4435412"/>
                <a:gd name="connsiteX9" fmla="*/ 2896172 w 2983134"/>
                <a:gd name="connsiteY9" fmla="*/ 4004120 h 4435412"/>
                <a:gd name="connsiteX10" fmla="*/ 2761679 w 2983134"/>
                <a:gd name="connsiteY10" fmla="*/ 4120515 h 4435412"/>
                <a:gd name="connsiteX11" fmla="*/ 2603468 w 2983134"/>
                <a:gd name="connsiteY11" fmla="*/ 4257390 h 4435412"/>
                <a:gd name="connsiteX12" fmla="*/ 2448306 w 2983134"/>
                <a:gd name="connsiteY12" fmla="*/ 4394168 h 4435412"/>
                <a:gd name="connsiteX13" fmla="*/ 2392109 w 2983134"/>
                <a:gd name="connsiteY13" fmla="*/ 4432078 h 4435412"/>
                <a:gd name="connsiteX14" fmla="*/ 2293430 w 2983134"/>
                <a:gd name="connsiteY14" fmla="*/ 4353211 h 4435412"/>
                <a:gd name="connsiteX15" fmla="*/ 2293430 w 2983134"/>
                <a:gd name="connsiteY15" fmla="*/ 4282916 h 4435412"/>
                <a:gd name="connsiteX16" fmla="*/ 2229803 w 2983134"/>
                <a:gd name="connsiteY16" fmla="*/ 4219194 h 4435412"/>
                <a:gd name="connsiteX17" fmla="*/ 190881 w 2983134"/>
                <a:gd name="connsiteY17" fmla="*/ 4219194 h 4435412"/>
                <a:gd name="connsiteX18" fmla="*/ 0 w 2983134"/>
                <a:gd name="connsiteY18" fmla="*/ 4028408 h 4435412"/>
                <a:gd name="connsiteX19" fmla="*/ 0 w 2983134"/>
                <a:gd name="connsiteY19" fmla="*/ 190786 h 4435412"/>
                <a:gd name="connsiteX20" fmla="*/ 190881 w 2983134"/>
                <a:gd name="connsiteY20" fmla="*/ 0 h 4435412"/>
                <a:gd name="connsiteX21" fmla="*/ 2480977 w 2983134"/>
                <a:gd name="connsiteY21" fmla="*/ 0 h 4435412"/>
                <a:gd name="connsiteX22" fmla="*/ 2671763 w 2983134"/>
                <a:gd name="connsiteY22" fmla="*/ 190786 h 4435412"/>
                <a:gd name="connsiteX23" fmla="*/ 2671763 w 2983134"/>
                <a:gd name="connsiteY23" fmla="*/ 3355181 h 44354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983134" h="4435412">
                  <a:moveTo>
                    <a:pt x="2042351" y="3623310"/>
                  </a:moveTo>
                  <a:lnTo>
                    <a:pt x="2226469" y="3623310"/>
                  </a:lnTo>
                  <a:cubicBezTo>
                    <a:pt x="2259997" y="3623310"/>
                    <a:pt x="2290096" y="3596449"/>
                    <a:pt x="2290096" y="3559588"/>
                  </a:cubicBezTo>
                  <a:lnTo>
                    <a:pt x="2290096" y="3439001"/>
                  </a:lnTo>
                  <a:cubicBezTo>
                    <a:pt x="2290096" y="3405473"/>
                    <a:pt x="2310098" y="3375279"/>
                    <a:pt x="2340197" y="3361944"/>
                  </a:cubicBezTo>
                  <a:cubicBezTo>
                    <a:pt x="2370487" y="3348609"/>
                    <a:pt x="2407158" y="3351848"/>
                    <a:pt x="2430685" y="3375279"/>
                  </a:cubicBezTo>
                  <a:lnTo>
                    <a:pt x="2953036" y="3827431"/>
                  </a:lnTo>
                  <a:cubicBezTo>
                    <a:pt x="2973038" y="3844290"/>
                    <a:pt x="2983135" y="3867722"/>
                    <a:pt x="2983135" y="3891153"/>
                  </a:cubicBezTo>
                  <a:cubicBezTo>
                    <a:pt x="2983135" y="3914585"/>
                    <a:pt x="2973038" y="3938016"/>
                    <a:pt x="2953036" y="3954875"/>
                  </a:cubicBezTo>
                  <a:cubicBezTo>
                    <a:pt x="2934081" y="3971258"/>
                    <a:pt x="2915126" y="3987641"/>
                    <a:pt x="2896172" y="4004120"/>
                  </a:cubicBezTo>
                  <a:cubicBezTo>
                    <a:pt x="2851309" y="4042886"/>
                    <a:pt x="2806446" y="4081748"/>
                    <a:pt x="2761679" y="4120515"/>
                  </a:cubicBezTo>
                  <a:cubicBezTo>
                    <a:pt x="2708910" y="4166140"/>
                    <a:pt x="2656237" y="4211765"/>
                    <a:pt x="2603468" y="4257390"/>
                  </a:cubicBezTo>
                  <a:cubicBezTo>
                    <a:pt x="2551271" y="4302538"/>
                    <a:pt x="2497931" y="4346353"/>
                    <a:pt x="2448306" y="4394168"/>
                  </a:cubicBezTo>
                  <a:cubicBezTo>
                    <a:pt x="2431923" y="4409980"/>
                    <a:pt x="2413826" y="4425125"/>
                    <a:pt x="2392109" y="4432078"/>
                  </a:cubicBezTo>
                  <a:cubicBezTo>
                    <a:pt x="2341912" y="4448175"/>
                    <a:pt x="2293430" y="4403408"/>
                    <a:pt x="2293430" y="4353211"/>
                  </a:cubicBezTo>
                  <a:lnTo>
                    <a:pt x="2293430" y="4282916"/>
                  </a:lnTo>
                  <a:cubicBezTo>
                    <a:pt x="2293430" y="4249389"/>
                    <a:pt x="2266664" y="4219194"/>
                    <a:pt x="2229803" y="4219194"/>
                  </a:cubicBezTo>
                  <a:lnTo>
                    <a:pt x="190881" y="4219194"/>
                  </a:lnTo>
                  <a:cubicBezTo>
                    <a:pt x="83725" y="4219194"/>
                    <a:pt x="0" y="4132326"/>
                    <a:pt x="0" y="4028408"/>
                  </a:cubicBezTo>
                  <a:lnTo>
                    <a:pt x="0" y="190786"/>
                  </a:lnTo>
                  <a:cubicBezTo>
                    <a:pt x="0" y="83820"/>
                    <a:pt x="86963" y="0"/>
                    <a:pt x="190881" y="0"/>
                  </a:cubicBezTo>
                  <a:lnTo>
                    <a:pt x="2480977" y="0"/>
                  </a:lnTo>
                  <a:cubicBezTo>
                    <a:pt x="2588038" y="0"/>
                    <a:pt x="2671763" y="87059"/>
                    <a:pt x="2671763" y="190786"/>
                  </a:cubicBezTo>
                  <a:lnTo>
                    <a:pt x="2671763" y="3355181"/>
                  </a:lnTo>
                </a:path>
              </a:pathLst>
            </a:custGeom>
            <a:noFill/>
            <a:ln w="12700" cap="flat">
              <a:solidFill>
                <a:schemeClr val="accent2"/>
              </a:solidFill>
              <a:prstDash val="solid"/>
              <a:miter/>
            </a:ln>
          </p:spPr>
          <p:txBody>
            <a:bodyPr rtlCol="0" anchor="ctr"/>
            <a:lstStyle/>
            <a:p>
              <a:endParaRPr lang="en-IN"/>
            </a:p>
          </p:txBody>
        </p:sp>
        <p:sp>
          <p:nvSpPr>
            <p:cNvPr id="69" name="Freeform: Shape 68">
              <a:extLst>
                <a:ext uri="{FF2B5EF4-FFF2-40B4-BE49-F238E27FC236}">
                  <a16:creationId xmlns:a16="http://schemas.microsoft.com/office/drawing/2014/main" id="{22B9D618-E0C4-472B-BB45-0A9D950AD2E0}"/>
                </a:ext>
              </a:extLst>
            </p:cNvPr>
            <p:cNvSpPr/>
            <p:nvPr/>
          </p:nvSpPr>
          <p:spPr>
            <a:xfrm>
              <a:off x="498475" y="1700213"/>
              <a:ext cx="9525" cy="9525"/>
            </a:xfrm>
            <a:custGeom>
              <a:avLst/>
              <a:gdLst/>
              <a:ahLst/>
              <a:cxnLst/>
              <a:rect l="l" t="t" r="r" b="b"/>
              <a:pathLst>
                <a:path w="9525" h="9525"/>
              </a:pathLst>
            </a:custGeom>
            <a:noFill/>
            <a:ln w="12700" cap="flat">
              <a:solidFill>
                <a:schemeClr val="accent2"/>
              </a:solidFill>
              <a:prstDash val="solid"/>
              <a:miter/>
            </a:ln>
          </p:spPr>
          <p:txBody>
            <a:bodyPr rtlCol="0" anchor="ctr"/>
            <a:lstStyle/>
            <a:p>
              <a:endParaRPr lang="en-IN"/>
            </a:p>
          </p:txBody>
        </p:sp>
      </p:grpSp>
      <p:pic>
        <p:nvPicPr>
          <p:cNvPr id="6" name="Graphic 5" descr="Person with idea with solid fill">
            <a:extLst>
              <a:ext uri="{FF2B5EF4-FFF2-40B4-BE49-F238E27FC236}">
                <a16:creationId xmlns:a16="http://schemas.microsoft.com/office/drawing/2014/main" id="{6E8BF9BC-5C7E-112E-9B39-1CAED814F8B4}"/>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3504886" y="2197708"/>
            <a:ext cx="677466" cy="677466"/>
          </a:xfrm>
          <a:prstGeom prst="rect">
            <a:avLst/>
          </a:prstGeom>
        </p:spPr>
      </p:pic>
      <p:pic>
        <p:nvPicPr>
          <p:cNvPr id="8" name="Graphic 7" descr="Target Audience with solid fill">
            <a:extLst>
              <a:ext uri="{FF2B5EF4-FFF2-40B4-BE49-F238E27FC236}">
                <a16:creationId xmlns:a16="http://schemas.microsoft.com/office/drawing/2014/main" id="{C180D8BB-097C-6C4F-ED2E-CD204D9304F4}"/>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6409008" y="2197708"/>
            <a:ext cx="677466" cy="677466"/>
          </a:xfrm>
          <a:prstGeom prst="rect">
            <a:avLst/>
          </a:prstGeom>
        </p:spPr>
      </p:pic>
      <p:pic>
        <p:nvPicPr>
          <p:cNvPr id="14" name="Graphic 13" descr="Stopwatch 66% with solid fill">
            <a:extLst>
              <a:ext uri="{FF2B5EF4-FFF2-40B4-BE49-F238E27FC236}">
                <a16:creationId xmlns:a16="http://schemas.microsoft.com/office/drawing/2014/main" id="{FB9A4702-99A8-7900-298F-F91D3C0B3068}"/>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9314117" y="2197709"/>
            <a:ext cx="677465" cy="677465"/>
          </a:xfrm>
          <a:prstGeom prst="rect">
            <a:avLst/>
          </a:prstGeom>
        </p:spPr>
      </p:pic>
      <p:sp>
        <p:nvSpPr>
          <p:cNvPr id="32" name="TextBox 31">
            <a:extLst>
              <a:ext uri="{FF2B5EF4-FFF2-40B4-BE49-F238E27FC236}">
                <a16:creationId xmlns:a16="http://schemas.microsoft.com/office/drawing/2014/main" id="{33D8657E-DD97-4030-997E-3F2BA2379D9C}"/>
              </a:ext>
            </a:extLst>
          </p:cNvPr>
          <p:cNvSpPr txBox="1">
            <a:spLocks/>
          </p:cNvSpPr>
          <p:nvPr/>
        </p:nvSpPr>
        <p:spPr>
          <a:xfrm>
            <a:off x="651124" y="3329140"/>
            <a:ext cx="1939676" cy="2272225"/>
          </a:xfrm>
          <a:prstGeom prst="rect">
            <a:avLst/>
          </a:prstGeom>
          <a:noFill/>
        </p:spPr>
        <p:txBody>
          <a:bodyPr wrap="square" lIns="0" rIns="0" rtlCol="0" anchor="t">
            <a:spAutoFit/>
          </a:bodyPr>
          <a:lstStyle/>
          <a:p>
            <a:r>
              <a:rPr lang="en-US" sz="1200" noProof="1">
                <a:latin typeface="+mj-lt"/>
              </a:rPr>
              <a:t>SKIM will moderate the whole workshop. This means that we will be </a:t>
            </a:r>
            <a:r>
              <a:rPr lang="en-US" sz="1200" b="1" noProof="1">
                <a:latin typeface="+mj-lt"/>
              </a:rPr>
              <a:t>facilitating</a:t>
            </a:r>
            <a:r>
              <a:rPr lang="en-US" sz="1200" noProof="1">
                <a:latin typeface="+mj-lt"/>
              </a:rPr>
              <a:t> </a:t>
            </a:r>
            <a:r>
              <a:rPr lang="en-US" sz="1200" b="1" noProof="1">
                <a:latin typeface="+mj-lt"/>
              </a:rPr>
              <a:t>and leading </a:t>
            </a:r>
            <a:r>
              <a:rPr lang="en-US" sz="1200" noProof="1">
                <a:latin typeface="+mj-lt"/>
              </a:rPr>
              <a:t>the steps and discussions. We ensure that everyone remains engaged, and the output is </a:t>
            </a:r>
            <a:r>
              <a:rPr lang="en-US" sz="1200" b="1" noProof="1">
                <a:latin typeface="+mj-lt"/>
              </a:rPr>
              <a:t>actionable</a:t>
            </a:r>
            <a:r>
              <a:rPr lang="en-US" sz="1200" noProof="1">
                <a:latin typeface="+mj-lt"/>
              </a:rPr>
              <a:t>. </a:t>
            </a:r>
          </a:p>
        </p:txBody>
      </p:sp>
    </p:spTree>
    <p:extLst>
      <p:ext uri="{BB962C8B-B14F-4D97-AF65-F5344CB8AC3E}">
        <p14:creationId xmlns:p14="http://schemas.microsoft.com/office/powerpoint/2010/main" val="57101286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8" name="Picture Placeholder 27">
            <a:extLst>
              <a:ext uri="{FF2B5EF4-FFF2-40B4-BE49-F238E27FC236}">
                <a16:creationId xmlns:a16="http://schemas.microsoft.com/office/drawing/2014/main" id="{8726B742-7638-05AD-3473-566D773F5FC3}"/>
              </a:ext>
            </a:extLst>
          </p:cNvPr>
          <p:cNvPicPr>
            <a:picLocks noGrp="1" noChangeAspect="1"/>
          </p:cNvPicPr>
          <p:nvPr>
            <p:ph type="pic" sz="quarter" idx="22"/>
          </p:nvPr>
        </p:nvPicPr>
        <p:blipFill rotWithShape="1">
          <a:blip r:embed="rId2">
            <a:extLst>
              <a:ext uri="{28A0092B-C50C-407E-A947-70E740481C1C}">
                <a14:useLocalDpi xmlns:a14="http://schemas.microsoft.com/office/drawing/2010/main" val="0"/>
              </a:ext>
            </a:extLst>
          </a:blip>
          <a:srcRect l="652" r="65996"/>
          <a:stretch/>
        </p:blipFill>
        <p:spPr>
          <a:xfrm>
            <a:off x="8127600" y="0"/>
            <a:ext cx="4064400" cy="6858000"/>
          </a:xfrm>
        </p:spPr>
      </p:pic>
      <p:sp>
        <p:nvSpPr>
          <p:cNvPr id="30" name="doOverlay">
            <a:extLst>
              <a:ext uri="{FF2B5EF4-FFF2-40B4-BE49-F238E27FC236}">
                <a16:creationId xmlns:a16="http://schemas.microsoft.com/office/drawing/2014/main" id="{9FA038F1-6FC0-77FB-8451-207E856B44C1}"/>
              </a:ext>
            </a:extLst>
          </p:cNvPr>
          <p:cNvSpPr/>
          <p:nvPr/>
        </p:nvSpPr>
        <p:spPr>
          <a:xfrm>
            <a:off x="8128000" y="0"/>
            <a:ext cx="4064000" cy="6858000"/>
          </a:xfrm>
          <a:prstGeom prst="rect">
            <a:avLst/>
          </a:prstGeom>
          <a:solidFill>
            <a:schemeClr val="accent1">
              <a:alpha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72000" rIns="108000" bIns="108000" rtlCol="0" anchor="t" anchorCtr="0">
            <a:noAutofit/>
          </a:bodyPr>
          <a:lstStyle/>
          <a:p>
            <a:pPr indent="0" algn="l">
              <a:lnSpc>
                <a:spcPct val="120000"/>
              </a:lnSpc>
            </a:pPr>
            <a:endParaRPr lang="en-US" sz="1400" err="1">
              <a:solidFill>
                <a:schemeClr val="bg2"/>
              </a:solidFill>
            </a:endParaRPr>
          </a:p>
        </p:txBody>
      </p:sp>
      <p:sp>
        <p:nvSpPr>
          <p:cNvPr id="2" name="Title 1">
            <a:extLst>
              <a:ext uri="{FF2B5EF4-FFF2-40B4-BE49-F238E27FC236}">
                <a16:creationId xmlns:a16="http://schemas.microsoft.com/office/drawing/2014/main" id="{9104DBEF-E7AD-29F3-A495-BFCB3BAFDEDF}"/>
              </a:ext>
            </a:extLst>
          </p:cNvPr>
          <p:cNvSpPr>
            <a:spLocks noGrp="1"/>
          </p:cNvSpPr>
          <p:nvPr>
            <p:ph type="title"/>
          </p:nvPr>
        </p:nvSpPr>
        <p:spPr/>
        <p:txBody>
          <a:bodyPr/>
          <a:lstStyle/>
          <a:p>
            <a:r>
              <a:rPr lang="en-US"/>
              <a:t>Input / output of the workshop</a:t>
            </a:r>
          </a:p>
        </p:txBody>
      </p:sp>
      <p:sp>
        <p:nvSpPr>
          <p:cNvPr id="33" name="Rectangle 32">
            <a:extLst>
              <a:ext uri="{FF2B5EF4-FFF2-40B4-BE49-F238E27FC236}">
                <a16:creationId xmlns:a16="http://schemas.microsoft.com/office/drawing/2014/main" id="{AA220D1A-3EC7-1C7F-F029-7717BCAD5A85}"/>
              </a:ext>
            </a:extLst>
          </p:cNvPr>
          <p:cNvSpPr/>
          <p:nvPr/>
        </p:nvSpPr>
        <p:spPr>
          <a:xfrm>
            <a:off x="0" y="3781327"/>
            <a:ext cx="8127600" cy="75708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54000" bIns="54000" rtlCol="0" anchor="t" anchorCtr="0">
            <a:noAutofit/>
          </a:bodyPr>
          <a:lstStyle/>
          <a:p>
            <a:pPr algn="l">
              <a:lnSpc>
                <a:spcPct val="110000"/>
              </a:lnSpc>
            </a:pPr>
            <a:endParaRPr lang="en-SG" sz="1400">
              <a:solidFill>
                <a:schemeClr val="tx1"/>
              </a:solidFill>
            </a:endParaRPr>
          </a:p>
        </p:txBody>
      </p:sp>
      <p:cxnSp>
        <p:nvCxnSpPr>
          <p:cNvPr id="34" name="Straight Arrow Connector 33">
            <a:extLst>
              <a:ext uri="{FF2B5EF4-FFF2-40B4-BE49-F238E27FC236}">
                <a16:creationId xmlns:a16="http://schemas.microsoft.com/office/drawing/2014/main" id="{A6BD77BB-1352-9D6E-83D4-A4657642103E}"/>
              </a:ext>
            </a:extLst>
          </p:cNvPr>
          <p:cNvCxnSpPr>
            <a:cxnSpLocks/>
            <a:stCxn id="33" idx="1"/>
          </p:cNvCxnSpPr>
          <p:nvPr/>
        </p:nvCxnSpPr>
        <p:spPr>
          <a:xfrm>
            <a:off x="0" y="4159869"/>
            <a:ext cx="8127600" cy="0"/>
          </a:xfrm>
          <a:prstGeom prst="straightConnector1">
            <a:avLst/>
          </a:prstGeom>
          <a:ln w="31750">
            <a:solidFill>
              <a:schemeClr val="bg1">
                <a:lumMod val="75000"/>
              </a:schemeClr>
            </a:solidFill>
            <a:tailEnd type="triangle" w="lg" len="lg"/>
          </a:ln>
        </p:spPr>
        <p:style>
          <a:lnRef idx="1">
            <a:schemeClr val="accent1"/>
          </a:lnRef>
          <a:fillRef idx="0">
            <a:schemeClr val="accent1"/>
          </a:fillRef>
          <a:effectRef idx="0">
            <a:schemeClr val="accent1"/>
          </a:effectRef>
          <a:fontRef idx="minor">
            <a:schemeClr val="tx1"/>
          </a:fontRef>
        </p:style>
      </p:cxnSp>
      <p:sp>
        <p:nvSpPr>
          <p:cNvPr id="35" name="Oval 34">
            <a:extLst>
              <a:ext uri="{FF2B5EF4-FFF2-40B4-BE49-F238E27FC236}">
                <a16:creationId xmlns:a16="http://schemas.microsoft.com/office/drawing/2014/main" id="{7731DB21-68DB-F551-2FA6-47D9FC2F5475}"/>
              </a:ext>
            </a:extLst>
          </p:cNvPr>
          <p:cNvSpPr/>
          <p:nvPr/>
        </p:nvSpPr>
        <p:spPr>
          <a:xfrm>
            <a:off x="685601" y="4025167"/>
            <a:ext cx="252000" cy="252000"/>
          </a:xfrm>
          <a:prstGeom prst="ellipse">
            <a:avLst/>
          </a:prstGeom>
          <a:solidFill>
            <a:schemeClr val="bg2"/>
          </a:solidFill>
          <a:ln w="3810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tIns="54000" bIns="54000" rtlCol="0" anchor="t" anchorCtr="0">
            <a:noAutofit/>
          </a:bodyPr>
          <a:lstStyle/>
          <a:p>
            <a:pPr algn="l">
              <a:lnSpc>
                <a:spcPct val="110000"/>
              </a:lnSpc>
            </a:pPr>
            <a:endParaRPr lang="en-SG" sz="1400">
              <a:solidFill>
                <a:schemeClr val="tx1"/>
              </a:solidFill>
            </a:endParaRPr>
          </a:p>
        </p:txBody>
      </p:sp>
      <p:sp>
        <p:nvSpPr>
          <p:cNvPr id="36" name="Oval 35">
            <a:extLst>
              <a:ext uri="{FF2B5EF4-FFF2-40B4-BE49-F238E27FC236}">
                <a16:creationId xmlns:a16="http://schemas.microsoft.com/office/drawing/2014/main" id="{1E0C52FE-E270-1618-2F93-087F314118E5}"/>
              </a:ext>
            </a:extLst>
          </p:cNvPr>
          <p:cNvSpPr/>
          <p:nvPr/>
        </p:nvSpPr>
        <p:spPr>
          <a:xfrm>
            <a:off x="2261286" y="4025167"/>
            <a:ext cx="252000" cy="252000"/>
          </a:xfrm>
          <a:prstGeom prst="ellipse">
            <a:avLst/>
          </a:prstGeom>
          <a:solidFill>
            <a:schemeClr val="accent2"/>
          </a:solidFill>
          <a:ln w="3810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tIns="54000" bIns="54000" rtlCol="0" anchor="t" anchorCtr="0">
            <a:noAutofit/>
          </a:bodyPr>
          <a:lstStyle/>
          <a:p>
            <a:pPr algn="l">
              <a:lnSpc>
                <a:spcPct val="110000"/>
              </a:lnSpc>
            </a:pPr>
            <a:endParaRPr lang="en-SG" sz="1400">
              <a:solidFill>
                <a:schemeClr val="tx1"/>
              </a:solidFill>
            </a:endParaRPr>
          </a:p>
        </p:txBody>
      </p:sp>
      <p:sp>
        <p:nvSpPr>
          <p:cNvPr id="37" name="Oval 36">
            <a:extLst>
              <a:ext uri="{FF2B5EF4-FFF2-40B4-BE49-F238E27FC236}">
                <a16:creationId xmlns:a16="http://schemas.microsoft.com/office/drawing/2014/main" id="{9E068B7A-B0D6-8EFD-5CEB-602562B83345}"/>
              </a:ext>
            </a:extLst>
          </p:cNvPr>
          <p:cNvSpPr/>
          <p:nvPr/>
        </p:nvSpPr>
        <p:spPr>
          <a:xfrm>
            <a:off x="3836971" y="4025167"/>
            <a:ext cx="252000" cy="252000"/>
          </a:xfrm>
          <a:prstGeom prst="ellipse">
            <a:avLst/>
          </a:prstGeom>
          <a:solidFill>
            <a:schemeClr val="accent3"/>
          </a:solidFill>
          <a:ln w="3810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tIns="54000" bIns="54000" rtlCol="0" anchor="t" anchorCtr="0">
            <a:noAutofit/>
          </a:bodyPr>
          <a:lstStyle/>
          <a:p>
            <a:pPr algn="l">
              <a:lnSpc>
                <a:spcPct val="110000"/>
              </a:lnSpc>
            </a:pPr>
            <a:endParaRPr lang="en-SG" sz="1400">
              <a:solidFill>
                <a:schemeClr val="tx1"/>
              </a:solidFill>
            </a:endParaRPr>
          </a:p>
        </p:txBody>
      </p:sp>
      <p:sp>
        <p:nvSpPr>
          <p:cNvPr id="38" name="Oval 37">
            <a:extLst>
              <a:ext uri="{FF2B5EF4-FFF2-40B4-BE49-F238E27FC236}">
                <a16:creationId xmlns:a16="http://schemas.microsoft.com/office/drawing/2014/main" id="{E669E596-DEC8-F52E-8903-35F33053FCA9}"/>
              </a:ext>
            </a:extLst>
          </p:cNvPr>
          <p:cNvSpPr/>
          <p:nvPr/>
        </p:nvSpPr>
        <p:spPr>
          <a:xfrm>
            <a:off x="5412655" y="4025167"/>
            <a:ext cx="252000" cy="252000"/>
          </a:xfrm>
          <a:prstGeom prst="ellipse">
            <a:avLst/>
          </a:prstGeom>
          <a:solidFill>
            <a:schemeClr val="accent4"/>
          </a:solidFill>
          <a:ln w="3810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tIns="54000" bIns="54000" rtlCol="0" anchor="t" anchorCtr="0">
            <a:noAutofit/>
          </a:bodyPr>
          <a:lstStyle/>
          <a:p>
            <a:pPr algn="l">
              <a:lnSpc>
                <a:spcPct val="110000"/>
              </a:lnSpc>
            </a:pPr>
            <a:endParaRPr lang="en-SG" sz="1400">
              <a:solidFill>
                <a:schemeClr val="tx1"/>
              </a:solidFill>
            </a:endParaRPr>
          </a:p>
        </p:txBody>
      </p:sp>
      <p:sp>
        <p:nvSpPr>
          <p:cNvPr id="39" name="Oval 38">
            <a:extLst>
              <a:ext uri="{FF2B5EF4-FFF2-40B4-BE49-F238E27FC236}">
                <a16:creationId xmlns:a16="http://schemas.microsoft.com/office/drawing/2014/main" id="{96389A23-9438-5650-DB97-F36ACAB49B0C}"/>
              </a:ext>
            </a:extLst>
          </p:cNvPr>
          <p:cNvSpPr/>
          <p:nvPr/>
        </p:nvSpPr>
        <p:spPr>
          <a:xfrm>
            <a:off x="6988339" y="4025167"/>
            <a:ext cx="252000" cy="252000"/>
          </a:xfrm>
          <a:prstGeom prst="ellipse">
            <a:avLst/>
          </a:prstGeom>
          <a:solidFill>
            <a:schemeClr val="accent5"/>
          </a:solidFill>
          <a:ln w="3810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tIns="54000" bIns="54000" rtlCol="0" anchor="t" anchorCtr="0">
            <a:noAutofit/>
          </a:bodyPr>
          <a:lstStyle/>
          <a:p>
            <a:pPr algn="l">
              <a:lnSpc>
                <a:spcPct val="110000"/>
              </a:lnSpc>
            </a:pPr>
            <a:endParaRPr lang="en-SG" sz="1400">
              <a:solidFill>
                <a:schemeClr val="tx1"/>
              </a:solidFill>
            </a:endParaRPr>
          </a:p>
        </p:txBody>
      </p:sp>
      <p:sp>
        <p:nvSpPr>
          <p:cNvPr id="41" name="Arrow: Right 40">
            <a:extLst>
              <a:ext uri="{FF2B5EF4-FFF2-40B4-BE49-F238E27FC236}">
                <a16:creationId xmlns:a16="http://schemas.microsoft.com/office/drawing/2014/main" id="{DF0F8C91-5D5B-A6A3-8391-3780B2CD8F19}"/>
              </a:ext>
            </a:extLst>
          </p:cNvPr>
          <p:cNvSpPr/>
          <p:nvPr/>
        </p:nvSpPr>
        <p:spPr>
          <a:xfrm>
            <a:off x="504000" y="1674359"/>
            <a:ext cx="2009286" cy="972000"/>
          </a:xfrm>
          <a:prstGeom prst="rightArrow">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72000" rIns="108000" bIns="108000" rtlCol="0" anchor="ctr" anchorCtr="0">
            <a:noAutofit/>
          </a:bodyPr>
          <a:lstStyle/>
          <a:p>
            <a:pPr indent="0" algn="ctr">
              <a:lnSpc>
                <a:spcPct val="120000"/>
              </a:lnSpc>
            </a:pPr>
            <a:r>
              <a:rPr lang="en-US" sz="2400">
                <a:solidFill>
                  <a:schemeClr val="bg2"/>
                </a:solidFill>
              </a:rPr>
              <a:t>Input</a:t>
            </a:r>
          </a:p>
        </p:txBody>
      </p:sp>
      <p:sp>
        <p:nvSpPr>
          <p:cNvPr id="3" name="Arrow: Right 2">
            <a:extLst>
              <a:ext uri="{FF2B5EF4-FFF2-40B4-BE49-F238E27FC236}">
                <a16:creationId xmlns:a16="http://schemas.microsoft.com/office/drawing/2014/main" id="{F83DC57C-726A-229F-AF68-05431BECED54}"/>
              </a:ext>
            </a:extLst>
          </p:cNvPr>
          <p:cNvSpPr/>
          <p:nvPr/>
        </p:nvSpPr>
        <p:spPr>
          <a:xfrm>
            <a:off x="504000" y="5060857"/>
            <a:ext cx="2009286" cy="972000"/>
          </a:xfrm>
          <a:prstGeom prst="rightArrow">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72000" rIns="108000" bIns="108000" rtlCol="0" anchor="ctr" anchorCtr="0">
            <a:noAutofit/>
          </a:bodyPr>
          <a:lstStyle/>
          <a:p>
            <a:pPr indent="0" algn="ctr">
              <a:lnSpc>
                <a:spcPct val="120000"/>
              </a:lnSpc>
            </a:pPr>
            <a:r>
              <a:rPr lang="en-US" sz="2400">
                <a:solidFill>
                  <a:schemeClr val="bg2"/>
                </a:solidFill>
              </a:rPr>
              <a:t>Output</a:t>
            </a:r>
          </a:p>
        </p:txBody>
      </p:sp>
      <p:sp>
        <p:nvSpPr>
          <p:cNvPr id="4" name="TextBox 3">
            <a:extLst>
              <a:ext uri="{FF2B5EF4-FFF2-40B4-BE49-F238E27FC236}">
                <a16:creationId xmlns:a16="http://schemas.microsoft.com/office/drawing/2014/main" id="{CF6F92D3-2D93-5994-C28F-55789E4FEC73}"/>
              </a:ext>
            </a:extLst>
          </p:cNvPr>
          <p:cNvSpPr txBox="1"/>
          <p:nvPr/>
        </p:nvSpPr>
        <p:spPr>
          <a:xfrm>
            <a:off x="2809538" y="5340113"/>
            <a:ext cx="4430801" cy="413488"/>
          </a:xfrm>
          <a:prstGeom prst="rect">
            <a:avLst/>
          </a:prstGeom>
          <a:noFill/>
        </p:spPr>
        <p:txBody>
          <a:bodyPr wrap="none" lIns="108000" tIns="72000" rIns="108000" bIns="108000" rtlCol="0">
            <a:spAutoFit/>
          </a:bodyPr>
          <a:lstStyle/>
          <a:p>
            <a:pPr marL="285750" indent="-285750" algn="l">
              <a:lnSpc>
                <a:spcPct val="120000"/>
              </a:lnSpc>
              <a:spcAft>
                <a:spcPts val="1000"/>
              </a:spcAft>
              <a:buFont typeface="Arial" panose="020B0604020202020204" pitchFamily="34" charset="0"/>
              <a:buChar char="•"/>
            </a:pPr>
            <a:r>
              <a:rPr lang="en-US" sz="1400">
                <a:solidFill>
                  <a:schemeClr val="accent1"/>
                </a:solidFill>
              </a:rPr>
              <a:t>List of claims ready for copy writing and testing</a:t>
            </a:r>
          </a:p>
        </p:txBody>
      </p:sp>
      <p:sp>
        <p:nvSpPr>
          <p:cNvPr id="5" name="TextBox 4">
            <a:extLst>
              <a:ext uri="{FF2B5EF4-FFF2-40B4-BE49-F238E27FC236}">
                <a16:creationId xmlns:a16="http://schemas.microsoft.com/office/drawing/2014/main" id="{1502F233-3F44-D329-B24F-F29C7184B2E2}"/>
              </a:ext>
            </a:extLst>
          </p:cNvPr>
          <p:cNvSpPr txBox="1"/>
          <p:nvPr/>
        </p:nvSpPr>
        <p:spPr>
          <a:xfrm>
            <a:off x="2809538" y="1488872"/>
            <a:ext cx="4902795" cy="1342973"/>
          </a:xfrm>
          <a:prstGeom prst="rect">
            <a:avLst/>
          </a:prstGeom>
          <a:noFill/>
        </p:spPr>
        <p:txBody>
          <a:bodyPr wrap="square" lIns="108000" tIns="72000" rIns="108000" bIns="108000" rtlCol="0">
            <a:spAutoFit/>
          </a:bodyPr>
          <a:lstStyle/>
          <a:p>
            <a:pPr marL="285750" indent="-285750">
              <a:lnSpc>
                <a:spcPct val="120000"/>
              </a:lnSpc>
              <a:spcAft>
                <a:spcPts val="600"/>
              </a:spcAft>
              <a:buFont typeface="Arial" panose="020B0604020202020204" pitchFamily="34" charset="0"/>
              <a:buChar char="•"/>
            </a:pPr>
            <a:r>
              <a:rPr lang="en-US" sz="1400">
                <a:solidFill>
                  <a:schemeClr val="accent1"/>
                </a:solidFill>
              </a:rPr>
              <a:t>Objectives of the session/brand</a:t>
            </a:r>
          </a:p>
          <a:p>
            <a:pPr marL="285750" indent="-285750">
              <a:lnSpc>
                <a:spcPct val="120000"/>
              </a:lnSpc>
              <a:spcAft>
                <a:spcPts val="600"/>
              </a:spcAft>
              <a:buFont typeface="Arial" panose="020B0604020202020204" pitchFamily="34" charset="0"/>
              <a:buChar char="•"/>
            </a:pPr>
            <a:r>
              <a:rPr lang="en-US" sz="1400">
                <a:solidFill>
                  <a:schemeClr val="accent1"/>
                </a:solidFill>
              </a:rPr>
              <a:t>Open mindset of the participants</a:t>
            </a:r>
          </a:p>
          <a:p>
            <a:pPr marL="285750" indent="-285750">
              <a:lnSpc>
                <a:spcPct val="120000"/>
              </a:lnSpc>
              <a:spcAft>
                <a:spcPts val="600"/>
              </a:spcAft>
              <a:buFont typeface="Arial" panose="020B0604020202020204" pitchFamily="34" charset="0"/>
              <a:buChar char="•"/>
            </a:pPr>
            <a:r>
              <a:rPr lang="en-US" sz="1400">
                <a:solidFill>
                  <a:schemeClr val="accent1"/>
                </a:solidFill>
              </a:rPr>
              <a:t>(Optional) Brand/background information as pre-read (to be provided by Danone)</a:t>
            </a:r>
          </a:p>
        </p:txBody>
      </p:sp>
    </p:spTree>
    <p:extLst>
      <p:ext uri="{BB962C8B-B14F-4D97-AF65-F5344CB8AC3E}">
        <p14:creationId xmlns:p14="http://schemas.microsoft.com/office/powerpoint/2010/main" val="42238564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Placeholder 7">
            <a:extLst>
              <a:ext uri="{FF2B5EF4-FFF2-40B4-BE49-F238E27FC236}">
                <a16:creationId xmlns:a16="http://schemas.microsoft.com/office/drawing/2014/main" id="{3694ECD8-7F0E-4438-8524-59131EF51DCF}"/>
              </a:ext>
            </a:extLst>
          </p:cNvPr>
          <p:cNvPicPr>
            <a:picLocks noGrp="1" noChangeAspect="1"/>
          </p:cNvPicPr>
          <p:nvPr>
            <p:ph type="pic" sz="quarter" idx="13"/>
          </p:nvPr>
        </p:nvPicPr>
        <p:blipFill>
          <a:blip r:embed="rId2">
            <a:extLst>
              <a:ext uri="{28A0092B-C50C-407E-A947-70E740481C1C}">
                <a14:useLocalDpi xmlns:a14="http://schemas.microsoft.com/office/drawing/2010/main" val="0"/>
              </a:ext>
            </a:extLst>
          </a:blip>
          <a:srcRect t="7" b="7"/>
          <a:stretch>
            <a:fillRect/>
          </a:stretch>
        </p:blipFill>
        <p:spPr/>
      </p:pic>
      <p:sp>
        <p:nvSpPr>
          <p:cNvPr id="11" name="doOverlay">
            <a:extLst>
              <a:ext uri="{FF2B5EF4-FFF2-40B4-BE49-F238E27FC236}">
                <a16:creationId xmlns:a16="http://schemas.microsoft.com/office/drawing/2014/main" id="{5F50AAB9-526D-417D-A483-3DB895E3F74F}"/>
              </a:ext>
            </a:extLst>
          </p:cNvPr>
          <p:cNvSpPr/>
          <p:nvPr/>
        </p:nvSpPr>
        <p:spPr>
          <a:xfrm>
            <a:off x="-1588" y="0"/>
            <a:ext cx="12192000" cy="6858000"/>
          </a:xfrm>
          <a:prstGeom prst="rect">
            <a:avLst/>
          </a:prstGeom>
          <a:solidFill>
            <a:schemeClr val="accent1">
              <a:alpha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54000" bIns="54000" rtlCol="0" anchor="t" anchorCtr="0">
            <a:noAutofit/>
          </a:bodyPr>
          <a:lstStyle/>
          <a:p>
            <a:pPr algn="l">
              <a:lnSpc>
                <a:spcPct val="110000"/>
              </a:lnSpc>
            </a:pPr>
            <a:endParaRPr lang="en-US" sz="1400">
              <a:solidFill>
                <a:schemeClr val="tx1"/>
              </a:solidFill>
            </a:endParaRPr>
          </a:p>
        </p:txBody>
      </p:sp>
      <p:sp>
        <p:nvSpPr>
          <p:cNvPr id="4" name="Title 3">
            <a:extLst>
              <a:ext uri="{FF2B5EF4-FFF2-40B4-BE49-F238E27FC236}">
                <a16:creationId xmlns:a16="http://schemas.microsoft.com/office/drawing/2014/main" id="{825F0A6F-9FCE-4813-A5D2-652158B907C3}"/>
              </a:ext>
            </a:extLst>
          </p:cNvPr>
          <p:cNvSpPr>
            <a:spLocks noGrp="1"/>
          </p:cNvSpPr>
          <p:nvPr>
            <p:ph type="ctrTitle"/>
          </p:nvPr>
        </p:nvSpPr>
        <p:spPr/>
        <p:txBody>
          <a:bodyPr/>
          <a:lstStyle/>
          <a:p>
            <a:r>
              <a:rPr lang="en-US"/>
              <a:t>Phase 2: </a:t>
            </a:r>
            <a:br>
              <a:rPr lang="en-US"/>
            </a:br>
            <a:r>
              <a:rPr lang="en-US"/>
              <a:t>Consumer Screening</a:t>
            </a:r>
          </a:p>
        </p:txBody>
      </p:sp>
      <p:pic>
        <p:nvPicPr>
          <p:cNvPr id="12" name="doLogoWhite">
            <a:extLst>
              <a:ext uri="{FF2B5EF4-FFF2-40B4-BE49-F238E27FC236}">
                <a16:creationId xmlns:a16="http://schemas.microsoft.com/office/drawing/2014/main" id="{5EB8363A-7E68-44C5-8ECD-AF3C7E3E07FE}"/>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559600" y="6364799"/>
            <a:ext cx="386197" cy="266610"/>
          </a:xfrm>
          <a:prstGeom prst="rect">
            <a:avLst/>
          </a:prstGeom>
        </p:spPr>
      </p:pic>
    </p:spTree>
    <p:extLst>
      <p:ext uri="{BB962C8B-B14F-4D97-AF65-F5344CB8AC3E}">
        <p14:creationId xmlns:p14="http://schemas.microsoft.com/office/powerpoint/2010/main" val="242848099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C7556BA4-2A53-E7E7-3DE5-7252AE25C7C1}"/>
              </a:ext>
            </a:extLst>
          </p:cNvPr>
          <p:cNvPicPr>
            <a:picLocks noChangeAspect="1"/>
          </p:cNvPicPr>
          <p:nvPr/>
        </p:nvPicPr>
        <p:blipFill rotWithShape="1">
          <a:blip r:embed="rId2"/>
          <a:srcRect l="16814" r="18163"/>
          <a:stretch/>
        </p:blipFill>
        <p:spPr>
          <a:xfrm>
            <a:off x="9628154" y="995767"/>
            <a:ext cx="1382400" cy="2433233"/>
          </a:xfrm>
          <a:prstGeom prst="rect">
            <a:avLst/>
          </a:prstGeom>
        </p:spPr>
      </p:pic>
      <p:sp>
        <p:nvSpPr>
          <p:cNvPr id="3" name="TextBox 2">
            <a:extLst>
              <a:ext uri="{FF2B5EF4-FFF2-40B4-BE49-F238E27FC236}">
                <a16:creationId xmlns:a16="http://schemas.microsoft.com/office/drawing/2014/main" id="{5F6BB4D5-67CB-8A46-57D7-FE292DEEDBA9}"/>
              </a:ext>
            </a:extLst>
          </p:cNvPr>
          <p:cNvSpPr txBox="1"/>
          <p:nvPr/>
        </p:nvSpPr>
        <p:spPr>
          <a:xfrm rot="1556981">
            <a:off x="9677602" y="2033306"/>
            <a:ext cx="1283407" cy="427979"/>
          </a:xfrm>
          <a:prstGeom prst="rect">
            <a:avLst/>
          </a:prstGeom>
          <a:noFill/>
        </p:spPr>
        <p:txBody>
          <a:bodyPr wrap="square" lIns="108000" tIns="72000" rIns="108000" bIns="108000" rtlCol="0">
            <a:spAutoFit/>
          </a:bodyPr>
          <a:lstStyle/>
          <a:p>
            <a:pPr algn="ctr" defTabSz="914377">
              <a:spcAft>
                <a:spcPts val="1000"/>
              </a:spcAft>
              <a:defRPr/>
            </a:pPr>
            <a:r>
              <a:rPr lang="en-US" sz="800" b="1">
                <a:solidFill>
                  <a:srgbClr val="263133"/>
                </a:solidFill>
                <a:latin typeface="Rawline"/>
                <a:cs typeface="MV Boli" panose="02000500030200090000" pitchFamily="2" charset="0"/>
              </a:rPr>
              <a:t>This is a carbon neutral product</a:t>
            </a:r>
          </a:p>
        </p:txBody>
      </p:sp>
      <p:pic>
        <p:nvPicPr>
          <p:cNvPr id="4" name="Picture 2" descr="Producten | Alpro">
            <a:extLst>
              <a:ext uri="{FF2B5EF4-FFF2-40B4-BE49-F238E27FC236}">
                <a16:creationId xmlns:a16="http://schemas.microsoft.com/office/drawing/2014/main" id="{3BE230C1-12F3-4E4A-804A-7D8B80E55CA8}"/>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rot="1562920">
            <a:off x="10377181" y="1403746"/>
            <a:ext cx="367040" cy="735725"/>
          </a:xfrm>
          <a:prstGeom prst="rect">
            <a:avLst/>
          </a:prstGeom>
          <a:noFill/>
          <a:extLst>
            <a:ext uri="{909E8E84-426E-40DD-AFC4-6F175D3DCCD1}">
              <a14:hiddenFill xmlns:a14="http://schemas.microsoft.com/office/drawing/2010/main">
                <a:solidFill>
                  <a:srgbClr val="FFFFFF"/>
                </a:solidFill>
              </a14:hiddenFill>
            </a:ext>
          </a:extLst>
        </p:spPr>
      </p:pic>
      <p:sp>
        <p:nvSpPr>
          <p:cNvPr id="17" name="Rectangle: Rounded Corners 16">
            <a:extLst>
              <a:ext uri="{FF2B5EF4-FFF2-40B4-BE49-F238E27FC236}">
                <a16:creationId xmlns:a16="http://schemas.microsoft.com/office/drawing/2014/main" id="{131C9514-7872-41AA-8BD5-B7BC478DBBF5}"/>
              </a:ext>
            </a:extLst>
          </p:cNvPr>
          <p:cNvSpPr/>
          <p:nvPr/>
        </p:nvSpPr>
        <p:spPr>
          <a:xfrm rot="20700000">
            <a:off x="9913660" y="1311897"/>
            <a:ext cx="657992" cy="364525"/>
          </a:xfrm>
          <a:prstGeom prst="roundRect">
            <a:avLst>
              <a:gd name="adj" fmla="val 19649"/>
            </a:avLst>
          </a:prstGeom>
          <a:solidFill>
            <a:srgbClr val="8CBEA0">
              <a:alpha val="78000"/>
            </a:srgbClr>
          </a:solidFill>
          <a:ln w="1905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a:ln>
                  <a:noFill/>
                </a:ln>
                <a:solidFill>
                  <a:prstClr val="black">
                    <a:lumMod val="75000"/>
                    <a:lumOff val="25000"/>
                  </a:prstClr>
                </a:solidFill>
                <a:effectLst/>
                <a:uLnTx/>
                <a:uFillTx/>
                <a:latin typeface="Rawline" panose="00000500000000000000" pitchFamily="2" charset="0"/>
                <a:ea typeface="+mn-ea"/>
                <a:cs typeface="MV Boli" panose="02000500030200090000" pitchFamily="2" charset="0"/>
              </a:rPr>
              <a:t>Yes!</a:t>
            </a:r>
          </a:p>
        </p:txBody>
      </p:sp>
      <p:pic>
        <p:nvPicPr>
          <p:cNvPr id="18" name="Picture 17" descr="Shape&#10;&#10;Description automatically generated with medium confidence">
            <a:extLst>
              <a:ext uri="{FF2B5EF4-FFF2-40B4-BE49-F238E27FC236}">
                <a16:creationId xmlns:a16="http://schemas.microsoft.com/office/drawing/2014/main" id="{63BB55E5-F296-48FA-9DFF-F6D50730CBEA}"/>
              </a:ext>
            </a:extLst>
          </p:cNvPr>
          <p:cNvPicPr>
            <a:picLocks noChangeAspect="1"/>
          </p:cNvPicPr>
          <p:nvPr/>
        </p:nvPicPr>
        <p:blipFill>
          <a:blip r:embed="rId4"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9479684" y="316769"/>
            <a:ext cx="1706783" cy="3300050"/>
          </a:xfrm>
          <a:prstGeom prst="rect">
            <a:avLst/>
          </a:prstGeom>
        </p:spPr>
      </p:pic>
      <p:pic>
        <p:nvPicPr>
          <p:cNvPr id="8" name="Picture 7" descr="A picture containing drawing&#10;&#10;Description automatically generated">
            <a:extLst>
              <a:ext uri="{FF2B5EF4-FFF2-40B4-BE49-F238E27FC236}">
                <a16:creationId xmlns:a16="http://schemas.microsoft.com/office/drawing/2014/main" id="{AAB89528-55EE-4EED-8599-DF19C4A08925}"/>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86480" y="490586"/>
            <a:ext cx="3948335" cy="730441"/>
          </a:xfrm>
          <a:prstGeom prst="rect">
            <a:avLst/>
          </a:prstGeom>
        </p:spPr>
      </p:pic>
      <p:sp>
        <p:nvSpPr>
          <p:cNvPr id="9" name="Rectangle 8">
            <a:extLst>
              <a:ext uri="{FF2B5EF4-FFF2-40B4-BE49-F238E27FC236}">
                <a16:creationId xmlns:a16="http://schemas.microsoft.com/office/drawing/2014/main" id="{0D27E1B5-7FF1-418B-8D89-EA06697C41AC}"/>
              </a:ext>
            </a:extLst>
          </p:cNvPr>
          <p:cNvSpPr/>
          <p:nvPr/>
        </p:nvSpPr>
        <p:spPr>
          <a:xfrm>
            <a:off x="0" y="4221480"/>
            <a:ext cx="12192000" cy="2636520"/>
          </a:xfrm>
          <a:prstGeom prst="rect">
            <a:avLst/>
          </a:prstGeom>
          <a:solidFill>
            <a:srgbClr val="E6EFF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72000" rIns="108000" bIns="108000" rtlCol="0" anchor="t" anchorCtr="0">
            <a:no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endParaRPr kumimoji="0" lang="en-SG" sz="1400" b="0" i="0" u="none" strike="noStrike" kern="1200" cap="none" spc="0" normalizeH="0" baseline="0" noProof="0">
              <a:ln>
                <a:noFill/>
              </a:ln>
              <a:solidFill>
                <a:srgbClr val="1C6D7D"/>
              </a:solidFill>
              <a:effectLst/>
              <a:uLnTx/>
              <a:uFillTx/>
              <a:latin typeface="Rawline"/>
              <a:ea typeface="+mn-ea"/>
              <a:cs typeface="+mn-cs"/>
            </a:endParaRPr>
          </a:p>
        </p:txBody>
      </p:sp>
      <p:graphicFrame>
        <p:nvGraphicFramePr>
          <p:cNvPr id="10" name="Table 9">
            <a:extLst>
              <a:ext uri="{FF2B5EF4-FFF2-40B4-BE49-F238E27FC236}">
                <a16:creationId xmlns:a16="http://schemas.microsoft.com/office/drawing/2014/main" id="{BF4FD71D-127F-40C8-8FE7-ADE86F2A587A}"/>
              </a:ext>
            </a:extLst>
          </p:cNvPr>
          <p:cNvGraphicFramePr>
            <a:graphicFrameLocks noGrp="1"/>
          </p:cNvGraphicFramePr>
          <p:nvPr/>
        </p:nvGraphicFramePr>
        <p:xfrm>
          <a:off x="393539" y="4444678"/>
          <a:ext cx="11388276" cy="2030088"/>
        </p:xfrm>
        <a:graphic>
          <a:graphicData uri="http://schemas.openxmlformats.org/drawingml/2006/table">
            <a:tbl>
              <a:tblPr firstRow="1" bandRow="1"/>
              <a:tblGrid>
                <a:gridCol w="2847069">
                  <a:extLst>
                    <a:ext uri="{9D8B030D-6E8A-4147-A177-3AD203B41FA5}">
                      <a16:colId xmlns:a16="http://schemas.microsoft.com/office/drawing/2014/main" val="1565907153"/>
                    </a:ext>
                  </a:extLst>
                </a:gridCol>
                <a:gridCol w="2847069">
                  <a:extLst>
                    <a:ext uri="{9D8B030D-6E8A-4147-A177-3AD203B41FA5}">
                      <a16:colId xmlns:a16="http://schemas.microsoft.com/office/drawing/2014/main" val="3231589611"/>
                    </a:ext>
                  </a:extLst>
                </a:gridCol>
                <a:gridCol w="2847069">
                  <a:extLst>
                    <a:ext uri="{9D8B030D-6E8A-4147-A177-3AD203B41FA5}">
                      <a16:colId xmlns:a16="http://schemas.microsoft.com/office/drawing/2014/main" val="2026943702"/>
                    </a:ext>
                  </a:extLst>
                </a:gridCol>
                <a:gridCol w="2847069">
                  <a:extLst>
                    <a:ext uri="{9D8B030D-6E8A-4147-A177-3AD203B41FA5}">
                      <a16:colId xmlns:a16="http://schemas.microsoft.com/office/drawing/2014/main" val="1591403471"/>
                    </a:ext>
                  </a:extLst>
                </a:gridCol>
              </a:tblGrid>
              <a:tr h="65848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1">
                          <a:solidFill>
                            <a:schemeClr val="accent1"/>
                          </a:solidFill>
                        </a:rPr>
                        <a:t>Interacts with stimuli </a:t>
                      </a:r>
                      <a:br>
                        <a:rPr lang="en-US" sz="1600" b="1">
                          <a:solidFill>
                            <a:schemeClr val="accent1"/>
                          </a:solidFill>
                        </a:rPr>
                      </a:br>
                      <a:r>
                        <a:rPr lang="en-US" sz="1600" b="1">
                          <a:solidFill>
                            <a:schemeClr val="accent1"/>
                          </a:solidFill>
                        </a:rPr>
                        <a:t>in a natural way</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1">
                          <a:solidFill>
                            <a:schemeClr val="accent1"/>
                          </a:solidFill>
                        </a:rPr>
                        <a:t>Measures subconscious processes of the brain</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600" b="1">
                          <a:solidFill>
                            <a:schemeClr val="accent1"/>
                          </a:solidFill>
                        </a:rPr>
                        <a:t>Reduces response biases across global markets</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1">
                          <a:solidFill>
                            <a:schemeClr val="accent1"/>
                          </a:solidFill>
                        </a:rPr>
                        <a:t>Increases consumer engagement</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290072878"/>
                  </a:ext>
                </a:extLst>
              </a:tr>
              <a:tr h="1351634">
                <a:tc>
                  <a:txBody>
                    <a:bodyPr/>
                    <a:lstStyle/>
                    <a:p>
                      <a:r>
                        <a:rPr lang="en-US" sz="1200">
                          <a:solidFill>
                            <a:schemeClr val="bg2"/>
                          </a:solidFill>
                        </a:rPr>
                        <a:t>Swiping, scrolling and tapping on our phones is the new normal. Unspoken replicates this natural behavior and ensures that we measure in the same way as people communicate with the world around them on a daily basis.</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200">
                          <a:solidFill>
                            <a:schemeClr val="bg2"/>
                          </a:solidFill>
                        </a:rPr>
                        <a:t>Traditional methods tend to focus </a:t>
                      </a:r>
                      <a:br>
                        <a:rPr lang="en-US" sz="1200">
                          <a:solidFill>
                            <a:schemeClr val="bg2"/>
                          </a:solidFill>
                        </a:rPr>
                      </a:br>
                      <a:r>
                        <a:rPr lang="en-US" sz="1200">
                          <a:solidFill>
                            <a:schemeClr val="bg2"/>
                          </a:solidFill>
                        </a:rPr>
                        <a:t>on rational processes. By using an intuitive interface, Unspoken finds a better balance between rational and emotional (system 1) drivers. </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200">
                          <a:solidFill>
                            <a:schemeClr val="bg2"/>
                          </a:solidFill>
                        </a:rPr>
                        <a:t>The more rational a method the more prone it is to response biases. Asian and Latin countries can be especially sensitive to this. Unspoken has been proven to reduce response bias and reveal more true preferences. </a:t>
                      </a:r>
                      <a:br>
                        <a:rPr lang="en-US" sz="1200">
                          <a:solidFill>
                            <a:schemeClr val="bg2"/>
                          </a:solidFill>
                        </a:rPr>
                      </a:br>
                      <a:r>
                        <a:rPr lang="en-US" sz="1200">
                          <a:solidFill>
                            <a:schemeClr val="bg2"/>
                          </a:solidFill>
                          <a:hlinkClick r:id="rId6"/>
                        </a:rPr>
                        <a:t>Read more here</a:t>
                      </a:r>
                      <a:endParaRPr lang="en-US" sz="1200">
                        <a:solidFill>
                          <a:schemeClr val="bg2"/>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a:solidFill>
                            <a:schemeClr val="bg2"/>
                          </a:solidFill>
                        </a:rPr>
                        <a:t>The age of instant gratification has reduced attention spans significantly. Unspoken has been shown to generate much higher engagement than traditional surveys and delivers better data quality as a result.  </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055137672"/>
                  </a:ext>
                </a:extLst>
              </a:tr>
            </a:tbl>
          </a:graphicData>
        </a:graphic>
      </p:graphicFrame>
      <p:sp>
        <p:nvSpPr>
          <p:cNvPr id="12" name="TextBox 11">
            <a:extLst>
              <a:ext uri="{FF2B5EF4-FFF2-40B4-BE49-F238E27FC236}">
                <a16:creationId xmlns:a16="http://schemas.microsoft.com/office/drawing/2014/main" id="{39C1F939-9902-46D5-88AF-F4A6CE340694}"/>
              </a:ext>
            </a:extLst>
          </p:cNvPr>
          <p:cNvSpPr txBox="1"/>
          <p:nvPr/>
        </p:nvSpPr>
        <p:spPr>
          <a:xfrm>
            <a:off x="393539" y="1859743"/>
            <a:ext cx="8201821" cy="1011665"/>
          </a:xfrm>
          <a:prstGeom prst="rect">
            <a:avLst/>
          </a:prstGeom>
          <a:noFill/>
        </p:spPr>
        <p:txBody>
          <a:bodyPr wrap="square" lIns="108000" tIns="72000" rIns="108000" bIns="108000" rtlCol="0">
            <a:spAutoFit/>
          </a:bodyPr>
          <a:lstStyle/>
          <a:p>
            <a:pPr marL="0" marR="0" lvl="0" indent="0" algn="l" defTabSz="914400" rtl="0" eaLnBrk="1" fontAlgn="auto" latinLnBrk="0" hangingPunct="1">
              <a:lnSpc>
                <a:spcPct val="120000"/>
              </a:lnSpc>
              <a:spcBef>
                <a:spcPts val="0"/>
              </a:spcBef>
              <a:spcAft>
                <a:spcPts val="1000"/>
              </a:spcAft>
              <a:buClrTx/>
              <a:buSzTx/>
              <a:buFontTx/>
              <a:buNone/>
              <a:tabLst/>
              <a:defRPr/>
            </a:pPr>
            <a:r>
              <a:rPr kumimoji="0" lang="en-US" sz="2000" b="0" i="0" u="none" strike="noStrike" kern="1200" cap="none" spc="0" normalizeH="0" baseline="0" noProof="0">
                <a:ln>
                  <a:noFill/>
                </a:ln>
                <a:solidFill>
                  <a:srgbClr val="1C6D7D"/>
                </a:solidFill>
                <a:effectLst/>
                <a:uLnTx/>
                <a:uFillTx/>
                <a:latin typeface="Rawline"/>
                <a:ea typeface="+mn-ea"/>
                <a:cs typeface="+mn-cs"/>
              </a:rPr>
              <a:t>At the base of our intuitive approach is our Unspoken methodology </a:t>
            </a:r>
            <a:endParaRPr kumimoji="0" lang="en-US" sz="100" b="0" i="0" u="none" strike="noStrike" kern="1200" cap="none" spc="0" normalizeH="0" baseline="0" noProof="0">
              <a:ln>
                <a:noFill/>
              </a:ln>
              <a:solidFill>
                <a:srgbClr val="1C6D7D"/>
              </a:solidFill>
              <a:effectLst/>
              <a:uLnTx/>
              <a:uFillTx/>
              <a:latin typeface="Rawline"/>
              <a:ea typeface="+mn-ea"/>
              <a:cs typeface="+mn-cs"/>
            </a:endParaRPr>
          </a:p>
          <a:p>
            <a:pPr marL="0" marR="0" lvl="0" indent="0" algn="l" defTabSz="914400" rtl="0" eaLnBrk="1" fontAlgn="auto" latinLnBrk="0" hangingPunct="1">
              <a:lnSpc>
                <a:spcPct val="120000"/>
              </a:lnSpc>
              <a:spcBef>
                <a:spcPts val="0"/>
              </a:spcBef>
              <a:spcAft>
                <a:spcPts val="1000"/>
              </a:spcAft>
              <a:buClrTx/>
              <a:buSzTx/>
              <a:buFontTx/>
              <a:buNone/>
              <a:tabLst/>
              <a:defRPr/>
            </a:pPr>
            <a:r>
              <a:rPr kumimoji="0" lang="en-US" sz="2000" b="1" i="0" u="none" strike="noStrike" kern="1200" cap="none" spc="0" normalizeH="0" baseline="0" noProof="0">
                <a:ln>
                  <a:noFill/>
                </a:ln>
                <a:solidFill>
                  <a:srgbClr val="1C6D7D"/>
                </a:solidFill>
                <a:effectLst/>
                <a:uLnTx/>
                <a:uFillTx/>
                <a:latin typeface="Rawline"/>
                <a:ea typeface="+mn-ea"/>
                <a:cs typeface="+mn-cs"/>
              </a:rPr>
              <a:t>Try it for yourself:  </a:t>
            </a:r>
            <a:r>
              <a:rPr kumimoji="0" lang="en-US" sz="2000" b="0" i="0" u="none" strike="noStrike" kern="1200" cap="none" spc="0" normalizeH="0" baseline="0" noProof="0">
                <a:ln>
                  <a:noFill/>
                </a:ln>
                <a:solidFill>
                  <a:srgbClr val="1C6D7D"/>
                </a:solidFill>
                <a:effectLst/>
                <a:uLnTx/>
                <a:uFillTx/>
                <a:latin typeface="Rawline"/>
                <a:ea typeface="+mn-ea"/>
                <a:cs typeface="+mn-cs"/>
                <a:hlinkClick r:id="rId7"/>
              </a:rPr>
              <a:t>link to demo</a:t>
            </a:r>
            <a:endParaRPr kumimoji="0" lang="en-SG" sz="2000" b="0" i="0" u="none" strike="noStrike" kern="1200" cap="none" spc="0" normalizeH="0" baseline="0" noProof="0">
              <a:ln>
                <a:noFill/>
              </a:ln>
              <a:solidFill>
                <a:srgbClr val="1C6D7D"/>
              </a:solidFill>
              <a:effectLst/>
              <a:uLnTx/>
              <a:uFillTx/>
              <a:latin typeface="Rawline"/>
              <a:ea typeface="+mn-ea"/>
              <a:cs typeface="+mn-cs"/>
            </a:endParaRPr>
          </a:p>
        </p:txBody>
      </p:sp>
      <p:sp>
        <p:nvSpPr>
          <p:cNvPr id="15" name="TextBox 14">
            <a:extLst>
              <a:ext uri="{FF2B5EF4-FFF2-40B4-BE49-F238E27FC236}">
                <a16:creationId xmlns:a16="http://schemas.microsoft.com/office/drawing/2014/main" id="{598CCB3C-A6E8-EC00-D22D-C42E59607102}"/>
              </a:ext>
            </a:extLst>
          </p:cNvPr>
          <p:cNvSpPr txBox="1"/>
          <p:nvPr/>
        </p:nvSpPr>
        <p:spPr>
          <a:xfrm>
            <a:off x="9558128" y="693518"/>
            <a:ext cx="1568882" cy="427979"/>
          </a:xfrm>
          <a:prstGeom prst="rect">
            <a:avLst/>
          </a:prstGeom>
          <a:noFill/>
        </p:spPr>
        <p:txBody>
          <a:bodyPr wrap="square" lIns="108000" tIns="72000" rIns="108000" bIns="108000" rtlCol="0">
            <a:spAutoFit/>
          </a:bodyPr>
          <a:lstStyle/>
          <a:p>
            <a:pPr indent="0" algn="ctr">
              <a:lnSpc>
                <a:spcPct val="100000"/>
              </a:lnSpc>
              <a:spcAft>
                <a:spcPts val="1000"/>
              </a:spcAft>
            </a:pPr>
            <a:r>
              <a:rPr lang="en-US" sz="800">
                <a:solidFill>
                  <a:schemeClr val="accent1"/>
                </a:solidFill>
              </a:rPr>
              <a:t>Do you find this message appealing?</a:t>
            </a:r>
          </a:p>
        </p:txBody>
      </p:sp>
      <p:sp>
        <p:nvSpPr>
          <p:cNvPr id="5" name="TextBox 4">
            <a:extLst>
              <a:ext uri="{FF2B5EF4-FFF2-40B4-BE49-F238E27FC236}">
                <a16:creationId xmlns:a16="http://schemas.microsoft.com/office/drawing/2014/main" id="{3E40A839-FA3C-AEC9-235A-2A7B237F8C6C}"/>
              </a:ext>
            </a:extLst>
          </p:cNvPr>
          <p:cNvSpPr txBox="1"/>
          <p:nvPr/>
        </p:nvSpPr>
        <p:spPr>
          <a:xfrm rot="1357115">
            <a:off x="9685871" y="2116767"/>
            <a:ext cx="1183341" cy="497614"/>
          </a:xfrm>
          <a:prstGeom prst="rect">
            <a:avLst/>
          </a:prstGeom>
          <a:solidFill>
            <a:schemeClr val="bg1"/>
          </a:solidFill>
        </p:spPr>
        <p:txBody>
          <a:bodyPr wrap="square" lIns="108000" tIns="72000" rIns="108000" bIns="108000" rtlCol="0">
            <a:spAutoFit/>
          </a:bodyPr>
          <a:lstStyle/>
          <a:p>
            <a:pPr indent="0" algn="ctr">
              <a:lnSpc>
                <a:spcPct val="120000"/>
              </a:lnSpc>
              <a:spcAft>
                <a:spcPts val="1000"/>
              </a:spcAft>
            </a:pPr>
            <a:r>
              <a:rPr lang="en-US" sz="900" b="1"/>
              <a:t>100% recyclable packaging</a:t>
            </a:r>
          </a:p>
        </p:txBody>
      </p:sp>
    </p:spTree>
    <p:extLst>
      <p:ext uri="{BB962C8B-B14F-4D97-AF65-F5344CB8AC3E}">
        <p14:creationId xmlns:p14="http://schemas.microsoft.com/office/powerpoint/2010/main" val="301076632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77D5B01F-C548-4F6D-807A-CBC1E144261A}"/>
              </a:ext>
            </a:extLst>
          </p:cNvPr>
          <p:cNvSpPr>
            <a:spLocks noGrp="1"/>
          </p:cNvSpPr>
          <p:nvPr>
            <p:ph type="body" idx="1"/>
          </p:nvPr>
        </p:nvSpPr>
        <p:spPr/>
        <p:txBody>
          <a:bodyPr/>
          <a:lstStyle/>
          <a:p>
            <a:r>
              <a:rPr lang="en-US">
                <a:solidFill>
                  <a:schemeClr val="accent3"/>
                </a:solidFill>
              </a:rPr>
              <a:t>There will be max. 20 claims in the study</a:t>
            </a:r>
          </a:p>
        </p:txBody>
      </p:sp>
      <p:sp>
        <p:nvSpPr>
          <p:cNvPr id="11" name="Title 4">
            <a:extLst>
              <a:ext uri="{FF2B5EF4-FFF2-40B4-BE49-F238E27FC236}">
                <a16:creationId xmlns:a16="http://schemas.microsoft.com/office/drawing/2014/main" id="{0ABC784E-D35C-4961-8570-86044EE44036}"/>
              </a:ext>
            </a:extLst>
          </p:cNvPr>
          <p:cNvSpPr>
            <a:spLocks noGrp="1"/>
          </p:cNvSpPr>
          <p:nvPr>
            <p:ph type="title"/>
          </p:nvPr>
        </p:nvSpPr>
        <p:spPr/>
        <p:txBody>
          <a:bodyPr/>
          <a:lstStyle/>
          <a:p>
            <a:r>
              <a:rPr lang="en-US"/>
              <a:t>The research design consists of 6 </a:t>
            </a:r>
            <a:r>
              <a:rPr lang="en-US">
                <a:solidFill>
                  <a:schemeClr val="bg2"/>
                </a:solidFill>
              </a:rPr>
              <a:t>modules, including </a:t>
            </a:r>
          </a:p>
        </p:txBody>
      </p:sp>
      <p:cxnSp>
        <p:nvCxnSpPr>
          <p:cNvPr id="12" name="Straight Arrow Connector 11">
            <a:extLst>
              <a:ext uri="{FF2B5EF4-FFF2-40B4-BE49-F238E27FC236}">
                <a16:creationId xmlns:a16="http://schemas.microsoft.com/office/drawing/2014/main" id="{24C411B5-80B0-4688-9BEC-003E7191E638}"/>
              </a:ext>
            </a:extLst>
          </p:cNvPr>
          <p:cNvCxnSpPr>
            <a:cxnSpLocks/>
          </p:cNvCxnSpPr>
          <p:nvPr/>
        </p:nvCxnSpPr>
        <p:spPr>
          <a:xfrm>
            <a:off x="571242" y="4187175"/>
            <a:ext cx="11326006" cy="0"/>
          </a:xfrm>
          <a:prstGeom prst="straightConnector1">
            <a:avLst/>
          </a:prstGeom>
          <a:ln w="38100">
            <a:solidFill>
              <a:schemeClr val="accent1"/>
            </a:solidFill>
            <a:tailEnd type="triangle" w="lg" len="lg"/>
          </a:ln>
        </p:spPr>
        <p:style>
          <a:lnRef idx="1">
            <a:schemeClr val="accent1"/>
          </a:lnRef>
          <a:fillRef idx="0">
            <a:schemeClr val="accent1"/>
          </a:fillRef>
          <a:effectRef idx="0">
            <a:schemeClr val="accent1"/>
          </a:effectRef>
          <a:fontRef idx="minor">
            <a:schemeClr val="tx1"/>
          </a:fontRef>
        </p:style>
      </p:cxnSp>
      <p:grpSp>
        <p:nvGrpSpPr>
          <p:cNvPr id="42" name="Group 41">
            <a:extLst>
              <a:ext uri="{FF2B5EF4-FFF2-40B4-BE49-F238E27FC236}">
                <a16:creationId xmlns:a16="http://schemas.microsoft.com/office/drawing/2014/main" id="{4FD3C614-02B2-4A1C-BA28-7E73E9314D7F}"/>
              </a:ext>
            </a:extLst>
          </p:cNvPr>
          <p:cNvGrpSpPr/>
          <p:nvPr/>
        </p:nvGrpSpPr>
        <p:grpSpPr>
          <a:xfrm>
            <a:off x="5949225" y="2938359"/>
            <a:ext cx="2014611" cy="2364467"/>
            <a:chOff x="8137995" y="2268017"/>
            <a:chExt cx="2081728" cy="2446790"/>
          </a:xfrm>
        </p:grpSpPr>
        <p:sp>
          <p:nvSpPr>
            <p:cNvPr id="34" name="TextBox 33">
              <a:extLst>
                <a:ext uri="{FF2B5EF4-FFF2-40B4-BE49-F238E27FC236}">
                  <a16:creationId xmlns:a16="http://schemas.microsoft.com/office/drawing/2014/main" id="{C3947D8F-0C10-40B1-ACA7-65BBCB0CBEF8}"/>
                </a:ext>
              </a:extLst>
            </p:cNvPr>
            <p:cNvSpPr txBox="1"/>
            <p:nvPr/>
          </p:nvSpPr>
          <p:spPr>
            <a:xfrm>
              <a:off x="8137995" y="2268017"/>
              <a:ext cx="2081728" cy="332626"/>
            </a:xfrm>
            <a:prstGeom prst="rect">
              <a:avLst/>
            </a:prstGeom>
            <a:noFill/>
          </p:spPr>
          <p:txBody>
            <a:bodyPr wrap="square" lIns="0" tIns="0" rIns="0" bIns="0" rtlCol="0" anchor="b">
              <a:spAutoFit/>
            </a:bodyPr>
            <a:lstStyle/>
            <a:p>
              <a:pPr algn="ctr">
                <a:defRPr/>
              </a:pPr>
              <a:r>
                <a:rPr lang="en-US" b="1">
                  <a:solidFill>
                    <a:schemeClr val="accent1"/>
                  </a:solidFill>
                  <a:latin typeface="+mj-lt"/>
                </a:rPr>
                <a:t>KPI rating</a:t>
              </a:r>
            </a:p>
          </p:txBody>
        </p:sp>
        <p:sp>
          <p:nvSpPr>
            <p:cNvPr id="35" name="TextBox 34">
              <a:extLst>
                <a:ext uri="{FF2B5EF4-FFF2-40B4-BE49-F238E27FC236}">
                  <a16:creationId xmlns:a16="http://schemas.microsoft.com/office/drawing/2014/main" id="{573CB061-A794-4BFC-94C8-37BB257B5524}"/>
                </a:ext>
              </a:extLst>
            </p:cNvPr>
            <p:cNvSpPr txBox="1"/>
            <p:nvPr/>
          </p:nvSpPr>
          <p:spPr>
            <a:xfrm>
              <a:off x="8283894" y="3892964"/>
              <a:ext cx="1849510" cy="821843"/>
            </a:xfrm>
            <a:prstGeom prst="rect">
              <a:avLst/>
            </a:prstGeom>
            <a:noFill/>
          </p:spPr>
          <p:txBody>
            <a:bodyPr wrap="square" lIns="0" tIns="0" rIns="0" bIns="0" rtlCol="0">
              <a:spAutoFit/>
            </a:bodyPr>
            <a:lstStyle/>
            <a:p>
              <a:pPr lvl="0" algn="ctr"/>
              <a:r>
                <a:rPr lang="en-US" sz="1200">
                  <a:solidFill>
                    <a:schemeClr val="accent1"/>
                  </a:solidFill>
                </a:rPr>
                <a:t>Consumers will evaluate several claims on different </a:t>
              </a:r>
              <a:r>
                <a:rPr lang="en-US" sz="1200" b="1">
                  <a:solidFill>
                    <a:schemeClr val="accent1"/>
                  </a:solidFill>
                </a:rPr>
                <a:t>KPIs</a:t>
              </a:r>
            </a:p>
          </p:txBody>
        </p:sp>
        <p:sp>
          <p:nvSpPr>
            <p:cNvPr id="39" name="Rectangle: Rounded Corners 38">
              <a:extLst>
                <a:ext uri="{FF2B5EF4-FFF2-40B4-BE49-F238E27FC236}">
                  <a16:creationId xmlns:a16="http://schemas.microsoft.com/office/drawing/2014/main" id="{8278136C-CC34-4922-81C6-B4506602DB56}"/>
                </a:ext>
              </a:extLst>
            </p:cNvPr>
            <p:cNvSpPr/>
            <p:nvPr/>
          </p:nvSpPr>
          <p:spPr bwMode="auto">
            <a:xfrm>
              <a:off x="8949605" y="3291003"/>
              <a:ext cx="518091" cy="518091"/>
            </a:xfrm>
            <a:prstGeom prst="roundRect">
              <a:avLst/>
            </a:prstGeom>
            <a:solidFill>
              <a:schemeClr val="accent3"/>
            </a:solidFill>
            <a:ln w="0">
              <a:noFill/>
              <a:prstDash val="solid"/>
              <a:round/>
              <a:headEnd/>
              <a:tailEnd/>
            </a:ln>
          </p:spPr>
          <p:txBody>
            <a:bodyPr vert="horz" wrap="square" lIns="68580" tIns="34290" rIns="68580" bIns="34290" numCol="1" rtlCol="0" anchor="ctr" anchorCtr="0" compatLnSpc="1">
              <a:prstTxWarp prst="textNoShape">
                <a:avLst/>
              </a:prstTxWarp>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US" sz="2000" b="1">
                  <a:solidFill>
                    <a:schemeClr val="bg2"/>
                  </a:solidFill>
                  <a:latin typeface="Arial"/>
                </a:rPr>
                <a:t>4</a:t>
              </a:r>
              <a:endParaRPr kumimoji="0" lang="en-US" sz="2000" b="1" i="0" u="none" strike="noStrike" kern="1200" cap="none" spc="0" normalizeH="0" baseline="0" noProof="0">
                <a:ln>
                  <a:noFill/>
                </a:ln>
                <a:solidFill>
                  <a:schemeClr val="bg2"/>
                </a:solidFill>
                <a:effectLst/>
                <a:uLnTx/>
                <a:uFillTx/>
                <a:latin typeface="Arial"/>
                <a:ea typeface="+mn-ea"/>
                <a:cs typeface="+mn-cs"/>
              </a:endParaRPr>
            </a:p>
          </p:txBody>
        </p:sp>
      </p:grpSp>
      <p:grpSp>
        <p:nvGrpSpPr>
          <p:cNvPr id="10" name="Group 9">
            <a:extLst>
              <a:ext uri="{FF2B5EF4-FFF2-40B4-BE49-F238E27FC236}">
                <a16:creationId xmlns:a16="http://schemas.microsoft.com/office/drawing/2014/main" id="{AE24C95D-DF46-48B6-AD76-8A93742566BD}"/>
              </a:ext>
            </a:extLst>
          </p:cNvPr>
          <p:cNvGrpSpPr/>
          <p:nvPr/>
        </p:nvGrpSpPr>
        <p:grpSpPr>
          <a:xfrm>
            <a:off x="3998484" y="2987428"/>
            <a:ext cx="2015634" cy="2999486"/>
            <a:chOff x="103233" y="2356890"/>
            <a:chExt cx="2302889" cy="2999486"/>
          </a:xfrm>
        </p:grpSpPr>
        <p:sp>
          <p:nvSpPr>
            <p:cNvPr id="13" name="TextBox 12">
              <a:extLst>
                <a:ext uri="{FF2B5EF4-FFF2-40B4-BE49-F238E27FC236}">
                  <a16:creationId xmlns:a16="http://schemas.microsoft.com/office/drawing/2014/main" id="{9B018651-057E-4B0B-9213-3A65DE3915DC}"/>
                </a:ext>
              </a:extLst>
            </p:cNvPr>
            <p:cNvSpPr txBox="1"/>
            <p:nvPr/>
          </p:nvSpPr>
          <p:spPr>
            <a:xfrm>
              <a:off x="366770" y="3910211"/>
              <a:ext cx="1805041" cy="1446165"/>
            </a:xfrm>
            <a:prstGeom prst="rect">
              <a:avLst/>
            </a:prstGeom>
            <a:noFill/>
          </p:spPr>
          <p:txBody>
            <a:bodyPr wrap="square" lIns="0" tIns="0" rIns="0" bIns="0" rtlCol="0">
              <a:spAutoFit/>
            </a:bodyPr>
            <a:lstStyle/>
            <a:p>
              <a:pPr indent="0" algn="ctr" defTabSz="685800">
                <a:spcBef>
                  <a:spcPts val="600"/>
                </a:spcBef>
                <a:spcAft>
                  <a:spcPts val="100"/>
                </a:spcAft>
                <a:defRPr/>
              </a:pPr>
              <a:r>
                <a:rPr lang="en-US" sz="1200">
                  <a:solidFill>
                    <a:srgbClr val="1C6D7D"/>
                  </a:solidFill>
                  <a:latin typeface="+mj-lt"/>
                </a:rPr>
                <a:t>Consumers indicate how likely they are to purchase the </a:t>
              </a:r>
              <a:r>
                <a:rPr lang="en-US" sz="1200" err="1">
                  <a:solidFill>
                    <a:srgbClr val="1C6D7D"/>
                  </a:solidFill>
                  <a:latin typeface="+mj-lt"/>
                </a:rPr>
                <a:t>Alpro</a:t>
              </a:r>
              <a:r>
                <a:rPr lang="en-US" sz="1200">
                  <a:solidFill>
                    <a:srgbClr val="1C6D7D"/>
                  </a:solidFill>
                  <a:latin typeface="+mj-lt"/>
                </a:rPr>
                <a:t> brand in the future</a:t>
              </a:r>
              <a:endParaRPr kumimoji="0" lang="en-US" sz="1200" b="0" i="0" u="none" strike="noStrike" kern="1200" cap="none" spc="0" normalizeH="0" baseline="0" noProof="0">
                <a:ln>
                  <a:noFill/>
                </a:ln>
                <a:solidFill>
                  <a:srgbClr val="1C6D7D"/>
                </a:solidFill>
                <a:effectLst/>
                <a:uLnTx/>
                <a:uFillTx/>
                <a:latin typeface="+mj-lt"/>
                <a:ea typeface="+mn-ea"/>
                <a:cs typeface="+mn-cs"/>
              </a:endParaRPr>
            </a:p>
            <a:p>
              <a:pPr indent="0" algn="ctr" defTabSz="685800">
                <a:spcBef>
                  <a:spcPts val="600"/>
                </a:spcBef>
                <a:spcAft>
                  <a:spcPts val="100"/>
                </a:spcAft>
                <a:defRPr/>
              </a:pPr>
              <a:endParaRPr kumimoji="0" lang="en-US" sz="1200" b="0" i="0" u="none" strike="noStrike" kern="1200" cap="none" spc="0" normalizeH="0" baseline="0" noProof="0">
                <a:ln>
                  <a:noFill/>
                </a:ln>
                <a:solidFill>
                  <a:srgbClr val="1C6D7D"/>
                </a:solidFill>
                <a:effectLst/>
                <a:uLnTx/>
                <a:uFillTx/>
                <a:latin typeface="+mj-lt"/>
                <a:ea typeface="+mn-ea"/>
                <a:cs typeface="+mn-cs"/>
              </a:endParaRPr>
            </a:p>
          </p:txBody>
        </p:sp>
        <p:sp>
          <p:nvSpPr>
            <p:cNvPr id="15" name="Rectangle: Rounded Corners 14">
              <a:extLst>
                <a:ext uri="{FF2B5EF4-FFF2-40B4-BE49-F238E27FC236}">
                  <a16:creationId xmlns:a16="http://schemas.microsoft.com/office/drawing/2014/main" id="{FB0DC73F-B8F4-4011-B221-1C6B8C340667}"/>
                </a:ext>
              </a:extLst>
            </p:cNvPr>
            <p:cNvSpPr/>
            <p:nvPr/>
          </p:nvSpPr>
          <p:spPr bwMode="auto">
            <a:xfrm>
              <a:off x="958715" y="3298484"/>
              <a:ext cx="591926" cy="518091"/>
            </a:xfrm>
            <a:prstGeom prst="roundRect">
              <a:avLst/>
            </a:prstGeom>
            <a:solidFill>
              <a:schemeClr val="accent3"/>
            </a:solidFill>
            <a:ln w="0">
              <a:noFill/>
              <a:prstDash val="solid"/>
              <a:round/>
              <a:headEnd/>
              <a:tailEnd/>
            </a:ln>
          </p:spPr>
          <p:txBody>
            <a:bodyPr vert="horz" wrap="square" lIns="68580" tIns="34290" rIns="68580" bIns="34290" numCol="1" rtlCol="0" anchor="ctr" anchorCtr="0" compatLnSpc="1">
              <a:prstTxWarp prst="textNoShape">
                <a:avLst/>
              </a:prstTxWarp>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US" sz="2000" b="1">
                  <a:solidFill>
                    <a:schemeClr val="bg2"/>
                  </a:solidFill>
                  <a:latin typeface="Arial"/>
                </a:rPr>
                <a:t>3</a:t>
              </a:r>
              <a:endParaRPr kumimoji="0" lang="en-US" sz="2000" b="1" i="0" u="none" strike="noStrike" kern="1200" cap="none" spc="0" normalizeH="0" baseline="0" noProof="0">
                <a:ln>
                  <a:noFill/>
                </a:ln>
                <a:solidFill>
                  <a:schemeClr val="bg2"/>
                </a:solidFill>
                <a:effectLst/>
                <a:uLnTx/>
                <a:uFillTx/>
                <a:latin typeface="Arial"/>
                <a:ea typeface="+mn-ea"/>
                <a:cs typeface="+mn-cs"/>
              </a:endParaRPr>
            </a:p>
          </p:txBody>
        </p:sp>
        <p:sp>
          <p:nvSpPr>
            <p:cNvPr id="20" name="TextBox 19">
              <a:extLst>
                <a:ext uri="{FF2B5EF4-FFF2-40B4-BE49-F238E27FC236}">
                  <a16:creationId xmlns:a16="http://schemas.microsoft.com/office/drawing/2014/main" id="{1DE24713-848E-4F49-9914-266316E579B0}"/>
                </a:ext>
              </a:extLst>
            </p:cNvPr>
            <p:cNvSpPr txBox="1"/>
            <p:nvPr/>
          </p:nvSpPr>
          <p:spPr>
            <a:xfrm>
              <a:off x="103233" y="2356890"/>
              <a:ext cx="2302889" cy="690767"/>
            </a:xfrm>
            <a:prstGeom prst="rect">
              <a:avLst/>
            </a:prstGeom>
            <a:noFill/>
          </p:spPr>
          <p:txBody>
            <a:bodyPr wrap="square" lIns="0" tIns="0" rIns="0" bIns="0" rtlCol="0" anchor="b">
              <a:spAutoFit/>
            </a:bodyPr>
            <a:lstStyle/>
            <a:p>
              <a:pPr indent="0" algn="ctr" defTabSz="685800">
                <a:defRPr/>
              </a:pPr>
              <a:r>
                <a:rPr lang="en-US" b="1">
                  <a:solidFill>
                    <a:schemeClr val="accent1"/>
                  </a:solidFill>
                  <a:latin typeface="+mj-lt"/>
                </a:rPr>
                <a:t>Purchase Intent</a:t>
              </a:r>
            </a:p>
            <a:p>
              <a:pPr indent="0" algn="ctr" defTabSz="685800">
                <a:defRPr/>
              </a:pPr>
              <a:endParaRPr kumimoji="0" lang="en-US" b="1" i="0" u="none" strike="noStrike" kern="1200" cap="none" spc="0" normalizeH="0" baseline="0" noProof="0">
                <a:ln>
                  <a:noFill/>
                </a:ln>
                <a:solidFill>
                  <a:schemeClr val="accent1"/>
                </a:solidFill>
                <a:effectLst/>
                <a:uLnTx/>
                <a:uFillTx/>
                <a:latin typeface="+mj-lt"/>
              </a:endParaRPr>
            </a:p>
          </p:txBody>
        </p:sp>
      </p:grpSp>
      <p:grpSp>
        <p:nvGrpSpPr>
          <p:cNvPr id="3" name="Group 2">
            <a:extLst>
              <a:ext uri="{FF2B5EF4-FFF2-40B4-BE49-F238E27FC236}">
                <a16:creationId xmlns:a16="http://schemas.microsoft.com/office/drawing/2014/main" id="{D8E25D50-9E92-4A11-92DA-43D9098017EC}"/>
              </a:ext>
            </a:extLst>
          </p:cNvPr>
          <p:cNvGrpSpPr/>
          <p:nvPr/>
        </p:nvGrpSpPr>
        <p:grpSpPr>
          <a:xfrm>
            <a:off x="-137543" y="2403739"/>
            <a:ext cx="2543882" cy="3465927"/>
            <a:chOff x="4316397" y="1816185"/>
            <a:chExt cx="2543882" cy="3465927"/>
          </a:xfrm>
        </p:grpSpPr>
        <p:sp>
          <p:nvSpPr>
            <p:cNvPr id="14" name="TextBox 13">
              <a:extLst>
                <a:ext uri="{FF2B5EF4-FFF2-40B4-BE49-F238E27FC236}">
                  <a16:creationId xmlns:a16="http://schemas.microsoft.com/office/drawing/2014/main" id="{0737CE36-11B1-4818-83BD-CB3F3A0A94F2}"/>
                </a:ext>
              </a:extLst>
            </p:cNvPr>
            <p:cNvSpPr txBox="1"/>
            <p:nvPr/>
          </p:nvSpPr>
          <p:spPr>
            <a:xfrm>
              <a:off x="4663583" y="3933922"/>
              <a:ext cx="1849510" cy="1348190"/>
            </a:xfrm>
            <a:prstGeom prst="rect">
              <a:avLst/>
            </a:prstGeom>
            <a:noFill/>
          </p:spPr>
          <p:txBody>
            <a:bodyPr wrap="square" lIns="0" tIns="0" rIns="0" bIns="0" rtlCol="0">
              <a:spAutoFit/>
            </a:bodyPr>
            <a:lstStyle/>
            <a:p>
              <a:pPr algn="ctr"/>
              <a:r>
                <a:rPr lang="en-US" sz="1200">
                  <a:solidFill>
                    <a:schemeClr val="accent1"/>
                  </a:solidFill>
                  <a:latin typeface="+mn-lt"/>
                  <a:cs typeface="MV Boli" panose="02000500030200090000" pitchFamily="2" charset="0"/>
                </a:rPr>
                <a:t>Swiping exercise to measure </a:t>
              </a:r>
              <a:r>
                <a:rPr lang="en-US" sz="1200" b="1">
                  <a:solidFill>
                    <a:schemeClr val="accent1"/>
                  </a:solidFill>
                  <a:latin typeface="+mn-lt"/>
                  <a:cs typeface="MV Boli" panose="02000500030200090000" pitchFamily="2" charset="0"/>
                </a:rPr>
                <a:t>absolute</a:t>
              </a:r>
              <a:r>
                <a:rPr lang="en-US" sz="1200">
                  <a:solidFill>
                    <a:schemeClr val="accent1"/>
                  </a:solidFill>
                  <a:latin typeface="+mn-lt"/>
                  <a:cs typeface="MV Boli" panose="02000500030200090000" pitchFamily="2" charset="0"/>
                </a:rPr>
                <a:t> appeal (metric TBD) of each claim through a binary swipe exercise</a:t>
              </a:r>
            </a:p>
          </p:txBody>
        </p:sp>
        <p:sp>
          <p:nvSpPr>
            <p:cNvPr id="16" name="Rectangle: Rounded Corners 15">
              <a:extLst>
                <a:ext uri="{FF2B5EF4-FFF2-40B4-BE49-F238E27FC236}">
                  <a16:creationId xmlns:a16="http://schemas.microsoft.com/office/drawing/2014/main" id="{C11B7A63-F878-45C0-B486-AB90FB25D5A7}"/>
                </a:ext>
              </a:extLst>
            </p:cNvPr>
            <p:cNvSpPr/>
            <p:nvPr/>
          </p:nvSpPr>
          <p:spPr bwMode="auto">
            <a:xfrm>
              <a:off x="5316525" y="3331961"/>
              <a:ext cx="518091" cy="518091"/>
            </a:xfrm>
            <a:prstGeom prst="roundRect">
              <a:avLst/>
            </a:prstGeom>
            <a:solidFill>
              <a:schemeClr val="accent3"/>
            </a:solidFill>
            <a:ln w="0">
              <a:noFill/>
              <a:prstDash val="solid"/>
              <a:round/>
              <a:headEnd/>
              <a:tailEnd/>
            </a:ln>
          </p:spPr>
          <p:txBody>
            <a:bodyPr vert="horz" wrap="square" lIns="68580" tIns="34290" rIns="68580" bIns="34290" numCol="1" rtlCol="0" anchor="ctr" anchorCtr="0" compatLnSpc="1">
              <a:prstTxWarp prst="textNoShape">
                <a:avLst/>
              </a:prstTxWarp>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US" sz="2000" b="1">
                  <a:solidFill>
                    <a:schemeClr val="bg2"/>
                  </a:solidFill>
                  <a:latin typeface="Arial"/>
                </a:rPr>
                <a:t>1</a:t>
              </a:r>
              <a:endParaRPr kumimoji="0" lang="en-US" sz="2000" b="1" i="0" u="none" strike="noStrike" kern="1200" cap="none" spc="0" normalizeH="0" baseline="0" noProof="0">
                <a:ln>
                  <a:noFill/>
                </a:ln>
                <a:solidFill>
                  <a:schemeClr val="bg2"/>
                </a:solidFill>
                <a:effectLst/>
                <a:uLnTx/>
                <a:uFillTx/>
                <a:latin typeface="Arial"/>
                <a:ea typeface="+mn-ea"/>
                <a:cs typeface="+mn-cs"/>
              </a:endParaRPr>
            </a:p>
          </p:txBody>
        </p:sp>
        <p:sp>
          <p:nvSpPr>
            <p:cNvPr id="21" name="TextBox 20">
              <a:extLst>
                <a:ext uri="{FF2B5EF4-FFF2-40B4-BE49-F238E27FC236}">
                  <a16:creationId xmlns:a16="http://schemas.microsoft.com/office/drawing/2014/main" id="{E4C23023-95CE-4B0B-B96D-FE959FB8A282}"/>
                </a:ext>
              </a:extLst>
            </p:cNvPr>
            <p:cNvSpPr txBox="1"/>
            <p:nvPr/>
          </p:nvSpPr>
          <p:spPr>
            <a:xfrm>
              <a:off x="4316397" y="2350805"/>
              <a:ext cx="2543882" cy="690767"/>
            </a:xfrm>
            <a:prstGeom prst="rect">
              <a:avLst/>
            </a:prstGeom>
            <a:noFill/>
          </p:spPr>
          <p:txBody>
            <a:bodyPr wrap="square" lIns="0" tIns="0" rIns="0" bIns="0" rtlCol="0" anchor="b">
              <a:spAutoFit/>
            </a:bodyPr>
            <a:lstStyle/>
            <a:p>
              <a:pPr algn="ctr">
                <a:defRPr/>
              </a:pPr>
              <a:r>
                <a:rPr lang="en-US" b="1">
                  <a:solidFill>
                    <a:schemeClr val="accent1"/>
                  </a:solidFill>
                  <a:latin typeface="+mj-lt"/>
                </a:rPr>
                <a:t>Swiping </a:t>
              </a:r>
            </a:p>
            <a:p>
              <a:pPr algn="ctr">
                <a:defRPr/>
              </a:pPr>
              <a:r>
                <a:rPr lang="en-US" b="1">
                  <a:solidFill>
                    <a:schemeClr val="accent1"/>
                  </a:solidFill>
                  <a:latin typeface="+mj-lt"/>
                </a:rPr>
                <a:t>Module</a:t>
              </a:r>
            </a:p>
          </p:txBody>
        </p:sp>
        <p:pic>
          <p:nvPicPr>
            <p:cNvPr id="22" name="Picture 21">
              <a:extLst>
                <a:ext uri="{FF2B5EF4-FFF2-40B4-BE49-F238E27FC236}">
                  <a16:creationId xmlns:a16="http://schemas.microsoft.com/office/drawing/2014/main" id="{41A1A75D-AB2F-41B0-844C-77048DAFC29A}"/>
                </a:ext>
              </a:extLst>
            </p:cNvPr>
            <p:cNvPicPr>
              <a:picLocks noChangeAspect="1"/>
            </p:cNvPicPr>
            <p:nvPr/>
          </p:nvPicPr>
          <p:blipFill>
            <a:blip r:embed="rId3"/>
            <a:stretch>
              <a:fillRect/>
            </a:stretch>
          </p:blipFill>
          <p:spPr>
            <a:xfrm>
              <a:off x="5279884" y="1816185"/>
              <a:ext cx="567500" cy="561526"/>
            </a:xfrm>
            <a:prstGeom prst="rect">
              <a:avLst/>
            </a:prstGeom>
          </p:spPr>
        </p:pic>
      </p:grpSp>
      <p:grpSp>
        <p:nvGrpSpPr>
          <p:cNvPr id="4" name="Group 3">
            <a:extLst>
              <a:ext uri="{FF2B5EF4-FFF2-40B4-BE49-F238E27FC236}">
                <a16:creationId xmlns:a16="http://schemas.microsoft.com/office/drawing/2014/main" id="{005589A3-9B3B-4B63-9932-B28AD8085FA6}"/>
              </a:ext>
            </a:extLst>
          </p:cNvPr>
          <p:cNvGrpSpPr/>
          <p:nvPr/>
        </p:nvGrpSpPr>
        <p:grpSpPr>
          <a:xfrm>
            <a:off x="1801788" y="2496207"/>
            <a:ext cx="2543882" cy="3158188"/>
            <a:chOff x="5078958" y="2287225"/>
            <a:chExt cx="2543882" cy="3158188"/>
          </a:xfrm>
        </p:grpSpPr>
        <p:pic>
          <p:nvPicPr>
            <p:cNvPr id="23" name="Picture 22">
              <a:extLst>
                <a:ext uri="{FF2B5EF4-FFF2-40B4-BE49-F238E27FC236}">
                  <a16:creationId xmlns:a16="http://schemas.microsoft.com/office/drawing/2014/main" id="{943E731D-A980-49F3-A622-9009F33B0CE6}"/>
                </a:ext>
              </a:extLst>
            </p:cNvPr>
            <p:cNvPicPr>
              <a:picLocks noChangeAspect="1"/>
            </p:cNvPicPr>
            <p:nvPr/>
          </p:nvPicPr>
          <p:blipFill>
            <a:blip r:embed="rId4"/>
            <a:stretch>
              <a:fillRect/>
            </a:stretch>
          </p:blipFill>
          <p:spPr>
            <a:xfrm>
              <a:off x="5937865" y="2287225"/>
              <a:ext cx="826067" cy="459757"/>
            </a:xfrm>
            <a:prstGeom prst="rect">
              <a:avLst/>
            </a:prstGeom>
          </p:spPr>
        </p:pic>
        <p:grpSp>
          <p:nvGrpSpPr>
            <p:cNvPr id="26" name="Group 25">
              <a:extLst>
                <a:ext uri="{FF2B5EF4-FFF2-40B4-BE49-F238E27FC236}">
                  <a16:creationId xmlns:a16="http://schemas.microsoft.com/office/drawing/2014/main" id="{CB4763A3-4CD9-40B4-B043-8941611DF1AA}"/>
                </a:ext>
              </a:extLst>
            </p:cNvPr>
            <p:cNvGrpSpPr/>
            <p:nvPr/>
          </p:nvGrpSpPr>
          <p:grpSpPr>
            <a:xfrm>
              <a:off x="5078958" y="2791105"/>
              <a:ext cx="2543882" cy="2654308"/>
              <a:chOff x="4316397" y="2350805"/>
              <a:chExt cx="2543882" cy="2654308"/>
            </a:xfrm>
          </p:grpSpPr>
          <p:sp>
            <p:nvSpPr>
              <p:cNvPr id="27" name="TextBox 26">
                <a:extLst>
                  <a:ext uri="{FF2B5EF4-FFF2-40B4-BE49-F238E27FC236}">
                    <a16:creationId xmlns:a16="http://schemas.microsoft.com/office/drawing/2014/main" id="{C9395F20-C8C2-452B-8893-DA825B80CA75}"/>
                  </a:ext>
                </a:extLst>
              </p:cNvPr>
              <p:cNvSpPr txBox="1"/>
              <p:nvPr/>
            </p:nvSpPr>
            <p:spPr>
              <a:xfrm>
                <a:off x="4663583" y="3933922"/>
                <a:ext cx="1849510" cy="1071191"/>
              </a:xfrm>
              <a:prstGeom prst="rect">
                <a:avLst/>
              </a:prstGeom>
              <a:noFill/>
            </p:spPr>
            <p:txBody>
              <a:bodyPr wrap="square" lIns="0" tIns="0" rIns="0" bIns="0" rtlCol="0">
                <a:spAutoFit/>
              </a:bodyPr>
              <a:lstStyle/>
              <a:p>
                <a:pPr algn="ctr"/>
                <a:r>
                  <a:rPr lang="en-US" sz="1200">
                    <a:solidFill>
                      <a:schemeClr val="accent1"/>
                    </a:solidFill>
                    <a:latin typeface="+mn-lt"/>
                    <a:cs typeface="MV Boli" panose="02000500030200090000" pitchFamily="2" charset="0"/>
                  </a:rPr>
                  <a:t>Trade-off exercise to determine </a:t>
                </a:r>
                <a:r>
                  <a:rPr lang="en-US" sz="1200" b="1">
                    <a:solidFill>
                      <a:schemeClr val="accent1"/>
                    </a:solidFill>
                    <a:latin typeface="+mn-lt"/>
                    <a:cs typeface="MV Boli" panose="02000500030200090000" pitchFamily="2" charset="0"/>
                  </a:rPr>
                  <a:t>relative motivation to buy</a:t>
                </a:r>
                <a:r>
                  <a:rPr lang="en-US" sz="1200">
                    <a:solidFill>
                      <a:schemeClr val="accent1"/>
                    </a:solidFill>
                    <a:latin typeface="+mn-lt"/>
                    <a:cs typeface="MV Boli" panose="02000500030200090000" pitchFamily="2" charset="0"/>
                  </a:rPr>
                  <a:t> (metric TBD)</a:t>
                </a:r>
              </a:p>
            </p:txBody>
          </p:sp>
          <p:sp>
            <p:nvSpPr>
              <p:cNvPr id="28" name="Rectangle: Rounded Corners 27">
                <a:extLst>
                  <a:ext uri="{FF2B5EF4-FFF2-40B4-BE49-F238E27FC236}">
                    <a16:creationId xmlns:a16="http://schemas.microsoft.com/office/drawing/2014/main" id="{DCC0AA77-D61B-496B-A163-FF2A94AE876C}"/>
                  </a:ext>
                </a:extLst>
              </p:cNvPr>
              <p:cNvSpPr/>
              <p:nvPr/>
            </p:nvSpPr>
            <p:spPr bwMode="auto">
              <a:xfrm>
                <a:off x="5329293" y="3295429"/>
                <a:ext cx="518091" cy="518091"/>
              </a:xfrm>
              <a:prstGeom prst="roundRect">
                <a:avLst/>
              </a:prstGeom>
              <a:solidFill>
                <a:schemeClr val="accent3"/>
              </a:solidFill>
              <a:ln w="0">
                <a:noFill/>
                <a:prstDash val="solid"/>
                <a:round/>
                <a:headEnd/>
                <a:tailEnd/>
              </a:ln>
            </p:spPr>
            <p:txBody>
              <a:bodyPr vert="horz" wrap="square" lIns="68580" tIns="34290" rIns="68580" bIns="34290" numCol="1" rtlCol="0" anchor="ctr" anchorCtr="0" compatLnSpc="1">
                <a:prstTxWarp prst="textNoShape">
                  <a:avLst/>
                </a:prstTxWarp>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US" sz="2000" b="1">
                    <a:solidFill>
                      <a:schemeClr val="bg2"/>
                    </a:solidFill>
                    <a:latin typeface="Arial"/>
                  </a:rPr>
                  <a:t>2</a:t>
                </a:r>
                <a:endParaRPr kumimoji="0" lang="en-US" sz="2000" b="1" i="0" u="none" strike="noStrike" kern="1200" cap="none" spc="0" normalizeH="0" baseline="0" noProof="0">
                  <a:ln>
                    <a:noFill/>
                  </a:ln>
                  <a:solidFill>
                    <a:schemeClr val="bg2"/>
                  </a:solidFill>
                  <a:effectLst/>
                  <a:uLnTx/>
                  <a:uFillTx/>
                  <a:latin typeface="Arial"/>
                  <a:ea typeface="+mn-ea"/>
                  <a:cs typeface="+mn-cs"/>
                </a:endParaRPr>
              </a:p>
            </p:txBody>
          </p:sp>
          <p:sp>
            <p:nvSpPr>
              <p:cNvPr id="29" name="TextBox 28">
                <a:extLst>
                  <a:ext uri="{FF2B5EF4-FFF2-40B4-BE49-F238E27FC236}">
                    <a16:creationId xmlns:a16="http://schemas.microsoft.com/office/drawing/2014/main" id="{07D026BF-9A2B-4A86-9D74-F79757D61DA9}"/>
                  </a:ext>
                </a:extLst>
              </p:cNvPr>
              <p:cNvSpPr txBox="1"/>
              <p:nvPr/>
            </p:nvSpPr>
            <p:spPr>
              <a:xfrm>
                <a:off x="4316397" y="2350805"/>
                <a:ext cx="2543882" cy="690767"/>
              </a:xfrm>
              <a:prstGeom prst="rect">
                <a:avLst/>
              </a:prstGeom>
              <a:noFill/>
            </p:spPr>
            <p:txBody>
              <a:bodyPr wrap="square" lIns="0" tIns="0" rIns="0" bIns="0" rtlCol="0" anchor="b">
                <a:spAutoFit/>
              </a:bodyPr>
              <a:lstStyle/>
              <a:p>
                <a:pPr algn="ctr">
                  <a:defRPr/>
                </a:pPr>
                <a:r>
                  <a:rPr lang="en-US" b="1">
                    <a:solidFill>
                      <a:schemeClr val="accent1"/>
                    </a:solidFill>
                    <a:latin typeface="+mj-lt"/>
                  </a:rPr>
                  <a:t>Trade-off </a:t>
                </a:r>
              </a:p>
              <a:p>
                <a:pPr algn="ctr">
                  <a:defRPr/>
                </a:pPr>
                <a:r>
                  <a:rPr lang="en-US" b="1">
                    <a:solidFill>
                      <a:schemeClr val="accent1"/>
                    </a:solidFill>
                    <a:latin typeface="+mj-lt"/>
                  </a:rPr>
                  <a:t>Module</a:t>
                </a:r>
              </a:p>
            </p:txBody>
          </p:sp>
        </p:grpSp>
      </p:grpSp>
      <p:pic>
        <p:nvPicPr>
          <p:cNvPr id="36" name="Picture 35">
            <a:extLst>
              <a:ext uri="{FF2B5EF4-FFF2-40B4-BE49-F238E27FC236}">
                <a16:creationId xmlns:a16="http://schemas.microsoft.com/office/drawing/2014/main" id="{034249A6-D128-464A-B395-C10624DE3E92}"/>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9582414" y="447438"/>
            <a:ext cx="1815692" cy="335902"/>
          </a:xfrm>
          <a:prstGeom prst="rect">
            <a:avLst/>
          </a:prstGeom>
        </p:spPr>
      </p:pic>
      <p:grpSp>
        <p:nvGrpSpPr>
          <p:cNvPr id="30" name="Group 29">
            <a:extLst>
              <a:ext uri="{FF2B5EF4-FFF2-40B4-BE49-F238E27FC236}">
                <a16:creationId xmlns:a16="http://schemas.microsoft.com/office/drawing/2014/main" id="{7F9FB332-2AE4-4219-AE82-50C17912931D}"/>
              </a:ext>
            </a:extLst>
          </p:cNvPr>
          <p:cNvGrpSpPr/>
          <p:nvPr/>
        </p:nvGrpSpPr>
        <p:grpSpPr>
          <a:xfrm>
            <a:off x="7765685" y="2434690"/>
            <a:ext cx="2081728" cy="2868136"/>
            <a:chOff x="7404705" y="1820006"/>
            <a:chExt cx="2081728" cy="2868136"/>
          </a:xfrm>
        </p:grpSpPr>
        <p:pic>
          <p:nvPicPr>
            <p:cNvPr id="38" name="Graphic 37">
              <a:extLst>
                <a:ext uri="{FF2B5EF4-FFF2-40B4-BE49-F238E27FC236}">
                  <a16:creationId xmlns:a16="http://schemas.microsoft.com/office/drawing/2014/main" id="{289B829B-67A2-429D-92CA-2E488487F1C9}"/>
                </a:ext>
              </a:extLst>
            </p:cNvPr>
            <p:cNvPicPr>
              <a:picLocks noChangeAspect="1"/>
            </p:cNvPicPr>
            <p:nvPr/>
          </p:nvPicPr>
          <p:blipFill>
            <a:blip r:embed="rId6" cstate="print">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8213369" y="1820006"/>
              <a:ext cx="464400" cy="464400"/>
            </a:xfrm>
            <a:prstGeom prst="rect">
              <a:avLst/>
            </a:prstGeom>
          </p:spPr>
        </p:pic>
        <p:sp>
          <p:nvSpPr>
            <p:cNvPr id="40" name="TextBox 39">
              <a:extLst>
                <a:ext uri="{FF2B5EF4-FFF2-40B4-BE49-F238E27FC236}">
                  <a16:creationId xmlns:a16="http://schemas.microsoft.com/office/drawing/2014/main" id="{F08A3F96-EAC3-42DF-8872-77D68E333764}"/>
                </a:ext>
              </a:extLst>
            </p:cNvPr>
            <p:cNvSpPr txBox="1"/>
            <p:nvPr/>
          </p:nvSpPr>
          <p:spPr>
            <a:xfrm>
              <a:off x="7404705" y="2349409"/>
              <a:ext cx="2081728" cy="690767"/>
            </a:xfrm>
            <a:prstGeom prst="rect">
              <a:avLst/>
            </a:prstGeom>
            <a:noFill/>
          </p:spPr>
          <p:txBody>
            <a:bodyPr wrap="square" lIns="0" tIns="0" rIns="0" bIns="0" rtlCol="0" anchor="b">
              <a:spAutoFit/>
            </a:bodyPr>
            <a:lstStyle/>
            <a:p>
              <a:pPr algn="ctr">
                <a:defRPr/>
              </a:pPr>
              <a:r>
                <a:rPr lang="en-US" b="1">
                  <a:solidFill>
                    <a:schemeClr val="accent1"/>
                  </a:solidFill>
                  <a:latin typeface="+mj-lt"/>
                </a:rPr>
                <a:t>Deep Dive</a:t>
              </a:r>
            </a:p>
            <a:p>
              <a:pPr algn="ctr">
                <a:defRPr/>
              </a:pPr>
              <a:endParaRPr lang="en-US" b="1">
                <a:solidFill>
                  <a:schemeClr val="accent1"/>
                </a:solidFill>
                <a:latin typeface="+mj-lt"/>
              </a:endParaRPr>
            </a:p>
          </p:txBody>
        </p:sp>
        <p:sp>
          <p:nvSpPr>
            <p:cNvPr id="41" name="TextBox 40">
              <a:extLst>
                <a:ext uri="{FF2B5EF4-FFF2-40B4-BE49-F238E27FC236}">
                  <a16:creationId xmlns:a16="http://schemas.microsoft.com/office/drawing/2014/main" id="{62B4E8BE-CE06-432F-BFEC-96681AAC0435}"/>
                </a:ext>
              </a:extLst>
            </p:cNvPr>
            <p:cNvSpPr txBox="1"/>
            <p:nvPr/>
          </p:nvSpPr>
          <p:spPr>
            <a:xfrm>
              <a:off x="7520814" y="3893950"/>
              <a:ext cx="1849510" cy="794192"/>
            </a:xfrm>
            <a:prstGeom prst="rect">
              <a:avLst/>
            </a:prstGeom>
            <a:noFill/>
          </p:spPr>
          <p:txBody>
            <a:bodyPr wrap="square" lIns="0" tIns="0" rIns="0" bIns="0" rtlCol="0">
              <a:spAutoFit/>
            </a:bodyPr>
            <a:lstStyle/>
            <a:p>
              <a:pPr lvl="0" algn="ctr"/>
              <a:r>
                <a:rPr lang="en-US" sz="1200">
                  <a:solidFill>
                    <a:schemeClr val="accent1"/>
                  </a:solidFill>
                </a:rPr>
                <a:t>Understanding </a:t>
              </a:r>
              <a:r>
                <a:rPr lang="en-US" sz="1200" b="1">
                  <a:solidFill>
                    <a:schemeClr val="accent1"/>
                  </a:solidFill>
                </a:rPr>
                <a:t>why</a:t>
              </a:r>
              <a:r>
                <a:rPr lang="en-US" sz="1200">
                  <a:solidFill>
                    <a:schemeClr val="accent1"/>
                  </a:solidFill>
                </a:rPr>
                <a:t> consumers like / dislike some claims</a:t>
              </a:r>
            </a:p>
          </p:txBody>
        </p:sp>
        <p:sp>
          <p:nvSpPr>
            <p:cNvPr id="43" name="Rectangle: Rounded Corners 42">
              <a:extLst>
                <a:ext uri="{FF2B5EF4-FFF2-40B4-BE49-F238E27FC236}">
                  <a16:creationId xmlns:a16="http://schemas.microsoft.com/office/drawing/2014/main" id="{9F28DA32-23AA-4243-9F00-41F6B916EFD3}"/>
                </a:ext>
              </a:extLst>
            </p:cNvPr>
            <p:cNvSpPr/>
            <p:nvPr/>
          </p:nvSpPr>
          <p:spPr bwMode="auto">
            <a:xfrm>
              <a:off x="8186524" y="3291004"/>
              <a:ext cx="518091" cy="518091"/>
            </a:xfrm>
            <a:prstGeom prst="roundRect">
              <a:avLst/>
            </a:prstGeom>
            <a:solidFill>
              <a:schemeClr val="accent3"/>
            </a:solidFill>
            <a:ln w="0">
              <a:noFill/>
              <a:prstDash val="solid"/>
              <a:round/>
              <a:headEnd/>
              <a:tailEnd/>
            </a:ln>
          </p:spPr>
          <p:txBody>
            <a:bodyPr vert="horz" wrap="square" lIns="68580" tIns="34290" rIns="68580" bIns="34290" numCol="1" rtlCol="0" anchor="ctr" anchorCtr="0" compatLnSpc="1">
              <a:prstTxWarp prst="textNoShape">
                <a:avLst/>
              </a:prstTxWarp>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chemeClr val="bg2"/>
                  </a:solidFill>
                  <a:effectLst/>
                  <a:uLnTx/>
                  <a:uFillTx/>
                  <a:latin typeface="Arial"/>
                  <a:ea typeface="+mn-ea"/>
                  <a:cs typeface="+mn-cs"/>
                </a:rPr>
                <a:t>5</a:t>
              </a:r>
            </a:p>
          </p:txBody>
        </p:sp>
      </p:grpSp>
      <p:pic>
        <p:nvPicPr>
          <p:cNvPr id="7" name="Graphic 6" descr="Shopping cart outline">
            <a:extLst>
              <a:ext uri="{FF2B5EF4-FFF2-40B4-BE49-F238E27FC236}">
                <a16:creationId xmlns:a16="http://schemas.microsoft.com/office/drawing/2014/main" id="{BD3968F0-9093-4456-9820-0F665BD6D384}"/>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4687253" y="2348589"/>
            <a:ext cx="671825" cy="671825"/>
          </a:xfrm>
          <a:prstGeom prst="rect">
            <a:avLst/>
          </a:prstGeom>
        </p:spPr>
      </p:pic>
      <p:grpSp>
        <p:nvGrpSpPr>
          <p:cNvPr id="32" name="Group 31">
            <a:extLst>
              <a:ext uri="{FF2B5EF4-FFF2-40B4-BE49-F238E27FC236}">
                <a16:creationId xmlns:a16="http://schemas.microsoft.com/office/drawing/2014/main" id="{5A4729F9-EAF2-493A-969A-EDBCBFBB3056}"/>
              </a:ext>
            </a:extLst>
          </p:cNvPr>
          <p:cNvGrpSpPr/>
          <p:nvPr/>
        </p:nvGrpSpPr>
        <p:grpSpPr>
          <a:xfrm>
            <a:off x="6235351" y="2504724"/>
            <a:ext cx="1483765" cy="266484"/>
            <a:chOff x="3693130" y="1715624"/>
            <a:chExt cx="1483765" cy="266484"/>
          </a:xfrm>
        </p:grpSpPr>
        <p:sp>
          <p:nvSpPr>
            <p:cNvPr id="33" name="Star: 5 Points 32">
              <a:extLst>
                <a:ext uri="{FF2B5EF4-FFF2-40B4-BE49-F238E27FC236}">
                  <a16:creationId xmlns:a16="http://schemas.microsoft.com/office/drawing/2014/main" id="{CF30DAA2-B592-4B2F-9132-4667CEB1C28D}"/>
                </a:ext>
              </a:extLst>
            </p:cNvPr>
            <p:cNvSpPr/>
            <p:nvPr/>
          </p:nvSpPr>
          <p:spPr>
            <a:xfrm>
              <a:off x="4000726" y="1715624"/>
              <a:ext cx="262800" cy="262800"/>
            </a:xfrm>
            <a:prstGeom prst="star5">
              <a:avLst/>
            </a:prstGeom>
            <a:solidFill>
              <a:schemeClr val="accent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err="1">
                <a:solidFill>
                  <a:schemeClr val="tx1"/>
                </a:solidFill>
                <a:latin typeface="Segoe Print" panose="02000600000000000000" pitchFamily="2" charset="0"/>
                <a:cs typeface="MV Boli" panose="02000500030200090000" pitchFamily="2" charset="0"/>
              </a:endParaRPr>
            </a:p>
          </p:txBody>
        </p:sp>
        <p:sp>
          <p:nvSpPr>
            <p:cNvPr id="37" name="Star: 5 Points 36">
              <a:extLst>
                <a:ext uri="{FF2B5EF4-FFF2-40B4-BE49-F238E27FC236}">
                  <a16:creationId xmlns:a16="http://schemas.microsoft.com/office/drawing/2014/main" id="{4335B79C-8931-4B2B-B88D-B4FE243C7F35}"/>
                </a:ext>
              </a:extLst>
            </p:cNvPr>
            <p:cNvSpPr/>
            <p:nvPr/>
          </p:nvSpPr>
          <p:spPr>
            <a:xfrm>
              <a:off x="3693130" y="1715624"/>
              <a:ext cx="262800" cy="262800"/>
            </a:xfrm>
            <a:prstGeom prst="star5">
              <a:avLst/>
            </a:prstGeom>
            <a:solidFill>
              <a:schemeClr val="accent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err="1">
                <a:solidFill>
                  <a:schemeClr val="tx1"/>
                </a:solidFill>
                <a:latin typeface="Segoe Print" panose="02000600000000000000" pitchFamily="2" charset="0"/>
                <a:cs typeface="MV Boli" panose="02000500030200090000" pitchFamily="2" charset="0"/>
              </a:endParaRPr>
            </a:p>
          </p:txBody>
        </p:sp>
        <p:sp>
          <p:nvSpPr>
            <p:cNvPr id="44" name="Star: 5 Points 43">
              <a:extLst>
                <a:ext uri="{FF2B5EF4-FFF2-40B4-BE49-F238E27FC236}">
                  <a16:creationId xmlns:a16="http://schemas.microsoft.com/office/drawing/2014/main" id="{F2C1153D-6E51-42CC-A647-8CC103B40BE8}"/>
                </a:ext>
              </a:extLst>
            </p:cNvPr>
            <p:cNvSpPr/>
            <p:nvPr/>
          </p:nvSpPr>
          <p:spPr>
            <a:xfrm>
              <a:off x="4316468" y="1715624"/>
              <a:ext cx="262800" cy="262800"/>
            </a:xfrm>
            <a:prstGeom prst="star5">
              <a:avLst/>
            </a:prstGeom>
            <a:solidFill>
              <a:schemeClr val="accent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err="1">
                <a:solidFill>
                  <a:schemeClr val="tx1"/>
                </a:solidFill>
                <a:latin typeface="Segoe Print" panose="02000600000000000000" pitchFamily="2" charset="0"/>
                <a:cs typeface="MV Boli" panose="02000500030200090000" pitchFamily="2" charset="0"/>
              </a:endParaRPr>
            </a:p>
          </p:txBody>
        </p:sp>
        <p:sp>
          <p:nvSpPr>
            <p:cNvPr id="45" name="Star: 5 Points 44">
              <a:extLst>
                <a:ext uri="{FF2B5EF4-FFF2-40B4-BE49-F238E27FC236}">
                  <a16:creationId xmlns:a16="http://schemas.microsoft.com/office/drawing/2014/main" id="{79741B25-8546-4305-80CC-6C7D75AD5DDF}"/>
                </a:ext>
              </a:extLst>
            </p:cNvPr>
            <p:cNvSpPr/>
            <p:nvPr/>
          </p:nvSpPr>
          <p:spPr>
            <a:xfrm>
              <a:off x="4598353" y="1719308"/>
              <a:ext cx="262800" cy="262800"/>
            </a:xfrm>
            <a:prstGeom prst="star5">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err="1">
                <a:solidFill>
                  <a:schemeClr val="tx1"/>
                </a:solidFill>
                <a:latin typeface="Segoe Print" panose="02000600000000000000" pitchFamily="2" charset="0"/>
                <a:cs typeface="MV Boli" panose="02000500030200090000" pitchFamily="2" charset="0"/>
              </a:endParaRPr>
            </a:p>
          </p:txBody>
        </p:sp>
        <p:sp>
          <p:nvSpPr>
            <p:cNvPr id="46" name="Star: 5 Points 45">
              <a:extLst>
                <a:ext uri="{FF2B5EF4-FFF2-40B4-BE49-F238E27FC236}">
                  <a16:creationId xmlns:a16="http://schemas.microsoft.com/office/drawing/2014/main" id="{3FF0E272-0FF2-4B34-A0DD-A84BEFF650AB}"/>
                </a:ext>
              </a:extLst>
            </p:cNvPr>
            <p:cNvSpPr/>
            <p:nvPr/>
          </p:nvSpPr>
          <p:spPr>
            <a:xfrm>
              <a:off x="4914095" y="1719308"/>
              <a:ext cx="262800" cy="262800"/>
            </a:xfrm>
            <a:prstGeom prst="star5">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err="1">
                <a:solidFill>
                  <a:schemeClr val="tx1"/>
                </a:solidFill>
                <a:latin typeface="Segoe Print" panose="02000600000000000000" pitchFamily="2" charset="0"/>
                <a:cs typeface="MV Boli" panose="02000500030200090000" pitchFamily="2" charset="0"/>
              </a:endParaRPr>
            </a:p>
          </p:txBody>
        </p:sp>
      </p:grpSp>
      <p:sp>
        <p:nvSpPr>
          <p:cNvPr id="2" name="Text Placeholder 4">
            <a:extLst>
              <a:ext uri="{FF2B5EF4-FFF2-40B4-BE49-F238E27FC236}">
                <a16:creationId xmlns:a16="http://schemas.microsoft.com/office/drawing/2014/main" id="{046BB81D-8B61-B680-F430-D97A234FEB49}"/>
              </a:ext>
            </a:extLst>
          </p:cNvPr>
          <p:cNvSpPr txBox="1">
            <a:spLocks/>
          </p:cNvSpPr>
          <p:nvPr/>
        </p:nvSpPr>
        <p:spPr>
          <a:xfrm>
            <a:off x="504000" y="1580772"/>
            <a:ext cx="10894106" cy="430887"/>
          </a:xfrm>
          <a:prstGeom prst="rect">
            <a:avLst/>
          </a:prstGeom>
        </p:spPr>
        <p:txBody>
          <a:bodyPr vert="horz" wrap="square" lIns="0" tIns="0" rIns="0" bIns="0" rtlCol="0" anchor="t" anchorCtr="0">
            <a:spAutoFit/>
          </a:bodyPr>
          <a:lstStyle>
            <a:lvl1pPr marL="0" indent="0" algn="l" defTabSz="914400" rtl="0" eaLnBrk="1" latinLnBrk="0" hangingPunct="1">
              <a:lnSpc>
                <a:spcPct val="100000"/>
              </a:lnSpc>
              <a:spcBef>
                <a:spcPts val="0"/>
              </a:spcBef>
              <a:spcAft>
                <a:spcPts val="1000"/>
              </a:spcAft>
              <a:buClr>
                <a:schemeClr val="bg2"/>
              </a:buClr>
              <a:buFont typeface="Courier New" panose="02070309020205020404" pitchFamily="49" charset="0"/>
              <a:buNone/>
              <a:defRPr sz="1800" b="1" kern="1200">
                <a:solidFill>
                  <a:schemeClr val="tx2"/>
                </a:solidFill>
                <a:latin typeface="+mn-lt"/>
                <a:ea typeface="+mn-ea"/>
                <a:cs typeface="+mn-cs"/>
              </a:defRPr>
            </a:lvl1pPr>
            <a:lvl2pPr marL="457200" indent="0" algn="l" defTabSz="914400" rtl="0" eaLnBrk="1" latinLnBrk="0" hangingPunct="1">
              <a:lnSpc>
                <a:spcPct val="120000"/>
              </a:lnSpc>
              <a:spcBef>
                <a:spcPts val="0"/>
              </a:spcBef>
              <a:spcAft>
                <a:spcPts val="1000"/>
              </a:spcAft>
              <a:buClr>
                <a:schemeClr val="bg2"/>
              </a:buClr>
              <a:buFont typeface="Wingdings" panose="05000000000000000000" pitchFamily="2" charset="2"/>
              <a:buNone/>
              <a:defRPr sz="2000" b="1" kern="1200">
                <a:solidFill>
                  <a:schemeClr val="tx1"/>
                </a:solidFill>
                <a:latin typeface="+mn-lt"/>
                <a:ea typeface="+mn-ea"/>
                <a:cs typeface="+mn-cs"/>
              </a:defRPr>
            </a:lvl2pPr>
            <a:lvl3pPr marL="914400" indent="0" algn="l" defTabSz="914400" rtl="0" eaLnBrk="1" latinLnBrk="0" hangingPunct="1">
              <a:lnSpc>
                <a:spcPct val="120000"/>
              </a:lnSpc>
              <a:spcBef>
                <a:spcPts val="0"/>
              </a:spcBef>
              <a:spcAft>
                <a:spcPts val="1000"/>
              </a:spcAft>
              <a:buClr>
                <a:schemeClr val="bg2"/>
              </a:buClr>
              <a:buFont typeface="Wingdings" panose="05000000000000000000" pitchFamily="2" charset="2"/>
              <a:buNone/>
              <a:defRPr sz="1800" b="1" kern="1200">
                <a:solidFill>
                  <a:schemeClr val="tx1"/>
                </a:solidFill>
                <a:latin typeface="+mn-lt"/>
                <a:ea typeface="+mn-ea"/>
                <a:cs typeface="+mn-cs"/>
              </a:defRPr>
            </a:lvl3pPr>
            <a:lvl4pPr marL="1371600" indent="0" algn="l" defTabSz="914400" rtl="0" eaLnBrk="1" latinLnBrk="0" hangingPunct="1">
              <a:lnSpc>
                <a:spcPct val="120000"/>
              </a:lnSpc>
              <a:spcBef>
                <a:spcPts val="0"/>
              </a:spcBef>
              <a:spcAft>
                <a:spcPts val="1000"/>
              </a:spcAft>
              <a:buClr>
                <a:schemeClr val="bg2"/>
              </a:buClr>
              <a:buSzPct val="100000"/>
              <a:buFont typeface="Wingdings" panose="05000000000000000000" pitchFamily="2" charset="2"/>
              <a:buNone/>
              <a:defRPr sz="1600" b="1" kern="1200">
                <a:solidFill>
                  <a:schemeClr val="tx1"/>
                </a:solidFill>
                <a:latin typeface="+mn-lt"/>
                <a:ea typeface="+mn-ea"/>
                <a:cs typeface="+mn-cs"/>
              </a:defRPr>
            </a:lvl4pPr>
            <a:lvl5pPr marL="1828800" indent="0" algn="l" defTabSz="914400" rtl="0" eaLnBrk="1" latinLnBrk="0" hangingPunct="1">
              <a:lnSpc>
                <a:spcPct val="120000"/>
              </a:lnSpc>
              <a:spcBef>
                <a:spcPts val="0"/>
              </a:spcBef>
              <a:spcAft>
                <a:spcPts val="1000"/>
              </a:spcAft>
              <a:buClr>
                <a:schemeClr val="bg2"/>
              </a:buClr>
              <a:buFont typeface="Wingdings" panose="05000000000000000000" pitchFamily="2" charset="2"/>
              <a:buNone/>
              <a:defRPr sz="1600" b="1" kern="1200">
                <a:solidFill>
                  <a:schemeClr val="tx1"/>
                </a:solidFill>
                <a:latin typeface="+mn-lt"/>
                <a:ea typeface="+mn-ea"/>
                <a:cs typeface="+mn-cs"/>
              </a:defRPr>
            </a:lvl5pPr>
            <a:lvl6pPr marL="2286000" indent="0" algn="l" defTabSz="914400" rtl="0" eaLnBrk="1" latinLnBrk="0" hangingPunct="1">
              <a:lnSpc>
                <a:spcPct val="120000"/>
              </a:lnSpc>
              <a:spcBef>
                <a:spcPts val="0"/>
              </a:spcBef>
              <a:spcAft>
                <a:spcPts val="1000"/>
              </a:spcAft>
              <a:buClr>
                <a:schemeClr val="bg2"/>
              </a:buClr>
              <a:buFont typeface="Wingdings" panose="05000000000000000000" pitchFamily="2" charset="2"/>
              <a:buNone/>
              <a:defRPr sz="1600" b="1" kern="1200">
                <a:solidFill>
                  <a:schemeClr val="tx1"/>
                </a:solidFill>
                <a:latin typeface="+mn-lt"/>
                <a:ea typeface="+mn-ea"/>
                <a:cs typeface="+mn-cs"/>
              </a:defRPr>
            </a:lvl6pPr>
            <a:lvl7pPr marL="2743200" indent="0" algn="l" defTabSz="914400" rtl="0" eaLnBrk="1" latinLnBrk="0" hangingPunct="1">
              <a:lnSpc>
                <a:spcPct val="120000"/>
              </a:lnSpc>
              <a:spcBef>
                <a:spcPts val="0"/>
              </a:spcBef>
              <a:spcAft>
                <a:spcPts val="1000"/>
              </a:spcAft>
              <a:buClr>
                <a:schemeClr val="tx1"/>
              </a:buClr>
              <a:buFont typeface="Wingdings" panose="05000000000000000000" pitchFamily="2" charset="2"/>
              <a:buNone/>
              <a:defRPr sz="1600" b="1" kern="1200">
                <a:solidFill>
                  <a:schemeClr val="tx1"/>
                </a:solidFill>
                <a:latin typeface="+mn-lt"/>
                <a:ea typeface="+mn-ea"/>
                <a:cs typeface="+mn-cs"/>
              </a:defRPr>
            </a:lvl7pPr>
            <a:lvl8pPr marL="3200400" indent="0" algn="l" defTabSz="914400" rtl="0" eaLnBrk="1" latinLnBrk="0" hangingPunct="1">
              <a:lnSpc>
                <a:spcPct val="120000"/>
              </a:lnSpc>
              <a:spcBef>
                <a:spcPts val="0"/>
              </a:spcBef>
              <a:spcAft>
                <a:spcPts val="1000"/>
              </a:spcAft>
              <a:buClr>
                <a:schemeClr val="tx1"/>
              </a:buClr>
              <a:buFont typeface="Wingdings" panose="05000000000000000000" pitchFamily="2" charset="2"/>
              <a:buNone/>
              <a:defRPr sz="1600" b="1" kern="1200">
                <a:solidFill>
                  <a:schemeClr val="tx1"/>
                </a:solidFill>
                <a:latin typeface="+mn-lt"/>
                <a:ea typeface="+mn-ea"/>
                <a:cs typeface="+mn-cs"/>
              </a:defRPr>
            </a:lvl8pPr>
            <a:lvl9pPr marL="3657600" indent="0" algn="l" defTabSz="914400" rtl="0" eaLnBrk="1" latinLnBrk="0" hangingPunct="1">
              <a:lnSpc>
                <a:spcPct val="120000"/>
              </a:lnSpc>
              <a:spcBef>
                <a:spcPts val="0"/>
              </a:spcBef>
              <a:spcAft>
                <a:spcPts val="1000"/>
              </a:spcAft>
              <a:buClr>
                <a:schemeClr val="tx1"/>
              </a:buClr>
              <a:buFont typeface="Wingdings" panose="05000000000000000000" pitchFamily="2" charset="2"/>
              <a:buNone/>
              <a:defRPr sz="1600" b="1" kern="1200">
                <a:solidFill>
                  <a:schemeClr val="tx1"/>
                </a:solidFill>
                <a:latin typeface="+mn-lt"/>
                <a:ea typeface="+mn-ea"/>
                <a:cs typeface="+mn-cs"/>
              </a:defRPr>
            </a:lvl9pPr>
          </a:lstStyle>
          <a:p>
            <a:r>
              <a:rPr lang="en-US" sz="1400" b="0">
                <a:solidFill>
                  <a:schemeClr val="bg2"/>
                </a:solidFill>
              </a:rPr>
              <a:t>First, respondents go through a screener to assess if they are the right audience for this study. This screener can also include certain current usage questions (e.g. by ingredient type) if specific splits of the sample are needed. </a:t>
            </a:r>
          </a:p>
        </p:txBody>
      </p:sp>
      <p:grpSp>
        <p:nvGrpSpPr>
          <p:cNvPr id="8" name="Group 7">
            <a:extLst>
              <a:ext uri="{FF2B5EF4-FFF2-40B4-BE49-F238E27FC236}">
                <a16:creationId xmlns:a16="http://schemas.microsoft.com/office/drawing/2014/main" id="{15B022B5-A9AA-DE15-9F74-8C5521AB485E}"/>
              </a:ext>
            </a:extLst>
          </p:cNvPr>
          <p:cNvGrpSpPr/>
          <p:nvPr/>
        </p:nvGrpSpPr>
        <p:grpSpPr>
          <a:xfrm>
            <a:off x="9715403" y="2911882"/>
            <a:ext cx="2081728" cy="2390944"/>
            <a:chOff x="7488241" y="2297198"/>
            <a:chExt cx="2081728" cy="2390944"/>
          </a:xfrm>
        </p:grpSpPr>
        <p:sp>
          <p:nvSpPr>
            <p:cNvPr id="17" name="TextBox 16">
              <a:extLst>
                <a:ext uri="{FF2B5EF4-FFF2-40B4-BE49-F238E27FC236}">
                  <a16:creationId xmlns:a16="http://schemas.microsoft.com/office/drawing/2014/main" id="{23AEE1B2-4E32-B7CF-3F0B-C4619ADC316A}"/>
                </a:ext>
              </a:extLst>
            </p:cNvPr>
            <p:cNvSpPr txBox="1"/>
            <p:nvPr/>
          </p:nvSpPr>
          <p:spPr>
            <a:xfrm>
              <a:off x="7488241" y="2297198"/>
              <a:ext cx="2081728" cy="1060098"/>
            </a:xfrm>
            <a:prstGeom prst="rect">
              <a:avLst/>
            </a:prstGeom>
            <a:noFill/>
          </p:spPr>
          <p:txBody>
            <a:bodyPr wrap="square" lIns="0" tIns="0" rIns="0" bIns="0" rtlCol="0" anchor="b">
              <a:spAutoFit/>
            </a:bodyPr>
            <a:lstStyle/>
            <a:p>
              <a:pPr algn="ctr">
                <a:defRPr/>
              </a:pPr>
              <a:r>
                <a:rPr lang="en-US" b="1">
                  <a:solidFill>
                    <a:schemeClr val="accent1"/>
                  </a:solidFill>
                  <a:latin typeface="+mj-lt"/>
                </a:rPr>
                <a:t>Health / taste perception</a:t>
              </a:r>
            </a:p>
            <a:p>
              <a:pPr algn="ctr">
                <a:defRPr/>
              </a:pPr>
              <a:endParaRPr lang="en-US" b="1">
                <a:solidFill>
                  <a:schemeClr val="accent1"/>
                </a:solidFill>
                <a:latin typeface="+mj-lt"/>
              </a:endParaRPr>
            </a:p>
          </p:txBody>
        </p:sp>
        <p:sp>
          <p:nvSpPr>
            <p:cNvPr id="18" name="TextBox 17">
              <a:extLst>
                <a:ext uri="{FF2B5EF4-FFF2-40B4-BE49-F238E27FC236}">
                  <a16:creationId xmlns:a16="http://schemas.microsoft.com/office/drawing/2014/main" id="{25D2039A-2B0B-60D9-FFB3-D30B174E9091}"/>
                </a:ext>
              </a:extLst>
            </p:cNvPr>
            <p:cNvSpPr txBox="1"/>
            <p:nvPr/>
          </p:nvSpPr>
          <p:spPr>
            <a:xfrm>
              <a:off x="7520814" y="3893950"/>
              <a:ext cx="1849510" cy="794192"/>
            </a:xfrm>
            <a:prstGeom prst="rect">
              <a:avLst/>
            </a:prstGeom>
            <a:noFill/>
          </p:spPr>
          <p:txBody>
            <a:bodyPr wrap="square" lIns="0" tIns="0" rIns="0" bIns="0" rtlCol="0">
              <a:spAutoFit/>
            </a:bodyPr>
            <a:lstStyle/>
            <a:p>
              <a:pPr lvl="0" algn="ctr"/>
              <a:r>
                <a:rPr lang="en-US" sz="1200">
                  <a:solidFill>
                    <a:schemeClr val="accent1"/>
                  </a:solidFill>
                </a:rPr>
                <a:t>Consumers will evaluate claims on their ability to cue health / taste</a:t>
              </a:r>
            </a:p>
          </p:txBody>
        </p:sp>
        <p:sp>
          <p:nvSpPr>
            <p:cNvPr id="19" name="Rectangle: Rounded Corners 18">
              <a:extLst>
                <a:ext uri="{FF2B5EF4-FFF2-40B4-BE49-F238E27FC236}">
                  <a16:creationId xmlns:a16="http://schemas.microsoft.com/office/drawing/2014/main" id="{0B0F115C-2C22-9B86-A07B-4C0EF87AEBAF}"/>
                </a:ext>
              </a:extLst>
            </p:cNvPr>
            <p:cNvSpPr/>
            <p:nvPr/>
          </p:nvSpPr>
          <p:spPr bwMode="auto">
            <a:xfrm>
              <a:off x="8186524" y="3291004"/>
              <a:ext cx="518091" cy="518091"/>
            </a:xfrm>
            <a:prstGeom prst="roundRect">
              <a:avLst/>
            </a:prstGeom>
            <a:solidFill>
              <a:schemeClr val="accent3"/>
            </a:solidFill>
            <a:ln w="0">
              <a:noFill/>
              <a:prstDash val="solid"/>
              <a:round/>
              <a:headEnd/>
              <a:tailEnd/>
            </a:ln>
          </p:spPr>
          <p:txBody>
            <a:bodyPr vert="horz" wrap="square" lIns="68580" tIns="34290" rIns="68580" bIns="34290" numCol="1" rtlCol="0" anchor="ctr" anchorCtr="0" compatLnSpc="1">
              <a:prstTxWarp prst="textNoShape">
                <a:avLst/>
              </a:prstTxWarp>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chemeClr val="bg2"/>
                  </a:solidFill>
                  <a:effectLst/>
                  <a:uLnTx/>
                  <a:uFillTx/>
                  <a:latin typeface="Arial"/>
                  <a:ea typeface="+mn-ea"/>
                  <a:cs typeface="+mn-cs"/>
                </a:rPr>
                <a:t>6</a:t>
              </a:r>
            </a:p>
          </p:txBody>
        </p:sp>
      </p:grpSp>
      <p:cxnSp>
        <p:nvCxnSpPr>
          <p:cNvPr id="25" name="Straight Connector 24">
            <a:extLst>
              <a:ext uri="{FF2B5EF4-FFF2-40B4-BE49-F238E27FC236}">
                <a16:creationId xmlns:a16="http://schemas.microsoft.com/office/drawing/2014/main" id="{E24BAE03-E3A0-D159-BF9E-328222716E32}"/>
              </a:ext>
            </a:extLst>
          </p:cNvPr>
          <p:cNvCxnSpPr>
            <a:cxnSpLocks/>
          </p:cNvCxnSpPr>
          <p:nvPr/>
        </p:nvCxnSpPr>
        <p:spPr>
          <a:xfrm>
            <a:off x="10098593" y="2636124"/>
            <a:ext cx="1195754" cy="0"/>
          </a:xfrm>
          <a:prstGeom prst="line">
            <a:avLst/>
          </a:prstGeom>
          <a:ln w="38100">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31" name="Rectangle: Rounded Corners 30">
            <a:extLst>
              <a:ext uri="{FF2B5EF4-FFF2-40B4-BE49-F238E27FC236}">
                <a16:creationId xmlns:a16="http://schemas.microsoft.com/office/drawing/2014/main" id="{E960278B-94DA-CE7E-7041-36574470A3EF}"/>
              </a:ext>
            </a:extLst>
          </p:cNvPr>
          <p:cNvSpPr/>
          <p:nvPr/>
        </p:nvSpPr>
        <p:spPr>
          <a:xfrm>
            <a:off x="10906235" y="2444241"/>
            <a:ext cx="51084" cy="332834"/>
          </a:xfrm>
          <a:prstGeom prst="round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72000" rIns="108000" bIns="108000" rtlCol="0" anchor="t" anchorCtr="0">
            <a:noAutofit/>
          </a:bodyPr>
          <a:lstStyle/>
          <a:p>
            <a:pPr indent="0" algn="l">
              <a:lnSpc>
                <a:spcPct val="120000"/>
              </a:lnSpc>
            </a:pPr>
            <a:endParaRPr lang="en-US" sz="1400" err="1">
              <a:solidFill>
                <a:schemeClr val="bg2"/>
              </a:solidFill>
            </a:endParaRPr>
          </a:p>
        </p:txBody>
      </p:sp>
    </p:spTree>
    <p:extLst>
      <p:ext uri="{BB962C8B-B14F-4D97-AF65-F5344CB8AC3E}">
        <p14:creationId xmlns:p14="http://schemas.microsoft.com/office/powerpoint/2010/main" val="428984698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Afgeronde rechthoek 44">
            <a:extLst>
              <a:ext uri="{FF2B5EF4-FFF2-40B4-BE49-F238E27FC236}">
                <a16:creationId xmlns:a16="http://schemas.microsoft.com/office/drawing/2014/main" id="{82E0EB41-FEDA-4C13-AE35-42FEF6891859}"/>
              </a:ext>
            </a:extLst>
          </p:cNvPr>
          <p:cNvSpPr/>
          <p:nvPr/>
        </p:nvSpPr>
        <p:spPr>
          <a:xfrm>
            <a:off x="0" y="5007934"/>
            <a:ext cx="12192000" cy="1850065"/>
          </a:xfrm>
          <a:prstGeom prst="roundRect">
            <a:avLst>
              <a:gd name="adj" fmla="val 0"/>
            </a:avLst>
          </a:prstGeom>
          <a:solidFill>
            <a:srgbClr val="E6EFF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chemeClr val="tx1"/>
              </a:solidFill>
              <a:latin typeface="Segoe Print" panose="02000600000000000000" pitchFamily="2" charset="0"/>
              <a:cs typeface="MV Boli" panose="02000500030200090000" pitchFamily="2" charset="0"/>
            </a:endParaRPr>
          </a:p>
        </p:txBody>
      </p:sp>
      <p:sp>
        <p:nvSpPr>
          <p:cNvPr id="11" name="Content Placeholder 10">
            <a:extLst>
              <a:ext uri="{FF2B5EF4-FFF2-40B4-BE49-F238E27FC236}">
                <a16:creationId xmlns:a16="http://schemas.microsoft.com/office/drawing/2014/main" id="{4A0A84B3-BD03-4BAE-9F99-0D0CE07884F2}"/>
              </a:ext>
            </a:extLst>
          </p:cNvPr>
          <p:cNvSpPr>
            <a:spLocks noGrp="1"/>
          </p:cNvSpPr>
          <p:nvPr>
            <p:ph sz="half" idx="2"/>
          </p:nvPr>
        </p:nvSpPr>
        <p:spPr>
          <a:xfrm>
            <a:off x="503238" y="2058988"/>
            <a:ext cx="3294062" cy="2859773"/>
          </a:xfrm>
        </p:spPr>
        <p:txBody>
          <a:bodyPr/>
          <a:lstStyle/>
          <a:p>
            <a:pPr marL="0" indent="0">
              <a:lnSpc>
                <a:spcPct val="130000"/>
              </a:lnSpc>
              <a:buNone/>
            </a:pPr>
            <a:r>
              <a:rPr lang="en-US"/>
              <a:t>The business objective is to create and validate sustainability claims that are consumer friendly (easy to understand) and legally approved.</a:t>
            </a:r>
          </a:p>
          <a:p>
            <a:pPr marL="0" indent="0">
              <a:lnSpc>
                <a:spcPct val="130000"/>
              </a:lnSpc>
              <a:buNone/>
            </a:pPr>
            <a:r>
              <a:rPr lang="en-US"/>
              <a:t>While these are being considered, it is also important to make sure that the claims fit the brand and are unique compared to competitors.</a:t>
            </a:r>
          </a:p>
        </p:txBody>
      </p:sp>
      <p:sp>
        <p:nvSpPr>
          <p:cNvPr id="8" name="Text Placeholder 7">
            <a:extLst>
              <a:ext uri="{FF2B5EF4-FFF2-40B4-BE49-F238E27FC236}">
                <a16:creationId xmlns:a16="http://schemas.microsoft.com/office/drawing/2014/main" id="{E5FC465E-12BD-4D34-A93F-54444B58E7D5}"/>
              </a:ext>
            </a:extLst>
          </p:cNvPr>
          <p:cNvSpPr>
            <a:spLocks noGrp="1"/>
          </p:cNvSpPr>
          <p:nvPr>
            <p:ph type="body" sz="quarter" idx="3"/>
          </p:nvPr>
        </p:nvSpPr>
        <p:spPr>
          <a:xfrm>
            <a:off x="8287038" y="1605600"/>
            <a:ext cx="3294000" cy="322332"/>
          </a:xfrm>
        </p:spPr>
        <p:txBody>
          <a:bodyPr/>
          <a:lstStyle/>
          <a:p>
            <a:r>
              <a:rPr lang="en-US"/>
              <a:t>Why we’re excited to help</a:t>
            </a:r>
          </a:p>
        </p:txBody>
      </p:sp>
      <p:sp>
        <p:nvSpPr>
          <p:cNvPr id="23" name="Tijdelijke aanduiding voor inhoud 22">
            <a:extLst>
              <a:ext uri="{FF2B5EF4-FFF2-40B4-BE49-F238E27FC236}">
                <a16:creationId xmlns:a16="http://schemas.microsoft.com/office/drawing/2014/main" id="{2899B442-E742-49D2-B474-5E4CAF90513C}"/>
              </a:ext>
            </a:extLst>
          </p:cNvPr>
          <p:cNvSpPr>
            <a:spLocks noGrp="1"/>
          </p:cNvSpPr>
          <p:nvPr>
            <p:ph sz="half" idx="15"/>
          </p:nvPr>
        </p:nvSpPr>
        <p:spPr>
          <a:xfrm>
            <a:off x="4308475" y="2058988"/>
            <a:ext cx="3294063" cy="2859773"/>
          </a:xfrm>
        </p:spPr>
        <p:txBody>
          <a:bodyPr vert="horz" lIns="0" tIns="0" rIns="0" bIns="0" rtlCol="0">
            <a:noAutofit/>
          </a:bodyPr>
          <a:lstStyle/>
          <a:p>
            <a:pPr>
              <a:lnSpc>
                <a:spcPct val="130000"/>
              </a:lnSpc>
              <a:buClr>
                <a:schemeClr val="accent1"/>
              </a:buClr>
            </a:pPr>
            <a:r>
              <a:rPr lang="en-US"/>
              <a:t>We are proposing a two-step approach:</a:t>
            </a:r>
          </a:p>
          <a:p>
            <a:pPr marL="228600" indent="-228600">
              <a:lnSpc>
                <a:spcPct val="130000"/>
              </a:lnSpc>
              <a:buClr>
                <a:schemeClr val="accent1"/>
              </a:buClr>
              <a:buAutoNum type="arabicParenR"/>
            </a:pPr>
            <a:r>
              <a:rPr lang="en-US"/>
              <a:t>The first step is a claims creation workshop in which we will spend 4-5 hours formulating and narrowing down potential claims to be used in future packaging.</a:t>
            </a:r>
          </a:p>
          <a:p>
            <a:pPr marL="228600" indent="-228600">
              <a:lnSpc>
                <a:spcPct val="130000"/>
              </a:lnSpc>
              <a:buClr>
                <a:schemeClr val="accent1"/>
              </a:buClr>
              <a:buAutoNum type="arabicParenR"/>
            </a:pPr>
            <a:r>
              <a:rPr lang="en-US"/>
              <a:t>We will use the claims created and test which ones perform the best using our Unspoken methodology.</a:t>
            </a:r>
            <a:endParaRPr lang="en-US" b="1">
              <a:solidFill>
                <a:schemeClr val="accent4"/>
              </a:solidFill>
            </a:endParaRPr>
          </a:p>
        </p:txBody>
      </p:sp>
      <p:sp>
        <p:nvSpPr>
          <p:cNvPr id="10" name="Text Placeholder 9">
            <a:extLst>
              <a:ext uri="{FF2B5EF4-FFF2-40B4-BE49-F238E27FC236}">
                <a16:creationId xmlns:a16="http://schemas.microsoft.com/office/drawing/2014/main" id="{69130D11-035C-4C4D-8ECE-490F95D1802A}"/>
              </a:ext>
            </a:extLst>
          </p:cNvPr>
          <p:cNvSpPr>
            <a:spLocks noGrp="1"/>
          </p:cNvSpPr>
          <p:nvPr>
            <p:ph type="body" sz="quarter" idx="14"/>
          </p:nvPr>
        </p:nvSpPr>
        <p:spPr>
          <a:xfrm>
            <a:off x="4309200" y="1605600"/>
            <a:ext cx="3294000" cy="322332"/>
          </a:xfrm>
        </p:spPr>
        <p:txBody>
          <a:bodyPr/>
          <a:lstStyle/>
          <a:p>
            <a:r>
              <a:rPr lang="en-US"/>
              <a:t>How we’re going to help</a:t>
            </a:r>
          </a:p>
        </p:txBody>
      </p:sp>
      <p:sp>
        <p:nvSpPr>
          <p:cNvPr id="9" name="Content Placeholder 8">
            <a:extLst>
              <a:ext uri="{FF2B5EF4-FFF2-40B4-BE49-F238E27FC236}">
                <a16:creationId xmlns:a16="http://schemas.microsoft.com/office/drawing/2014/main" id="{81139B0F-984E-45E6-B7D7-F7FDA924A385}"/>
              </a:ext>
            </a:extLst>
          </p:cNvPr>
          <p:cNvSpPr>
            <a:spLocks noGrp="1"/>
          </p:cNvSpPr>
          <p:nvPr>
            <p:ph sz="half" idx="13"/>
          </p:nvPr>
        </p:nvSpPr>
        <p:spPr>
          <a:xfrm>
            <a:off x="8286750" y="2058988"/>
            <a:ext cx="3294063" cy="2859773"/>
          </a:xfrm>
        </p:spPr>
        <p:txBody>
          <a:bodyPr/>
          <a:lstStyle/>
          <a:p>
            <a:pPr>
              <a:lnSpc>
                <a:spcPct val="130000"/>
              </a:lnSpc>
              <a:buClr>
                <a:schemeClr val="accent1"/>
              </a:buClr>
            </a:pPr>
            <a:r>
              <a:rPr lang="en-US"/>
              <a:t>We value the collaborative spirit of Danone and are excited to pair our analytical rigor with your market and category experience.</a:t>
            </a:r>
          </a:p>
          <a:p>
            <a:pPr>
              <a:lnSpc>
                <a:spcPct val="130000"/>
              </a:lnSpc>
              <a:buClr>
                <a:schemeClr val="accent1"/>
              </a:buClr>
            </a:pPr>
            <a:r>
              <a:rPr lang="en-US"/>
              <a:t>Besides rigor, our hands-on consultative approach allows for effective translation of results into strategy &amp; actions, and we are looking forward to being part of your growth story.</a:t>
            </a:r>
          </a:p>
        </p:txBody>
      </p:sp>
      <p:sp>
        <p:nvSpPr>
          <p:cNvPr id="6" name="Text Placeholder 5">
            <a:extLst>
              <a:ext uri="{FF2B5EF4-FFF2-40B4-BE49-F238E27FC236}">
                <a16:creationId xmlns:a16="http://schemas.microsoft.com/office/drawing/2014/main" id="{95B74A5E-BE94-47C0-919B-0BF3FC6E9B04}"/>
              </a:ext>
            </a:extLst>
          </p:cNvPr>
          <p:cNvSpPr>
            <a:spLocks noGrp="1"/>
          </p:cNvSpPr>
          <p:nvPr>
            <p:ph type="body" idx="1"/>
          </p:nvPr>
        </p:nvSpPr>
        <p:spPr>
          <a:xfrm>
            <a:off x="503300" y="1624833"/>
            <a:ext cx="3294000" cy="311047"/>
          </a:xfrm>
        </p:spPr>
        <p:txBody>
          <a:bodyPr/>
          <a:lstStyle/>
          <a:p>
            <a:r>
              <a:rPr lang="en-US"/>
              <a:t>What you want to achieve</a:t>
            </a:r>
          </a:p>
        </p:txBody>
      </p:sp>
      <p:sp>
        <p:nvSpPr>
          <p:cNvPr id="5" name="Title 4">
            <a:extLst>
              <a:ext uri="{FF2B5EF4-FFF2-40B4-BE49-F238E27FC236}">
                <a16:creationId xmlns:a16="http://schemas.microsoft.com/office/drawing/2014/main" id="{FA48DE45-3392-4295-B618-A51329EA364B}"/>
              </a:ext>
            </a:extLst>
          </p:cNvPr>
          <p:cNvSpPr>
            <a:spLocks noGrp="1"/>
          </p:cNvSpPr>
          <p:nvPr>
            <p:ph type="title"/>
          </p:nvPr>
        </p:nvSpPr>
        <p:spPr>
          <a:xfrm>
            <a:off x="504000" y="403200"/>
            <a:ext cx="11084400" cy="972000"/>
          </a:xfrm>
        </p:spPr>
        <p:txBody>
          <a:bodyPr/>
          <a:lstStyle/>
          <a:p>
            <a:r>
              <a:rPr lang="en-US"/>
              <a:t>Proposal Summary</a:t>
            </a:r>
          </a:p>
        </p:txBody>
      </p:sp>
      <p:pic>
        <p:nvPicPr>
          <p:cNvPr id="21" name="doLogoTeal">
            <a:extLst>
              <a:ext uri="{FF2B5EF4-FFF2-40B4-BE49-F238E27FC236}">
                <a16:creationId xmlns:a16="http://schemas.microsoft.com/office/drawing/2014/main" id="{28C40E24-2AA6-4214-99AC-E7656CADE4E1}"/>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559600" y="6364799"/>
            <a:ext cx="386197" cy="266610"/>
          </a:xfrm>
          <a:prstGeom prst="rect">
            <a:avLst/>
          </a:prstGeom>
        </p:spPr>
      </p:pic>
      <p:graphicFrame>
        <p:nvGraphicFramePr>
          <p:cNvPr id="2" name="Table 1">
            <a:extLst>
              <a:ext uri="{FF2B5EF4-FFF2-40B4-BE49-F238E27FC236}">
                <a16:creationId xmlns:a16="http://schemas.microsoft.com/office/drawing/2014/main" id="{B92C2CA9-6201-BA1C-7FCA-0DD6FD971848}"/>
              </a:ext>
            </a:extLst>
          </p:cNvPr>
          <p:cNvGraphicFramePr>
            <a:graphicFrameLocks noGrp="1"/>
          </p:cNvGraphicFramePr>
          <p:nvPr>
            <p:extLst>
              <p:ext uri="{D42A27DB-BD31-4B8C-83A1-F6EECF244321}">
                <p14:modId xmlns:p14="http://schemas.microsoft.com/office/powerpoint/2010/main" val="1282744822"/>
              </p:ext>
            </p:extLst>
          </p:nvPr>
        </p:nvGraphicFramePr>
        <p:xfrm>
          <a:off x="2965329" y="5330929"/>
          <a:ext cx="6650566" cy="1300480"/>
        </p:xfrm>
        <a:graphic>
          <a:graphicData uri="http://schemas.openxmlformats.org/drawingml/2006/table">
            <a:tbl>
              <a:tblPr firstRow="1" bandRow="1">
                <a:tableStyleId>{A6E0E982-E285-4178-BDAB-3F26002EA596}</a:tableStyleId>
              </a:tblPr>
              <a:tblGrid>
                <a:gridCol w="2182283">
                  <a:extLst>
                    <a:ext uri="{9D8B030D-6E8A-4147-A177-3AD203B41FA5}">
                      <a16:colId xmlns:a16="http://schemas.microsoft.com/office/drawing/2014/main" val="1565907153"/>
                    </a:ext>
                  </a:extLst>
                </a:gridCol>
                <a:gridCol w="2182283">
                  <a:extLst>
                    <a:ext uri="{9D8B030D-6E8A-4147-A177-3AD203B41FA5}">
                      <a16:colId xmlns:a16="http://schemas.microsoft.com/office/drawing/2014/main" val="3231589611"/>
                    </a:ext>
                  </a:extLst>
                </a:gridCol>
                <a:gridCol w="2286000">
                  <a:extLst>
                    <a:ext uri="{9D8B030D-6E8A-4147-A177-3AD203B41FA5}">
                      <a16:colId xmlns:a16="http://schemas.microsoft.com/office/drawing/2014/main" val="2026943702"/>
                    </a:ext>
                  </a:extLst>
                </a:gridCol>
              </a:tblGrid>
              <a:tr h="370840">
                <a:tc>
                  <a:txBody>
                    <a:bodyPr/>
                    <a:lstStyle/>
                    <a:p>
                      <a:r>
                        <a:rPr lang="en-US" sz="1600" b="1">
                          <a:solidFill>
                            <a:schemeClr val="bg2"/>
                          </a:solidFill>
                          <a:latin typeface="Rawline" panose="00000500000000000000" pitchFamily="2" charset="0"/>
                          <a:cs typeface="Arial" panose="020B0604020202020204" pitchFamily="34" charset="0"/>
                        </a:rPr>
                        <a:t>Deliverables</a:t>
                      </a:r>
                      <a:endParaRPr lang="en-US" sz="1600">
                        <a:solidFill>
                          <a:schemeClr val="bg2"/>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600" b="1">
                          <a:solidFill>
                            <a:schemeClr val="bg2"/>
                          </a:solidFill>
                          <a:latin typeface="Rawline" panose="00000500000000000000" pitchFamily="2" charset="0"/>
                          <a:cs typeface="Arial" panose="020B0604020202020204" pitchFamily="34" charset="0"/>
                        </a:rPr>
                        <a:t>Markets</a:t>
                      </a:r>
                      <a:endParaRPr lang="en-US" sz="1600">
                        <a:solidFill>
                          <a:schemeClr val="bg2"/>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600" b="1">
                          <a:solidFill>
                            <a:schemeClr val="bg2"/>
                          </a:solidFill>
                          <a:latin typeface="Rawline" panose="00000500000000000000" pitchFamily="2" charset="0"/>
                          <a:cs typeface="Arial" panose="020B0604020202020204" pitchFamily="34" charset="0"/>
                        </a:rPr>
                        <a:t>Sample</a:t>
                      </a:r>
                      <a:endParaRPr lang="en-US" sz="1600">
                        <a:solidFill>
                          <a:schemeClr val="bg2"/>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290072878"/>
                  </a:ext>
                </a:extLst>
              </a:tr>
              <a:tr h="367662">
                <a:tc>
                  <a:txBody>
                    <a:bodyPr/>
                    <a:lstStyle/>
                    <a:p>
                      <a:pPr marL="171450" marR="0" lvl="0" indent="-171450" algn="l" defTabSz="914400" rtl="0" eaLnBrk="1" fontAlgn="auto" latinLnBrk="0" hangingPunct="1">
                        <a:lnSpc>
                          <a:spcPct val="100000"/>
                        </a:lnSpc>
                        <a:spcBef>
                          <a:spcPts val="0"/>
                        </a:spcBef>
                        <a:spcAft>
                          <a:spcPts val="0"/>
                        </a:spcAft>
                        <a:buClr>
                          <a:schemeClr val="accent1"/>
                        </a:buClr>
                        <a:buSzTx/>
                        <a:buFont typeface="Wingdings" panose="05000000000000000000" pitchFamily="2" charset="2"/>
                        <a:buChar char="§"/>
                        <a:tabLst/>
                        <a:defRPr/>
                      </a:pPr>
                      <a:r>
                        <a:rPr lang="en-US" sz="1100">
                          <a:solidFill>
                            <a:schemeClr val="bg2"/>
                          </a:solidFill>
                          <a:latin typeface="Rawline" panose="00000500000000000000" pitchFamily="2" charset="0"/>
                          <a:cs typeface="Segoe UI Semilight" panose="020B0402040204020203" pitchFamily="34" charset="0"/>
                        </a:rPr>
                        <a:t>Workshop</a:t>
                      </a:r>
                    </a:p>
                    <a:p>
                      <a:pPr marL="171450" marR="0" lvl="0" indent="-171450" algn="l" defTabSz="914400" rtl="0" eaLnBrk="1" fontAlgn="auto" latinLnBrk="0" hangingPunct="1">
                        <a:lnSpc>
                          <a:spcPct val="100000"/>
                        </a:lnSpc>
                        <a:spcBef>
                          <a:spcPts val="0"/>
                        </a:spcBef>
                        <a:spcAft>
                          <a:spcPts val="0"/>
                        </a:spcAft>
                        <a:buClr>
                          <a:schemeClr val="accent1"/>
                        </a:buClr>
                        <a:buSzTx/>
                        <a:buFont typeface="Wingdings" panose="05000000000000000000" pitchFamily="2" charset="2"/>
                        <a:buChar char="§"/>
                        <a:tabLst/>
                        <a:defRPr/>
                      </a:pPr>
                      <a:r>
                        <a:rPr lang="en-US" sz="1100">
                          <a:solidFill>
                            <a:schemeClr val="bg2"/>
                          </a:solidFill>
                          <a:latin typeface="Rawline" panose="00000500000000000000" pitchFamily="2" charset="0"/>
                          <a:cs typeface="Segoe UI Semilight" panose="020B0402040204020203" pitchFamily="34" charset="0"/>
                        </a:rPr>
                        <a:t>Full Report deck</a:t>
                      </a:r>
                    </a:p>
                    <a:p>
                      <a:pPr marL="171450" marR="0" lvl="0" indent="-171450" algn="l" defTabSz="914400" rtl="0" eaLnBrk="1" fontAlgn="auto" latinLnBrk="0" hangingPunct="1">
                        <a:lnSpc>
                          <a:spcPct val="100000"/>
                        </a:lnSpc>
                        <a:spcBef>
                          <a:spcPts val="0"/>
                        </a:spcBef>
                        <a:spcAft>
                          <a:spcPts val="0"/>
                        </a:spcAft>
                        <a:buClr>
                          <a:schemeClr val="accent1"/>
                        </a:buClr>
                        <a:buSzTx/>
                        <a:buFont typeface="Wingdings" panose="05000000000000000000" pitchFamily="2" charset="2"/>
                        <a:buChar char="§"/>
                        <a:tabLst/>
                        <a:defRPr/>
                      </a:pPr>
                      <a:r>
                        <a:rPr lang="en-US" sz="1100">
                          <a:solidFill>
                            <a:schemeClr val="bg2"/>
                          </a:solidFill>
                          <a:latin typeface="Rawline" panose="00000500000000000000" pitchFamily="2" charset="0"/>
                          <a:cs typeface="Segoe UI Semilight" panose="020B0402040204020203" pitchFamily="34" charset="0"/>
                        </a:rPr>
                        <a:t>(Online) Debrief session</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lang="en-US" sz="1100">
                          <a:solidFill>
                            <a:schemeClr val="bg2"/>
                          </a:solidFill>
                        </a:rPr>
                        <a:t>UK</a:t>
                      </a:r>
                    </a:p>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lang="en-US" sz="1100">
                          <a:solidFill>
                            <a:schemeClr val="bg2"/>
                          </a:solidFill>
                        </a:rPr>
                        <a:t>Germany</a:t>
                      </a:r>
                    </a:p>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lang="en-US" sz="1100">
                          <a:solidFill>
                            <a:schemeClr val="bg2"/>
                          </a:solidFill>
                        </a:rPr>
                        <a:t>Italy</a:t>
                      </a:r>
                    </a:p>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lang="en-US" sz="1100">
                          <a:solidFill>
                            <a:schemeClr val="bg2"/>
                          </a:solidFill>
                        </a:rPr>
                        <a:t>Sweden</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100" b="0" i="0" u="none" strike="noStrike" kern="1200" cap="none" spc="0" normalizeH="0" baseline="0" noProof="0" err="1">
                          <a:ln>
                            <a:noFill/>
                          </a:ln>
                          <a:solidFill>
                            <a:schemeClr val="bg2"/>
                          </a:solidFill>
                          <a:effectLst/>
                          <a:uLnTx/>
                          <a:uFillTx/>
                          <a:latin typeface="Rawline" panose="00000500000000000000" pitchFamily="2" charset="0"/>
                          <a:ea typeface="+mn-ea"/>
                          <a:cs typeface="Segoe UI Semilight" panose="020B0402040204020203" pitchFamily="34" charset="0"/>
                        </a:rPr>
                        <a:t>QualBites</a:t>
                      </a:r>
                      <a:r>
                        <a:rPr kumimoji="0" lang="en-US" sz="1100" b="0" i="0" u="none" strike="noStrike" kern="1200" cap="none" spc="0" normalizeH="0" baseline="0" noProof="0">
                          <a:ln>
                            <a:noFill/>
                          </a:ln>
                          <a:solidFill>
                            <a:schemeClr val="bg2"/>
                          </a:solidFill>
                          <a:effectLst/>
                          <a:uLnTx/>
                          <a:uFillTx/>
                          <a:latin typeface="Rawline" panose="00000500000000000000" pitchFamily="2" charset="0"/>
                          <a:ea typeface="+mn-ea"/>
                          <a:cs typeface="Segoe UI Semilight" panose="020B0402040204020203" pitchFamily="34" charset="0"/>
                        </a:rPr>
                        <a:t>, n=500 in Germany</a:t>
                      </a: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100" b="0" i="0" u="none" strike="noStrike" kern="1200" cap="none" spc="0" normalizeH="0" baseline="0" noProof="0">
                          <a:ln>
                            <a:noFill/>
                          </a:ln>
                          <a:solidFill>
                            <a:schemeClr val="bg2"/>
                          </a:solidFill>
                          <a:effectLst/>
                          <a:uLnTx/>
                          <a:uFillTx/>
                          <a:latin typeface="Rawline" panose="00000500000000000000" pitchFamily="2" charset="0"/>
                          <a:ea typeface="+mn-ea"/>
                          <a:cs typeface="Segoe UI Semilight" panose="020B0402040204020203" pitchFamily="34" charset="0"/>
                        </a:rPr>
                        <a:t>n = 500 per market</a:t>
                      </a: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100" b="0" i="0" u="none" strike="noStrike" kern="1200" cap="none" spc="0" normalizeH="0" baseline="0" noProof="0">
                          <a:ln>
                            <a:noFill/>
                          </a:ln>
                          <a:solidFill>
                            <a:schemeClr val="bg2"/>
                          </a:solidFill>
                          <a:effectLst/>
                          <a:uLnTx/>
                          <a:uFillTx/>
                          <a:latin typeface="Rawline" panose="00000500000000000000" pitchFamily="2" charset="0"/>
                          <a:ea typeface="+mn-ea"/>
                          <a:cs typeface="Segoe UI Semilight" panose="020B0402040204020203" pitchFamily="34" charset="0"/>
                        </a:rPr>
                        <a:t>Users and Non-Rejectors of </a:t>
                      </a:r>
                      <a:r>
                        <a:rPr kumimoji="0" lang="en-US" sz="1100" b="0" i="0" u="none" strike="noStrike" kern="1200" cap="none" spc="0" normalizeH="0" baseline="0" noProof="0" err="1">
                          <a:ln>
                            <a:noFill/>
                          </a:ln>
                          <a:solidFill>
                            <a:schemeClr val="bg2"/>
                          </a:solidFill>
                          <a:effectLst/>
                          <a:uLnTx/>
                          <a:uFillTx/>
                          <a:latin typeface="Rawline" panose="00000500000000000000" pitchFamily="2" charset="0"/>
                          <a:ea typeface="+mn-ea"/>
                          <a:cs typeface="Segoe UI Semilight" panose="020B0402040204020203" pitchFamily="34" charset="0"/>
                        </a:rPr>
                        <a:t>Alpro</a:t>
                      </a:r>
                      <a:r>
                        <a:rPr kumimoji="0" lang="en-US" sz="1100" b="0" i="0" u="none" strike="noStrike" kern="1200" cap="none" spc="0" normalizeH="0" baseline="0" noProof="0">
                          <a:ln>
                            <a:noFill/>
                          </a:ln>
                          <a:solidFill>
                            <a:schemeClr val="bg2"/>
                          </a:solidFill>
                          <a:effectLst/>
                          <a:uLnTx/>
                          <a:uFillTx/>
                          <a:latin typeface="Rawline" panose="00000500000000000000" pitchFamily="2" charset="0"/>
                          <a:ea typeface="+mn-ea"/>
                          <a:cs typeface="Segoe UI Semilight" panose="020B0402040204020203" pitchFamily="34" charset="0"/>
                        </a:rPr>
                        <a:t> (Drinks and Yoghurts)</a:t>
                      </a: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endParaRPr kumimoji="0" lang="en-US" sz="1100" b="0" i="0" u="none" strike="noStrike" kern="1200" cap="none" spc="0" normalizeH="0" baseline="0" noProof="0">
                        <a:ln>
                          <a:noFill/>
                        </a:ln>
                        <a:solidFill>
                          <a:schemeClr val="bg2"/>
                        </a:solidFill>
                        <a:effectLst/>
                        <a:uLnTx/>
                        <a:uFillTx/>
                        <a:latin typeface="Rawline" panose="00000500000000000000" pitchFamily="2" charset="0"/>
                        <a:ea typeface="+mn-ea"/>
                        <a:cs typeface="Segoe UI Semilight" panose="020B0402040204020203" pitchFamily="34"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363895419"/>
                  </a:ext>
                </a:extLst>
              </a:tr>
            </a:tbl>
          </a:graphicData>
        </a:graphic>
      </p:graphicFrame>
      <p:pic>
        <p:nvPicPr>
          <p:cNvPr id="3" name="Graphic 2" descr="Globe outline">
            <a:extLst>
              <a:ext uri="{FF2B5EF4-FFF2-40B4-BE49-F238E27FC236}">
                <a16:creationId xmlns:a16="http://schemas.microsoft.com/office/drawing/2014/main" id="{BFA68803-9C56-68DA-88E8-B08B9C7A9860}"/>
              </a:ext>
            </a:extLst>
          </p:cNvPr>
          <p:cNvPicPr>
            <a:picLocks noChangeAspect="1"/>
          </p:cNvPicPr>
          <p:nvPr/>
        </p:nvPicPr>
        <p:blipFill rotWithShape="1">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rcRect l="9931" t="4536" r="12384" b="-1"/>
          <a:stretch/>
        </p:blipFill>
        <p:spPr>
          <a:xfrm>
            <a:off x="6068468" y="5330074"/>
            <a:ext cx="243156" cy="298800"/>
          </a:xfrm>
          <a:prstGeom prst="rect">
            <a:avLst/>
          </a:prstGeom>
        </p:spPr>
      </p:pic>
      <p:pic>
        <p:nvPicPr>
          <p:cNvPr id="4" name="Graphic 3" descr="Checkbox Checked outline">
            <a:extLst>
              <a:ext uri="{FF2B5EF4-FFF2-40B4-BE49-F238E27FC236}">
                <a16:creationId xmlns:a16="http://schemas.microsoft.com/office/drawing/2014/main" id="{08861BCA-0899-B6B7-9A0B-A5A2AC892363}"/>
              </a:ext>
            </a:extLst>
          </p:cNvPr>
          <p:cNvPicPr>
            <a:picLocks noChangeAspect="1"/>
          </p:cNvPicPr>
          <p:nvPr/>
        </p:nvPicPr>
        <p:blipFill rotWithShape="1">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rcRect l="21566" t="21999" r="21340" b="20727"/>
          <a:stretch/>
        </p:blipFill>
        <p:spPr>
          <a:xfrm>
            <a:off x="4383832" y="5348220"/>
            <a:ext cx="288000" cy="288902"/>
          </a:xfrm>
          <a:prstGeom prst="rect">
            <a:avLst/>
          </a:prstGeom>
        </p:spPr>
      </p:pic>
      <p:pic>
        <p:nvPicPr>
          <p:cNvPr id="7" name="Graphic 6" descr="User outline">
            <a:extLst>
              <a:ext uri="{FF2B5EF4-FFF2-40B4-BE49-F238E27FC236}">
                <a16:creationId xmlns:a16="http://schemas.microsoft.com/office/drawing/2014/main" id="{30DDE48A-1FDE-F21D-57B6-59E07B8C98F2}"/>
              </a:ext>
            </a:extLst>
          </p:cNvPr>
          <p:cNvPicPr>
            <a:picLocks noChangeAspect="1"/>
          </p:cNvPicPr>
          <p:nvPr/>
        </p:nvPicPr>
        <p:blipFill rotWithShape="1">
          <a:blip r:embed="rId8" cstate="print">
            <a:extLst>
              <a:ext uri="{28A0092B-C50C-407E-A947-70E740481C1C}">
                <a14:useLocalDpi xmlns:a14="http://schemas.microsoft.com/office/drawing/2010/main" val="0"/>
              </a:ext>
              <a:ext uri="{96DAC541-7B7A-43D3-8B79-37D633B846F1}">
                <asvg:svgBlip xmlns:asvg="http://schemas.microsoft.com/office/drawing/2016/SVG/main" r:embed="rId9"/>
              </a:ext>
            </a:extLst>
          </a:blip>
          <a:srcRect l="14706" t="12485" r="14328" b="11121"/>
          <a:stretch/>
        </p:blipFill>
        <p:spPr>
          <a:xfrm>
            <a:off x="8251057" y="5341460"/>
            <a:ext cx="273468" cy="294390"/>
          </a:xfrm>
          <a:prstGeom prst="rect">
            <a:avLst/>
          </a:prstGeom>
        </p:spPr>
      </p:pic>
    </p:spTree>
    <p:extLst>
      <p:ext uri="{BB962C8B-B14F-4D97-AF65-F5344CB8AC3E}">
        <p14:creationId xmlns:p14="http://schemas.microsoft.com/office/powerpoint/2010/main" val="13581695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title"/>
          </p:nvPr>
        </p:nvSpPr>
        <p:spPr>
          <a:xfrm>
            <a:off x="4592922" y="521364"/>
            <a:ext cx="6997753" cy="972000"/>
          </a:xfrm>
        </p:spPr>
        <p:txBody>
          <a:bodyPr/>
          <a:lstStyle/>
          <a:p>
            <a:r>
              <a:rPr lang="en-US"/>
              <a:t>The swiping module</a:t>
            </a:r>
          </a:p>
        </p:txBody>
      </p:sp>
      <p:sp>
        <p:nvSpPr>
          <p:cNvPr id="2" name="Content Placeholder 1"/>
          <p:cNvSpPr>
            <a:spLocks noGrp="1"/>
          </p:cNvSpPr>
          <p:nvPr>
            <p:ph type="body" sz="quarter" idx="26"/>
          </p:nvPr>
        </p:nvSpPr>
        <p:spPr>
          <a:xfrm>
            <a:off x="503237" y="521814"/>
            <a:ext cx="3168000" cy="971550"/>
          </a:xfrm>
        </p:spPr>
        <p:txBody>
          <a:bodyPr/>
          <a:lstStyle/>
          <a:p>
            <a:pPr marL="0" indent="0">
              <a:buNone/>
            </a:pPr>
            <a:r>
              <a:rPr lang="en-US">
                <a:solidFill>
                  <a:schemeClr val="bg2"/>
                </a:solidFill>
                <a:latin typeface="+mj-lt"/>
              </a:rPr>
              <a:t>Methodology</a:t>
            </a:r>
          </a:p>
        </p:txBody>
      </p:sp>
      <p:sp>
        <p:nvSpPr>
          <p:cNvPr id="14" name="Text Placeholder 13">
            <a:extLst>
              <a:ext uri="{FF2B5EF4-FFF2-40B4-BE49-F238E27FC236}">
                <a16:creationId xmlns:a16="http://schemas.microsoft.com/office/drawing/2014/main" id="{3D7B1C37-DA35-4B21-BE02-6F7A5F9DB079}"/>
              </a:ext>
            </a:extLst>
          </p:cNvPr>
          <p:cNvSpPr>
            <a:spLocks noGrp="1"/>
          </p:cNvSpPr>
          <p:nvPr>
            <p:ph type="body" sz="quarter" idx="28"/>
          </p:nvPr>
        </p:nvSpPr>
        <p:spPr>
          <a:xfrm>
            <a:off x="4592922" y="1965539"/>
            <a:ext cx="3615166" cy="3344929"/>
          </a:xfrm>
          <a:ln>
            <a:noFill/>
          </a:ln>
        </p:spPr>
        <p:txBody>
          <a:bodyPr/>
          <a:lstStyle/>
          <a:p>
            <a:pPr marL="92075" indent="0">
              <a:lnSpc>
                <a:spcPct val="150000"/>
              </a:lnSpc>
              <a:buNone/>
            </a:pPr>
            <a:r>
              <a:rPr lang="en-US" sz="1400">
                <a:solidFill>
                  <a:srgbClr val="1C6D7D"/>
                </a:solidFill>
                <a:latin typeface="+mj-lt"/>
              </a:rPr>
              <a:t>This approach is particularly good for measuring initial reactions – emotional, automatic, and associative – to stimuli. This module is aimed at determining the absolute appeal of each product. </a:t>
            </a:r>
          </a:p>
        </p:txBody>
      </p:sp>
      <p:sp>
        <p:nvSpPr>
          <p:cNvPr id="30" name="Text Placeholder 12">
            <a:extLst>
              <a:ext uri="{FF2B5EF4-FFF2-40B4-BE49-F238E27FC236}">
                <a16:creationId xmlns:a16="http://schemas.microsoft.com/office/drawing/2014/main" id="{541C4938-3B09-41BD-8A12-8F89A89EBAC6}"/>
              </a:ext>
            </a:extLst>
          </p:cNvPr>
          <p:cNvSpPr>
            <a:spLocks noGrp="1"/>
          </p:cNvSpPr>
          <p:nvPr>
            <p:ph type="body" sz="quarter" idx="27"/>
          </p:nvPr>
        </p:nvSpPr>
        <p:spPr>
          <a:xfrm>
            <a:off x="503237" y="1965539"/>
            <a:ext cx="3331818" cy="4410075"/>
          </a:xfrm>
        </p:spPr>
        <p:txBody>
          <a:bodyPr/>
          <a:lstStyle/>
          <a:p>
            <a:r>
              <a:rPr lang="en-US"/>
              <a:t>The objective of the swiping module is to establish the absolute appeal (metric TBD) of all the claims.</a:t>
            </a:r>
          </a:p>
          <a:p>
            <a:r>
              <a:rPr lang="en-US"/>
              <a:t>Through several swiping exercises, consumers reveal which claims they prefer.</a:t>
            </a:r>
          </a:p>
          <a:p>
            <a:r>
              <a:rPr lang="en-US" sz="1400" i="1"/>
              <a:t>Unspoken can be tailored to the most relevant metric for Alpro  e.g., Appeal, motivating to buy, superior, relevant, etc. Let’s discuss!</a:t>
            </a:r>
          </a:p>
        </p:txBody>
      </p:sp>
      <p:sp>
        <p:nvSpPr>
          <p:cNvPr id="23" name="Rectangle: Rounded Corners 22">
            <a:extLst>
              <a:ext uri="{FF2B5EF4-FFF2-40B4-BE49-F238E27FC236}">
                <a16:creationId xmlns:a16="http://schemas.microsoft.com/office/drawing/2014/main" id="{C9A6DAE5-C94A-4234-A03E-5A07B5870599}"/>
              </a:ext>
            </a:extLst>
          </p:cNvPr>
          <p:cNvSpPr/>
          <p:nvPr/>
        </p:nvSpPr>
        <p:spPr bwMode="auto">
          <a:xfrm>
            <a:off x="3751709" y="522807"/>
            <a:ext cx="518091" cy="518091"/>
          </a:xfrm>
          <a:prstGeom prst="roundRect">
            <a:avLst/>
          </a:prstGeom>
          <a:solidFill>
            <a:schemeClr val="accent3"/>
          </a:solidFill>
          <a:ln w="0">
            <a:noFill/>
            <a:prstDash val="solid"/>
            <a:round/>
            <a:headEnd/>
            <a:tailEnd/>
          </a:ln>
        </p:spPr>
        <p:txBody>
          <a:bodyPr vert="horz" wrap="square" lIns="68580" tIns="34290" rIns="68580" bIns="34290" numCol="1" rtlCol="0" anchor="ctr" anchorCtr="0" compatLnSpc="1">
            <a:prstTxWarp prst="textNoShape">
              <a:avLst/>
            </a:prstTxWarp>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chemeClr val="bg2"/>
                </a:solidFill>
                <a:effectLst/>
                <a:uLnTx/>
                <a:uFillTx/>
                <a:latin typeface="Arial"/>
                <a:ea typeface="+mn-ea"/>
                <a:cs typeface="+mn-cs"/>
              </a:rPr>
              <a:t>1</a:t>
            </a:r>
          </a:p>
        </p:txBody>
      </p:sp>
      <p:sp>
        <p:nvSpPr>
          <p:cNvPr id="9" name="Rectangle 8">
            <a:extLst>
              <a:ext uri="{FF2B5EF4-FFF2-40B4-BE49-F238E27FC236}">
                <a16:creationId xmlns:a16="http://schemas.microsoft.com/office/drawing/2014/main" id="{D97A5E88-9C9E-BA77-D4CC-2F778B20BC0B}"/>
              </a:ext>
            </a:extLst>
          </p:cNvPr>
          <p:cNvSpPr/>
          <p:nvPr/>
        </p:nvSpPr>
        <p:spPr>
          <a:xfrm rot="842434">
            <a:off x="9674962" y="3304521"/>
            <a:ext cx="1357746" cy="1570182"/>
          </a:xfrm>
          <a:prstGeom prst="rect">
            <a:avLst/>
          </a:prstGeom>
          <a:solidFill>
            <a:schemeClr val="tx1">
              <a:lumMod val="10000"/>
              <a:lumOff val="90000"/>
            </a:schemeClr>
          </a:solidFill>
          <a:ln w="190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wrap="square" lIns="108000" tIns="72000" rIns="108000" bIns="108000" rtlCol="0" anchor="ctr" anchorCtr="0">
            <a:noAutofit/>
          </a:bodyPr>
          <a:lstStyle/>
          <a:p>
            <a:pPr indent="0" algn="ctr">
              <a:lnSpc>
                <a:spcPct val="120000"/>
              </a:lnSpc>
            </a:pPr>
            <a:r>
              <a:rPr lang="en-US" sz="1400">
                <a:solidFill>
                  <a:schemeClr val="accent1"/>
                </a:solidFill>
                <a:effectLst/>
                <a:ea typeface="Times New Roman" panose="02020603050405020304" pitchFamily="18" charset="0"/>
              </a:rPr>
              <a:t>#1 high-protein drink</a:t>
            </a:r>
            <a:endParaRPr lang="en-US" sz="1100">
              <a:solidFill>
                <a:schemeClr val="accent1"/>
              </a:solidFill>
            </a:endParaRPr>
          </a:p>
        </p:txBody>
      </p:sp>
      <p:grpSp>
        <p:nvGrpSpPr>
          <p:cNvPr id="5" name="Group 4">
            <a:extLst>
              <a:ext uri="{FF2B5EF4-FFF2-40B4-BE49-F238E27FC236}">
                <a16:creationId xmlns:a16="http://schemas.microsoft.com/office/drawing/2014/main" id="{73D077D2-5F18-A6C1-93D5-980F5D5F0272}"/>
              </a:ext>
            </a:extLst>
          </p:cNvPr>
          <p:cNvGrpSpPr/>
          <p:nvPr/>
        </p:nvGrpSpPr>
        <p:grpSpPr>
          <a:xfrm>
            <a:off x="8788183" y="1951574"/>
            <a:ext cx="3536920" cy="4906425"/>
            <a:chOff x="8788183" y="1951574"/>
            <a:chExt cx="3536920" cy="4906425"/>
          </a:xfrm>
        </p:grpSpPr>
        <p:pic>
          <p:nvPicPr>
            <p:cNvPr id="10" name="Picture 9">
              <a:hlinkClick r:id="rId3"/>
              <a:extLst>
                <a:ext uri="{FF2B5EF4-FFF2-40B4-BE49-F238E27FC236}">
                  <a16:creationId xmlns:a16="http://schemas.microsoft.com/office/drawing/2014/main" id="{9AA89586-1F18-3D4E-8F16-37ED834CDDA6}"/>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8839200" y="1951574"/>
              <a:ext cx="3485903" cy="4906425"/>
            </a:xfrm>
            <a:prstGeom prst="rect">
              <a:avLst/>
            </a:prstGeom>
          </p:spPr>
        </p:pic>
        <p:sp>
          <p:nvSpPr>
            <p:cNvPr id="12" name="TextBox 11">
              <a:extLst>
                <a:ext uri="{FF2B5EF4-FFF2-40B4-BE49-F238E27FC236}">
                  <a16:creationId xmlns:a16="http://schemas.microsoft.com/office/drawing/2014/main" id="{802783E7-E4A4-CE1A-1AC7-8F18296DDF87}"/>
                </a:ext>
              </a:extLst>
            </p:cNvPr>
            <p:cNvSpPr txBox="1"/>
            <p:nvPr/>
          </p:nvSpPr>
          <p:spPr>
            <a:xfrm>
              <a:off x="9414681" y="2358682"/>
              <a:ext cx="1725770" cy="602001"/>
            </a:xfrm>
            <a:prstGeom prst="rect">
              <a:avLst/>
            </a:prstGeom>
            <a:noFill/>
          </p:spPr>
          <p:txBody>
            <a:bodyPr wrap="square" lIns="108000" tIns="72000" rIns="108000" bIns="108000" rtlCol="0">
              <a:spAutoFit/>
            </a:bodyPr>
            <a:lstStyle/>
            <a:p>
              <a:pPr indent="0" algn="ctr">
                <a:lnSpc>
                  <a:spcPct val="120000"/>
                </a:lnSpc>
                <a:spcAft>
                  <a:spcPts val="1000"/>
                </a:spcAft>
              </a:pPr>
              <a:r>
                <a:rPr lang="en-US" sz="1200">
                  <a:solidFill>
                    <a:schemeClr val="accent1"/>
                  </a:solidFill>
                </a:rPr>
                <a:t>Do you find this message appealing?</a:t>
              </a:r>
            </a:p>
          </p:txBody>
        </p:sp>
        <p:sp>
          <p:nvSpPr>
            <p:cNvPr id="13" name="Arrow: Right 12">
              <a:extLst>
                <a:ext uri="{FF2B5EF4-FFF2-40B4-BE49-F238E27FC236}">
                  <a16:creationId xmlns:a16="http://schemas.microsoft.com/office/drawing/2014/main" id="{C7380BB6-FEC9-109B-4014-09239D9F877C}"/>
                </a:ext>
              </a:extLst>
            </p:cNvPr>
            <p:cNvSpPr/>
            <p:nvPr/>
          </p:nvSpPr>
          <p:spPr>
            <a:xfrm>
              <a:off x="10996998" y="3810142"/>
              <a:ext cx="746749" cy="417175"/>
            </a:xfrm>
            <a:prstGeom prst="rightArrow">
              <a:avLst>
                <a:gd name="adj1" fmla="val 51010"/>
                <a:gd name="adj2" fmla="val 76083"/>
              </a:avLst>
            </a:prstGeom>
            <a:solidFill>
              <a:srgbClr val="E6EFF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square" lIns="108000" tIns="72000" rIns="108000" bIns="108000" rtlCol="0" anchor="ctr" anchorCtr="0">
              <a:noAutofit/>
            </a:bodyPr>
            <a:lstStyle/>
            <a:p>
              <a:pPr indent="0" algn="l">
                <a:lnSpc>
                  <a:spcPct val="120000"/>
                </a:lnSpc>
              </a:pPr>
              <a:r>
                <a:rPr lang="en-US" sz="1200" b="1">
                  <a:solidFill>
                    <a:schemeClr val="bg2"/>
                  </a:solidFill>
                </a:rPr>
                <a:t>YES</a:t>
              </a:r>
            </a:p>
          </p:txBody>
        </p:sp>
        <p:sp>
          <p:nvSpPr>
            <p:cNvPr id="15" name="Arrow: Left 14">
              <a:extLst>
                <a:ext uri="{FF2B5EF4-FFF2-40B4-BE49-F238E27FC236}">
                  <a16:creationId xmlns:a16="http://schemas.microsoft.com/office/drawing/2014/main" id="{E4FD2A14-9DF1-19CE-4337-5472588F9025}"/>
                </a:ext>
              </a:extLst>
            </p:cNvPr>
            <p:cNvSpPr/>
            <p:nvPr/>
          </p:nvSpPr>
          <p:spPr>
            <a:xfrm>
              <a:off x="8788183" y="3801884"/>
              <a:ext cx="746749" cy="433689"/>
            </a:xfrm>
            <a:prstGeom prst="leftArrow">
              <a:avLst>
                <a:gd name="adj1" fmla="val 50000"/>
                <a:gd name="adj2" fmla="val 67389"/>
              </a:avLst>
            </a:prstGeom>
            <a:solidFill>
              <a:schemeClr val="accent4">
                <a:lumMod val="20000"/>
                <a:lumOff val="80000"/>
              </a:schemeClr>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wrap="square" lIns="108000" tIns="72000" rIns="108000" bIns="108000" rtlCol="0" anchor="ctr" anchorCtr="0">
              <a:noAutofit/>
            </a:bodyPr>
            <a:lstStyle/>
            <a:p>
              <a:pPr indent="0" algn="r">
                <a:lnSpc>
                  <a:spcPct val="120000"/>
                </a:lnSpc>
              </a:pPr>
              <a:r>
                <a:rPr lang="en-US" sz="1400" b="1">
                  <a:solidFill>
                    <a:schemeClr val="accent4"/>
                  </a:solidFill>
                </a:rPr>
                <a:t>No</a:t>
              </a:r>
            </a:p>
          </p:txBody>
        </p:sp>
        <p:sp>
          <p:nvSpPr>
            <p:cNvPr id="3" name="Rectangle 2">
              <a:extLst>
                <a:ext uri="{FF2B5EF4-FFF2-40B4-BE49-F238E27FC236}">
                  <a16:creationId xmlns:a16="http://schemas.microsoft.com/office/drawing/2014/main" id="{8572D976-40CA-3FF7-E023-9AD9CAECD38D}"/>
                </a:ext>
              </a:extLst>
            </p:cNvPr>
            <p:cNvSpPr/>
            <p:nvPr/>
          </p:nvSpPr>
          <p:spPr>
            <a:xfrm rot="805451">
              <a:off x="9770473" y="3489562"/>
              <a:ext cx="1152516" cy="879295"/>
            </a:xfrm>
            <a:prstGeom prst="rect">
              <a:avLst/>
            </a:prstGeom>
            <a:solidFill>
              <a:srgbClr val="E7EC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72000" rIns="108000" bIns="108000" rtlCol="0" anchor="t" anchorCtr="0">
              <a:noAutofit/>
            </a:bodyPr>
            <a:lstStyle/>
            <a:p>
              <a:pPr indent="0" algn="l">
                <a:lnSpc>
                  <a:spcPct val="120000"/>
                </a:lnSpc>
              </a:pPr>
              <a:endParaRPr lang="en-US" sz="1400" err="1">
                <a:solidFill>
                  <a:schemeClr val="bg2"/>
                </a:solidFill>
              </a:endParaRPr>
            </a:p>
          </p:txBody>
        </p:sp>
      </p:grpSp>
      <p:sp>
        <p:nvSpPr>
          <p:cNvPr id="6" name="TextBox 5">
            <a:extLst>
              <a:ext uri="{FF2B5EF4-FFF2-40B4-BE49-F238E27FC236}">
                <a16:creationId xmlns:a16="http://schemas.microsoft.com/office/drawing/2014/main" id="{4429F716-65EE-F90D-0AF4-62730F9A70DF}"/>
              </a:ext>
            </a:extLst>
          </p:cNvPr>
          <p:cNvSpPr txBox="1"/>
          <p:nvPr/>
        </p:nvSpPr>
        <p:spPr>
          <a:xfrm rot="855132">
            <a:off x="9701281" y="3502747"/>
            <a:ext cx="1326928" cy="1037505"/>
          </a:xfrm>
          <a:prstGeom prst="rect">
            <a:avLst/>
          </a:prstGeom>
          <a:noFill/>
        </p:spPr>
        <p:txBody>
          <a:bodyPr wrap="square" lIns="108000" tIns="72000" rIns="108000" bIns="108000" rtlCol="0">
            <a:spAutoFit/>
          </a:bodyPr>
          <a:lstStyle/>
          <a:p>
            <a:pPr indent="0" algn="ctr">
              <a:lnSpc>
                <a:spcPct val="120000"/>
              </a:lnSpc>
              <a:spcAft>
                <a:spcPts val="1000"/>
              </a:spcAft>
            </a:pPr>
            <a:r>
              <a:rPr lang="en-US">
                <a:solidFill>
                  <a:schemeClr val="accent1"/>
                </a:solidFill>
              </a:rPr>
              <a:t>100% Plant- Based</a:t>
            </a:r>
          </a:p>
        </p:txBody>
      </p:sp>
    </p:spTree>
    <p:extLst>
      <p:ext uri="{BB962C8B-B14F-4D97-AF65-F5344CB8AC3E}">
        <p14:creationId xmlns:p14="http://schemas.microsoft.com/office/powerpoint/2010/main" val="4144864349"/>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ext Placeholder 13">
            <a:extLst>
              <a:ext uri="{FF2B5EF4-FFF2-40B4-BE49-F238E27FC236}">
                <a16:creationId xmlns:a16="http://schemas.microsoft.com/office/drawing/2014/main" id="{3D7B1C37-DA35-4B21-BE02-6F7A5F9DB079}"/>
              </a:ext>
            </a:extLst>
          </p:cNvPr>
          <p:cNvSpPr>
            <a:spLocks noGrp="1"/>
          </p:cNvSpPr>
          <p:nvPr>
            <p:ph type="body" sz="quarter" idx="28"/>
          </p:nvPr>
        </p:nvSpPr>
        <p:spPr>
          <a:xfrm>
            <a:off x="4592922" y="1965539"/>
            <a:ext cx="3331817" cy="3344929"/>
          </a:xfrm>
          <a:ln>
            <a:noFill/>
          </a:ln>
        </p:spPr>
        <p:txBody>
          <a:bodyPr/>
          <a:lstStyle/>
          <a:p>
            <a:pPr marL="92075" indent="0">
              <a:lnSpc>
                <a:spcPct val="150000"/>
              </a:lnSpc>
              <a:buNone/>
            </a:pPr>
            <a:r>
              <a:rPr lang="en-US" sz="1400">
                <a:solidFill>
                  <a:srgbClr val="1C6D7D"/>
                </a:solidFill>
                <a:latin typeface="+mj-lt"/>
              </a:rPr>
              <a:t>We will show 4 different claims at random and ask consumers to choose the option that would motivate them most to buy (TBD) Alpro products. There will be multiple screens.</a:t>
            </a:r>
          </a:p>
          <a:p>
            <a:pPr marL="92075" indent="0">
              <a:lnSpc>
                <a:spcPct val="150000"/>
              </a:lnSpc>
              <a:buNone/>
            </a:pPr>
            <a:r>
              <a:rPr lang="en-US" sz="1400">
                <a:solidFill>
                  <a:srgbClr val="1C6D7D"/>
                </a:solidFill>
                <a:latin typeface="+mj-lt"/>
              </a:rPr>
              <a:t>We will then get a ranking of all the claims by motivation to buy (TBD). </a:t>
            </a:r>
          </a:p>
          <a:p>
            <a:pPr marL="92075" indent="0">
              <a:lnSpc>
                <a:spcPct val="150000"/>
              </a:lnSpc>
              <a:buNone/>
            </a:pPr>
            <a:endParaRPr lang="en-US" sz="1400">
              <a:solidFill>
                <a:srgbClr val="1C6D7D"/>
              </a:solidFill>
              <a:latin typeface="+mj-lt"/>
            </a:endParaRPr>
          </a:p>
        </p:txBody>
      </p:sp>
      <p:sp>
        <p:nvSpPr>
          <p:cNvPr id="30" name="Text Placeholder 12">
            <a:extLst>
              <a:ext uri="{FF2B5EF4-FFF2-40B4-BE49-F238E27FC236}">
                <a16:creationId xmlns:a16="http://schemas.microsoft.com/office/drawing/2014/main" id="{541C4938-3B09-41BD-8A12-8F89A89EBAC6}"/>
              </a:ext>
            </a:extLst>
          </p:cNvPr>
          <p:cNvSpPr>
            <a:spLocks noGrp="1"/>
          </p:cNvSpPr>
          <p:nvPr>
            <p:ph type="body" sz="quarter" idx="27"/>
          </p:nvPr>
        </p:nvSpPr>
        <p:spPr>
          <a:xfrm>
            <a:off x="503237" y="1965539"/>
            <a:ext cx="3331818" cy="4410075"/>
          </a:xfrm>
        </p:spPr>
        <p:txBody>
          <a:bodyPr/>
          <a:lstStyle/>
          <a:p>
            <a:r>
              <a:rPr lang="en-US"/>
              <a:t>Once consumers have indicated their absolute appeal for the different claims, we will determine their relative motivation to buy (TBD) thanks to an intuitive tapping trade-off exercise. </a:t>
            </a:r>
          </a:p>
          <a:p>
            <a:r>
              <a:rPr lang="en-US"/>
              <a:t>In this module, consumers make trade-offs between competing options. </a:t>
            </a:r>
          </a:p>
        </p:txBody>
      </p:sp>
      <p:sp>
        <p:nvSpPr>
          <p:cNvPr id="17" name="Rectangle: Rounded Corners 16">
            <a:extLst>
              <a:ext uri="{FF2B5EF4-FFF2-40B4-BE49-F238E27FC236}">
                <a16:creationId xmlns:a16="http://schemas.microsoft.com/office/drawing/2014/main" id="{BDCF566A-7B38-43DF-B29D-3D57BA1A0646}"/>
              </a:ext>
            </a:extLst>
          </p:cNvPr>
          <p:cNvSpPr/>
          <p:nvPr/>
        </p:nvSpPr>
        <p:spPr bwMode="auto">
          <a:xfrm>
            <a:off x="3751709" y="522807"/>
            <a:ext cx="518091" cy="518091"/>
          </a:xfrm>
          <a:prstGeom prst="roundRect">
            <a:avLst/>
          </a:prstGeom>
          <a:solidFill>
            <a:schemeClr val="accent3"/>
          </a:solidFill>
          <a:ln w="0">
            <a:noFill/>
            <a:prstDash val="solid"/>
            <a:round/>
            <a:headEnd/>
            <a:tailEnd/>
          </a:ln>
        </p:spPr>
        <p:txBody>
          <a:bodyPr vert="horz" wrap="square" lIns="68580" tIns="34290" rIns="68580" bIns="34290" numCol="1" rtlCol="0" anchor="ctr" anchorCtr="0" compatLnSpc="1">
            <a:prstTxWarp prst="textNoShape">
              <a:avLst/>
            </a:prstTxWarp>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US" sz="2000" b="1">
                <a:solidFill>
                  <a:schemeClr val="bg2"/>
                </a:solidFill>
                <a:latin typeface="Arial"/>
              </a:rPr>
              <a:t>2</a:t>
            </a:r>
            <a:endParaRPr kumimoji="0" lang="en-US" sz="2000" b="1" i="0" u="none" strike="noStrike" kern="1200" cap="none" spc="0" normalizeH="0" baseline="0" noProof="0">
              <a:ln>
                <a:noFill/>
              </a:ln>
              <a:solidFill>
                <a:schemeClr val="bg2"/>
              </a:solidFill>
              <a:effectLst/>
              <a:uLnTx/>
              <a:uFillTx/>
              <a:latin typeface="Arial"/>
              <a:ea typeface="+mn-ea"/>
              <a:cs typeface="+mn-cs"/>
            </a:endParaRPr>
          </a:p>
        </p:txBody>
      </p:sp>
      <p:sp>
        <p:nvSpPr>
          <p:cNvPr id="27" name="Title 10">
            <a:extLst>
              <a:ext uri="{FF2B5EF4-FFF2-40B4-BE49-F238E27FC236}">
                <a16:creationId xmlns:a16="http://schemas.microsoft.com/office/drawing/2014/main" id="{38EA29B1-C290-4B8A-8090-B0C0363C65D1}"/>
              </a:ext>
            </a:extLst>
          </p:cNvPr>
          <p:cNvSpPr>
            <a:spLocks noGrp="1"/>
          </p:cNvSpPr>
          <p:nvPr>
            <p:ph type="title"/>
          </p:nvPr>
        </p:nvSpPr>
        <p:spPr>
          <a:xfrm>
            <a:off x="4592922" y="521364"/>
            <a:ext cx="6997753" cy="972000"/>
          </a:xfrm>
        </p:spPr>
        <p:txBody>
          <a:bodyPr/>
          <a:lstStyle/>
          <a:p>
            <a:r>
              <a:rPr lang="en-US"/>
              <a:t>The trade-off module</a:t>
            </a:r>
          </a:p>
        </p:txBody>
      </p:sp>
      <p:sp>
        <p:nvSpPr>
          <p:cNvPr id="28" name="Content Placeholder 1">
            <a:extLst>
              <a:ext uri="{FF2B5EF4-FFF2-40B4-BE49-F238E27FC236}">
                <a16:creationId xmlns:a16="http://schemas.microsoft.com/office/drawing/2014/main" id="{3B23E00C-9FA7-4291-A61A-6B5751A3B17E}"/>
              </a:ext>
            </a:extLst>
          </p:cNvPr>
          <p:cNvSpPr>
            <a:spLocks noGrp="1"/>
          </p:cNvSpPr>
          <p:nvPr>
            <p:ph type="body" sz="quarter" idx="26"/>
          </p:nvPr>
        </p:nvSpPr>
        <p:spPr>
          <a:xfrm>
            <a:off x="503237" y="521814"/>
            <a:ext cx="3168000" cy="971550"/>
          </a:xfrm>
        </p:spPr>
        <p:txBody>
          <a:bodyPr/>
          <a:lstStyle/>
          <a:p>
            <a:pPr marL="0" indent="0">
              <a:buNone/>
            </a:pPr>
            <a:r>
              <a:rPr lang="en-US">
                <a:solidFill>
                  <a:schemeClr val="bg2"/>
                </a:solidFill>
                <a:latin typeface="+mj-lt"/>
              </a:rPr>
              <a:t>Methodology</a:t>
            </a:r>
          </a:p>
        </p:txBody>
      </p:sp>
      <p:grpSp>
        <p:nvGrpSpPr>
          <p:cNvPr id="5" name="Group 4">
            <a:extLst>
              <a:ext uri="{FF2B5EF4-FFF2-40B4-BE49-F238E27FC236}">
                <a16:creationId xmlns:a16="http://schemas.microsoft.com/office/drawing/2014/main" id="{593A078D-98F7-C278-67E6-02577EE86CCE}"/>
              </a:ext>
            </a:extLst>
          </p:cNvPr>
          <p:cNvGrpSpPr/>
          <p:nvPr/>
        </p:nvGrpSpPr>
        <p:grpSpPr>
          <a:xfrm>
            <a:off x="8840070" y="1951574"/>
            <a:ext cx="3485903" cy="4906425"/>
            <a:chOff x="8840070" y="1951574"/>
            <a:chExt cx="3485903" cy="4906425"/>
          </a:xfrm>
        </p:grpSpPr>
        <p:sp>
          <p:nvSpPr>
            <p:cNvPr id="26" name="Rectangle 25">
              <a:extLst>
                <a:ext uri="{FF2B5EF4-FFF2-40B4-BE49-F238E27FC236}">
                  <a16:creationId xmlns:a16="http://schemas.microsoft.com/office/drawing/2014/main" id="{698E1005-1F77-4306-8792-143B33D6C533}"/>
                </a:ext>
              </a:extLst>
            </p:cNvPr>
            <p:cNvSpPr/>
            <p:nvPr/>
          </p:nvSpPr>
          <p:spPr>
            <a:xfrm>
              <a:off x="10288783" y="4299224"/>
              <a:ext cx="832669" cy="1256045"/>
            </a:xfrm>
            <a:prstGeom prst="rect">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square" lIns="108000" tIns="72000" rIns="108000" bIns="108000" rtlCol="0" anchor="t" anchorCtr="0">
              <a:noAutofit/>
            </a:bodyPr>
            <a:lstStyle/>
            <a:p>
              <a:pPr indent="0" algn="l">
                <a:lnSpc>
                  <a:spcPct val="120000"/>
                </a:lnSpc>
              </a:pPr>
              <a:endParaRPr lang="en-US" sz="1400" err="1">
                <a:solidFill>
                  <a:schemeClr val="bg2"/>
                </a:solidFill>
              </a:endParaRPr>
            </a:p>
          </p:txBody>
        </p:sp>
        <p:sp>
          <p:nvSpPr>
            <p:cNvPr id="9" name="TextBox 8">
              <a:extLst>
                <a:ext uri="{FF2B5EF4-FFF2-40B4-BE49-F238E27FC236}">
                  <a16:creationId xmlns:a16="http://schemas.microsoft.com/office/drawing/2014/main" id="{29459039-A19E-47E9-97E6-FDB91FEF26D0}"/>
                </a:ext>
              </a:extLst>
            </p:cNvPr>
            <p:cNvSpPr txBox="1"/>
            <p:nvPr/>
          </p:nvSpPr>
          <p:spPr>
            <a:xfrm>
              <a:off x="10286354" y="4604782"/>
              <a:ext cx="832669" cy="663172"/>
            </a:xfrm>
            <a:prstGeom prst="rect">
              <a:avLst/>
            </a:prstGeom>
            <a:noFill/>
          </p:spPr>
          <p:txBody>
            <a:bodyPr wrap="square" lIns="108000" tIns="72000" rIns="108000" bIns="108000" rtlCol="0">
              <a:spAutoFit/>
            </a:bodyPr>
            <a:lstStyle/>
            <a:p>
              <a:pPr indent="0" algn="ctr">
                <a:lnSpc>
                  <a:spcPct val="120000"/>
                </a:lnSpc>
                <a:spcAft>
                  <a:spcPts val="1000"/>
                </a:spcAft>
              </a:pPr>
              <a:r>
                <a:rPr lang="en-US" sz="900">
                  <a:solidFill>
                    <a:schemeClr val="accent1"/>
                  </a:solidFill>
                </a:rPr>
                <a:t>Made from recyclable materials</a:t>
              </a:r>
            </a:p>
          </p:txBody>
        </p:sp>
        <p:pic>
          <p:nvPicPr>
            <p:cNvPr id="20" name="Picture 19">
              <a:extLst>
                <a:ext uri="{FF2B5EF4-FFF2-40B4-BE49-F238E27FC236}">
                  <a16:creationId xmlns:a16="http://schemas.microsoft.com/office/drawing/2014/main" id="{7693F409-C596-41E5-B9DB-410D42D9507B}"/>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8840070" y="1951574"/>
              <a:ext cx="3485903" cy="4906425"/>
            </a:xfrm>
            <a:prstGeom prst="rect">
              <a:avLst/>
            </a:prstGeom>
          </p:spPr>
        </p:pic>
        <p:sp>
          <p:nvSpPr>
            <p:cNvPr id="21" name="TextBox 20">
              <a:extLst>
                <a:ext uri="{FF2B5EF4-FFF2-40B4-BE49-F238E27FC236}">
                  <a16:creationId xmlns:a16="http://schemas.microsoft.com/office/drawing/2014/main" id="{7B8C228E-6F56-457A-94CF-E11E778AD5C6}"/>
                </a:ext>
              </a:extLst>
            </p:cNvPr>
            <p:cNvSpPr txBox="1"/>
            <p:nvPr/>
          </p:nvSpPr>
          <p:spPr>
            <a:xfrm>
              <a:off x="9365465" y="2324086"/>
              <a:ext cx="1725770" cy="669264"/>
            </a:xfrm>
            <a:prstGeom prst="rect">
              <a:avLst/>
            </a:prstGeom>
            <a:noFill/>
          </p:spPr>
          <p:txBody>
            <a:bodyPr wrap="square" lIns="108000" tIns="72000" rIns="108000" bIns="108000" rtlCol="0">
              <a:spAutoFit/>
            </a:bodyPr>
            <a:lstStyle/>
            <a:p>
              <a:pPr indent="0" algn="ctr">
                <a:lnSpc>
                  <a:spcPct val="120000"/>
                </a:lnSpc>
                <a:spcAft>
                  <a:spcPts val="1000"/>
                </a:spcAft>
              </a:pPr>
              <a:r>
                <a:rPr lang="en-US" sz="900">
                  <a:solidFill>
                    <a:schemeClr val="accent1"/>
                  </a:solidFill>
                </a:rPr>
                <a:t>Which message would motivate you most to purchase Alpro products?</a:t>
              </a:r>
            </a:p>
          </p:txBody>
        </p:sp>
        <p:sp>
          <p:nvSpPr>
            <p:cNvPr id="29" name="TextBox 28">
              <a:extLst>
                <a:ext uri="{FF2B5EF4-FFF2-40B4-BE49-F238E27FC236}">
                  <a16:creationId xmlns:a16="http://schemas.microsoft.com/office/drawing/2014/main" id="{CB46C9B1-0C2C-4F06-8F81-F67844861636}"/>
                </a:ext>
              </a:extLst>
            </p:cNvPr>
            <p:cNvSpPr txBox="1"/>
            <p:nvPr/>
          </p:nvSpPr>
          <p:spPr>
            <a:xfrm>
              <a:off x="9395680" y="4696666"/>
              <a:ext cx="832669" cy="479403"/>
            </a:xfrm>
            <a:prstGeom prst="rect">
              <a:avLst/>
            </a:prstGeom>
            <a:noFill/>
          </p:spPr>
          <p:txBody>
            <a:bodyPr wrap="square" lIns="108000" tIns="72000" rIns="108000" bIns="108000" rtlCol="0">
              <a:spAutoFit/>
            </a:bodyPr>
            <a:lstStyle/>
            <a:p>
              <a:pPr indent="0" algn="ctr">
                <a:lnSpc>
                  <a:spcPct val="120000"/>
                </a:lnSpc>
                <a:spcAft>
                  <a:spcPts val="1000"/>
                </a:spcAft>
              </a:pPr>
              <a:r>
                <a:rPr lang="en-US" sz="850">
                  <a:solidFill>
                    <a:schemeClr val="accent1"/>
                  </a:solidFill>
                </a:rPr>
                <a:t>#1 plant-based drink</a:t>
              </a:r>
            </a:p>
          </p:txBody>
        </p:sp>
        <p:sp>
          <p:nvSpPr>
            <p:cNvPr id="31" name="TextBox 30">
              <a:extLst>
                <a:ext uri="{FF2B5EF4-FFF2-40B4-BE49-F238E27FC236}">
                  <a16:creationId xmlns:a16="http://schemas.microsoft.com/office/drawing/2014/main" id="{FB896190-EB7E-4489-8B83-48F13E19824F}"/>
                </a:ext>
              </a:extLst>
            </p:cNvPr>
            <p:cNvSpPr txBox="1"/>
            <p:nvPr/>
          </p:nvSpPr>
          <p:spPr>
            <a:xfrm>
              <a:off x="9395680" y="3196680"/>
              <a:ext cx="832669" cy="663172"/>
            </a:xfrm>
            <a:prstGeom prst="rect">
              <a:avLst/>
            </a:prstGeom>
            <a:noFill/>
          </p:spPr>
          <p:txBody>
            <a:bodyPr wrap="square" lIns="108000" tIns="72000" rIns="108000" bIns="108000" rtlCol="0">
              <a:spAutoFit/>
            </a:bodyPr>
            <a:lstStyle/>
            <a:p>
              <a:pPr indent="0" algn="ctr">
                <a:lnSpc>
                  <a:spcPct val="120000"/>
                </a:lnSpc>
                <a:spcAft>
                  <a:spcPts val="1000"/>
                </a:spcAft>
              </a:pPr>
              <a:r>
                <a:rPr lang="en-US" sz="900">
                  <a:solidFill>
                    <a:schemeClr val="accent1"/>
                  </a:solidFill>
                </a:rPr>
                <a:t>100% recycled materials</a:t>
              </a:r>
            </a:p>
          </p:txBody>
        </p:sp>
        <p:sp>
          <p:nvSpPr>
            <p:cNvPr id="33" name="TextBox 32">
              <a:extLst>
                <a:ext uri="{FF2B5EF4-FFF2-40B4-BE49-F238E27FC236}">
                  <a16:creationId xmlns:a16="http://schemas.microsoft.com/office/drawing/2014/main" id="{99D28E98-4353-4B85-95EF-DF174103B70C}"/>
                </a:ext>
              </a:extLst>
            </p:cNvPr>
            <p:cNvSpPr txBox="1"/>
            <p:nvPr/>
          </p:nvSpPr>
          <p:spPr>
            <a:xfrm>
              <a:off x="10311011" y="3355013"/>
              <a:ext cx="832669" cy="496972"/>
            </a:xfrm>
            <a:prstGeom prst="rect">
              <a:avLst/>
            </a:prstGeom>
            <a:noFill/>
          </p:spPr>
          <p:txBody>
            <a:bodyPr wrap="square" lIns="108000" tIns="72000" rIns="108000" bIns="108000" rtlCol="0">
              <a:spAutoFit/>
            </a:bodyPr>
            <a:lstStyle/>
            <a:p>
              <a:pPr indent="0" algn="ctr">
                <a:lnSpc>
                  <a:spcPct val="120000"/>
                </a:lnSpc>
                <a:spcAft>
                  <a:spcPts val="1000"/>
                </a:spcAft>
              </a:pPr>
              <a:r>
                <a:rPr lang="en-US" sz="900">
                  <a:solidFill>
                    <a:schemeClr val="accent1"/>
                  </a:solidFill>
                </a:rPr>
                <a:t>100% plant based</a:t>
              </a:r>
            </a:p>
          </p:txBody>
        </p:sp>
        <p:sp>
          <p:nvSpPr>
            <p:cNvPr id="4" name="Rectangle 3">
              <a:extLst>
                <a:ext uri="{FF2B5EF4-FFF2-40B4-BE49-F238E27FC236}">
                  <a16:creationId xmlns:a16="http://schemas.microsoft.com/office/drawing/2014/main" id="{643AB837-49FB-4462-A757-C4FC740FD2C3}"/>
                </a:ext>
              </a:extLst>
            </p:cNvPr>
            <p:cNvSpPr/>
            <p:nvPr/>
          </p:nvSpPr>
          <p:spPr>
            <a:xfrm>
              <a:off x="9395681" y="2918791"/>
              <a:ext cx="832669" cy="1256045"/>
            </a:xfrm>
            <a:prstGeom prst="rect">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square" lIns="108000" tIns="72000" rIns="108000" bIns="108000" rtlCol="0" anchor="t" anchorCtr="0">
              <a:noAutofit/>
            </a:bodyPr>
            <a:lstStyle/>
            <a:p>
              <a:pPr indent="0" algn="l">
                <a:lnSpc>
                  <a:spcPct val="120000"/>
                </a:lnSpc>
              </a:pPr>
              <a:endParaRPr lang="en-US" sz="1400" err="1">
                <a:solidFill>
                  <a:schemeClr val="bg2"/>
                </a:solidFill>
              </a:endParaRPr>
            </a:p>
          </p:txBody>
        </p:sp>
        <p:sp>
          <p:nvSpPr>
            <p:cNvPr id="24" name="Rectangle 23">
              <a:extLst>
                <a:ext uri="{FF2B5EF4-FFF2-40B4-BE49-F238E27FC236}">
                  <a16:creationId xmlns:a16="http://schemas.microsoft.com/office/drawing/2014/main" id="{3FBBA198-149F-4BD9-BC9A-198A1BA8CD9D}"/>
                </a:ext>
              </a:extLst>
            </p:cNvPr>
            <p:cNvSpPr/>
            <p:nvPr/>
          </p:nvSpPr>
          <p:spPr>
            <a:xfrm>
              <a:off x="10288783" y="2927810"/>
              <a:ext cx="832669" cy="1256045"/>
            </a:xfrm>
            <a:prstGeom prst="rect">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square" lIns="108000" tIns="72000" rIns="108000" bIns="108000" rtlCol="0" anchor="t" anchorCtr="0">
              <a:noAutofit/>
            </a:bodyPr>
            <a:lstStyle/>
            <a:p>
              <a:pPr indent="0" algn="l">
                <a:lnSpc>
                  <a:spcPct val="120000"/>
                </a:lnSpc>
              </a:pPr>
              <a:endParaRPr lang="en-US" sz="1400" err="1">
                <a:solidFill>
                  <a:schemeClr val="bg2"/>
                </a:solidFill>
              </a:endParaRPr>
            </a:p>
          </p:txBody>
        </p:sp>
        <p:sp>
          <p:nvSpPr>
            <p:cNvPr id="25" name="Rectangle 24">
              <a:extLst>
                <a:ext uri="{FF2B5EF4-FFF2-40B4-BE49-F238E27FC236}">
                  <a16:creationId xmlns:a16="http://schemas.microsoft.com/office/drawing/2014/main" id="{8B17EAD7-90A5-4B5E-9D4B-4481A90B1DE7}"/>
                </a:ext>
              </a:extLst>
            </p:cNvPr>
            <p:cNvSpPr/>
            <p:nvPr/>
          </p:nvSpPr>
          <p:spPr>
            <a:xfrm>
              <a:off x="9395681" y="4290205"/>
              <a:ext cx="832669" cy="1256045"/>
            </a:xfrm>
            <a:prstGeom prst="rect">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square" lIns="108000" tIns="72000" rIns="108000" bIns="108000" rtlCol="0" anchor="t" anchorCtr="0">
              <a:noAutofit/>
            </a:bodyPr>
            <a:lstStyle/>
            <a:p>
              <a:pPr indent="0" algn="l">
                <a:lnSpc>
                  <a:spcPct val="120000"/>
                </a:lnSpc>
              </a:pPr>
              <a:endParaRPr lang="en-US" sz="1400" err="1">
                <a:solidFill>
                  <a:schemeClr val="bg2"/>
                </a:solidFill>
              </a:endParaRPr>
            </a:p>
          </p:txBody>
        </p:sp>
      </p:grpSp>
    </p:spTree>
    <p:extLst>
      <p:ext uri="{BB962C8B-B14F-4D97-AF65-F5344CB8AC3E}">
        <p14:creationId xmlns:p14="http://schemas.microsoft.com/office/powerpoint/2010/main" val="1553282690"/>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title"/>
          </p:nvPr>
        </p:nvSpPr>
        <p:spPr>
          <a:xfrm>
            <a:off x="4592922" y="521364"/>
            <a:ext cx="6997753" cy="972000"/>
          </a:xfrm>
        </p:spPr>
        <p:txBody>
          <a:bodyPr/>
          <a:lstStyle/>
          <a:p>
            <a:r>
              <a:rPr lang="en-US"/>
              <a:t>Purchase Intent</a:t>
            </a:r>
          </a:p>
        </p:txBody>
      </p:sp>
      <p:sp>
        <p:nvSpPr>
          <p:cNvPr id="2" name="Content Placeholder 1"/>
          <p:cNvSpPr>
            <a:spLocks noGrp="1"/>
          </p:cNvSpPr>
          <p:nvPr>
            <p:ph type="body" sz="quarter" idx="26"/>
          </p:nvPr>
        </p:nvSpPr>
        <p:spPr>
          <a:xfrm>
            <a:off x="503237" y="521814"/>
            <a:ext cx="3168000" cy="971550"/>
          </a:xfrm>
        </p:spPr>
        <p:txBody>
          <a:bodyPr/>
          <a:lstStyle/>
          <a:p>
            <a:pPr marL="0" indent="0">
              <a:buNone/>
            </a:pPr>
            <a:r>
              <a:rPr lang="en-US">
                <a:solidFill>
                  <a:schemeClr val="bg2"/>
                </a:solidFill>
                <a:latin typeface="+mj-lt"/>
              </a:rPr>
              <a:t>Methodology</a:t>
            </a:r>
          </a:p>
        </p:txBody>
      </p:sp>
      <p:sp>
        <p:nvSpPr>
          <p:cNvPr id="30" name="Text Placeholder 12">
            <a:extLst>
              <a:ext uri="{FF2B5EF4-FFF2-40B4-BE49-F238E27FC236}">
                <a16:creationId xmlns:a16="http://schemas.microsoft.com/office/drawing/2014/main" id="{541C4938-3B09-41BD-8A12-8F89A89EBAC6}"/>
              </a:ext>
            </a:extLst>
          </p:cNvPr>
          <p:cNvSpPr>
            <a:spLocks noGrp="1"/>
          </p:cNvSpPr>
          <p:nvPr>
            <p:ph type="body" sz="quarter" idx="27"/>
          </p:nvPr>
        </p:nvSpPr>
        <p:spPr>
          <a:xfrm>
            <a:off x="503237" y="1965539"/>
            <a:ext cx="3331818" cy="4410075"/>
          </a:xfrm>
        </p:spPr>
        <p:txBody>
          <a:bodyPr/>
          <a:lstStyle/>
          <a:p>
            <a:r>
              <a:rPr lang="en-US" sz="1600">
                <a:solidFill>
                  <a:srgbClr val="1C6D7D"/>
                </a:solidFill>
                <a:latin typeface="+mj-lt"/>
              </a:rPr>
              <a:t>After the swiping and trade off modules, we will ask the purchase intent of the brand in the context of  several claims. </a:t>
            </a:r>
            <a:endParaRPr lang="en-US"/>
          </a:p>
        </p:txBody>
      </p:sp>
      <p:sp>
        <p:nvSpPr>
          <p:cNvPr id="23" name="Rectangle: Rounded Corners 22">
            <a:extLst>
              <a:ext uri="{FF2B5EF4-FFF2-40B4-BE49-F238E27FC236}">
                <a16:creationId xmlns:a16="http://schemas.microsoft.com/office/drawing/2014/main" id="{C9A6DAE5-C94A-4234-A03E-5A07B5870599}"/>
              </a:ext>
            </a:extLst>
          </p:cNvPr>
          <p:cNvSpPr/>
          <p:nvPr/>
        </p:nvSpPr>
        <p:spPr bwMode="auto">
          <a:xfrm>
            <a:off x="3751709" y="522807"/>
            <a:ext cx="518091" cy="518091"/>
          </a:xfrm>
          <a:prstGeom prst="roundRect">
            <a:avLst/>
          </a:prstGeom>
          <a:solidFill>
            <a:schemeClr val="accent3"/>
          </a:solidFill>
          <a:ln w="0">
            <a:noFill/>
            <a:prstDash val="solid"/>
            <a:round/>
            <a:headEnd/>
            <a:tailEnd/>
          </a:ln>
        </p:spPr>
        <p:txBody>
          <a:bodyPr vert="horz" wrap="square" lIns="68580" tIns="34290" rIns="68580" bIns="34290" numCol="1" rtlCol="0" anchor="ctr" anchorCtr="0" compatLnSpc="1">
            <a:prstTxWarp prst="textNoShape">
              <a:avLst/>
            </a:prstTxWarp>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chemeClr val="bg2"/>
                </a:solidFill>
                <a:effectLst/>
                <a:uLnTx/>
                <a:uFillTx/>
                <a:latin typeface="Arial"/>
                <a:ea typeface="+mn-ea"/>
                <a:cs typeface="+mn-cs"/>
              </a:rPr>
              <a:t>3</a:t>
            </a:r>
          </a:p>
        </p:txBody>
      </p:sp>
      <p:sp>
        <p:nvSpPr>
          <p:cNvPr id="4" name="TextBox 3">
            <a:extLst>
              <a:ext uri="{FF2B5EF4-FFF2-40B4-BE49-F238E27FC236}">
                <a16:creationId xmlns:a16="http://schemas.microsoft.com/office/drawing/2014/main" id="{3F6C4FB1-BD00-41E8-83A7-3A5BE0FD02B8}"/>
              </a:ext>
            </a:extLst>
          </p:cNvPr>
          <p:cNvSpPr txBox="1"/>
          <p:nvPr/>
        </p:nvSpPr>
        <p:spPr>
          <a:xfrm>
            <a:off x="9356661" y="2352524"/>
            <a:ext cx="1731097" cy="908111"/>
          </a:xfrm>
          <a:prstGeom prst="rect">
            <a:avLst/>
          </a:prstGeom>
          <a:noFill/>
        </p:spPr>
        <p:txBody>
          <a:bodyPr wrap="square" lIns="108000" tIns="72000" rIns="108000" bIns="108000" rtlCol="0">
            <a:spAutoFit/>
          </a:bodyPr>
          <a:lstStyle/>
          <a:p>
            <a:pPr indent="0" algn="ctr">
              <a:lnSpc>
                <a:spcPct val="120000"/>
              </a:lnSpc>
              <a:spcAft>
                <a:spcPts val="1000"/>
              </a:spcAft>
            </a:pPr>
            <a:r>
              <a:rPr lang="en-US" sz="1000">
                <a:solidFill>
                  <a:schemeClr val="accent1"/>
                </a:solidFill>
              </a:rPr>
              <a:t>How likely are you to purchase </a:t>
            </a:r>
            <a:r>
              <a:rPr lang="en-US" sz="1000" err="1">
                <a:solidFill>
                  <a:schemeClr val="accent1"/>
                </a:solidFill>
              </a:rPr>
              <a:t>YoPRO</a:t>
            </a:r>
            <a:r>
              <a:rPr lang="en-US" sz="1000">
                <a:solidFill>
                  <a:schemeClr val="accent1"/>
                </a:solidFill>
              </a:rPr>
              <a:t> products in the future if they say the following messages?</a:t>
            </a:r>
          </a:p>
        </p:txBody>
      </p:sp>
      <p:cxnSp>
        <p:nvCxnSpPr>
          <p:cNvPr id="10" name="Straight Connector 9">
            <a:extLst>
              <a:ext uri="{FF2B5EF4-FFF2-40B4-BE49-F238E27FC236}">
                <a16:creationId xmlns:a16="http://schemas.microsoft.com/office/drawing/2014/main" id="{7296745D-BDA8-480F-9A59-1B28E1E415B4}"/>
              </a:ext>
            </a:extLst>
          </p:cNvPr>
          <p:cNvCxnSpPr>
            <a:cxnSpLocks/>
            <a:endCxn id="26" idx="0"/>
          </p:cNvCxnSpPr>
          <p:nvPr/>
        </p:nvCxnSpPr>
        <p:spPr>
          <a:xfrm>
            <a:off x="9556078" y="4137541"/>
            <a:ext cx="1315824" cy="0"/>
          </a:xfrm>
          <a:prstGeom prst="line">
            <a:avLst/>
          </a:prstGeom>
          <a:ln w="57150">
            <a:prstDash val="solid"/>
          </a:ln>
        </p:spPr>
        <p:style>
          <a:lnRef idx="1">
            <a:schemeClr val="accent1"/>
          </a:lnRef>
          <a:fillRef idx="0">
            <a:schemeClr val="accent1"/>
          </a:fillRef>
          <a:effectRef idx="0">
            <a:schemeClr val="accent1"/>
          </a:effectRef>
          <a:fontRef idx="minor">
            <a:schemeClr val="tx1"/>
          </a:fontRef>
        </p:style>
      </p:cxnSp>
      <p:sp>
        <p:nvSpPr>
          <p:cNvPr id="13" name="Isosceles Triangle 12">
            <a:extLst>
              <a:ext uri="{FF2B5EF4-FFF2-40B4-BE49-F238E27FC236}">
                <a16:creationId xmlns:a16="http://schemas.microsoft.com/office/drawing/2014/main" id="{210DAF35-8387-4EB0-88D9-2948751B8178}"/>
              </a:ext>
            </a:extLst>
          </p:cNvPr>
          <p:cNvSpPr/>
          <p:nvPr/>
        </p:nvSpPr>
        <p:spPr>
          <a:xfrm rot="10800000">
            <a:off x="10276514" y="3957540"/>
            <a:ext cx="180000" cy="180000"/>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72000" rIns="108000" bIns="108000" rtlCol="0" anchor="t" anchorCtr="0">
            <a:noAutofit/>
          </a:bodyPr>
          <a:lstStyle/>
          <a:p>
            <a:pPr indent="0" algn="l">
              <a:lnSpc>
                <a:spcPct val="120000"/>
              </a:lnSpc>
            </a:pPr>
            <a:endParaRPr lang="en-US" sz="1400" err="1">
              <a:solidFill>
                <a:schemeClr val="bg2"/>
              </a:solidFill>
            </a:endParaRPr>
          </a:p>
        </p:txBody>
      </p:sp>
      <p:sp>
        <p:nvSpPr>
          <p:cNvPr id="22" name="TextBox 21">
            <a:extLst>
              <a:ext uri="{FF2B5EF4-FFF2-40B4-BE49-F238E27FC236}">
                <a16:creationId xmlns:a16="http://schemas.microsoft.com/office/drawing/2014/main" id="{F04BF76F-A0C7-42DA-B056-9885BB189FC9}"/>
              </a:ext>
            </a:extLst>
          </p:cNvPr>
          <p:cNvSpPr txBox="1"/>
          <p:nvPr/>
        </p:nvSpPr>
        <p:spPr>
          <a:xfrm>
            <a:off x="9253579" y="4137541"/>
            <a:ext cx="739306" cy="496972"/>
          </a:xfrm>
          <a:prstGeom prst="rect">
            <a:avLst/>
          </a:prstGeom>
          <a:noFill/>
        </p:spPr>
        <p:txBody>
          <a:bodyPr wrap="square" lIns="108000" tIns="72000" rIns="108000" bIns="108000" rtlCol="0">
            <a:spAutoFit/>
          </a:bodyPr>
          <a:lstStyle/>
          <a:p>
            <a:pPr indent="0" algn="ctr">
              <a:lnSpc>
                <a:spcPct val="120000"/>
              </a:lnSpc>
              <a:spcAft>
                <a:spcPts val="1000"/>
              </a:spcAft>
            </a:pPr>
            <a:r>
              <a:rPr lang="en-US" sz="900">
                <a:solidFill>
                  <a:schemeClr val="accent1"/>
                </a:solidFill>
              </a:rPr>
              <a:t>Very unlikely</a:t>
            </a:r>
          </a:p>
        </p:txBody>
      </p:sp>
      <p:sp>
        <p:nvSpPr>
          <p:cNvPr id="26" name="TextBox 25">
            <a:extLst>
              <a:ext uri="{FF2B5EF4-FFF2-40B4-BE49-F238E27FC236}">
                <a16:creationId xmlns:a16="http://schemas.microsoft.com/office/drawing/2014/main" id="{DB8C3D8C-9391-4ADC-9D9D-8EA52734829E}"/>
              </a:ext>
            </a:extLst>
          </p:cNvPr>
          <p:cNvSpPr txBox="1"/>
          <p:nvPr/>
        </p:nvSpPr>
        <p:spPr>
          <a:xfrm>
            <a:off x="10502249" y="4137541"/>
            <a:ext cx="739306" cy="496972"/>
          </a:xfrm>
          <a:prstGeom prst="rect">
            <a:avLst/>
          </a:prstGeom>
          <a:noFill/>
        </p:spPr>
        <p:txBody>
          <a:bodyPr wrap="square" lIns="108000" tIns="72000" rIns="108000" bIns="108000" rtlCol="0">
            <a:spAutoFit/>
          </a:bodyPr>
          <a:lstStyle/>
          <a:p>
            <a:pPr indent="0" algn="ctr">
              <a:lnSpc>
                <a:spcPct val="120000"/>
              </a:lnSpc>
              <a:spcAft>
                <a:spcPts val="1000"/>
              </a:spcAft>
            </a:pPr>
            <a:r>
              <a:rPr lang="en-US" sz="900">
                <a:solidFill>
                  <a:schemeClr val="accent1"/>
                </a:solidFill>
              </a:rPr>
              <a:t>Very likely</a:t>
            </a:r>
          </a:p>
        </p:txBody>
      </p:sp>
      <p:sp>
        <p:nvSpPr>
          <p:cNvPr id="27" name="TextBox 26">
            <a:extLst>
              <a:ext uri="{FF2B5EF4-FFF2-40B4-BE49-F238E27FC236}">
                <a16:creationId xmlns:a16="http://schemas.microsoft.com/office/drawing/2014/main" id="{C12594C2-424F-4D61-A543-2BFF1FBC1A30}"/>
              </a:ext>
            </a:extLst>
          </p:cNvPr>
          <p:cNvSpPr txBox="1"/>
          <p:nvPr/>
        </p:nvSpPr>
        <p:spPr>
          <a:xfrm>
            <a:off x="9874534" y="3626766"/>
            <a:ext cx="739306" cy="330773"/>
          </a:xfrm>
          <a:prstGeom prst="rect">
            <a:avLst/>
          </a:prstGeom>
          <a:noFill/>
        </p:spPr>
        <p:txBody>
          <a:bodyPr wrap="square" lIns="108000" tIns="72000" rIns="108000" bIns="108000" rtlCol="0">
            <a:spAutoFit/>
          </a:bodyPr>
          <a:lstStyle/>
          <a:p>
            <a:pPr indent="0" algn="ctr">
              <a:lnSpc>
                <a:spcPct val="120000"/>
              </a:lnSpc>
              <a:spcAft>
                <a:spcPts val="1000"/>
              </a:spcAft>
            </a:pPr>
            <a:r>
              <a:rPr lang="en-US" sz="900">
                <a:solidFill>
                  <a:schemeClr val="accent1"/>
                </a:solidFill>
              </a:rPr>
              <a:t>60%</a:t>
            </a:r>
          </a:p>
        </p:txBody>
      </p:sp>
      <p:sp>
        <p:nvSpPr>
          <p:cNvPr id="6" name="TextBox 5">
            <a:extLst>
              <a:ext uri="{FF2B5EF4-FFF2-40B4-BE49-F238E27FC236}">
                <a16:creationId xmlns:a16="http://schemas.microsoft.com/office/drawing/2014/main" id="{D7DFD5A8-9E47-4E10-9E34-A17BFCEE0870}"/>
              </a:ext>
            </a:extLst>
          </p:cNvPr>
          <p:cNvSpPr txBox="1"/>
          <p:nvPr/>
        </p:nvSpPr>
        <p:spPr>
          <a:xfrm>
            <a:off x="9483174" y="3376203"/>
            <a:ext cx="1742566" cy="364565"/>
          </a:xfrm>
          <a:prstGeom prst="rect">
            <a:avLst/>
          </a:prstGeom>
          <a:noFill/>
        </p:spPr>
        <p:txBody>
          <a:bodyPr wrap="none" lIns="108000" tIns="72000" rIns="108000" bIns="108000" rtlCol="0">
            <a:spAutoFit/>
          </a:bodyPr>
          <a:lstStyle/>
          <a:p>
            <a:pPr indent="0" algn="l">
              <a:lnSpc>
                <a:spcPct val="120000"/>
              </a:lnSpc>
              <a:spcAft>
                <a:spcPts val="1000"/>
              </a:spcAft>
            </a:pPr>
            <a:r>
              <a:rPr lang="en-US" sz="1100" b="1" i="1">
                <a:solidFill>
                  <a:schemeClr val="accent1"/>
                </a:solidFill>
              </a:rPr>
              <a:t>Zero plastic packaging</a:t>
            </a:r>
            <a:endParaRPr lang="en-US" b="1" i="1">
              <a:solidFill>
                <a:schemeClr val="accent1"/>
              </a:solidFill>
            </a:endParaRPr>
          </a:p>
        </p:txBody>
      </p:sp>
      <p:cxnSp>
        <p:nvCxnSpPr>
          <p:cNvPr id="31" name="Straight Connector 30">
            <a:extLst>
              <a:ext uri="{FF2B5EF4-FFF2-40B4-BE49-F238E27FC236}">
                <a16:creationId xmlns:a16="http://schemas.microsoft.com/office/drawing/2014/main" id="{5507D32B-68D3-4DA4-816B-7DE4379D976D}"/>
              </a:ext>
            </a:extLst>
          </p:cNvPr>
          <p:cNvCxnSpPr>
            <a:cxnSpLocks/>
          </p:cNvCxnSpPr>
          <p:nvPr/>
        </p:nvCxnSpPr>
        <p:spPr>
          <a:xfrm>
            <a:off x="9556078" y="5410782"/>
            <a:ext cx="1315824" cy="0"/>
          </a:xfrm>
          <a:prstGeom prst="line">
            <a:avLst/>
          </a:prstGeom>
          <a:ln w="57150">
            <a:prstDash val="solid"/>
          </a:ln>
        </p:spPr>
        <p:style>
          <a:lnRef idx="1">
            <a:schemeClr val="accent1"/>
          </a:lnRef>
          <a:fillRef idx="0">
            <a:schemeClr val="accent1"/>
          </a:fillRef>
          <a:effectRef idx="0">
            <a:schemeClr val="accent1"/>
          </a:effectRef>
          <a:fontRef idx="minor">
            <a:schemeClr val="tx1"/>
          </a:fontRef>
        </p:style>
      </p:cxnSp>
      <p:sp>
        <p:nvSpPr>
          <p:cNvPr id="32" name="Isosceles Triangle 31">
            <a:extLst>
              <a:ext uri="{FF2B5EF4-FFF2-40B4-BE49-F238E27FC236}">
                <a16:creationId xmlns:a16="http://schemas.microsoft.com/office/drawing/2014/main" id="{FBDE239A-1349-4F09-8667-5ED86AF540D7}"/>
              </a:ext>
            </a:extLst>
          </p:cNvPr>
          <p:cNvSpPr/>
          <p:nvPr/>
        </p:nvSpPr>
        <p:spPr>
          <a:xfrm rot="10800000">
            <a:off x="9980952" y="5230781"/>
            <a:ext cx="180000" cy="180000"/>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72000" rIns="108000" bIns="108000" rtlCol="0" anchor="t" anchorCtr="0">
            <a:noAutofit/>
          </a:bodyPr>
          <a:lstStyle/>
          <a:p>
            <a:pPr indent="0" algn="l">
              <a:lnSpc>
                <a:spcPct val="120000"/>
              </a:lnSpc>
            </a:pPr>
            <a:endParaRPr lang="en-US" sz="1400" err="1">
              <a:solidFill>
                <a:schemeClr val="bg2"/>
              </a:solidFill>
            </a:endParaRPr>
          </a:p>
        </p:txBody>
      </p:sp>
      <p:sp>
        <p:nvSpPr>
          <p:cNvPr id="33" name="TextBox 32">
            <a:extLst>
              <a:ext uri="{FF2B5EF4-FFF2-40B4-BE49-F238E27FC236}">
                <a16:creationId xmlns:a16="http://schemas.microsoft.com/office/drawing/2014/main" id="{BCCD4015-34AE-489D-9EF3-CC8E182E89B2}"/>
              </a:ext>
            </a:extLst>
          </p:cNvPr>
          <p:cNvSpPr txBox="1"/>
          <p:nvPr/>
        </p:nvSpPr>
        <p:spPr>
          <a:xfrm>
            <a:off x="9253579" y="5410782"/>
            <a:ext cx="739306" cy="496972"/>
          </a:xfrm>
          <a:prstGeom prst="rect">
            <a:avLst/>
          </a:prstGeom>
          <a:noFill/>
        </p:spPr>
        <p:txBody>
          <a:bodyPr wrap="square" lIns="108000" tIns="72000" rIns="108000" bIns="108000" rtlCol="0">
            <a:spAutoFit/>
          </a:bodyPr>
          <a:lstStyle/>
          <a:p>
            <a:pPr indent="0" algn="ctr">
              <a:lnSpc>
                <a:spcPct val="120000"/>
              </a:lnSpc>
              <a:spcAft>
                <a:spcPts val="1000"/>
              </a:spcAft>
            </a:pPr>
            <a:r>
              <a:rPr lang="en-US" sz="900">
                <a:solidFill>
                  <a:schemeClr val="accent1"/>
                </a:solidFill>
              </a:rPr>
              <a:t>Very unlikely</a:t>
            </a:r>
          </a:p>
        </p:txBody>
      </p:sp>
      <p:sp>
        <p:nvSpPr>
          <p:cNvPr id="34" name="TextBox 33">
            <a:extLst>
              <a:ext uri="{FF2B5EF4-FFF2-40B4-BE49-F238E27FC236}">
                <a16:creationId xmlns:a16="http://schemas.microsoft.com/office/drawing/2014/main" id="{A451ABAE-A082-4336-9B0D-B4EC6BEF9C3D}"/>
              </a:ext>
            </a:extLst>
          </p:cNvPr>
          <p:cNvSpPr txBox="1"/>
          <p:nvPr/>
        </p:nvSpPr>
        <p:spPr>
          <a:xfrm>
            <a:off x="10502249" y="5410782"/>
            <a:ext cx="739306" cy="496972"/>
          </a:xfrm>
          <a:prstGeom prst="rect">
            <a:avLst/>
          </a:prstGeom>
          <a:noFill/>
        </p:spPr>
        <p:txBody>
          <a:bodyPr wrap="square" lIns="108000" tIns="72000" rIns="108000" bIns="108000" rtlCol="0">
            <a:spAutoFit/>
          </a:bodyPr>
          <a:lstStyle/>
          <a:p>
            <a:pPr indent="0" algn="ctr">
              <a:lnSpc>
                <a:spcPct val="120000"/>
              </a:lnSpc>
              <a:spcAft>
                <a:spcPts val="1000"/>
              </a:spcAft>
            </a:pPr>
            <a:r>
              <a:rPr lang="en-US" sz="900">
                <a:solidFill>
                  <a:schemeClr val="accent1"/>
                </a:solidFill>
              </a:rPr>
              <a:t>Very likely</a:t>
            </a:r>
          </a:p>
        </p:txBody>
      </p:sp>
      <p:sp>
        <p:nvSpPr>
          <p:cNvPr id="35" name="TextBox 34">
            <a:extLst>
              <a:ext uri="{FF2B5EF4-FFF2-40B4-BE49-F238E27FC236}">
                <a16:creationId xmlns:a16="http://schemas.microsoft.com/office/drawing/2014/main" id="{43B5C1A7-0F2E-4581-95F0-C8EF90BB9C29}"/>
              </a:ext>
            </a:extLst>
          </p:cNvPr>
          <p:cNvSpPr txBox="1"/>
          <p:nvPr/>
        </p:nvSpPr>
        <p:spPr>
          <a:xfrm>
            <a:off x="9874534" y="4900007"/>
            <a:ext cx="739306" cy="330773"/>
          </a:xfrm>
          <a:prstGeom prst="rect">
            <a:avLst/>
          </a:prstGeom>
          <a:noFill/>
        </p:spPr>
        <p:txBody>
          <a:bodyPr wrap="square" lIns="108000" tIns="72000" rIns="108000" bIns="108000" rtlCol="0">
            <a:spAutoFit/>
          </a:bodyPr>
          <a:lstStyle/>
          <a:p>
            <a:pPr indent="0" algn="ctr">
              <a:lnSpc>
                <a:spcPct val="120000"/>
              </a:lnSpc>
              <a:spcAft>
                <a:spcPts val="1000"/>
              </a:spcAft>
            </a:pPr>
            <a:r>
              <a:rPr lang="en-US" sz="900">
                <a:solidFill>
                  <a:schemeClr val="accent1"/>
                </a:solidFill>
              </a:rPr>
              <a:t>40%</a:t>
            </a:r>
          </a:p>
        </p:txBody>
      </p:sp>
      <p:sp>
        <p:nvSpPr>
          <p:cNvPr id="36" name="TextBox 35">
            <a:extLst>
              <a:ext uri="{FF2B5EF4-FFF2-40B4-BE49-F238E27FC236}">
                <a16:creationId xmlns:a16="http://schemas.microsoft.com/office/drawing/2014/main" id="{84BD81CF-4055-449E-8693-75503E17FE07}"/>
              </a:ext>
            </a:extLst>
          </p:cNvPr>
          <p:cNvSpPr txBox="1"/>
          <p:nvPr/>
        </p:nvSpPr>
        <p:spPr>
          <a:xfrm>
            <a:off x="9304439" y="4649444"/>
            <a:ext cx="1781038" cy="371362"/>
          </a:xfrm>
          <a:prstGeom prst="rect">
            <a:avLst/>
          </a:prstGeom>
          <a:noFill/>
        </p:spPr>
        <p:txBody>
          <a:bodyPr wrap="none" lIns="108000" tIns="72000" rIns="108000" bIns="108000" rtlCol="0">
            <a:spAutoFit/>
          </a:bodyPr>
          <a:lstStyle/>
          <a:p>
            <a:pPr indent="0" algn="l">
              <a:lnSpc>
                <a:spcPct val="120000"/>
              </a:lnSpc>
              <a:spcAft>
                <a:spcPts val="1000"/>
              </a:spcAft>
            </a:pPr>
            <a:r>
              <a:rPr lang="en-US" sz="1100" b="1" i="1">
                <a:solidFill>
                  <a:schemeClr val="accent1"/>
                </a:solidFill>
              </a:rPr>
              <a:t>Healthy high protein snack</a:t>
            </a:r>
            <a:endParaRPr lang="en-US" b="1" i="1">
              <a:solidFill>
                <a:schemeClr val="accent1"/>
              </a:solidFill>
            </a:endParaRPr>
          </a:p>
        </p:txBody>
      </p:sp>
      <p:sp>
        <p:nvSpPr>
          <p:cNvPr id="5" name="TextBox 4">
            <a:extLst>
              <a:ext uri="{FF2B5EF4-FFF2-40B4-BE49-F238E27FC236}">
                <a16:creationId xmlns:a16="http://schemas.microsoft.com/office/drawing/2014/main" id="{C7166F1C-C8A3-9A96-9E67-484C3017B7E9}"/>
              </a:ext>
            </a:extLst>
          </p:cNvPr>
          <p:cNvSpPr txBox="1"/>
          <p:nvPr/>
        </p:nvSpPr>
        <p:spPr>
          <a:xfrm>
            <a:off x="9359706" y="4669021"/>
            <a:ext cx="1781037" cy="347252"/>
          </a:xfrm>
          <a:prstGeom prst="rect">
            <a:avLst/>
          </a:prstGeom>
          <a:solidFill>
            <a:schemeClr val="bg1"/>
          </a:solidFill>
        </p:spPr>
        <p:txBody>
          <a:bodyPr wrap="square" lIns="108000" tIns="72000" rIns="108000" bIns="108000" rtlCol="0">
            <a:spAutoFit/>
          </a:bodyPr>
          <a:lstStyle/>
          <a:p>
            <a:pPr indent="0" algn="ctr">
              <a:lnSpc>
                <a:spcPct val="120000"/>
              </a:lnSpc>
              <a:spcAft>
                <a:spcPts val="1000"/>
              </a:spcAft>
            </a:pPr>
            <a:r>
              <a:rPr lang="en-US" sz="1000" b="1" i="1">
                <a:solidFill>
                  <a:schemeClr val="accent1"/>
                </a:solidFill>
              </a:rPr>
              <a:t>Recyclable materials</a:t>
            </a:r>
          </a:p>
        </p:txBody>
      </p:sp>
      <p:pic>
        <p:nvPicPr>
          <p:cNvPr id="20" name="Picture 19">
            <a:extLst>
              <a:ext uri="{FF2B5EF4-FFF2-40B4-BE49-F238E27FC236}">
                <a16:creationId xmlns:a16="http://schemas.microsoft.com/office/drawing/2014/main" id="{6F49E3D9-5559-DF14-AECD-A3A0CB089385}"/>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8840069" y="1965539"/>
            <a:ext cx="3485903" cy="4906425"/>
          </a:xfrm>
          <a:prstGeom prst="rect">
            <a:avLst/>
          </a:prstGeom>
        </p:spPr>
      </p:pic>
      <p:sp>
        <p:nvSpPr>
          <p:cNvPr id="3" name="TextBox 2">
            <a:extLst>
              <a:ext uri="{FF2B5EF4-FFF2-40B4-BE49-F238E27FC236}">
                <a16:creationId xmlns:a16="http://schemas.microsoft.com/office/drawing/2014/main" id="{8FE06A90-FC3A-9BB5-1451-333AFAB17E55}"/>
              </a:ext>
            </a:extLst>
          </p:cNvPr>
          <p:cNvSpPr txBox="1"/>
          <p:nvPr/>
        </p:nvSpPr>
        <p:spPr>
          <a:xfrm>
            <a:off x="9381302" y="2464372"/>
            <a:ext cx="1725770" cy="901250"/>
          </a:xfrm>
          <a:prstGeom prst="rect">
            <a:avLst/>
          </a:prstGeom>
          <a:solidFill>
            <a:schemeClr val="bg1"/>
          </a:solidFill>
        </p:spPr>
        <p:txBody>
          <a:bodyPr wrap="square" lIns="108000" tIns="72000" rIns="108000" bIns="108000" rtlCol="0">
            <a:spAutoFit/>
          </a:bodyPr>
          <a:lstStyle/>
          <a:p>
            <a:pPr indent="0" algn="ctr">
              <a:lnSpc>
                <a:spcPct val="120000"/>
              </a:lnSpc>
              <a:spcAft>
                <a:spcPts val="1000"/>
              </a:spcAft>
            </a:pPr>
            <a:r>
              <a:rPr lang="en-US" sz="1000">
                <a:solidFill>
                  <a:schemeClr val="accent1"/>
                </a:solidFill>
              </a:rPr>
              <a:t>How likely are you to purchase Alpro products in the future if they say the following messages?</a:t>
            </a:r>
          </a:p>
        </p:txBody>
      </p:sp>
    </p:spTree>
    <p:extLst>
      <p:ext uri="{BB962C8B-B14F-4D97-AF65-F5344CB8AC3E}">
        <p14:creationId xmlns:p14="http://schemas.microsoft.com/office/powerpoint/2010/main" val="2438279463"/>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ext Placeholder 13">
            <a:extLst>
              <a:ext uri="{FF2B5EF4-FFF2-40B4-BE49-F238E27FC236}">
                <a16:creationId xmlns:a16="http://schemas.microsoft.com/office/drawing/2014/main" id="{CB0AF18A-A296-4C0E-99AA-26D35C7CCC8C}"/>
              </a:ext>
            </a:extLst>
          </p:cNvPr>
          <p:cNvSpPr txBox="1">
            <a:spLocks/>
          </p:cNvSpPr>
          <p:nvPr/>
        </p:nvSpPr>
        <p:spPr>
          <a:xfrm>
            <a:off x="4592922" y="1965539"/>
            <a:ext cx="3331817" cy="2015333"/>
          </a:xfrm>
          <a:prstGeom prst="rect">
            <a:avLst/>
          </a:prstGeom>
          <a:ln>
            <a:noFill/>
          </a:ln>
        </p:spPr>
        <p:txBody>
          <a:bodyPr vert="horz" lIns="0" tIns="0" rIns="0" bIns="0" rtlCol="0">
            <a:noAutofit/>
          </a:bodyPr>
          <a:lstStyle>
            <a:lvl1pPr marL="288000" indent="-288000" algn="l" defTabSz="914400" rtl="0" eaLnBrk="1" latinLnBrk="0" hangingPunct="1">
              <a:lnSpc>
                <a:spcPct val="120000"/>
              </a:lnSpc>
              <a:spcBef>
                <a:spcPts val="0"/>
              </a:spcBef>
              <a:spcAft>
                <a:spcPts val="1000"/>
              </a:spcAft>
              <a:buClr>
                <a:schemeClr val="bg2"/>
              </a:buClr>
              <a:buFont typeface="Courier New" panose="02070309020205020404" pitchFamily="49" charset="0"/>
              <a:buChar char="o"/>
              <a:defRPr sz="1600" kern="1200">
                <a:solidFill>
                  <a:schemeClr val="tx1"/>
                </a:solidFill>
                <a:latin typeface="+mn-lt"/>
                <a:ea typeface="+mn-ea"/>
                <a:cs typeface="+mn-cs"/>
              </a:defRPr>
            </a:lvl1pPr>
            <a:lvl2pPr marL="576000" indent="-288000" algn="l" defTabSz="914400" rtl="0" eaLnBrk="1" latinLnBrk="0" hangingPunct="1">
              <a:lnSpc>
                <a:spcPct val="120000"/>
              </a:lnSpc>
              <a:spcBef>
                <a:spcPts val="0"/>
              </a:spcBef>
              <a:spcAft>
                <a:spcPts val="1000"/>
              </a:spcAft>
              <a:buClr>
                <a:schemeClr val="bg2"/>
              </a:buClr>
              <a:buFont typeface="Wingdings" panose="05000000000000000000" pitchFamily="2" charset="2"/>
              <a:buChar char="§"/>
              <a:defRPr sz="1400" kern="1200">
                <a:solidFill>
                  <a:schemeClr val="tx1"/>
                </a:solidFill>
                <a:latin typeface="+mn-lt"/>
                <a:ea typeface="+mn-ea"/>
                <a:cs typeface="+mn-cs"/>
              </a:defRPr>
            </a:lvl2pPr>
            <a:lvl3pPr marL="864000" indent="-288000" algn="l" defTabSz="914400" rtl="0" eaLnBrk="1" latinLnBrk="0" hangingPunct="1">
              <a:lnSpc>
                <a:spcPct val="120000"/>
              </a:lnSpc>
              <a:spcBef>
                <a:spcPts val="0"/>
              </a:spcBef>
              <a:spcAft>
                <a:spcPts val="1000"/>
              </a:spcAft>
              <a:buClr>
                <a:schemeClr val="bg2"/>
              </a:buClr>
              <a:buFont typeface="Wingdings" panose="05000000000000000000" pitchFamily="2" charset="2"/>
              <a:buChar char="§"/>
              <a:defRPr sz="1200" kern="1200">
                <a:solidFill>
                  <a:schemeClr val="tx1"/>
                </a:solidFill>
                <a:latin typeface="+mn-lt"/>
                <a:ea typeface="+mn-ea"/>
                <a:cs typeface="+mn-cs"/>
              </a:defRPr>
            </a:lvl3pPr>
            <a:lvl4pPr marL="1152000" indent="-288000" algn="l" defTabSz="914400" rtl="0" eaLnBrk="1" latinLnBrk="0" hangingPunct="1">
              <a:lnSpc>
                <a:spcPct val="120000"/>
              </a:lnSpc>
              <a:spcBef>
                <a:spcPts val="0"/>
              </a:spcBef>
              <a:spcAft>
                <a:spcPts val="1000"/>
              </a:spcAft>
              <a:buClr>
                <a:schemeClr val="bg2"/>
              </a:buClr>
              <a:buSzPct val="100000"/>
              <a:buFont typeface="Wingdings" panose="05000000000000000000" pitchFamily="2" charset="2"/>
              <a:buChar char="§"/>
              <a:defRPr sz="1200" kern="1200">
                <a:solidFill>
                  <a:schemeClr val="tx1"/>
                </a:solidFill>
                <a:latin typeface="+mn-lt"/>
                <a:ea typeface="+mn-ea"/>
                <a:cs typeface="+mn-cs"/>
              </a:defRPr>
            </a:lvl4pPr>
            <a:lvl5pPr marL="1152000" indent="-288000" algn="l" defTabSz="914400" rtl="0" eaLnBrk="1" latinLnBrk="0" hangingPunct="1">
              <a:lnSpc>
                <a:spcPct val="120000"/>
              </a:lnSpc>
              <a:spcBef>
                <a:spcPts val="0"/>
              </a:spcBef>
              <a:spcAft>
                <a:spcPts val="1000"/>
              </a:spcAft>
              <a:buClr>
                <a:schemeClr val="bg2"/>
              </a:buClr>
              <a:buFont typeface="Wingdings" panose="05000000000000000000" pitchFamily="2" charset="2"/>
              <a:buChar char="§"/>
              <a:defRPr sz="1200" kern="1200">
                <a:solidFill>
                  <a:schemeClr val="tx1"/>
                </a:solidFill>
                <a:latin typeface="+mn-lt"/>
                <a:ea typeface="+mn-ea"/>
                <a:cs typeface="+mn-cs"/>
              </a:defRPr>
            </a:lvl5pPr>
            <a:lvl6pPr marL="1152000" indent="-288000" algn="l" defTabSz="914400" rtl="0" eaLnBrk="1" latinLnBrk="0" hangingPunct="1">
              <a:lnSpc>
                <a:spcPct val="120000"/>
              </a:lnSpc>
              <a:spcBef>
                <a:spcPts val="0"/>
              </a:spcBef>
              <a:spcAft>
                <a:spcPts val="1000"/>
              </a:spcAft>
              <a:buClr>
                <a:schemeClr val="bg2"/>
              </a:buClr>
              <a:buFont typeface="Wingdings" panose="05000000000000000000" pitchFamily="2" charset="2"/>
              <a:buChar char="§"/>
              <a:defRPr sz="1200" kern="1200">
                <a:solidFill>
                  <a:schemeClr val="tx1"/>
                </a:solidFill>
                <a:latin typeface="+mn-lt"/>
                <a:ea typeface="+mn-ea"/>
                <a:cs typeface="+mn-cs"/>
              </a:defRPr>
            </a:lvl6pPr>
            <a:lvl7pPr marL="1728000" indent="-288000" algn="l" defTabSz="914400" rtl="0" eaLnBrk="1" latinLnBrk="0" hangingPunct="1">
              <a:lnSpc>
                <a:spcPct val="120000"/>
              </a:lnSpc>
              <a:spcBef>
                <a:spcPts val="0"/>
              </a:spcBef>
              <a:spcAft>
                <a:spcPts val="1000"/>
              </a:spcAft>
              <a:buClr>
                <a:schemeClr val="tx1"/>
              </a:buClr>
              <a:buFont typeface="Wingdings" panose="05000000000000000000" pitchFamily="2" charset="2"/>
              <a:buChar char="§"/>
              <a:defRPr sz="1200" kern="1200">
                <a:solidFill>
                  <a:schemeClr val="tx1"/>
                </a:solidFill>
                <a:latin typeface="+mn-lt"/>
                <a:ea typeface="+mn-ea"/>
                <a:cs typeface="+mn-cs"/>
              </a:defRPr>
            </a:lvl7pPr>
            <a:lvl8pPr marL="2016000" indent="-288000" algn="l" defTabSz="914400" rtl="0" eaLnBrk="1" latinLnBrk="0" hangingPunct="1">
              <a:lnSpc>
                <a:spcPct val="120000"/>
              </a:lnSpc>
              <a:spcBef>
                <a:spcPts val="0"/>
              </a:spcBef>
              <a:spcAft>
                <a:spcPts val="1000"/>
              </a:spcAft>
              <a:buClr>
                <a:schemeClr val="tx1"/>
              </a:buClr>
              <a:buFont typeface="Wingdings" panose="05000000000000000000" pitchFamily="2" charset="2"/>
              <a:buChar char="§"/>
              <a:defRPr sz="1200" kern="1200">
                <a:solidFill>
                  <a:schemeClr val="tx1"/>
                </a:solidFill>
                <a:latin typeface="+mn-lt"/>
                <a:ea typeface="+mn-ea"/>
                <a:cs typeface="+mn-cs"/>
              </a:defRPr>
            </a:lvl8pPr>
            <a:lvl9pPr marL="2304000" indent="-288000" algn="l" defTabSz="914400" rtl="0" eaLnBrk="1" latinLnBrk="0" hangingPunct="1">
              <a:lnSpc>
                <a:spcPct val="120000"/>
              </a:lnSpc>
              <a:spcBef>
                <a:spcPts val="0"/>
              </a:spcBef>
              <a:spcAft>
                <a:spcPts val="1000"/>
              </a:spcAft>
              <a:buClr>
                <a:schemeClr val="tx1"/>
              </a:buClr>
              <a:buFont typeface="Wingdings" panose="05000000000000000000" pitchFamily="2" charset="2"/>
              <a:buChar char="§"/>
              <a:defRPr sz="1200" kern="1200">
                <a:solidFill>
                  <a:schemeClr val="tx1"/>
                </a:solidFill>
                <a:latin typeface="+mn-lt"/>
                <a:ea typeface="+mn-ea"/>
                <a:cs typeface="+mn-cs"/>
              </a:defRPr>
            </a:lvl9pPr>
          </a:lstStyle>
          <a:p>
            <a:pPr marL="92075" indent="0">
              <a:lnSpc>
                <a:spcPct val="150000"/>
              </a:lnSpc>
              <a:buNone/>
              <a:defRPr/>
            </a:pPr>
            <a:r>
              <a:rPr lang="en-US" sz="1400">
                <a:solidFill>
                  <a:srgbClr val="1C6D7D"/>
                </a:solidFill>
                <a:latin typeface="+mj-lt"/>
              </a:rPr>
              <a:t>To gain further understanding on consumers choices and ensure that the claims convey the desired effect, consumers will evaluate some claims on several KPIs (e.g., </a:t>
            </a:r>
            <a:r>
              <a:rPr lang="en-US" sz="1400">
                <a:solidFill>
                  <a:schemeClr val="accent1"/>
                </a:solidFill>
                <a:latin typeface="+mj-lt"/>
              </a:rPr>
              <a:t>new and different, relevant, believable, superior). </a:t>
            </a:r>
          </a:p>
          <a:p>
            <a:pPr marL="92075" indent="0">
              <a:lnSpc>
                <a:spcPct val="150000"/>
              </a:lnSpc>
              <a:buFont typeface="Courier New" panose="02070309020205020404" pitchFamily="49" charset="0"/>
              <a:buNone/>
            </a:pPr>
            <a:endParaRPr lang="en-US" sz="1400"/>
          </a:p>
        </p:txBody>
      </p:sp>
      <p:sp>
        <p:nvSpPr>
          <p:cNvPr id="11" name="Title 10"/>
          <p:cNvSpPr>
            <a:spLocks noGrp="1"/>
          </p:cNvSpPr>
          <p:nvPr>
            <p:ph type="title"/>
          </p:nvPr>
        </p:nvSpPr>
        <p:spPr>
          <a:xfrm>
            <a:off x="4561847" y="522806"/>
            <a:ext cx="6997753" cy="852393"/>
          </a:xfrm>
        </p:spPr>
        <p:txBody>
          <a:bodyPr/>
          <a:lstStyle/>
          <a:p>
            <a:r>
              <a:rPr lang="en-US"/>
              <a:t>KPI rating</a:t>
            </a:r>
          </a:p>
        </p:txBody>
      </p:sp>
      <p:sp>
        <p:nvSpPr>
          <p:cNvPr id="2" name="Content Placeholder 1"/>
          <p:cNvSpPr>
            <a:spLocks noGrp="1"/>
          </p:cNvSpPr>
          <p:nvPr>
            <p:ph type="body" sz="quarter" idx="26"/>
          </p:nvPr>
        </p:nvSpPr>
        <p:spPr>
          <a:xfrm>
            <a:off x="503237" y="522807"/>
            <a:ext cx="3168000" cy="851968"/>
          </a:xfrm>
        </p:spPr>
        <p:txBody>
          <a:bodyPr/>
          <a:lstStyle/>
          <a:p>
            <a:pPr marL="0" indent="0">
              <a:buNone/>
            </a:pPr>
            <a:r>
              <a:rPr lang="en-US">
                <a:latin typeface="+mj-lt"/>
              </a:rPr>
              <a:t>Methodology</a:t>
            </a:r>
          </a:p>
        </p:txBody>
      </p:sp>
      <p:sp>
        <p:nvSpPr>
          <p:cNvPr id="30" name="Text Placeholder 12">
            <a:extLst>
              <a:ext uri="{FF2B5EF4-FFF2-40B4-BE49-F238E27FC236}">
                <a16:creationId xmlns:a16="http://schemas.microsoft.com/office/drawing/2014/main" id="{541C4938-3B09-41BD-8A12-8F89A89EBAC6}"/>
              </a:ext>
            </a:extLst>
          </p:cNvPr>
          <p:cNvSpPr>
            <a:spLocks noGrp="1"/>
          </p:cNvSpPr>
          <p:nvPr>
            <p:ph type="body" sz="quarter" idx="27"/>
          </p:nvPr>
        </p:nvSpPr>
        <p:spPr>
          <a:xfrm>
            <a:off x="503237" y="1965539"/>
            <a:ext cx="3331818" cy="4410075"/>
          </a:xfrm>
        </p:spPr>
        <p:txBody>
          <a:bodyPr/>
          <a:lstStyle/>
          <a:p>
            <a:r>
              <a:rPr lang="en-US" sz="1600">
                <a:solidFill>
                  <a:srgbClr val="1C6D7D"/>
                </a:solidFill>
                <a:latin typeface="+mj-lt"/>
              </a:rPr>
              <a:t>To understand how claims are perceived, we will include some KPI assessments on the claims. </a:t>
            </a:r>
          </a:p>
          <a:p>
            <a:r>
              <a:rPr lang="en-US">
                <a:solidFill>
                  <a:srgbClr val="1C6D7D"/>
                </a:solidFill>
                <a:latin typeface="+mj-lt"/>
              </a:rPr>
              <a:t>We can include up to 4 KPIs in this study. </a:t>
            </a:r>
            <a:endParaRPr lang="en-US">
              <a:latin typeface="+mj-lt"/>
            </a:endParaRPr>
          </a:p>
        </p:txBody>
      </p:sp>
      <p:sp>
        <p:nvSpPr>
          <p:cNvPr id="14" name="Rectangle: Rounded Corners 13">
            <a:extLst>
              <a:ext uri="{FF2B5EF4-FFF2-40B4-BE49-F238E27FC236}">
                <a16:creationId xmlns:a16="http://schemas.microsoft.com/office/drawing/2014/main" id="{E8A6EE68-B12F-439D-A7C2-1406B5F18543}"/>
              </a:ext>
            </a:extLst>
          </p:cNvPr>
          <p:cNvSpPr/>
          <p:nvPr/>
        </p:nvSpPr>
        <p:spPr bwMode="auto">
          <a:xfrm>
            <a:off x="3751709" y="522807"/>
            <a:ext cx="518091" cy="518091"/>
          </a:xfrm>
          <a:prstGeom prst="roundRect">
            <a:avLst/>
          </a:prstGeom>
          <a:solidFill>
            <a:schemeClr val="accent3"/>
          </a:solidFill>
          <a:ln w="0">
            <a:noFill/>
            <a:prstDash val="solid"/>
            <a:round/>
            <a:headEnd/>
            <a:tailEnd/>
          </a:ln>
        </p:spPr>
        <p:txBody>
          <a:bodyPr vert="horz" wrap="square" lIns="68580" tIns="34290" rIns="68580" bIns="34290" numCol="1" rtlCol="0" anchor="ctr" anchorCtr="0" compatLnSpc="1">
            <a:prstTxWarp prst="textNoShape">
              <a:avLst/>
            </a:prstTxWarp>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US" sz="2000" b="1">
                <a:solidFill>
                  <a:schemeClr val="bg2"/>
                </a:solidFill>
                <a:latin typeface="Arial"/>
              </a:rPr>
              <a:t>4</a:t>
            </a:r>
            <a:endParaRPr kumimoji="0" lang="en-US" sz="2000" b="1" i="0" u="none" strike="noStrike" kern="1200" cap="none" spc="0" normalizeH="0" baseline="0" noProof="0">
              <a:ln>
                <a:noFill/>
              </a:ln>
              <a:solidFill>
                <a:schemeClr val="bg2"/>
              </a:solidFill>
              <a:effectLst/>
              <a:uLnTx/>
              <a:uFillTx/>
              <a:latin typeface="Arial"/>
              <a:ea typeface="+mn-ea"/>
              <a:cs typeface="+mn-cs"/>
            </a:endParaRPr>
          </a:p>
        </p:txBody>
      </p:sp>
      <p:sp>
        <p:nvSpPr>
          <p:cNvPr id="23" name="TextBox 22">
            <a:extLst>
              <a:ext uri="{FF2B5EF4-FFF2-40B4-BE49-F238E27FC236}">
                <a16:creationId xmlns:a16="http://schemas.microsoft.com/office/drawing/2014/main" id="{7B424EF0-691B-4A59-A502-9185741DFFA9}"/>
              </a:ext>
            </a:extLst>
          </p:cNvPr>
          <p:cNvSpPr txBox="1"/>
          <p:nvPr/>
        </p:nvSpPr>
        <p:spPr>
          <a:xfrm>
            <a:off x="9366426" y="2369304"/>
            <a:ext cx="1756607" cy="871627"/>
          </a:xfrm>
          <a:prstGeom prst="rect">
            <a:avLst/>
          </a:prstGeom>
          <a:noFill/>
        </p:spPr>
        <p:txBody>
          <a:bodyPr wrap="square" lIns="108000" tIns="72000" rIns="108000" bIns="108000" rtlCol="0">
            <a:spAutoFit/>
          </a:bodyPr>
          <a:lstStyle/>
          <a:p>
            <a:pPr indent="0" algn="ctr">
              <a:lnSpc>
                <a:spcPct val="120000"/>
              </a:lnSpc>
              <a:spcAft>
                <a:spcPts val="1000"/>
              </a:spcAft>
            </a:pPr>
            <a:r>
              <a:rPr lang="en-US" sz="1050">
                <a:solidFill>
                  <a:schemeClr val="accent1"/>
                </a:solidFill>
              </a:rPr>
              <a:t>Please rate this message on the following: </a:t>
            </a:r>
          </a:p>
          <a:p>
            <a:pPr indent="0" algn="ctr">
              <a:lnSpc>
                <a:spcPct val="120000"/>
              </a:lnSpc>
              <a:spcAft>
                <a:spcPts val="1000"/>
              </a:spcAft>
            </a:pPr>
            <a:r>
              <a:rPr lang="en-US" sz="1050" b="1" i="1">
                <a:solidFill>
                  <a:schemeClr val="accent1"/>
                </a:solidFill>
              </a:rPr>
              <a:t>#1 high-protein drink </a:t>
            </a:r>
          </a:p>
        </p:txBody>
      </p:sp>
      <p:sp>
        <p:nvSpPr>
          <p:cNvPr id="24" name="TextBox 23">
            <a:extLst>
              <a:ext uri="{FF2B5EF4-FFF2-40B4-BE49-F238E27FC236}">
                <a16:creationId xmlns:a16="http://schemas.microsoft.com/office/drawing/2014/main" id="{77893AB9-E61E-4E49-8606-7B081F6DED45}"/>
              </a:ext>
            </a:extLst>
          </p:cNvPr>
          <p:cNvSpPr txBox="1"/>
          <p:nvPr/>
        </p:nvSpPr>
        <p:spPr>
          <a:xfrm>
            <a:off x="9366426" y="3476371"/>
            <a:ext cx="1725770" cy="355588"/>
          </a:xfrm>
          <a:prstGeom prst="rect">
            <a:avLst/>
          </a:prstGeom>
          <a:noFill/>
        </p:spPr>
        <p:txBody>
          <a:bodyPr wrap="square" lIns="108000" tIns="72000" rIns="108000" bIns="108000" rtlCol="0">
            <a:spAutoFit/>
          </a:bodyPr>
          <a:lstStyle/>
          <a:p>
            <a:pPr indent="0" algn="ctr">
              <a:lnSpc>
                <a:spcPct val="120000"/>
              </a:lnSpc>
              <a:spcAft>
                <a:spcPts val="1000"/>
              </a:spcAft>
            </a:pPr>
            <a:r>
              <a:rPr lang="en-US" sz="1050" b="1">
                <a:solidFill>
                  <a:schemeClr val="accent1"/>
                </a:solidFill>
              </a:rPr>
              <a:t>Is new and different</a:t>
            </a:r>
          </a:p>
        </p:txBody>
      </p:sp>
      <p:sp>
        <p:nvSpPr>
          <p:cNvPr id="25" name="TextBox 24">
            <a:extLst>
              <a:ext uri="{FF2B5EF4-FFF2-40B4-BE49-F238E27FC236}">
                <a16:creationId xmlns:a16="http://schemas.microsoft.com/office/drawing/2014/main" id="{47D4E50E-48B6-4BA3-B89F-E44D438D8490}"/>
              </a:ext>
            </a:extLst>
          </p:cNvPr>
          <p:cNvSpPr txBox="1"/>
          <p:nvPr/>
        </p:nvSpPr>
        <p:spPr>
          <a:xfrm>
            <a:off x="9397263" y="4128007"/>
            <a:ext cx="1725770" cy="355588"/>
          </a:xfrm>
          <a:prstGeom prst="rect">
            <a:avLst/>
          </a:prstGeom>
          <a:noFill/>
        </p:spPr>
        <p:txBody>
          <a:bodyPr wrap="square" lIns="108000" tIns="72000" rIns="108000" bIns="108000" rtlCol="0">
            <a:spAutoFit/>
          </a:bodyPr>
          <a:lstStyle/>
          <a:p>
            <a:pPr indent="0" algn="ctr">
              <a:lnSpc>
                <a:spcPct val="120000"/>
              </a:lnSpc>
              <a:spcAft>
                <a:spcPts val="1000"/>
              </a:spcAft>
            </a:pPr>
            <a:r>
              <a:rPr lang="en-US" sz="1050" b="1">
                <a:solidFill>
                  <a:schemeClr val="accent1"/>
                </a:solidFill>
              </a:rPr>
              <a:t>Is relevant</a:t>
            </a:r>
          </a:p>
        </p:txBody>
      </p:sp>
      <p:sp>
        <p:nvSpPr>
          <p:cNvPr id="26" name="TextBox 25">
            <a:extLst>
              <a:ext uri="{FF2B5EF4-FFF2-40B4-BE49-F238E27FC236}">
                <a16:creationId xmlns:a16="http://schemas.microsoft.com/office/drawing/2014/main" id="{4B204386-0D44-40D5-955E-DE94CC3517A8}"/>
              </a:ext>
            </a:extLst>
          </p:cNvPr>
          <p:cNvSpPr txBox="1"/>
          <p:nvPr/>
        </p:nvSpPr>
        <p:spPr>
          <a:xfrm>
            <a:off x="9397263" y="4770411"/>
            <a:ext cx="1725770" cy="355588"/>
          </a:xfrm>
          <a:prstGeom prst="rect">
            <a:avLst/>
          </a:prstGeom>
          <a:noFill/>
        </p:spPr>
        <p:txBody>
          <a:bodyPr wrap="square" lIns="108000" tIns="72000" rIns="108000" bIns="108000" rtlCol="0">
            <a:spAutoFit/>
          </a:bodyPr>
          <a:lstStyle/>
          <a:p>
            <a:pPr indent="0" algn="ctr">
              <a:lnSpc>
                <a:spcPct val="120000"/>
              </a:lnSpc>
              <a:spcAft>
                <a:spcPts val="1000"/>
              </a:spcAft>
            </a:pPr>
            <a:r>
              <a:rPr lang="en-US" sz="1050" b="1">
                <a:solidFill>
                  <a:schemeClr val="accent1"/>
                </a:solidFill>
              </a:rPr>
              <a:t>Is believable</a:t>
            </a:r>
          </a:p>
        </p:txBody>
      </p:sp>
      <p:grpSp>
        <p:nvGrpSpPr>
          <p:cNvPr id="27" name="Group 26">
            <a:extLst>
              <a:ext uri="{FF2B5EF4-FFF2-40B4-BE49-F238E27FC236}">
                <a16:creationId xmlns:a16="http://schemas.microsoft.com/office/drawing/2014/main" id="{D7AC6389-D45A-4488-95EE-B19B66A297B8}"/>
              </a:ext>
            </a:extLst>
          </p:cNvPr>
          <p:cNvGrpSpPr/>
          <p:nvPr/>
        </p:nvGrpSpPr>
        <p:grpSpPr>
          <a:xfrm>
            <a:off x="9487428" y="3799202"/>
            <a:ext cx="1483765" cy="266484"/>
            <a:chOff x="3693130" y="1715624"/>
            <a:chExt cx="1483765" cy="266484"/>
          </a:xfrm>
        </p:grpSpPr>
        <p:sp>
          <p:nvSpPr>
            <p:cNvPr id="29" name="Star: 5 Points 28">
              <a:extLst>
                <a:ext uri="{FF2B5EF4-FFF2-40B4-BE49-F238E27FC236}">
                  <a16:creationId xmlns:a16="http://schemas.microsoft.com/office/drawing/2014/main" id="{EBC7C398-31B2-4582-830E-43C7533EE93D}"/>
                </a:ext>
              </a:extLst>
            </p:cNvPr>
            <p:cNvSpPr/>
            <p:nvPr/>
          </p:nvSpPr>
          <p:spPr>
            <a:xfrm>
              <a:off x="4000726" y="1715624"/>
              <a:ext cx="262800" cy="262800"/>
            </a:xfrm>
            <a:prstGeom prst="star5">
              <a:avLst/>
            </a:prstGeom>
            <a:solidFill>
              <a:schemeClr val="accent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err="1">
                <a:solidFill>
                  <a:schemeClr val="tx1"/>
                </a:solidFill>
                <a:latin typeface="Segoe Print" panose="02000600000000000000" pitchFamily="2" charset="0"/>
                <a:cs typeface="MV Boli" panose="02000500030200090000" pitchFamily="2" charset="0"/>
              </a:endParaRPr>
            </a:p>
          </p:txBody>
        </p:sp>
        <p:sp>
          <p:nvSpPr>
            <p:cNvPr id="31" name="Star: 5 Points 30">
              <a:extLst>
                <a:ext uri="{FF2B5EF4-FFF2-40B4-BE49-F238E27FC236}">
                  <a16:creationId xmlns:a16="http://schemas.microsoft.com/office/drawing/2014/main" id="{9D017FF7-0BE1-4F02-9B18-32AA171F4B3E}"/>
                </a:ext>
              </a:extLst>
            </p:cNvPr>
            <p:cNvSpPr/>
            <p:nvPr/>
          </p:nvSpPr>
          <p:spPr>
            <a:xfrm>
              <a:off x="3693130" y="1715624"/>
              <a:ext cx="262800" cy="262800"/>
            </a:xfrm>
            <a:prstGeom prst="star5">
              <a:avLst/>
            </a:prstGeom>
            <a:solidFill>
              <a:schemeClr val="accent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err="1">
                <a:solidFill>
                  <a:schemeClr val="tx1"/>
                </a:solidFill>
                <a:latin typeface="Segoe Print" panose="02000600000000000000" pitchFamily="2" charset="0"/>
                <a:cs typeface="MV Boli" panose="02000500030200090000" pitchFamily="2" charset="0"/>
              </a:endParaRPr>
            </a:p>
          </p:txBody>
        </p:sp>
        <p:sp>
          <p:nvSpPr>
            <p:cNvPr id="32" name="Star: 5 Points 31">
              <a:extLst>
                <a:ext uri="{FF2B5EF4-FFF2-40B4-BE49-F238E27FC236}">
                  <a16:creationId xmlns:a16="http://schemas.microsoft.com/office/drawing/2014/main" id="{63217CAF-A728-42EC-B9A1-F451D5330A33}"/>
                </a:ext>
              </a:extLst>
            </p:cNvPr>
            <p:cNvSpPr/>
            <p:nvPr/>
          </p:nvSpPr>
          <p:spPr>
            <a:xfrm>
              <a:off x="4316468" y="1715624"/>
              <a:ext cx="262800" cy="262800"/>
            </a:xfrm>
            <a:prstGeom prst="star5">
              <a:avLst/>
            </a:prstGeom>
            <a:solidFill>
              <a:schemeClr val="accent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err="1">
                <a:solidFill>
                  <a:schemeClr val="tx1"/>
                </a:solidFill>
                <a:latin typeface="Segoe Print" panose="02000600000000000000" pitchFamily="2" charset="0"/>
                <a:cs typeface="MV Boli" panose="02000500030200090000" pitchFamily="2" charset="0"/>
              </a:endParaRPr>
            </a:p>
          </p:txBody>
        </p:sp>
        <p:sp>
          <p:nvSpPr>
            <p:cNvPr id="33" name="Star: 5 Points 32">
              <a:extLst>
                <a:ext uri="{FF2B5EF4-FFF2-40B4-BE49-F238E27FC236}">
                  <a16:creationId xmlns:a16="http://schemas.microsoft.com/office/drawing/2014/main" id="{404FDADD-02C4-43C0-A0AF-90DE20E602D6}"/>
                </a:ext>
              </a:extLst>
            </p:cNvPr>
            <p:cNvSpPr/>
            <p:nvPr/>
          </p:nvSpPr>
          <p:spPr>
            <a:xfrm>
              <a:off x="4598353" y="1719308"/>
              <a:ext cx="262800" cy="262800"/>
            </a:xfrm>
            <a:prstGeom prst="star5">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err="1">
                <a:solidFill>
                  <a:schemeClr val="tx1"/>
                </a:solidFill>
                <a:latin typeface="Segoe Print" panose="02000600000000000000" pitchFamily="2" charset="0"/>
                <a:cs typeface="MV Boli" panose="02000500030200090000" pitchFamily="2" charset="0"/>
              </a:endParaRPr>
            </a:p>
          </p:txBody>
        </p:sp>
        <p:sp>
          <p:nvSpPr>
            <p:cNvPr id="34" name="Star: 5 Points 33">
              <a:extLst>
                <a:ext uri="{FF2B5EF4-FFF2-40B4-BE49-F238E27FC236}">
                  <a16:creationId xmlns:a16="http://schemas.microsoft.com/office/drawing/2014/main" id="{A5D741AB-CBDA-4979-B58A-25300ED572F9}"/>
                </a:ext>
              </a:extLst>
            </p:cNvPr>
            <p:cNvSpPr/>
            <p:nvPr/>
          </p:nvSpPr>
          <p:spPr>
            <a:xfrm>
              <a:off x="4914095" y="1719308"/>
              <a:ext cx="262800" cy="262800"/>
            </a:xfrm>
            <a:prstGeom prst="star5">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err="1">
                <a:solidFill>
                  <a:schemeClr val="tx1"/>
                </a:solidFill>
                <a:latin typeface="Segoe Print" panose="02000600000000000000" pitchFamily="2" charset="0"/>
                <a:cs typeface="MV Boli" panose="02000500030200090000" pitchFamily="2" charset="0"/>
              </a:endParaRPr>
            </a:p>
          </p:txBody>
        </p:sp>
      </p:grpSp>
      <p:grpSp>
        <p:nvGrpSpPr>
          <p:cNvPr id="35" name="Group 34">
            <a:extLst>
              <a:ext uri="{FF2B5EF4-FFF2-40B4-BE49-F238E27FC236}">
                <a16:creationId xmlns:a16="http://schemas.microsoft.com/office/drawing/2014/main" id="{78440FD3-D440-479A-A265-36FF82AB0E98}"/>
              </a:ext>
            </a:extLst>
          </p:cNvPr>
          <p:cNvGrpSpPr/>
          <p:nvPr/>
        </p:nvGrpSpPr>
        <p:grpSpPr>
          <a:xfrm>
            <a:off x="9518265" y="4487508"/>
            <a:ext cx="1483765" cy="266484"/>
            <a:chOff x="3693130" y="1715624"/>
            <a:chExt cx="1483765" cy="266484"/>
          </a:xfrm>
        </p:grpSpPr>
        <p:sp>
          <p:nvSpPr>
            <p:cNvPr id="36" name="Star: 5 Points 35">
              <a:extLst>
                <a:ext uri="{FF2B5EF4-FFF2-40B4-BE49-F238E27FC236}">
                  <a16:creationId xmlns:a16="http://schemas.microsoft.com/office/drawing/2014/main" id="{F9F7D9D1-2B48-4774-B491-6921ECC67CF8}"/>
                </a:ext>
              </a:extLst>
            </p:cNvPr>
            <p:cNvSpPr/>
            <p:nvPr/>
          </p:nvSpPr>
          <p:spPr>
            <a:xfrm>
              <a:off x="4000726" y="1715624"/>
              <a:ext cx="262800" cy="262800"/>
            </a:xfrm>
            <a:prstGeom prst="star5">
              <a:avLst/>
            </a:prstGeom>
            <a:solidFill>
              <a:schemeClr val="accent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err="1">
                <a:solidFill>
                  <a:schemeClr val="tx1"/>
                </a:solidFill>
                <a:latin typeface="Segoe Print" panose="02000600000000000000" pitchFamily="2" charset="0"/>
                <a:cs typeface="MV Boli" panose="02000500030200090000" pitchFamily="2" charset="0"/>
              </a:endParaRPr>
            </a:p>
          </p:txBody>
        </p:sp>
        <p:sp>
          <p:nvSpPr>
            <p:cNvPr id="37" name="Star: 5 Points 36">
              <a:extLst>
                <a:ext uri="{FF2B5EF4-FFF2-40B4-BE49-F238E27FC236}">
                  <a16:creationId xmlns:a16="http://schemas.microsoft.com/office/drawing/2014/main" id="{CB4FB16F-45EE-482F-8F96-B56184EABEBA}"/>
                </a:ext>
              </a:extLst>
            </p:cNvPr>
            <p:cNvSpPr/>
            <p:nvPr/>
          </p:nvSpPr>
          <p:spPr>
            <a:xfrm>
              <a:off x="3693130" y="1715624"/>
              <a:ext cx="262800" cy="262800"/>
            </a:xfrm>
            <a:prstGeom prst="star5">
              <a:avLst/>
            </a:prstGeom>
            <a:solidFill>
              <a:schemeClr val="accent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err="1">
                <a:solidFill>
                  <a:schemeClr val="tx1"/>
                </a:solidFill>
                <a:latin typeface="Segoe Print" panose="02000600000000000000" pitchFamily="2" charset="0"/>
                <a:cs typeface="MV Boli" panose="02000500030200090000" pitchFamily="2" charset="0"/>
              </a:endParaRPr>
            </a:p>
          </p:txBody>
        </p:sp>
        <p:sp>
          <p:nvSpPr>
            <p:cNvPr id="38" name="Star: 5 Points 37">
              <a:extLst>
                <a:ext uri="{FF2B5EF4-FFF2-40B4-BE49-F238E27FC236}">
                  <a16:creationId xmlns:a16="http://schemas.microsoft.com/office/drawing/2014/main" id="{BB42148B-A769-4CF5-BD73-00D6B40C8E1A}"/>
                </a:ext>
              </a:extLst>
            </p:cNvPr>
            <p:cNvSpPr/>
            <p:nvPr/>
          </p:nvSpPr>
          <p:spPr>
            <a:xfrm>
              <a:off x="4316468" y="1715624"/>
              <a:ext cx="262800" cy="262800"/>
            </a:xfrm>
            <a:prstGeom prst="star5">
              <a:avLst/>
            </a:prstGeom>
            <a:solidFill>
              <a:schemeClr val="accent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err="1">
                <a:solidFill>
                  <a:schemeClr val="tx1"/>
                </a:solidFill>
                <a:latin typeface="Segoe Print" panose="02000600000000000000" pitchFamily="2" charset="0"/>
                <a:cs typeface="MV Boli" panose="02000500030200090000" pitchFamily="2" charset="0"/>
              </a:endParaRPr>
            </a:p>
          </p:txBody>
        </p:sp>
        <p:sp>
          <p:nvSpPr>
            <p:cNvPr id="39" name="Star: 5 Points 38">
              <a:extLst>
                <a:ext uri="{FF2B5EF4-FFF2-40B4-BE49-F238E27FC236}">
                  <a16:creationId xmlns:a16="http://schemas.microsoft.com/office/drawing/2014/main" id="{63D5C4A1-83C0-47C0-B74F-652C0F37836C}"/>
                </a:ext>
              </a:extLst>
            </p:cNvPr>
            <p:cNvSpPr/>
            <p:nvPr/>
          </p:nvSpPr>
          <p:spPr>
            <a:xfrm>
              <a:off x="4598353" y="1719308"/>
              <a:ext cx="262800" cy="262800"/>
            </a:xfrm>
            <a:prstGeom prst="star5">
              <a:avLst/>
            </a:prstGeom>
            <a:solidFill>
              <a:schemeClr val="bg2"/>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err="1">
                <a:solidFill>
                  <a:schemeClr val="tx1"/>
                </a:solidFill>
                <a:latin typeface="Segoe Print" panose="02000600000000000000" pitchFamily="2" charset="0"/>
                <a:cs typeface="MV Boli" panose="02000500030200090000" pitchFamily="2" charset="0"/>
              </a:endParaRPr>
            </a:p>
          </p:txBody>
        </p:sp>
        <p:sp>
          <p:nvSpPr>
            <p:cNvPr id="40" name="Star: 5 Points 39">
              <a:extLst>
                <a:ext uri="{FF2B5EF4-FFF2-40B4-BE49-F238E27FC236}">
                  <a16:creationId xmlns:a16="http://schemas.microsoft.com/office/drawing/2014/main" id="{0F398B28-CF8F-4DDE-86D5-828ACCE4025E}"/>
                </a:ext>
              </a:extLst>
            </p:cNvPr>
            <p:cNvSpPr/>
            <p:nvPr/>
          </p:nvSpPr>
          <p:spPr>
            <a:xfrm>
              <a:off x="4914095" y="1719308"/>
              <a:ext cx="262800" cy="262800"/>
            </a:xfrm>
            <a:prstGeom prst="star5">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err="1">
                <a:solidFill>
                  <a:schemeClr val="tx1"/>
                </a:solidFill>
                <a:latin typeface="Segoe Print" panose="02000600000000000000" pitchFamily="2" charset="0"/>
                <a:cs typeface="MV Boli" panose="02000500030200090000" pitchFamily="2" charset="0"/>
              </a:endParaRPr>
            </a:p>
          </p:txBody>
        </p:sp>
      </p:grpSp>
      <p:grpSp>
        <p:nvGrpSpPr>
          <p:cNvPr id="41" name="Group 40">
            <a:extLst>
              <a:ext uri="{FF2B5EF4-FFF2-40B4-BE49-F238E27FC236}">
                <a16:creationId xmlns:a16="http://schemas.microsoft.com/office/drawing/2014/main" id="{D0D3F3D3-457A-4663-B37F-018FC4EA4C8A}"/>
              </a:ext>
            </a:extLst>
          </p:cNvPr>
          <p:cNvGrpSpPr/>
          <p:nvPr/>
        </p:nvGrpSpPr>
        <p:grpSpPr>
          <a:xfrm>
            <a:off x="9487428" y="5123732"/>
            <a:ext cx="1483765" cy="266484"/>
            <a:chOff x="3693130" y="1715624"/>
            <a:chExt cx="1483765" cy="266484"/>
          </a:xfrm>
        </p:grpSpPr>
        <p:sp>
          <p:nvSpPr>
            <p:cNvPr id="42" name="Star: 5 Points 41">
              <a:extLst>
                <a:ext uri="{FF2B5EF4-FFF2-40B4-BE49-F238E27FC236}">
                  <a16:creationId xmlns:a16="http://schemas.microsoft.com/office/drawing/2014/main" id="{DE3BD580-C95D-4E8D-B93C-A9B1B3E3C4F5}"/>
                </a:ext>
              </a:extLst>
            </p:cNvPr>
            <p:cNvSpPr/>
            <p:nvPr/>
          </p:nvSpPr>
          <p:spPr>
            <a:xfrm>
              <a:off x="4000726" y="1715624"/>
              <a:ext cx="262800" cy="262800"/>
            </a:xfrm>
            <a:prstGeom prst="star5">
              <a:avLst/>
            </a:prstGeom>
            <a:solidFill>
              <a:schemeClr val="accent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err="1">
                <a:solidFill>
                  <a:schemeClr val="tx1"/>
                </a:solidFill>
                <a:latin typeface="Segoe Print" panose="02000600000000000000" pitchFamily="2" charset="0"/>
                <a:cs typeface="MV Boli" panose="02000500030200090000" pitchFamily="2" charset="0"/>
              </a:endParaRPr>
            </a:p>
          </p:txBody>
        </p:sp>
        <p:sp>
          <p:nvSpPr>
            <p:cNvPr id="43" name="Star: 5 Points 42">
              <a:extLst>
                <a:ext uri="{FF2B5EF4-FFF2-40B4-BE49-F238E27FC236}">
                  <a16:creationId xmlns:a16="http://schemas.microsoft.com/office/drawing/2014/main" id="{C07B8E0E-EBDA-4185-9B5E-FD8D607D159F}"/>
                </a:ext>
              </a:extLst>
            </p:cNvPr>
            <p:cNvSpPr/>
            <p:nvPr/>
          </p:nvSpPr>
          <p:spPr>
            <a:xfrm>
              <a:off x="3693130" y="1715624"/>
              <a:ext cx="262800" cy="262800"/>
            </a:xfrm>
            <a:prstGeom prst="star5">
              <a:avLst/>
            </a:prstGeom>
            <a:solidFill>
              <a:schemeClr val="accent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err="1">
                <a:solidFill>
                  <a:schemeClr val="tx1"/>
                </a:solidFill>
                <a:latin typeface="Segoe Print" panose="02000600000000000000" pitchFamily="2" charset="0"/>
                <a:cs typeface="MV Boli" panose="02000500030200090000" pitchFamily="2" charset="0"/>
              </a:endParaRPr>
            </a:p>
          </p:txBody>
        </p:sp>
        <p:sp>
          <p:nvSpPr>
            <p:cNvPr id="44" name="Star: 5 Points 43">
              <a:extLst>
                <a:ext uri="{FF2B5EF4-FFF2-40B4-BE49-F238E27FC236}">
                  <a16:creationId xmlns:a16="http://schemas.microsoft.com/office/drawing/2014/main" id="{0503B740-C4B6-4216-9196-11D2E8A31C4A}"/>
                </a:ext>
              </a:extLst>
            </p:cNvPr>
            <p:cNvSpPr/>
            <p:nvPr/>
          </p:nvSpPr>
          <p:spPr>
            <a:xfrm>
              <a:off x="4316468" y="1715624"/>
              <a:ext cx="262800" cy="262800"/>
            </a:xfrm>
            <a:prstGeom prst="star5">
              <a:avLst/>
            </a:prstGeom>
            <a:solidFill>
              <a:schemeClr val="accent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err="1">
                <a:solidFill>
                  <a:schemeClr val="tx1"/>
                </a:solidFill>
                <a:latin typeface="Segoe Print" panose="02000600000000000000" pitchFamily="2" charset="0"/>
                <a:cs typeface="MV Boli" panose="02000500030200090000" pitchFamily="2" charset="0"/>
              </a:endParaRPr>
            </a:p>
          </p:txBody>
        </p:sp>
        <p:sp>
          <p:nvSpPr>
            <p:cNvPr id="45" name="Star: 5 Points 44">
              <a:extLst>
                <a:ext uri="{FF2B5EF4-FFF2-40B4-BE49-F238E27FC236}">
                  <a16:creationId xmlns:a16="http://schemas.microsoft.com/office/drawing/2014/main" id="{9C45B492-A0E2-48A5-9BC7-BDAD23EAEAD7}"/>
                </a:ext>
              </a:extLst>
            </p:cNvPr>
            <p:cNvSpPr/>
            <p:nvPr/>
          </p:nvSpPr>
          <p:spPr>
            <a:xfrm>
              <a:off x="4598353" y="1719308"/>
              <a:ext cx="262800" cy="262800"/>
            </a:xfrm>
            <a:prstGeom prst="star5">
              <a:avLst/>
            </a:prstGeom>
            <a:solidFill>
              <a:schemeClr val="bg2"/>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err="1">
                <a:solidFill>
                  <a:schemeClr val="tx1"/>
                </a:solidFill>
                <a:latin typeface="Segoe Print" panose="02000600000000000000" pitchFamily="2" charset="0"/>
                <a:cs typeface="MV Boli" panose="02000500030200090000" pitchFamily="2" charset="0"/>
              </a:endParaRPr>
            </a:p>
          </p:txBody>
        </p:sp>
        <p:sp>
          <p:nvSpPr>
            <p:cNvPr id="46" name="Star: 5 Points 45">
              <a:extLst>
                <a:ext uri="{FF2B5EF4-FFF2-40B4-BE49-F238E27FC236}">
                  <a16:creationId xmlns:a16="http://schemas.microsoft.com/office/drawing/2014/main" id="{D20E3B93-5C1D-46FE-B61F-73FF65B9CF3B}"/>
                </a:ext>
              </a:extLst>
            </p:cNvPr>
            <p:cNvSpPr/>
            <p:nvPr/>
          </p:nvSpPr>
          <p:spPr>
            <a:xfrm>
              <a:off x="4914095" y="1719308"/>
              <a:ext cx="262800" cy="262800"/>
            </a:xfrm>
            <a:prstGeom prst="star5">
              <a:avLst/>
            </a:prstGeom>
            <a:solidFill>
              <a:schemeClr val="bg2"/>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err="1">
                <a:solidFill>
                  <a:schemeClr val="tx1"/>
                </a:solidFill>
                <a:latin typeface="Segoe Print" panose="02000600000000000000" pitchFamily="2" charset="0"/>
                <a:cs typeface="MV Boli" panose="02000500030200090000" pitchFamily="2" charset="0"/>
              </a:endParaRPr>
            </a:p>
          </p:txBody>
        </p:sp>
      </p:grpSp>
      <p:grpSp>
        <p:nvGrpSpPr>
          <p:cNvPr id="4" name="Group 3">
            <a:extLst>
              <a:ext uri="{FF2B5EF4-FFF2-40B4-BE49-F238E27FC236}">
                <a16:creationId xmlns:a16="http://schemas.microsoft.com/office/drawing/2014/main" id="{4AA7C946-90F8-5500-0C06-5C459890324A}"/>
              </a:ext>
            </a:extLst>
          </p:cNvPr>
          <p:cNvGrpSpPr/>
          <p:nvPr/>
        </p:nvGrpSpPr>
        <p:grpSpPr>
          <a:xfrm>
            <a:off x="8832415" y="1951574"/>
            <a:ext cx="3485903" cy="4906425"/>
            <a:chOff x="8832415" y="1951574"/>
            <a:chExt cx="3485903" cy="4906425"/>
          </a:xfrm>
        </p:grpSpPr>
        <p:pic>
          <p:nvPicPr>
            <p:cNvPr id="47" name="Picture 46">
              <a:extLst>
                <a:ext uri="{FF2B5EF4-FFF2-40B4-BE49-F238E27FC236}">
                  <a16:creationId xmlns:a16="http://schemas.microsoft.com/office/drawing/2014/main" id="{C6E1508E-707B-A87A-254F-DC4D8D92101A}"/>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8832415" y="1951574"/>
              <a:ext cx="3485903" cy="4906425"/>
            </a:xfrm>
            <a:prstGeom prst="rect">
              <a:avLst/>
            </a:prstGeom>
          </p:spPr>
        </p:pic>
        <p:sp>
          <p:nvSpPr>
            <p:cNvPr id="3" name="TextBox 2">
              <a:extLst>
                <a:ext uri="{FF2B5EF4-FFF2-40B4-BE49-F238E27FC236}">
                  <a16:creationId xmlns:a16="http://schemas.microsoft.com/office/drawing/2014/main" id="{A9AD828C-9B68-FE45-D412-1C9C11C10853}"/>
                </a:ext>
              </a:extLst>
            </p:cNvPr>
            <p:cNvSpPr txBox="1"/>
            <p:nvPr/>
          </p:nvSpPr>
          <p:spPr>
            <a:xfrm>
              <a:off x="9379281" y="2924840"/>
              <a:ext cx="1725770" cy="347252"/>
            </a:xfrm>
            <a:prstGeom prst="rect">
              <a:avLst/>
            </a:prstGeom>
            <a:solidFill>
              <a:schemeClr val="bg1"/>
            </a:solidFill>
          </p:spPr>
          <p:txBody>
            <a:bodyPr wrap="square" lIns="108000" tIns="72000" rIns="108000" bIns="108000" rtlCol="0">
              <a:spAutoFit/>
            </a:bodyPr>
            <a:lstStyle/>
            <a:p>
              <a:pPr indent="0" algn="ctr">
                <a:lnSpc>
                  <a:spcPct val="120000"/>
                </a:lnSpc>
                <a:spcAft>
                  <a:spcPts val="1000"/>
                </a:spcAft>
              </a:pPr>
              <a:r>
                <a:rPr lang="en-US" sz="1000" b="1" i="1">
                  <a:solidFill>
                    <a:schemeClr val="accent1"/>
                  </a:solidFill>
                </a:rPr>
                <a:t>Less carbon emission</a:t>
              </a:r>
            </a:p>
          </p:txBody>
        </p:sp>
      </p:grpSp>
    </p:spTree>
    <p:extLst>
      <p:ext uri="{BB962C8B-B14F-4D97-AF65-F5344CB8AC3E}">
        <p14:creationId xmlns:p14="http://schemas.microsoft.com/office/powerpoint/2010/main" val="1586460532"/>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title"/>
          </p:nvPr>
        </p:nvSpPr>
        <p:spPr>
          <a:xfrm>
            <a:off x="4561847" y="522806"/>
            <a:ext cx="7214517" cy="852393"/>
          </a:xfrm>
        </p:spPr>
        <p:txBody>
          <a:bodyPr/>
          <a:lstStyle/>
          <a:p>
            <a:r>
              <a:rPr lang="en-US"/>
              <a:t>Deep dive module – Qualitative Feedback</a:t>
            </a:r>
          </a:p>
        </p:txBody>
      </p:sp>
      <p:sp>
        <p:nvSpPr>
          <p:cNvPr id="2" name="Content Placeholder 1"/>
          <p:cNvSpPr>
            <a:spLocks noGrp="1"/>
          </p:cNvSpPr>
          <p:nvPr>
            <p:ph type="body" sz="quarter" idx="26"/>
          </p:nvPr>
        </p:nvSpPr>
        <p:spPr>
          <a:xfrm>
            <a:off x="503237" y="522807"/>
            <a:ext cx="3168000" cy="851968"/>
          </a:xfrm>
        </p:spPr>
        <p:txBody>
          <a:bodyPr/>
          <a:lstStyle/>
          <a:p>
            <a:pPr marL="0" indent="0">
              <a:buNone/>
            </a:pPr>
            <a:r>
              <a:rPr lang="en-US">
                <a:latin typeface="+mj-lt"/>
              </a:rPr>
              <a:t>Methodology</a:t>
            </a:r>
          </a:p>
        </p:txBody>
      </p:sp>
      <p:sp>
        <p:nvSpPr>
          <p:cNvPr id="30" name="Text Placeholder 12">
            <a:extLst>
              <a:ext uri="{FF2B5EF4-FFF2-40B4-BE49-F238E27FC236}">
                <a16:creationId xmlns:a16="http://schemas.microsoft.com/office/drawing/2014/main" id="{541C4938-3B09-41BD-8A12-8F89A89EBAC6}"/>
              </a:ext>
            </a:extLst>
          </p:cNvPr>
          <p:cNvSpPr>
            <a:spLocks noGrp="1"/>
          </p:cNvSpPr>
          <p:nvPr>
            <p:ph type="body" sz="quarter" idx="27"/>
          </p:nvPr>
        </p:nvSpPr>
        <p:spPr>
          <a:xfrm>
            <a:off x="503237" y="1965539"/>
            <a:ext cx="3331818" cy="4410075"/>
          </a:xfrm>
        </p:spPr>
        <p:txBody>
          <a:bodyPr/>
          <a:lstStyle/>
          <a:p>
            <a:r>
              <a:rPr lang="en-US">
                <a:latin typeface="+mj-lt"/>
              </a:rPr>
              <a:t>At last, we will deep dive on the qualitative evaluation of the claims. </a:t>
            </a:r>
          </a:p>
          <a:p>
            <a:r>
              <a:rPr lang="en-US">
                <a:latin typeface="+mj-lt"/>
              </a:rPr>
              <a:t>We will ask consumers what they liked or disliked about their most and least preferred claims from the trade off exercise, and why. </a:t>
            </a:r>
          </a:p>
        </p:txBody>
      </p:sp>
      <p:sp>
        <p:nvSpPr>
          <p:cNvPr id="14" name="Rectangle: Rounded Corners 13">
            <a:extLst>
              <a:ext uri="{FF2B5EF4-FFF2-40B4-BE49-F238E27FC236}">
                <a16:creationId xmlns:a16="http://schemas.microsoft.com/office/drawing/2014/main" id="{E8A6EE68-B12F-439D-A7C2-1406B5F18543}"/>
              </a:ext>
            </a:extLst>
          </p:cNvPr>
          <p:cNvSpPr/>
          <p:nvPr/>
        </p:nvSpPr>
        <p:spPr bwMode="auto">
          <a:xfrm>
            <a:off x="3751709" y="522807"/>
            <a:ext cx="518091" cy="518091"/>
          </a:xfrm>
          <a:prstGeom prst="roundRect">
            <a:avLst/>
          </a:prstGeom>
          <a:solidFill>
            <a:schemeClr val="accent3"/>
          </a:solidFill>
          <a:ln w="0">
            <a:noFill/>
            <a:prstDash val="solid"/>
            <a:round/>
            <a:headEnd/>
            <a:tailEnd/>
          </a:ln>
        </p:spPr>
        <p:txBody>
          <a:bodyPr vert="horz" wrap="square" lIns="68580" tIns="34290" rIns="68580" bIns="34290" numCol="1" rtlCol="0" anchor="ctr" anchorCtr="0" compatLnSpc="1">
            <a:prstTxWarp prst="textNoShape">
              <a:avLst/>
            </a:prstTxWarp>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chemeClr val="bg2"/>
                </a:solidFill>
                <a:effectLst/>
                <a:uLnTx/>
                <a:uFillTx/>
                <a:latin typeface="Arial"/>
                <a:ea typeface="+mn-ea"/>
                <a:cs typeface="+mn-cs"/>
              </a:rPr>
              <a:t>5</a:t>
            </a:r>
          </a:p>
        </p:txBody>
      </p:sp>
      <p:sp>
        <p:nvSpPr>
          <p:cNvPr id="23" name="TextBox 22">
            <a:extLst>
              <a:ext uri="{FF2B5EF4-FFF2-40B4-BE49-F238E27FC236}">
                <a16:creationId xmlns:a16="http://schemas.microsoft.com/office/drawing/2014/main" id="{7B424EF0-691B-4A59-A502-9185741DFFA9}"/>
              </a:ext>
            </a:extLst>
          </p:cNvPr>
          <p:cNvSpPr txBox="1"/>
          <p:nvPr/>
        </p:nvSpPr>
        <p:spPr>
          <a:xfrm>
            <a:off x="9265128" y="2369642"/>
            <a:ext cx="1950269" cy="1266542"/>
          </a:xfrm>
          <a:prstGeom prst="rect">
            <a:avLst/>
          </a:prstGeom>
          <a:noFill/>
        </p:spPr>
        <p:txBody>
          <a:bodyPr wrap="square" lIns="108000" tIns="72000" rIns="108000" bIns="108000" rtlCol="0">
            <a:spAutoFit/>
          </a:bodyPr>
          <a:lstStyle/>
          <a:p>
            <a:pPr indent="0" algn="ctr">
              <a:lnSpc>
                <a:spcPct val="120000"/>
              </a:lnSpc>
              <a:spcAft>
                <a:spcPts val="1000"/>
              </a:spcAft>
            </a:pPr>
            <a:r>
              <a:rPr lang="en-US" sz="1050">
                <a:solidFill>
                  <a:schemeClr val="accent1"/>
                </a:solidFill>
              </a:rPr>
              <a:t>You found the following message more motivating than others. What do you </a:t>
            </a:r>
            <a:r>
              <a:rPr lang="en-US" sz="1050" b="1">
                <a:solidFill>
                  <a:schemeClr val="accent1"/>
                </a:solidFill>
              </a:rPr>
              <a:t>like</a:t>
            </a:r>
            <a:r>
              <a:rPr lang="en-US" sz="1050">
                <a:solidFill>
                  <a:schemeClr val="accent1"/>
                </a:solidFill>
              </a:rPr>
              <a:t> about this message and </a:t>
            </a:r>
            <a:r>
              <a:rPr lang="en-US" sz="1050" b="1">
                <a:solidFill>
                  <a:schemeClr val="accent1"/>
                </a:solidFill>
              </a:rPr>
              <a:t>why</a:t>
            </a:r>
            <a:r>
              <a:rPr lang="en-US" sz="1050">
                <a:solidFill>
                  <a:schemeClr val="accent1"/>
                </a:solidFill>
              </a:rPr>
              <a:t>?</a:t>
            </a:r>
          </a:p>
          <a:p>
            <a:pPr indent="0" algn="ctr">
              <a:lnSpc>
                <a:spcPct val="120000"/>
              </a:lnSpc>
              <a:spcAft>
                <a:spcPts val="1000"/>
              </a:spcAft>
            </a:pPr>
            <a:r>
              <a:rPr lang="en-US" sz="1050" b="1" i="1">
                <a:solidFill>
                  <a:schemeClr val="accent1"/>
                </a:solidFill>
              </a:rPr>
              <a:t>#1 high-protein drink </a:t>
            </a:r>
          </a:p>
        </p:txBody>
      </p:sp>
      <p:sp>
        <p:nvSpPr>
          <p:cNvPr id="4" name="Rectangle 3">
            <a:extLst>
              <a:ext uri="{FF2B5EF4-FFF2-40B4-BE49-F238E27FC236}">
                <a16:creationId xmlns:a16="http://schemas.microsoft.com/office/drawing/2014/main" id="{8EC28C7F-7D1E-44ED-A2D9-3990506FFDD8}"/>
              </a:ext>
            </a:extLst>
          </p:cNvPr>
          <p:cNvSpPr/>
          <p:nvPr/>
        </p:nvSpPr>
        <p:spPr>
          <a:xfrm>
            <a:off x="9478262" y="4142200"/>
            <a:ext cx="1524000" cy="1555969"/>
          </a:xfrm>
          <a:prstGeom prst="rect">
            <a:avLst/>
          </a:prstGeom>
          <a:solidFill>
            <a:schemeClr val="bg1"/>
          </a:solidFill>
          <a:ln w="190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wrap="square" lIns="108000" tIns="72000" rIns="108000" bIns="108000" rtlCol="0" anchor="t" anchorCtr="0">
            <a:noAutofit/>
          </a:bodyPr>
          <a:lstStyle/>
          <a:p>
            <a:pPr indent="0" algn="l">
              <a:lnSpc>
                <a:spcPct val="120000"/>
              </a:lnSpc>
            </a:pPr>
            <a:endParaRPr lang="en-US" sz="1400" err="1">
              <a:solidFill>
                <a:schemeClr val="bg2"/>
              </a:solidFill>
            </a:endParaRPr>
          </a:p>
        </p:txBody>
      </p:sp>
      <p:grpSp>
        <p:nvGrpSpPr>
          <p:cNvPr id="5" name="Group 4">
            <a:extLst>
              <a:ext uri="{FF2B5EF4-FFF2-40B4-BE49-F238E27FC236}">
                <a16:creationId xmlns:a16="http://schemas.microsoft.com/office/drawing/2014/main" id="{8701F3F5-2ADA-EA53-64C0-6F29A8F2C2E3}"/>
              </a:ext>
            </a:extLst>
          </p:cNvPr>
          <p:cNvGrpSpPr/>
          <p:nvPr/>
        </p:nvGrpSpPr>
        <p:grpSpPr>
          <a:xfrm>
            <a:off x="8832415" y="1951574"/>
            <a:ext cx="3485903" cy="4906425"/>
            <a:chOff x="8832415" y="1951574"/>
            <a:chExt cx="3485903" cy="4906425"/>
          </a:xfrm>
        </p:grpSpPr>
        <p:pic>
          <p:nvPicPr>
            <p:cNvPr id="9" name="Picture 8">
              <a:extLst>
                <a:ext uri="{FF2B5EF4-FFF2-40B4-BE49-F238E27FC236}">
                  <a16:creationId xmlns:a16="http://schemas.microsoft.com/office/drawing/2014/main" id="{FFC27085-9158-BE7B-5843-E86C460D2002}"/>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8832415" y="1951574"/>
              <a:ext cx="3485903" cy="4906425"/>
            </a:xfrm>
            <a:prstGeom prst="rect">
              <a:avLst/>
            </a:prstGeom>
          </p:spPr>
        </p:pic>
        <p:sp>
          <p:nvSpPr>
            <p:cNvPr id="3" name="TextBox 2">
              <a:extLst>
                <a:ext uri="{FF2B5EF4-FFF2-40B4-BE49-F238E27FC236}">
                  <a16:creationId xmlns:a16="http://schemas.microsoft.com/office/drawing/2014/main" id="{64C333F4-C0F7-D6FD-A812-5545CA7A4B83}"/>
                </a:ext>
              </a:extLst>
            </p:cNvPr>
            <p:cNvSpPr txBox="1"/>
            <p:nvPr/>
          </p:nvSpPr>
          <p:spPr>
            <a:xfrm>
              <a:off x="9381302" y="3429000"/>
              <a:ext cx="1725770" cy="532559"/>
            </a:xfrm>
            <a:prstGeom prst="rect">
              <a:avLst/>
            </a:prstGeom>
            <a:solidFill>
              <a:schemeClr val="bg1"/>
            </a:solidFill>
          </p:spPr>
          <p:txBody>
            <a:bodyPr wrap="square" lIns="108000" tIns="72000" rIns="108000" bIns="108000" rtlCol="0">
              <a:spAutoFit/>
            </a:bodyPr>
            <a:lstStyle/>
            <a:p>
              <a:pPr indent="0" algn="ctr">
                <a:lnSpc>
                  <a:spcPct val="120000"/>
                </a:lnSpc>
                <a:spcAft>
                  <a:spcPts val="1000"/>
                </a:spcAft>
              </a:pPr>
              <a:r>
                <a:rPr lang="en-US" sz="1000" b="1" i="1">
                  <a:solidFill>
                    <a:schemeClr val="accent1"/>
                  </a:solidFill>
                </a:rPr>
                <a:t>Locally sourced ingredients</a:t>
              </a:r>
            </a:p>
          </p:txBody>
        </p:sp>
      </p:grpSp>
    </p:spTree>
    <p:extLst>
      <p:ext uri="{BB962C8B-B14F-4D97-AF65-F5344CB8AC3E}">
        <p14:creationId xmlns:p14="http://schemas.microsoft.com/office/powerpoint/2010/main" val="1071421499"/>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title"/>
          </p:nvPr>
        </p:nvSpPr>
        <p:spPr>
          <a:xfrm>
            <a:off x="4592922" y="521364"/>
            <a:ext cx="6997753" cy="972000"/>
          </a:xfrm>
        </p:spPr>
        <p:txBody>
          <a:bodyPr/>
          <a:lstStyle/>
          <a:p>
            <a:r>
              <a:rPr lang="en-US"/>
              <a:t>Health / Taste perception</a:t>
            </a:r>
          </a:p>
        </p:txBody>
      </p:sp>
      <p:sp>
        <p:nvSpPr>
          <p:cNvPr id="2" name="Content Placeholder 1"/>
          <p:cNvSpPr>
            <a:spLocks noGrp="1"/>
          </p:cNvSpPr>
          <p:nvPr>
            <p:ph type="body" sz="quarter" idx="26"/>
          </p:nvPr>
        </p:nvSpPr>
        <p:spPr>
          <a:xfrm>
            <a:off x="503237" y="521814"/>
            <a:ext cx="3168000" cy="971550"/>
          </a:xfrm>
        </p:spPr>
        <p:txBody>
          <a:bodyPr/>
          <a:lstStyle/>
          <a:p>
            <a:pPr marL="0" indent="0">
              <a:buNone/>
            </a:pPr>
            <a:r>
              <a:rPr lang="en-US">
                <a:solidFill>
                  <a:schemeClr val="bg2"/>
                </a:solidFill>
                <a:latin typeface="+mj-lt"/>
              </a:rPr>
              <a:t>Methodology</a:t>
            </a:r>
          </a:p>
        </p:txBody>
      </p:sp>
      <p:sp>
        <p:nvSpPr>
          <p:cNvPr id="30" name="Text Placeholder 12">
            <a:extLst>
              <a:ext uri="{FF2B5EF4-FFF2-40B4-BE49-F238E27FC236}">
                <a16:creationId xmlns:a16="http://schemas.microsoft.com/office/drawing/2014/main" id="{541C4938-3B09-41BD-8A12-8F89A89EBAC6}"/>
              </a:ext>
            </a:extLst>
          </p:cNvPr>
          <p:cNvSpPr>
            <a:spLocks noGrp="1"/>
          </p:cNvSpPr>
          <p:nvPr>
            <p:ph type="body" sz="quarter" idx="27"/>
          </p:nvPr>
        </p:nvSpPr>
        <p:spPr>
          <a:xfrm>
            <a:off x="503237" y="1965539"/>
            <a:ext cx="3331818" cy="4410075"/>
          </a:xfrm>
        </p:spPr>
        <p:txBody>
          <a:bodyPr/>
          <a:lstStyle/>
          <a:p>
            <a:r>
              <a:rPr lang="en-US" sz="1600">
                <a:solidFill>
                  <a:srgbClr val="1C6D7D"/>
                </a:solidFill>
                <a:latin typeface="+mj-lt"/>
              </a:rPr>
              <a:t>Finally, consumers will be asked to rate a random subset of claims on their ability to cue health / taste. </a:t>
            </a:r>
          </a:p>
          <a:p>
            <a:endParaRPr lang="en-US">
              <a:solidFill>
                <a:srgbClr val="1C6D7D"/>
              </a:solidFill>
              <a:latin typeface="+mj-lt"/>
            </a:endParaRPr>
          </a:p>
          <a:p>
            <a:r>
              <a:rPr lang="en-US">
                <a:solidFill>
                  <a:srgbClr val="1C6D7D"/>
                </a:solidFill>
                <a:latin typeface="+mj-lt"/>
              </a:rPr>
              <a:t>Even though this is asked in a stated way, we will use the results of this assessment to get to the derived importance of health / taste perception in the evaluation of the claims. (see next slides)</a:t>
            </a:r>
          </a:p>
          <a:p>
            <a:endParaRPr lang="en-US" sz="1600">
              <a:solidFill>
                <a:srgbClr val="1C6D7D"/>
              </a:solidFill>
              <a:latin typeface="+mj-lt"/>
            </a:endParaRPr>
          </a:p>
          <a:p>
            <a:endParaRPr lang="en-US">
              <a:solidFill>
                <a:srgbClr val="1C6D7D"/>
              </a:solidFill>
              <a:latin typeface="+mj-lt"/>
            </a:endParaRPr>
          </a:p>
        </p:txBody>
      </p:sp>
      <p:sp>
        <p:nvSpPr>
          <p:cNvPr id="23" name="Rectangle: Rounded Corners 22">
            <a:extLst>
              <a:ext uri="{FF2B5EF4-FFF2-40B4-BE49-F238E27FC236}">
                <a16:creationId xmlns:a16="http://schemas.microsoft.com/office/drawing/2014/main" id="{C9A6DAE5-C94A-4234-A03E-5A07B5870599}"/>
              </a:ext>
            </a:extLst>
          </p:cNvPr>
          <p:cNvSpPr/>
          <p:nvPr/>
        </p:nvSpPr>
        <p:spPr bwMode="auto">
          <a:xfrm>
            <a:off x="3751709" y="522807"/>
            <a:ext cx="518091" cy="518091"/>
          </a:xfrm>
          <a:prstGeom prst="roundRect">
            <a:avLst/>
          </a:prstGeom>
          <a:solidFill>
            <a:schemeClr val="accent3"/>
          </a:solidFill>
          <a:ln w="0">
            <a:noFill/>
            <a:prstDash val="solid"/>
            <a:round/>
            <a:headEnd/>
            <a:tailEnd/>
          </a:ln>
        </p:spPr>
        <p:txBody>
          <a:bodyPr vert="horz" wrap="square" lIns="68580" tIns="34290" rIns="68580" bIns="34290" numCol="1" rtlCol="0" anchor="ctr" anchorCtr="0" compatLnSpc="1">
            <a:prstTxWarp prst="textNoShape">
              <a:avLst/>
            </a:prstTxWarp>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chemeClr val="bg2"/>
                </a:solidFill>
                <a:effectLst/>
                <a:uLnTx/>
                <a:uFillTx/>
                <a:latin typeface="Arial"/>
                <a:ea typeface="+mn-ea"/>
                <a:cs typeface="+mn-cs"/>
              </a:rPr>
              <a:t>6</a:t>
            </a:r>
          </a:p>
        </p:txBody>
      </p:sp>
      <p:sp>
        <p:nvSpPr>
          <p:cNvPr id="4" name="TextBox 3">
            <a:extLst>
              <a:ext uri="{FF2B5EF4-FFF2-40B4-BE49-F238E27FC236}">
                <a16:creationId xmlns:a16="http://schemas.microsoft.com/office/drawing/2014/main" id="{3F6C4FB1-BD00-41E8-83A7-3A5BE0FD02B8}"/>
              </a:ext>
            </a:extLst>
          </p:cNvPr>
          <p:cNvSpPr txBox="1"/>
          <p:nvPr/>
        </p:nvSpPr>
        <p:spPr>
          <a:xfrm>
            <a:off x="9356661" y="2352524"/>
            <a:ext cx="1731097" cy="908111"/>
          </a:xfrm>
          <a:prstGeom prst="rect">
            <a:avLst/>
          </a:prstGeom>
          <a:noFill/>
        </p:spPr>
        <p:txBody>
          <a:bodyPr wrap="square" lIns="108000" tIns="72000" rIns="108000" bIns="108000" rtlCol="0">
            <a:spAutoFit/>
          </a:bodyPr>
          <a:lstStyle/>
          <a:p>
            <a:pPr indent="0" algn="ctr">
              <a:lnSpc>
                <a:spcPct val="120000"/>
              </a:lnSpc>
              <a:spcAft>
                <a:spcPts val="1000"/>
              </a:spcAft>
            </a:pPr>
            <a:r>
              <a:rPr lang="en-US" sz="1000">
                <a:solidFill>
                  <a:schemeClr val="accent1"/>
                </a:solidFill>
              </a:rPr>
              <a:t>How likely are you to purchase </a:t>
            </a:r>
            <a:r>
              <a:rPr lang="en-US" sz="1000" err="1">
                <a:solidFill>
                  <a:schemeClr val="accent1"/>
                </a:solidFill>
              </a:rPr>
              <a:t>YoPRO</a:t>
            </a:r>
            <a:r>
              <a:rPr lang="en-US" sz="1000">
                <a:solidFill>
                  <a:schemeClr val="accent1"/>
                </a:solidFill>
              </a:rPr>
              <a:t> products in the future if they say the following messages?</a:t>
            </a:r>
          </a:p>
        </p:txBody>
      </p:sp>
      <p:cxnSp>
        <p:nvCxnSpPr>
          <p:cNvPr id="10" name="Straight Connector 9">
            <a:extLst>
              <a:ext uri="{FF2B5EF4-FFF2-40B4-BE49-F238E27FC236}">
                <a16:creationId xmlns:a16="http://schemas.microsoft.com/office/drawing/2014/main" id="{7296745D-BDA8-480F-9A59-1B28E1E415B4}"/>
              </a:ext>
            </a:extLst>
          </p:cNvPr>
          <p:cNvCxnSpPr>
            <a:cxnSpLocks/>
            <a:endCxn id="26" idx="0"/>
          </p:cNvCxnSpPr>
          <p:nvPr/>
        </p:nvCxnSpPr>
        <p:spPr>
          <a:xfrm>
            <a:off x="9556078" y="4137541"/>
            <a:ext cx="1315824" cy="0"/>
          </a:xfrm>
          <a:prstGeom prst="line">
            <a:avLst/>
          </a:prstGeom>
          <a:ln w="57150">
            <a:prstDash val="solid"/>
          </a:ln>
        </p:spPr>
        <p:style>
          <a:lnRef idx="1">
            <a:schemeClr val="accent1"/>
          </a:lnRef>
          <a:fillRef idx="0">
            <a:schemeClr val="accent1"/>
          </a:fillRef>
          <a:effectRef idx="0">
            <a:schemeClr val="accent1"/>
          </a:effectRef>
          <a:fontRef idx="minor">
            <a:schemeClr val="tx1"/>
          </a:fontRef>
        </p:style>
      </p:cxnSp>
      <p:sp>
        <p:nvSpPr>
          <p:cNvPr id="13" name="Isosceles Triangle 12">
            <a:extLst>
              <a:ext uri="{FF2B5EF4-FFF2-40B4-BE49-F238E27FC236}">
                <a16:creationId xmlns:a16="http://schemas.microsoft.com/office/drawing/2014/main" id="{210DAF35-8387-4EB0-88D9-2948751B8178}"/>
              </a:ext>
            </a:extLst>
          </p:cNvPr>
          <p:cNvSpPr/>
          <p:nvPr/>
        </p:nvSpPr>
        <p:spPr>
          <a:xfrm rot="10800000">
            <a:off x="10276514" y="3957540"/>
            <a:ext cx="180000" cy="180000"/>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72000" rIns="108000" bIns="108000" rtlCol="0" anchor="t" anchorCtr="0">
            <a:noAutofit/>
          </a:bodyPr>
          <a:lstStyle/>
          <a:p>
            <a:pPr indent="0" algn="l">
              <a:lnSpc>
                <a:spcPct val="120000"/>
              </a:lnSpc>
            </a:pPr>
            <a:endParaRPr lang="en-US" sz="1400" err="1">
              <a:solidFill>
                <a:schemeClr val="bg2"/>
              </a:solidFill>
            </a:endParaRPr>
          </a:p>
        </p:txBody>
      </p:sp>
      <p:sp>
        <p:nvSpPr>
          <p:cNvPr id="22" name="TextBox 21">
            <a:extLst>
              <a:ext uri="{FF2B5EF4-FFF2-40B4-BE49-F238E27FC236}">
                <a16:creationId xmlns:a16="http://schemas.microsoft.com/office/drawing/2014/main" id="{F04BF76F-A0C7-42DA-B056-9885BB189FC9}"/>
              </a:ext>
            </a:extLst>
          </p:cNvPr>
          <p:cNvSpPr txBox="1"/>
          <p:nvPr/>
        </p:nvSpPr>
        <p:spPr>
          <a:xfrm>
            <a:off x="9253579" y="4137541"/>
            <a:ext cx="739306" cy="496972"/>
          </a:xfrm>
          <a:prstGeom prst="rect">
            <a:avLst/>
          </a:prstGeom>
          <a:noFill/>
        </p:spPr>
        <p:txBody>
          <a:bodyPr wrap="square" lIns="108000" tIns="72000" rIns="108000" bIns="108000" rtlCol="0">
            <a:spAutoFit/>
          </a:bodyPr>
          <a:lstStyle/>
          <a:p>
            <a:pPr indent="0" algn="ctr">
              <a:lnSpc>
                <a:spcPct val="120000"/>
              </a:lnSpc>
              <a:spcAft>
                <a:spcPts val="1000"/>
              </a:spcAft>
            </a:pPr>
            <a:r>
              <a:rPr lang="en-US" sz="900">
                <a:solidFill>
                  <a:schemeClr val="accent1"/>
                </a:solidFill>
              </a:rPr>
              <a:t>Very unlikely</a:t>
            </a:r>
          </a:p>
        </p:txBody>
      </p:sp>
      <p:sp>
        <p:nvSpPr>
          <p:cNvPr id="26" name="TextBox 25">
            <a:extLst>
              <a:ext uri="{FF2B5EF4-FFF2-40B4-BE49-F238E27FC236}">
                <a16:creationId xmlns:a16="http://schemas.microsoft.com/office/drawing/2014/main" id="{DB8C3D8C-9391-4ADC-9D9D-8EA52734829E}"/>
              </a:ext>
            </a:extLst>
          </p:cNvPr>
          <p:cNvSpPr txBox="1"/>
          <p:nvPr/>
        </p:nvSpPr>
        <p:spPr>
          <a:xfrm>
            <a:off x="10502249" y="4137541"/>
            <a:ext cx="739306" cy="496972"/>
          </a:xfrm>
          <a:prstGeom prst="rect">
            <a:avLst/>
          </a:prstGeom>
          <a:noFill/>
        </p:spPr>
        <p:txBody>
          <a:bodyPr wrap="square" lIns="108000" tIns="72000" rIns="108000" bIns="108000" rtlCol="0">
            <a:spAutoFit/>
          </a:bodyPr>
          <a:lstStyle/>
          <a:p>
            <a:pPr indent="0" algn="ctr">
              <a:lnSpc>
                <a:spcPct val="120000"/>
              </a:lnSpc>
              <a:spcAft>
                <a:spcPts val="1000"/>
              </a:spcAft>
            </a:pPr>
            <a:r>
              <a:rPr lang="en-US" sz="900">
                <a:solidFill>
                  <a:schemeClr val="accent1"/>
                </a:solidFill>
              </a:rPr>
              <a:t>Very likely</a:t>
            </a:r>
          </a:p>
        </p:txBody>
      </p:sp>
      <p:sp>
        <p:nvSpPr>
          <p:cNvPr id="27" name="TextBox 26">
            <a:extLst>
              <a:ext uri="{FF2B5EF4-FFF2-40B4-BE49-F238E27FC236}">
                <a16:creationId xmlns:a16="http://schemas.microsoft.com/office/drawing/2014/main" id="{C12594C2-424F-4D61-A543-2BFF1FBC1A30}"/>
              </a:ext>
            </a:extLst>
          </p:cNvPr>
          <p:cNvSpPr txBox="1"/>
          <p:nvPr/>
        </p:nvSpPr>
        <p:spPr>
          <a:xfrm>
            <a:off x="9874534" y="3626766"/>
            <a:ext cx="739306" cy="330773"/>
          </a:xfrm>
          <a:prstGeom prst="rect">
            <a:avLst/>
          </a:prstGeom>
          <a:noFill/>
        </p:spPr>
        <p:txBody>
          <a:bodyPr wrap="square" lIns="108000" tIns="72000" rIns="108000" bIns="108000" rtlCol="0">
            <a:spAutoFit/>
          </a:bodyPr>
          <a:lstStyle/>
          <a:p>
            <a:pPr indent="0" algn="ctr">
              <a:lnSpc>
                <a:spcPct val="120000"/>
              </a:lnSpc>
              <a:spcAft>
                <a:spcPts val="1000"/>
              </a:spcAft>
            </a:pPr>
            <a:r>
              <a:rPr lang="en-US" sz="900">
                <a:solidFill>
                  <a:schemeClr val="accent1"/>
                </a:solidFill>
              </a:rPr>
              <a:t>60%</a:t>
            </a:r>
          </a:p>
        </p:txBody>
      </p:sp>
      <p:sp>
        <p:nvSpPr>
          <p:cNvPr id="6" name="TextBox 5">
            <a:extLst>
              <a:ext uri="{FF2B5EF4-FFF2-40B4-BE49-F238E27FC236}">
                <a16:creationId xmlns:a16="http://schemas.microsoft.com/office/drawing/2014/main" id="{D7DFD5A8-9E47-4E10-9E34-A17BFCEE0870}"/>
              </a:ext>
            </a:extLst>
          </p:cNvPr>
          <p:cNvSpPr txBox="1"/>
          <p:nvPr/>
        </p:nvSpPr>
        <p:spPr>
          <a:xfrm>
            <a:off x="9483174" y="3376203"/>
            <a:ext cx="1742566" cy="364565"/>
          </a:xfrm>
          <a:prstGeom prst="rect">
            <a:avLst/>
          </a:prstGeom>
          <a:noFill/>
        </p:spPr>
        <p:txBody>
          <a:bodyPr wrap="none" lIns="108000" tIns="72000" rIns="108000" bIns="108000" rtlCol="0">
            <a:spAutoFit/>
          </a:bodyPr>
          <a:lstStyle/>
          <a:p>
            <a:pPr indent="0" algn="l">
              <a:lnSpc>
                <a:spcPct val="120000"/>
              </a:lnSpc>
              <a:spcAft>
                <a:spcPts val="1000"/>
              </a:spcAft>
            </a:pPr>
            <a:r>
              <a:rPr lang="en-US" sz="1100" b="1" i="1">
                <a:solidFill>
                  <a:schemeClr val="accent1"/>
                </a:solidFill>
              </a:rPr>
              <a:t>Zero plastic packaging</a:t>
            </a:r>
            <a:endParaRPr lang="en-US" b="1" i="1">
              <a:solidFill>
                <a:schemeClr val="accent1"/>
              </a:solidFill>
            </a:endParaRPr>
          </a:p>
        </p:txBody>
      </p:sp>
      <p:cxnSp>
        <p:nvCxnSpPr>
          <p:cNvPr id="31" name="Straight Connector 30">
            <a:extLst>
              <a:ext uri="{FF2B5EF4-FFF2-40B4-BE49-F238E27FC236}">
                <a16:creationId xmlns:a16="http://schemas.microsoft.com/office/drawing/2014/main" id="{5507D32B-68D3-4DA4-816B-7DE4379D976D}"/>
              </a:ext>
            </a:extLst>
          </p:cNvPr>
          <p:cNvCxnSpPr>
            <a:cxnSpLocks/>
          </p:cNvCxnSpPr>
          <p:nvPr/>
        </p:nvCxnSpPr>
        <p:spPr>
          <a:xfrm>
            <a:off x="9556078" y="5410782"/>
            <a:ext cx="1315824" cy="0"/>
          </a:xfrm>
          <a:prstGeom prst="line">
            <a:avLst/>
          </a:prstGeom>
          <a:ln w="57150">
            <a:prstDash val="solid"/>
          </a:ln>
        </p:spPr>
        <p:style>
          <a:lnRef idx="1">
            <a:schemeClr val="accent1"/>
          </a:lnRef>
          <a:fillRef idx="0">
            <a:schemeClr val="accent1"/>
          </a:fillRef>
          <a:effectRef idx="0">
            <a:schemeClr val="accent1"/>
          </a:effectRef>
          <a:fontRef idx="minor">
            <a:schemeClr val="tx1"/>
          </a:fontRef>
        </p:style>
      </p:cxnSp>
      <p:sp>
        <p:nvSpPr>
          <p:cNvPr id="32" name="Isosceles Triangle 31">
            <a:extLst>
              <a:ext uri="{FF2B5EF4-FFF2-40B4-BE49-F238E27FC236}">
                <a16:creationId xmlns:a16="http://schemas.microsoft.com/office/drawing/2014/main" id="{FBDE239A-1349-4F09-8667-5ED86AF540D7}"/>
              </a:ext>
            </a:extLst>
          </p:cNvPr>
          <p:cNvSpPr/>
          <p:nvPr/>
        </p:nvSpPr>
        <p:spPr>
          <a:xfrm rot="10800000">
            <a:off x="9980952" y="5230781"/>
            <a:ext cx="180000" cy="180000"/>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72000" rIns="108000" bIns="108000" rtlCol="0" anchor="t" anchorCtr="0">
            <a:noAutofit/>
          </a:bodyPr>
          <a:lstStyle/>
          <a:p>
            <a:pPr indent="0" algn="l">
              <a:lnSpc>
                <a:spcPct val="120000"/>
              </a:lnSpc>
            </a:pPr>
            <a:endParaRPr lang="en-US" sz="1400" err="1">
              <a:solidFill>
                <a:schemeClr val="bg2"/>
              </a:solidFill>
            </a:endParaRPr>
          </a:p>
        </p:txBody>
      </p:sp>
      <p:sp>
        <p:nvSpPr>
          <p:cNvPr id="33" name="TextBox 32">
            <a:extLst>
              <a:ext uri="{FF2B5EF4-FFF2-40B4-BE49-F238E27FC236}">
                <a16:creationId xmlns:a16="http://schemas.microsoft.com/office/drawing/2014/main" id="{BCCD4015-34AE-489D-9EF3-CC8E182E89B2}"/>
              </a:ext>
            </a:extLst>
          </p:cNvPr>
          <p:cNvSpPr txBox="1"/>
          <p:nvPr/>
        </p:nvSpPr>
        <p:spPr>
          <a:xfrm>
            <a:off x="9253579" y="5410782"/>
            <a:ext cx="739306" cy="496972"/>
          </a:xfrm>
          <a:prstGeom prst="rect">
            <a:avLst/>
          </a:prstGeom>
          <a:noFill/>
        </p:spPr>
        <p:txBody>
          <a:bodyPr wrap="square" lIns="108000" tIns="72000" rIns="108000" bIns="108000" rtlCol="0">
            <a:spAutoFit/>
          </a:bodyPr>
          <a:lstStyle/>
          <a:p>
            <a:pPr indent="0" algn="ctr">
              <a:lnSpc>
                <a:spcPct val="120000"/>
              </a:lnSpc>
              <a:spcAft>
                <a:spcPts val="1000"/>
              </a:spcAft>
            </a:pPr>
            <a:r>
              <a:rPr lang="en-US" sz="900">
                <a:solidFill>
                  <a:schemeClr val="accent1"/>
                </a:solidFill>
              </a:rPr>
              <a:t>Very unlikely</a:t>
            </a:r>
          </a:p>
        </p:txBody>
      </p:sp>
      <p:sp>
        <p:nvSpPr>
          <p:cNvPr id="34" name="TextBox 33">
            <a:extLst>
              <a:ext uri="{FF2B5EF4-FFF2-40B4-BE49-F238E27FC236}">
                <a16:creationId xmlns:a16="http://schemas.microsoft.com/office/drawing/2014/main" id="{A451ABAE-A082-4336-9B0D-B4EC6BEF9C3D}"/>
              </a:ext>
            </a:extLst>
          </p:cNvPr>
          <p:cNvSpPr txBox="1"/>
          <p:nvPr/>
        </p:nvSpPr>
        <p:spPr>
          <a:xfrm>
            <a:off x="10502249" y="5410782"/>
            <a:ext cx="739306" cy="496972"/>
          </a:xfrm>
          <a:prstGeom prst="rect">
            <a:avLst/>
          </a:prstGeom>
          <a:noFill/>
        </p:spPr>
        <p:txBody>
          <a:bodyPr wrap="square" lIns="108000" tIns="72000" rIns="108000" bIns="108000" rtlCol="0">
            <a:spAutoFit/>
          </a:bodyPr>
          <a:lstStyle/>
          <a:p>
            <a:pPr indent="0" algn="ctr">
              <a:lnSpc>
                <a:spcPct val="120000"/>
              </a:lnSpc>
              <a:spcAft>
                <a:spcPts val="1000"/>
              </a:spcAft>
            </a:pPr>
            <a:r>
              <a:rPr lang="en-US" sz="900">
                <a:solidFill>
                  <a:schemeClr val="accent1"/>
                </a:solidFill>
              </a:rPr>
              <a:t>Very likely</a:t>
            </a:r>
          </a:p>
        </p:txBody>
      </p:sp>
      <p:sp>
        <p:nvSpPr>
          <p:cNvPr id="35" name="TextBox 34">
            <a:extLst>
              <a:ext uri="{FF2B5EF4-FFF2-40B4-BE49-F238E27FC236}">
                <a16:creationId xmlns:a16="http://schemas.microsoft.com/office/drawing/2014/main" id="{43B5C1A7-0F2E-4581-95F0-C8EF90BB9C29}"/>
              </a:ext>
            </a:extLst>
          </p:cNvPr>
          <p:cNvSpPr txBox="1"/>
          <p:nvPr/>
        </p:nvSpPr>
        <p:spPr>
          <a:xfrm>
            <a:off x="9874534" y="4900007"/>
            <a:ext cx="739306" cy="330773"/>
          </a:xfrm>
          <a:prstGeom prst="rect">
            <a:avLst/>
          </a:prstGeom>
          <a:noFill/>
        </p:spPr>
        <p:txBody>
          <a:bodyPr wrap="square" lIns="108000" tIns="72000" rIns="108000" bIns="108000" rtlCol="0">
            <a:spAutoFit/>
          </a:bodyPr>
          <a:lstStyle/>
          <a:p>
            <a:pPr indent="0" algn="ctr">
              <a:lnSpc>
                <a:spcPct val="120000"/>
              </a:lnSpc>
              <a:spcAft>
                <a:spcPts val="1000"/>
              </a:spcAft>
            </a:pPr>
            <a:r>
              <a:rPr lang="en-US" sz="900">
                <a:solidFill>
                  <a:schemeClr val="accent1"/>
                </a:solidFill>
              </a:rPr>
              <a:t>40%</a:t>
            </a:r>
          </a:p>
        </p:txBody>
      </p:sp>
      <p:sp>
        <p:nvSpPr>
          <p:cNvPr id="36" name="TextBox 35">
            <a:extLst>
              <a:ext uri="{FF2B5EF4-FFF2-40B4-BE49-F238E27FC236}">
                <a16:creationId xmlns:a16="http://schemas.microsoft.com/office/drawing/2014/main" id="{84BD81CF-4055-449E-8693-75503E17FE07}"/>
              </a:ext>
            </a:extLst>
          </p:cNvPr>
          <p:cNvSpPr txBox="1"/>
          <p:nvPr/>
        </p:nvSpPr>
        <p:spPr>
          <a:xfrm>
            <a:off x="9304439" y="4649444"/>
            <a:ext cx="1781038" cy="371362"/>
          </a:xfrm>
          <a:prstGeom prst="rect">
            <a:avLst/>
          </a:prstGeom>
          <a:noFill/>
        </p:spPr>
        <p:txBody>
          <a:bodyPr wrap="none" lIns="108000" tIns="72000" rIns="108000" bIns="108000" rtlCol="0">
            <a:spAutoFit/>
          </a:bodyPr>
          <a:lstStyle/>
          <a:p>
            <a:pPr indent="0" algn="l">
              <a:lnSpc>
                <a:spcPct val="120000"/>
              </a:lnSpc>
              <a:spcAft>
                <a:spcPts val="1000"/>
              </a:spcAft>
            </a:pPr>
            <a:r>
              <a:rPr lang="en-US" sz="1100" b="1" i="1">
                <a:solidFill>
                  <a:schemeClr val="accent1"/>
                </a:solidFill>
              </a:rPr>
              <a:t>Healthy high protein snack</a:t>
            </a:r>
            <a:endParaRPr lang="en-US" b="1" i="1">
              <a:solidFill>
                <a:schemeClr val="accent1"/>
              </a:solidFill>
            </a:endParaRPr>
          </a:p>
        </p:txBody>
      </p:sp>
      <p:sp>
        <p:nvSpPr>
          <p:cNvPr id="5" name="TextBox 4">
            <a:extLst>
              <a:ext uri="{FF2B5EF4-FFF2-40B4-BE49-F238E27FC236}">
                <a16:creationId xmlns:a16="http://schemas.microsoft.com/office/drawing/2014/main" id="{C7166F1C-C8A3-9A96-9E67-484C3017B7E9}"/>
              </a:ext>
            </a:extLst>
          </p:cNvPr>
          <p:cNvSpPr txBox="1"/>
          <p:nvPr/>
        </p:nvSpPr>
        <p:spPr>
          <a:xfrm>
            <a:off x="9359706" y="4669021"/>
            <a:ext cx="1781037" cy="347252"/>
          </a:xfrm>
          <a:prstGeom prst="rect">
            <a:avLst/>
          </a:prstGeom>
          <a:solidFill>
            <a:schemeClr val="bg1"/>
          </a:solidFill>
        </p:spPr>
        <p:txBody>
          <a:bodyPr wrap="square" lIns="108000" tIns="72000" rIns="108000" bIns="108000" rtlCol="0">
            <a:spAutoFit/>
          </a:bodyPr>
          <a:lstStyle/>
          <a:p>
            <a:pPr indent="0" algn="ctr">
              <a:lnSpc>
                <a:spcPct val="120000"/>
              </a:lnSpc>
              <a:spcAft>
                <a:spcPts val="1000"/>
              </a:spcAft>
            </a:pPr>
            <a:r>
              <a:rPr lang="en-US" sz="1000" b="1" i="1">
                <a:solidFill>
                  <a:schemeClr val="accent1"/>
                </a:solidFill>
              </a:rPr>
              <a:t>Recyclable materials</a:t>
            </a:r>
          </a:p>
        </p:txBody>
      </p:sp>
      <p:pic>
        <p:nvPicPr>
          <p:cNvPr id="20" name="Picture 19">
            <a:extLst>
              <a:ext uri="{FF2B5EF4-FFF2-40B4-BE49-F238E27FC236}">
                <a16:creationId xmlns:a16="http://schemas.microsoft.com/office/drawing/2014/main" id="{6F49E3D9-5559-DF14-AECD-A3A0CB089385}"/>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8840069" y="1965539"/>
            <a:ext cx="3485903" cy="4906425"/>
          </a:xfrm>
          <a:prstGeom prst="rect">
            <a:avLst/>
          </a:prstGeom>
        </p:spPr>
      </p:pic>
      <p:sp>
        <p:nvSpPr>
          <p:cNvPr id="3" name="TextBox 2">
            <a:extLst>
              <a:ext uri="{FF2B5EF4-FFF2-40B4-BE49-F238E27FC236}">
                <a16:creationId xmlns:a16="http://schemas.microsoft.com/office/drawing/2014/main" id="{8FE06A90-FC3A-9BB5-1451-333AFAB17E55}"/>
              </a:ext>
            </a:extLst>
          </p:cNvPr>
          <p:cNvSpPr txBox="1"/>
          <p:nvPr/>
        </p:nvSpPr>
        <p:spPr>
          <a:xfrm>
            <a:off x="9382420" y="2427781"/>
            <a:ext cx="1725770" cy="1029490"/>
          </a:xfrm>
          <a:prstGeom prst="rect">
            <a:avLst/>
          </a:prstGeom>
          <a:solidFill>
            <a:schemeClr val="bg1"/>
          </a:solidFill>
        </p:spPr>
        <p:txBody>
          <a:bodyPr wrap="square" lIns="108000" tIns="72000" rIns="108000" bIns="108000" rtlCol="0">
            <a:spAutoFit/>
          </a:bodyPr>
          <a:lstStyle/>
          <a:p>
            <a:pPr indent="0" algn="ctr">
              <a:lnSpc>
                <a:spcPct val="120000"/>
              </a:lnSpc>
              <a:spcAft>
                <a:spcPts val="1000"/>
              </a:spcAft>
            </a:pPr>
            <a:r>
              <a:rPr lang="en-US" sz="1000">
                <a:solidFill>
                  <a:schemeClr val="accent1"/>
                </a:solidFill>
              </a:rPr>
              <a:t>How much do expect a product with this claim to give you health benefits?</a:t>
            </a:r>
          </a:p>
          <a:p>
            <a:pPr indent="0" algn="ctr">
              <a:lnSpc>
                <a:spcPct val="120000"/>
              </a:lnSpc>
              <a:spcAft>
                <a:spcPts val="1000"/>
              </a:spcAft>
            </a:pPr>
            <a:endParaRPr lang="en-US" sz="1000">
              <a:solidFill>
                <a:schemeClr val="accent1"/>
              </a:solidFill>
            </a:endParaRPr>
          </a:p>
        </p:txBody>
      </p:sp>
      <p:sp>
        <p:nvSpPr>
          <p:cNvPr id="9" name="TextBox 8">
            <a:extLst>
              <a:ext uri="{FF2B5EF4-FFF2-40B4-BE49-F238E27FC236}">
                <a16:creationId xmlns:a16="http://schemas.microsoft.com/office/drawing/2014/main" id="{4A009E8D-B3B0-233F-8C19-87FFAFA52E6E}"/>
              </a:ext>
            </a:extLst>
          </p:cNvPr>
          <p:cNvSpPr txBox="1"/>
          <p:nvPr/>
        </p:nvSpPr>
        <p:spPr>
          <a:xfrm>
            <a:off x="10547916" y="4208694"/>
            <a:ext cx="537561" cy="461899"/>
          </a:xfrm>
          <a:prstGeom prst="rect">
            <a:avLst/>
          </a:prstGeom>
          <a:solidFill>
            <a:schemeClr val="bg1"/>
          </a:solidFill>
        </p:spPr>
        <p:txBody>
          <a:bodyPr wrap="square" lIns="108000" tIns="72000" rIns="108000" bIns="108000" rtlCol="0">
            <a:spAutoFit/>
          </a:bodyPr>
          <a:lstStyle/>
          <a:p>
            <a:pPr indent="0" algn="ctr">
              <a:lnSpc>
                <a:spcPct val="120000"/>
              </a:lnSpc>
              <a:spcAft>
                <a:spcPts val="1000"/>
              </a:spcAft>
            </a:pPr>
            <a:r>
              <a:rPr lang="en-US" sz="800">
                <a:solidFill>
                  <a:schemeClr val="accent1"/>
                </a:solidFill>
              </a:rPr>
              <a:t>Very much</a:t>
            </a:r>
          </a:p>
        </p:txBody>
      </p:sp>
      <p:sp>
        <p:nvSpPr>
          <p:cNvPr id="12" name="TextBox 11">
            <a:extLst>
              <a:ext uri="{FF2B5EF4-FFF2-40B4-BE49-F238E27FC236}">
                <a16:creationId xmlns:a16="http://schemas.microsoft.com/office/drawing/2014/main" id="{5AA25ED0-CB02-796A-9494-A467ABD3388D}"/>
              </a:ext>
            </a:extLst>
          </p:cNvPr>
          <p:cNvSpPr txBox="1"/>
          <p:nvPr/>
        </p:nvSpPr>
        <p:spPr>
          <a:xfrm>
            <a:off x="10502249" y="5471210"/>
            <a:ext cx="537561" cy="461899"/>
          </a:xfrm>
          <a:prstGeom prst="rect">
            <a:avLst/>
          </a:prstGeom>
          <a:solidFill>
            <a:schemeClr val="bg1"/>
          </a:solidFill>
        </p:spPr>
        <p:txBody>
          <a:bodyPr wrap="square" lIns="108000" tIns="72000" rIns="108000" bIns="108000" rtlCol="0">
            <a:spAutoFit/>
          </a:bodyPr>
          <a:lstStyle/>
          <a:p>
            <a:pPr indent="0" algn="ctr">
              <a:lnSpc>
                <a:spcPct val="120000"/>
              </a:lnSpc>
              <a:spcAft>
                <a:spcPts val="1000"/>
              </a:spcAft>
            </a:pPr>
            <a:r>
              <a:rPr lang="en-US" sz="800">
                <a:solidFill>
                  <a:schemeClr val="accent1"/>
                </a:solidFill>
              </a:rPr>
              <a:t>Very much</a:t>
            </a:r>
          </a:p>
        </p:txBody>
      </p:sp>
      <p:sp>
        <p:nvSpPr>
          <p:cNvPr id="14" name="TextBox 13">
            <a:extLst>
              <a:ext uri="{FF2B5EF4-FFF2-40B4-BE49-F238E27FC236}">
                <a16:creationId xmlns:a16="http://schemas.microsoft.com/office/drawing/2014/main" id="{A54A1CCB-1EDC-8F33-D6B7-915A0D4DF040}"/>
              </a:ext>
            </a:extLst>
          </p:cNvPr>
          <p:cNvSpPr txBox="1"/>
          <p:nvPr/>
        </p:nvSpPr>
        <p:spPr>
          <a:xfrm>
            <a:off x="9402379" y="5464776"/>
            <a:ext cx="537561" cy="461899"/>
          </a:xfrm>
          <a:prstGeom prst="rect">
            <a:avLst/>
          </a:prstGeom>
          <a:solidFill>
            <a:schemeClr val="bg1"/>
          </a:solidFill>
        </p:spPr>
        <p:txBody>
          <a:bodyPr wrap="square" lIns="108000" tIns="72000" rIns="108000" bIns="108000" rtlCol="0">
            <a:spAutoFit/>
          </a:bodyPr>
          <a:lstStyle/>
          <a:p>
            <a:pPr indent="0" algn="ctr">
              <a:lnSpc>
                <a:spcPct val="120000"/>
              </a:lnSpc>
              <a:spcAft>
                <a:spcPts val="1000"/>
              </a:spcAft>
            </a:pPr>
            <a:r>
              <a:rPr lang="en-US" sz="800">
                <a:solidFill>
                  <a:schemeClr val="accent1"/>
                </a:solidFill>
              </a:rPr>
              <a:t>Not at all</a:t>
            </a:r>
          </a:p>
        </p:txBody>
      </p:sp>
      <p:sp>
        <p:nvSpPr>
          <p:cNvPr id="15" name="TextBox 14">
            <a:extLst>
              <a:ext uri="{FF2B5EF4-FFF2-40B4-BE49-F238E27FC236}">
                <a16:creationId xmlns:a16="http://schemas.microsoft.com/office/drawing/2014/main" id="{C805EE50-AFBF-ABC9-A595-AE075DD0C253}"/>
              </a:ext>
            </a:extLst>
          </p:cNvPr>
          <p:cNvSpPr txBox="1"/>
          <p:nvPr/>
        </p:nvSpPr>
        <p:spPr>
          <a:xfrm>
            <a:off x="9425212" y="4200563"/>
            <a:ext cx="537561" cy="461899"/>
          </a:xfrm>
          <a:prstGeom prst="rect">
            <a:avLst/>
          </a:prstGeom>
          <a:solidFill>
            <a:schemeClr val="bg1"/>
          </a:solidFill>
        </p:spPr>
        <p:txBody>
          <a:bodyPr wrap="square" lIns="108000" tIns="72000" rIns="108000" bIns="108000" rtlCol="0">
            <a:spAutoFit/>
          </a:bodyPr>
          <a:lstStyle/>
          <a:p>
            <a:pPr indent="0" algn="ctr">
              <a:lnSpc>
                <a:spcPct val="120000"/>
              </a:lnSpc>
              <a:spcAft>
                <a:spcPts val="1000"/>
              </a:spcAft>
            </a:pPr>
            <a:r>
              <a:rPr lang="en-US" sz="800">
                <a:solidFill>
                  <a:schemeClr val="accent1"/>
                </a:solidFill>
              </a:rPr>
              <a:t>Not at all</a:t>
            </a:r>
          </a:p>
        </p:txBody>
      </p:sp>
      <p:sp>
        <p:nvSpPr>
          <p:cNvPr id="16" name="Rectangle 15">
            <a:extLst>
              <a:ext uri="{FF2B5EF4-FFF2-40B4-BE49-F238E27FC236}">
                <a16:creationId xmlns:a16="http://schemas.microsoft.com/office/drawing/2014/main" id="{F2E2D851-DFDD-7D36-CB08-F1B43674C457}"/>
              </a:ext>
            </a:extLst>
          </p:cNvPr>
          <p:cNvSpPr/>
          <p:nvPr/>
        </p:nvSpPr>
        <p:spPr>
          <a:xfrm rot="842434">
            <a:off x="5674513" y="3318486"/>
            <a:ext cx="1357746" cy="1570182"/>
          </a:xfrm>
          <a:prstGeom prst="rect">
            <a:avLst/>
          </a:prstGeom>
          <a:solidFill>
            <a:schemeClr val="tx1">
              <a:lumMod val="10000"/>
              <a:lumOff val="90000"/>
            </a:schemeClr>
          </a:solidFill>
          <a:ln w="190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wrap="square" lIns="108000" tIns="72000" rIns="108000" bIns="108000" rtlCol="0" anchor="ctr" anchorCtr="0">
            <a:noAutofit/>
          </a:bodyPr>
          <a:lstStyle/>
          <a:p>
            <a:pPr indent="0" algn="ctr">
              <a:lnSpc>
                <a:spcPct val="120000"/>
              </a:lnSpc>
            </a:pPr>
            <a:r>
              <a:rPr lang="en-US" sz="1400">
                <a:solidFill>
                  <a:schemeClr val="accent1"/>
                </a:solidFill>
                <a:effectLst/>
                <a:ea typeface="Times New Roman" panose="02020603050405020304" pitchFamily="18" charset="0"/>
              </a:rPr>
              <a:t>#1 high-protein drink</a:t>
            </a:r>
            <a:endParaRPr lang="en-US" sz="1100">
              <a:solidFill>
                <a:schemeClr val="accent1"/>
              </a:solidFill>
            </a:endParaRPr>
          </a:p>
        </p:txBody>
      </p:sp>
      <p:grpSp>
        <p:nvGrpSpPr>
          <p:cNvPr id="17" name="Group 16">
            <a:extLst>
              <a:ext uri="{FF2B5EF4-FFF2-40B4-BE49-F238E27FC236}">
                <a16:creationId xmlns:a16="http://schemas.microsoft.com/office/drawing/2014/main" id="{57D37849-1A9B-76C9-F667-FD98283D4805}"/>
              </a:ext>
            </a:extLst>
          </p:cNvPr>
          <p:cNvGrpSpPr/>
          <p:nvPr/>
        </p:nvGrpSpPr>
        <p:grpSpPr>
          <a:xfrm>
            <a:off x="4787734" y="1965539"/>
            <a:ext cx="3536920" cy="4906425"/>
            <a:chOff x="8788183" y="1951574"/>
            <a:chExt cx="3536920" cy="4906425"/>
          </a:xfrm>
        </p:grpSpPr>
        <p:pic>
          <p:nvPicPr>
            <p:cNvPr id="18" name="Picture 17">
              <a:hlinkClick r:id="rId3"/>
              <a:extLst>
                <a:ext uri="{FF2B5EF4-FFF2-40B4-BE49-F238E27FC236}">
                  <a16:creationId xmlns:a16="http://schemas.microsoft.com/office/drawing/2014/main" id="{B9D1AD29-19A1-F5C7-20ED-CB02C973BA8A}"/>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8839200" y="1951574"/>
              <a:ext cx="3485903" cy="4906425"/>
            </a:xfrm>
            <a:prstGeom prst="rect">
              <a:avLst/>
            </a:prstGeom>
          </p:spPr>
        </p:pic>
        <p:sp>
          <p:nvSpPr>
            <p:cNvPr id="19" name="TextBox 18">
              <a:extLst>
                <a:ext uri="{FF2B5EF4-FFF2-40B4-BE49-F238E27FC236}">
                  <a16:creationId xmlns:a16="http://schemas.microsoft.com/office/drawing/2014/main" id="{1DDCC7C1-7990-069C-9047-AD3879BBEF0F}"/>
                </a:ext>
              </a:extLst>
            </p:cNvPr>
            <p:cNvSpPr txBox="1"/>
            <p:nvPr/>
          </p:nvSpPr>
          <p:spPr>
            <a:xfrm>
              <a:off x="9414681" y="2358682"/>
              <a:ext cx="1725770" cy="823600"/>
            </a:xfrm>
            <a:prstGeom prst="rect">
              <a:avLst/>
            </a:prstGeom>
            <a:noFill/>
          </p:spPr>
          <p:txBody>
            <a:bodyPr wrap="square" lIns="108000" tIns="72000" rIns="108000" bIns="108000" rtlCol="0">
              <a:spAutoFit/>
            </a:bodyPr>
            <a:lstStyle/>
            <a:p>
              <a:pPr indent="0" algn="ctr">
                <a:lnSpc>
                  <a:spcPct val="120000"/>
                </a:lnSpc>
                <a:spcAft>
                  <a:spcPts val="1000"/>
                </a:spcAft>
              </a:pPr>
              <a:r>
                <a:rPr lang="en-US" sz="1200">
                  <a:solidFill>
                    <a:schemeClr val="accent1"/>
                  </a:solidFill>
                </a:rPr>
                <a:t>How important is it for you that a product gives you…</a:t>
              </a:r>
            </a:p>
          </p:txBody>
        </p:sp>
        <p:sp>
          <p:nvSpPr>
            <p:cNvPr id="21" name="Arrow: Right 20">
              <a:extLst>
                <a:ext uri="{FF2B5EF4-FFF2-40B4-BE49-F238E27FC236}">
                  <a16:creationId xmlns:a16="http://schemas.microsoft.com/office/drawing/2014/main" id="{CDCEFFF2-3AC3-5A25-B0B7-81BD636DBB6B}"/>
                </a:ext>
              </a:extLst>
            </p:cNvPr>
            <p:cNvSpPr/>
            <p:nvPr/>
          </p:nvSpPr>
          <p:spPr>
            <a:xfrm>
              <a:off x="10996998" y="3810142"/>
              <a:ext cx="746749" cy="417175"/>
            </a:xfrm>
            <a:prstGeom prst="rightArrow">
              <a:avLst>
                <a:gd name="adj1" fmla="val 51010"/>
                <a:gd name="adj2" fmla="val 76083"/>
              </a:avLst>
            </a:prstGeom>
            <a:solidFill>
              <a:srgbClr val="E6EFF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square" lIns="108000" tIns="72000" rIns="108000" bIns="108000" rtlCol="0" anchor="ctr" anchorCtr="0">
              <a:noAutofit/>
            </a:bodyPr>
            <a:lstStyle/>
            <a:p>
              <a:pPr indent="0" algn="l">
                <a:lnSpc>
                  <a:spcPct val="120000"/>
                </a:lnSpc>
              </a:pPr>
              <a:r>
                <a:rPr lang="en-US" sz="1200" b="1">
                  <a:solidFill>
                    <a:schemeClr val="bg2"/>
                  </a:solidFill>
                </a:rPr>
                <a:t>YES</a:t>
              </a:r>
            </a:p>
          </p:txBody>
        </p:sp>
        <p:sp>
          <p:nvSpPr>
            <p:cNvPr id="24" name="Arrow: Left 23">
              <a:extLst>
                <a:ext uri="{FF2B5EF4-FFF2-40B4-BE49-F238E27FC236}">
                  <a16:creationId xmlns:a16="http://schemas.microsoft.com/office/drawing/2014/main" id="{B45F0A54-D37A-B99F-578B-6BC0BCEEDA14}"/>
                </a:ext>
              </a:extLst>
            </p:cNvPr>
            <p:cNvSpPr/>
            <p:nvPr/>
          </p:nvSpPr>
          <p:spPr>
            <a:xfrm>
              <a:off x="8788183" y="3801884"/>
              <a:ext cx="746749" cy="433689"/>
            </a:xfrm>
            <a:prstGeom prst="leftArrow">
              <a:avLst>
                <a:gd name="adj1" fmla="val 50000"/>
                <a:gd name="adj2" fmla="val 67389"/>
              </a:avLst>
            </a:prstGeom>
            <a:solidFill>
              <a:schemeClr val="accent4">
                <a:lumMod val="20000"/>
                <a:lumOff val="80000"/>
              </a:schemeClr>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wrap="square" lIns="108000" tIns="72000" rIns="108000" bIns="108000" rtlCol="0" anchor="ctr" anchorCtr="0">
              <a:noAutofit/>
            </a:bodyPr>
            <a:lstStyle/>
            <a:p>
              <a:pPr indent="0" algn="r">
                <a:lnSpc>
                  <a:spcPct val="120000"/>
                </a:lnSpc>
              </a:pPr>
              <a:r>
                <a:rPr lang="en-US" sz="1400" b="1">
                  <a:solidFill>
                    <a:schemeClr val="accent4"/>
                  </a:solidFill>
                </a:rPr>
                <a:t>No</a:t>
              </a:r>
            </a:p>
          </p:txBody>
        </p:sp>
        <p:sp>
          <p:nvSpPr>
            <p:cNvPr id="25" name="Rectangle 24">
              <a:extLst>
                <a:ext uri="{FF2B5EF4-FFF2-40B4-BE49-F238E27FC236}">
                  <a16:creationId xmlns:a16="http://schemas.microsoft.com/office/drawing/2014/main" id="{8CB18038-EA51-EF4A-8AEF-E5AABF8F53E2}"/>
                </a:ext>
              </a:extLst>
            </p:cNvPr>
            <p:cNvSpPr/>
            <p:nvPr/>
          </p:nvSpPr>
          <p:spPr>
            <a:xfrm rot="805451">
              <a:off x="9770473" y="3489562"/>
              <a:ext cx="1152516" cy="879295"/>
            </a:xfrm>
            <a:prstGeom prst="rect">
              <a:avLst/>
            </a:prstGeom>
            <a:solidFill>
              <a:srgbClr val="E7EC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72000" rIns="108000" bIns="108000" rtlCol="0" anchor="t" anchorCtr="0">
              <a:noAutofit/>
            </a:bodyPr>
            <a:lstStyle/>
            <a:p>
              <a:pPr indent="0" algn="l">
                <a:lnSpc>
                  <a:spcPct val="120000"/>
                </a:lnSpc>
              </a:pPr>
              <a:endParaRPr lang="en-US" sz="1400" err="1">
                <a:solidFill>
                  <a:schemeClr val="bg2"/>
                </a:solidFill>
              </a:endParaRPr>
            </a:p>
          </p:txBody>
        </p:sp>
      </p:grpSp>
      <p:sp>
        <p:nvSpPr>
          <p:cNvPr id="28" name="TextBox 27">
            <a:extLst>
              <a:ext uri="{FF2B5EF4-FFF2-40B4-BE49-F238E27FC236}">
                <a16:creationId xmlns:a16="http://schemas.microsoft.com/office/drawing/2014/main" id="{BB3486F5-EE81-02E1-9C4A-8585A5EC6DF8}"/>
              </a:ext>
            </a:extLst>
          </p:cNvPr>
          <p:cNvSpPr txBox="1"/>
          <p:nvPr/>
        </p:nvSpPr>
        <p:spPr>
          <a:xfrm rot="855132">
            <a:off x="5700832" y="3664445"/>
            <a:ext cx="1326928" cy="742039"/>
          </a:xfrm>
          <a:prstGeom prst="rect">
            <a:avLst/>
          </a:prstGeom>
          <a:noFill/>
        </p:spPr>
        <p:txBody>
          <a:bodyPr wrap="square" lIns="108000" tIns="72000" rIns="108000" bIns="108000" rtlCol="0">
            <a:spAutoFit/>
          </a:bodyPr>
          <a:lstStyle/>
          <a:p>
            <a:pPr indent="0" algn="ctr">
              <a:lnSpc>
                <a:spcPct val="120000"/>
              </a:lnSpc>
              <a:spcAft>
                <a:spcPts val="1000"/>
              </a:spcAft>
            </a:pPr>
            <a:r>
              <a:rPr lang="en-US">
                <a:solidFill>
                  <a:schemeClr val="accent1"/>
                </a:solidFill>
              </a:rPr>
              <a:t>Health benefits</a:t>
            </a:r>
          </a:p>
        </p:txBody>
      </p:sp>
    </p:spTree>
    <p:extLst>
      <p:ext uri="{BB962C8B-B14F-4D97-AF65-F5344CB8AC3E}">
        <p14:creationId xmlns:p14="http://schemas.microsoft.com/office/powerpoint/2010/main" val="2580628239"/>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3F0827-82AB-4462-9DC5-AA8EDA04388A}"/>
              </a:ext>
            </a:extLst>
          </p:cNvPr>
          <p:cNvSpPr>
            <a:spLocks noGrp="1"/>
          </p:cNvSpPr>
          <p:nvPr>
            <p:ph type="title"/>
          </p:nvPr>
        </p:nvSpPr>
        <p:spPr>
          <a:xfrm>
            <a:off x="503999" y="403200"/>
            <a:ext cx="5592001" cy="984885"/>
          </a:xfrm>
        </p:spPr>
        <p:txBody>
          <a:bodyPr/>
          <a:lstStyle/>
          <a:p>
            <a:r>
              <a:rPr lang="en-US"/>
              <a:t>Understanding perceptions – both explicitly and implicitly</a:t>
            </a:r>
          </a:p>
        </p:txBody>
      </p:sp>
      <p:sp>
        <p:nvSpPr>
          <p:cNvPr id="4" name="Content Placeholder 21">
            <a:extLst>
              <a:ext uri="{FF2B5EF4-FFF2-40B4-BE49-F238E27FC236}">
                <a16:creationId xmlns:a16="http://schemas.microsoft.com/office/drawing/2014/main" id="{4EB54DAD-EF78-4BE8-9217-2BFDD70C9886}"/>
              </a:ext>
            </a:extLst>
          </p:cNvPr>
          <p:cNvSpPr txBox="1">
            <a:spLocks/>
          </p:cNvSpPr>
          <p:nvPr/>
        </p:nvSpPr>
        <p:spPr>
          <a:xfrm>
            <a:off x="504000" y="2374240"/>
            <a:ext cx="5040000" cy="4245532"/>
          </a:xfrm>
          <a:prstGeom prst="rect">
            <a:avLst/>
          </a:prstGeom>
        </p:spPr>
        <p:txBody>
          <a:bodyPr/>
          <a:lstStyle>
            <a:lvl1pPr marL="288000" indent="-288000" algn="l" defTabSz="914400" rtl="0" eaLnBrk="1" latinLnBrk="0" hangingPunct="1">
              <a:lnSpc>
                <a:spcPct val="120000"/>
              </a:lnSpc>
              <a:spcBef>
                <a:spcPts val="0"/>
              </a:spcBef>
              <a:spcAft>
                <a:spcPts val="1000"/>
              </a:spcAft>
              <a:buClr>
                <a:schemeClr val="bg2"/>
              </a:buClr>
              <a:buFont typeface="Courier New" panose="02070309020205020404" pitchFamily="49" charset="0"/>
              <a:buChar char="o"/>
              <a:defRPr sz="1600" kern="1200">
                <a:solidFill>
                  <a:schemeClr val="tx1"/>
                </a:solidFill>
                <a:latin typeface="+mn-lt"/>
                <a:ea typeface="+mn-ea"/>
                <a:cs typeface="+mn-cs"/>
              </a:defRPr>
            </a:lvl1pPr>
            <a:lvl2pPr marL="576000" indent="-288000" algn="l" defTabSz="914400" rtl="0" eaLnBrk="1" latinLnBrk="0" hangingPunct="1">
              <a:lnSpc>
                <a:spcPct val="120000"/>
              </a:lnSpc>
              <a:spcBef>
                <a:spcPts val="0"/>
              </a:spcBef>
              <a:spcAft>
                <a:spcPts val="1000"/>
              </a:spcAft>
              <a:buClr>
                <a:schemeClr val="bg2"/>
              </a:buClr>
              <a:buFont typeface="Wingdings" panose="05000000000000000000" pitchFamily="2" charset="2"/>
              <a:buChar char="§"/>
              <a:defRPr sz="1400" kern="1200">
                <a:solidFill>
                  <a:schemeClr val="tx1"/>
                </a:solidFill>
                <a:latin typeface="+mn-lt"/>
                <a:ea typeface="+mn-ea"/>
                <a:cs typeface="+mn-cs"/>
              </a:defRPr>
            </a:lvl2pPr>
            <a:lvl3pPr marL="864000" indent="-288000" algn="l" defTabSz="914400" rtl="0" eaLnBrk="1" latinLnBrk="0" hangingPunct="1">
              <a:lnSpc>
                <a:spcPct val="120000"/>
              </a:lnSpc>
              <a:spcBef>
                <a:spcPts val="0"/>
              </a:spcBef>
              <a:spcAft>
                <a:spcPts val="1000"/>
              </a:spcAft>
              <a:buClr>
                <a:schemeClr val="bg2"/>
              </a:buClr>
              <a:buFont typeface="Wingdings" panose="05000000000000000000" pitchFamily="2" charset="2"/>
              <a:buChar char="§"/>
              <a:defRPr sz="1200" kern="1200">
                <a:solidFill>
                  <a:schemeClr val="tx1"/>
                </a:solidFill>
                <a:latin typeface="+mn-lt"/>
                <a:ea typeface="+mn-ea"/>
                <a:cs typeface="+mn-cs"/>
              </a:defRPr>
            </a:lvl3pPr>
            <a:lvl4pPr marL="1152000" indent="-288000" algn="l" defTabSz="914400" rtl="0" eaLnBrk="1" latinLnBrk="0" hangingPunct="1">
              <a:lnSpc>
                <a:spcPct val="120000"/>
              </a:lnSpc>
              <a:spcBef>
                <a:spcPts val="0"/>
              </a:spcBef>
              <a:spcAft>
                <a:spcPts val="1000"/>
              </a:spcAft>
              <a:buClr>
                <a:schemeClr val="bg2"/>
              </a:buClr>
              <a:buSzPct val="100000"/>
              <a:buFont typeface="Wingdings" panose="05000000000000000000" pitchFamily="2" charset="2"/>
              <a:buChar char="§"/>
              <a:defRPr sz="1200" kern="1200">
                <a:solidFill>
                  <a:schemeClr val="tx1"/>
                </a:solidFill>
                <a:latin typeface="+mn-lt"/>
                <a:ea typeface="+mn-ea"/>
                <a:cs typeface="+mn-cs"/>
              </a:defRPr>
            </a:lvl4pPr>
            <a:lvl5pPr marL="1152000" indent="-288000" algn="l" defTabSz="914400" rtl="0" eaLnBrk="1" latinLnBrk="0" hangingPunct="1">
              <a:lnSpc>
                <a:spcPct val="120000"/>
              </a:lnSpc>
              <a:spcBef>
                <a:spcPts val="0"/>
              </a:spcBef>
              <a:spcAft>
                <a:spcPts val="1000"/>
              </a:spcAft>
              <a:buClr>
                <a:schemeClr val="bg2"/>
              </a:buClr>
              <a:buFont typeface="Wingdings" panose="05000000000000000000" pitchFamily="2" charset="2"/>
              <a:buChar char="§"/>
              <a:defRPr sz="1200" kern="1200">
                <a:solidFill>
                  <a:schemeClr val="tx1"/>
                </a:solidFill>
                <a:latin typeface="+mn-lt"/>
                <a:ea typeface="+mn-ea"/>
                <a:cs typeface="+mn-cs"/>
              </a:defRPr>
            </a:lvl5pPr>
            <a:lvl6pPr marL="1152000" indent="-288000" algn="l" defTabSz="914400" rtl="0" eaLnBrk="1" latinLnBrk="0" hangingPunct="1">
              <a:lnSpc>
                <a:spcPct val="120000"/>
              </a:lnSpc>
              <a:spcBef>
                <a:spcPts val="0"/>
              </a:spcBef>
              <a:spcAft>
                <a:spcPts val="1000"/>
              </a:spcAft>
              <a:buClr>
                <a:schemeClr val="bg2"/>
              </a:buClr>
              <a:buFont typeface="Wingdings" panose="05000000000000000000" pitchFamily="2" charset="2"/>
              <a:buChar char="§"/>
              <a:defRPr sz="1200" kern="1200">
                <a:solidFill>
                  <a:schemeClr val="tx1"/>
                </a:solidFill>
                <a:latin typeface="+mn-lt"/>
                <a:ea typeface="+mn-ea"/>
                <a:cs typeface="+mn-cs"/>
              </a:defRPr>
            </a:lvl6pPr>
            <a:lvl7pPr marL="1728000" indent="-288000" algn="l" defTabSz="914400" rtl="0" eaLnBrk="1" latinLnBrk="0" hangingPunct="1">
              <a:lnSpc>
                <a:spcPct val="120000"/>
              </a:lnSpc>
              <a:spcBef>
                <a:spcPts val="0"/>
              </a:spcBef>
              <a:spcAft>
                <a:spcPts val="1000"/>
              </a:spcAft>
              <a:buClr>
                <a:schemeClr val="tx1"/>
              </a:buClr>
              <a:buFont typeface="Wingdings" panose="05000000000000000000" pitchFamily="2" charset="2"/>
              <a:buChar char="§"/>
              <a:defRPr sz="1200" kern="1200">
                <a:solidFill>
                  <a:schemeClr val="tx1"/>
                </a:solidFill>
                <a:latin typeface="+mn-lt"/>
                <a:ea typeface="+mn-ea"/>
                <a:cs typeface="+mn-cs"/>
              </a:defRPr>
            </a:lvl7pPr>
            <a:lvl8pPr marL="2016000" indent="-288000" algn="l" defTabSz="914400" rtl="0" eaLnBrk="1" latinLnBrk="0" hangingPunct="1">
              <a:lnSpc>
                <a:spcPct val="120000"/>
              </a:lnSpc>
              <a:spcBef>
                <a:spcPts val="0"/>
              </a:spcBef>
              <a:spcAft>
                <a:spcPts val="1000"/>
              </a:spcAft>
              <a:buClr>
                <a:schemeClr val="tx1"/>
              </a:buClr>
              <a:buFont typeface="Wingdings" panose="05000000000000000000" pitchFamily="2" charset="2"/>
              <a:buChar char="§"/>
              <a:defRPr sz="1200" kern="1200">
                <a:solidFill>
                  <a:schemeClr val="tx1"/>
                </a:solidFill>
                <a:latin typeface="+mn-lt"/>
                <a:ea typeface="+mn-ea"/>
                <a:cs typeface="+mn-cs"/>
              </a:defRPr>
            </a:lvl8pPr>
            <a:lvl9pPr marL="2304000" indent="-288000" algn="l" defTabSz="914400" rtl="0" eaLnBrk="1" latinLnBrk="0" hangingPunct="1">
              <a:lnSpc>
                <a:spcPct val="120000"/>
              </a:lnSpc>
              <a:spcBef>
                <a:spcPts val="0"/>
              </a:spcBef>
              <a:spcAft>
                <a:spcPts val="1000"/>
              </a:spcAft>
              <a:buClr>
                <a:schemeClr val="tx1"/>
              </a:buClr>
              <a:buFont typeface="Wingdings" panose="05000000000000000000" pitchFamily="2" charset="2"/>
              <a:buChar char="§"/>
              <a:defRPr sz="1200" kern="1200">
                <a:solidFill>
                  <a:schemeClr val="tx1"/>
                </a:solidFill>
                <a:latin typeface="+mn-lt"/>
                <a:ea typeface="+mn-ea"/>
                <a:cs typeface="+mn-cs"/>
              </a:defRPr>
            </a:lvl9pPr>
          </a:lstStyle>
          <a:p>
            <a:pPr marL="0" marR="0" lvl="0" indent="0" algn="just" defTabSz="914400" rtl="0" eaLnBrk="1" fontAlgn="auto" latinLnBrk="0" hangingPunct="1">
              <a:lnSpc>
                <a:spcPct val="100000"/>
              </a:lnSpc>
              <a:spcBef>
                <a:spcPts val="0"/>
              </a:spcBef>
              <a:spcAft>
                <a:spcPts val="600"/>
              </a:spcAft>
              <a:buClrTx/>
              <a:buSzTx/>
              <a:buFontTx/>
              <a:buNone/>
              <a:tabLst/>
              <a:defRPr/>
            </a:pPr>
            <a:r>
              <a:rPr kumimoji="0" lang="en-US" sz="1333" b="1" i="0" u="none" strike="noStrike" kern="1200" cap="none" spc="0" normalizeH="0" baseline="0" noProof="0">
                <a:ln>
                  <a:noFill/>
                </a:ln>
                <a:solidFill>
                  <a:srgbClr val="1C6D7D"/>
                </a:solidFill>
                <a:effectLst/>
                <a:uLnTx/>
                <a:uFillTx/>
                <a:latin typeface="Rawline"/>
                <a:ea typeface="+mn-ea"/>
                <a:cs typeface="+mn-cs"/>
              </a:rPr>
              <a:t>How is it calculated?</a:t>
            </a:r>
          </a:p>
          <a:p>
            <a:pPr marL="0" marR="0" lvl="0" indent="0" algn="just" defTabSz="914400" rtl="0" eaLnBrk="1" fontAlgn="auto" latinLnBrk="0" hangingPunct="1">
              <a:lnSpc>
                <a:spcPct val="100000"/>
              </a:lnSpc>
              <a:spcBef>
                <a:spcPts val="0"/>
              </a:spcBef>
              <a:spcAft>
                <a:spcPts val="600"/>
              </a:spcAft>
              <a:buClrTx/>
              <a:buSzTx/>
              <a:buFontTx/>
              <a:buNone/>
              <a:tabLst/>
              <a:defRPr/>
            </a:pPr>
            <a:r>
              <a:rPr kumimoji="0" lang="en-GB" sz="1333" b="0" i="0" u="none" strike="noStrike" kern="1200" cap="none" spc="0" normalizeH="0" baseline="0" noProof="0">
                <a:ln>
                  <a:noFill/>
                </a:ln>
                <a:solidFill>
                  <a:srgbClr val="263133"/>
                </a:solidFill>
                <a:effectLst/>
                <a:uLnTx/>
                <a:uFillTx/>
                <a:latin typeface="Rawline"/>
                <a:ea typeface="+mn-ea"/>
                <a:cs typeface="+mn-cs"/>
              </a:rPr>
              <a:t>Using a swiping exercise, we ask consumers directly which perceptions resonate most when choosing a product. </a:t>
            </a:r>
          </a:p>
          <a:p>
            <a:pPr marL="0" marR="0" lvl="0" indent="0" algn="just" defTabSz="914400" rtl="0" eaLnBrk="1" fontAlgn="auto" latinLnBrk="0" hangingPunct="1">
              <a:lnSpc>
                <a:spcPct val="100000"/>
              </a:lnSpc>
              <a:spcBef>
                <a:spcPts val="0"/>
              </a:spcBef>
              <a:spcAft>
                <a:spcPts val="600"/>
              </a:spcAft>
              <a:buClrTx/>
              <a:buSzTx/>
              <a:buFontTx/>
              <a:buNone/>
              <a:tabLst/>
              <a:defRPr/>
            </a:pPr>
            <a:endParaRPr kumimoji="0" lang="en-GB" sz="1333" b="0" i="0" u="none" strike="noStrike" kern="1200" cap="none" spc="0" normalizeH="0" baseline="0" noProof="0">
              <a:ln>
                <a:noFill/>
              </a:ln>
              <a:solidFill>
                <a:srgbClr val="263133"/>
              </a:solidFill>
              <a:effectLst/>
              <a:uLnTx/>
              <a:uFillTx/>
              <a:latin typeface="Rawline"/>
              <a:ea typeface="+mn-ea"/>
              <a:cs typeface="+mn-cs"/>
            </a:endParaRPr>
          </a:p>
          <a:p>
            <a:pPr marL="0" marR="0" lvl="0" indent="0" algn="just" defTabSz="914400" rtl="0" eaLnBrk="1" fontAlgn="auto" latinLnBrk="0" hangingPunct="1">
              <a:lnSpc>
                <a:spcPct val="100000"/>
              </a:lnSpc>
              <a:spcBef>
                <a:spcPts val="0"/>
              </a:spcBef>
              <a:spcAft>
                <a:spcPts val="600"/>
              </a:spcAft>
              <a:buClrTx/>
              <a:buSzTx/>
              <a:buFontTx/>
              <a:buNone/>
              <a:tabLst/>
              <a:defRPr/>
            </a:pPr>
            <a:r>
              <a:rPr kumimoji="0" lang="en-GB" sz="1333" b="1" i="0" u="none" strike="noStrike" kern="1200" cap="none" spc="0" normalizeH="0" baseline="0" noProof="0">
                <a:ln>
                  <a:noFill/>
                </a:ln>
                <a:solidFill>
                  <a:srgbClr val="1C6D7D"/>
                </a:solidFill>
                <a:effectLst/>
                <a:uLnTx/>
                <a:uFillTx/>
                <a:latin typeface="Rawline"/>
                <a:ea typeface="+mn-ea"/>
                <a:cs typeface="+mn-cs"/>
              </a:rPr>
              <a:t>What does it indicate?</a:t>
            </a:r>
          </a:p>
          <a:p>
            <a:pPr marL="0" marR="0" lvl="0" indent="0" algn="just" defTabSz="914400" rtl="0" eaLnBrk="1" fontAlgn="auto" latinLnBrk="0" hangingPunct="1">
              <a:lnSpc>
                <a:spcPct val="100000"/>
              </a:lnSpc>
              <a:spcBef>
                <a:spcPts val="0"/>
              </a:spcBef>
              <a:spcAft>
                <a:spcPts val="600"/>
              </a:spcAft>
              <a:buClrTx/>
              <a:buSzTx/>
              <a:buFontTx/>
              <a:buNone/>
              <a:tabLst/>
              <a:defRPr/>
            </a:pPr>
            <a:r>
              <a:rPr kumimoji="0" lang="en-GB" sz="1333" b="0" i="0" u="none" strike="noStrike" kern="1200" cap="none" spc="0" normalizeH="0" baseline="0" noProof="0">
                <a:ln>
                  <a:noFill/>
                </a:ln>
                <a:solidFill>
                  <a:srgbClr val="263133"/>
                </a:solidFill>
                <a:effectLst/>
                <a:uLnTx/>
                <a:uFillTx/>
                <a:latin typeface="Rawline"/>
                <a:ea typeface="+mn-ea"/>
                <a:cs typeface="+mn-cs"/>
              </a:rPr>
              <a:t>It represents the </a:t>
            </a:r>
            <a:r>
              <a:rPr kumimoji="0" lang="en-GB" sz="1333" b="1" i="0" u="none" strike="noStrike" kern="1200" cap="none" spc="0" normalizeH="0" baseline="0" noProof="0">
                <a:ln>
                  <a:noFill/>
                </a:ln>
                <a:solidFill>
                  <a:srgbClr val="263133"/>
                </a:solidFill>
                <a:effectLst/>
                <a:uLnTx/>
                <a:uFillTx/>
                <a:latin typeface="Rawline"/>
                <a:ea typeface="+mn-ea"/>
                <a:cs typeface="+mn-cs"/>
              </a:rPr>
              <a:t>stated </a:t>
            </a:r>
            <a:r>
              <a:rPr kumimoji="0" lang="en-GB" sz="1333" b="0" i="0" u="none" strike="noStrike" kern="1200" cap="none" spc="0" normalizeH="0" baseline="0" noProof="0">
                <a:ln>
                  <a:noFill/>
                </a:ln>
                <a:solidFill>
                  <a:srgbClr val="263133"/>
                </a:solidFill>
                <a:effectLst/>
                <a:uLnTx/>
                <a:uFillTx/>
                <a:latin typeface="Rawline"/>
                <a:ea typeface="+mn-ea"/>
                <a:cs typeface="+mn-cs"/>
              </a:rPr>
              <a:t>importance given by consumers for each perception. It is an </a:t>
            </a:r>
            <a:r>
              <a:rPr kumimoji="0" lang="en-GB" sz="1333" b="1" i="0" u="none" strike="noStrike" kern="1200" cap="none" spc="0" normalizeH="0" baseline="0" noProof="0">
                <a:ln>
                  <a:noFill/>
                </a:ln>
                <a:solidFill>
                  <a:srgbClr val="263133"/>
                </a:solidFill>
                <a:effectLst/>
                <a:uLnTx/>
                <a:uFillTx/>
                <a:latin typeface="Rawline"/>
                <a:ea typeface="+mn-ea"/>
                <a:cs typeface="+mn-cs"/>
              </a:rPr>
              <a:t>explicit measure </a:t>
            </a:r>
            <a:r>
              <a:rPr kumimoji="0" lang="en-GB" sz="1333" b="0" i="0" u="none" strike="noStrike" kern="1200" cap="none" spc="0" normalizeH="0" baseline="0" noProof="0">
                <a:ln>
                  <a:noFill/>
                </a:ln>
                <a:solidFill>
                  <a:srgbClr val="263133"/>
                </a:solidFill>
                <a:effectLst/>
                <a:uLnTx/>
                <a:uFillTx/>
                <a:latin typeface="Rawline"/>
                <a:ea typeface="+mn-ea"/>
                <a:cs typeface="+mn-cs"/>
              </a:rPr>
              <a:t>of what is important.</a:t>
            </a:r>
          </a:p>
          <a:p>
            <a:pPr marL="0" marR="0" lvl="0" indent="0" algn="just" defTabSz="914400" rtl="0" eaLnBrk="1" fontAlgn="auto" latinLnBrk="0" hangingPunct="1">
              <a:lnSpc>
                <a:spcPct val="100000"/>
              </a:lnSpc>
              <a:spcBef>
                <a:spcPts val="0"/>
              </a:spcBef>
              <a:spcAft>
                <a:spcPts val="600"/>
              </a:spcAft>
              <a:buClrTx/>
              <a:buSzTx/>
              <a:buFontTx/>
              <a:buNone/>
              <a:tabLst/>
              <a:defRPr/>
            </a:pPr>
            <a:endParaRPr kumimoji="0" lang="en-GB" sz="1333" b="0" i="0" u="none" strike="noStrike" kern="1200" cap="none" spc="0" normalizeH="0" baseline="0" noProof="0">
              <a:ln>
                <a:noFill/>
              </a:ln>
              <a:solidFill>
                <a:srgbClr val="263133"/>
              </a:solidFill>
              <a:effectLst/>
              <a:uLnTx/>
              <a:uFillTx/>
              <a:latin typeface="Rawline"/>
              <a:ea typeface="+mn-ea"/>
              <a:cs typeface="+mn-cs"/>
            </a:endParaRPr>
          </a:p>
          <a:p>
            <a:pPr marL="0" marR="0" lvl="0" indent="0" algn="just" defTabSz="914400" rtl="0" eaLnBrk="1" fontAlgn="auto" latinLnBrk="0" hangingPunct="1">
              <a:lnSpc>
                <a:spcPct val="100000"/>
              </a:lnSpc>
              <a:spcBef>
                <a:spcPts val="0"/>
              </a:spcBef>
              <a:spcAft>
                <a:spcPts val="600"/>
              </a:spcAft>
              <a:buClrTx/>
              <a:buSzTx/>
              <a:buFontTx/>
              <a:buNone/>
              <a:tabLst/>
              <a:defRPr/>
            </a:pPr>
            <a:r>
              <a:rPr kumimoji="0" lang="en-GB" sz="1333" b="0" i="0" u="none" strike="noStrike" kern="1200" cap="none" spc="0" normalizeH="0" baseline="0" noProof="0">
                <a:ln>
                  <a:noFill/>
                </a:ln>
                <a:solidFill>
                  <a:srgbClr val="1C6D7D"/>
                </a:solidFill>
                <a:effectLst/>
                <a:uLnTx/>
                <a:uFillTx/>
                <a:latin typeface="Rawline"/>
                <a:ea typeface="+mn-ea"/>
                <a:cs typeface="+mn-cs"/>
              </a:rPr>
              <a:t>It is vital to consider in parallel with derived importance because there is often a gap which exists between what consumers think </a:t>
            </a:r>
            <a:r>
              <a:rPr lang="en-GB" sz="1333">
                <a:solidFill>
                  <a:srgbClr val="1C6D7D"/>
                </a:solidFill>
                <a:latin typeface="Rawline"/>
              </a:rPr>
              <a:t>resonates best</a:t>
            </a:r>
            <a:r>
              <a:rPr kumimoji="0" lang="en-GB" sz="1333" b="0" i="0" u="none" strike="noStrike" kern="1200" cap="none" spc="0" normalizeH="0" baseline="0" noProof="0">
                <a:ln>
                  <a:noFill/>
                </a:ln>
                <a:solidFill>
                  <a:srgbClr val="1C6D7D"/>
                </a:solidFill>
                <a:effectLst/>
                <a:uLnTx/>
                <a:uFillTx/>
                <a:latin typeface="Rawline"/>
                <a:ea typeface="+mn-ea"/>
                <a:cs typeface="+mn-cs"/>
              </a:rPr>
              <a:t> versus what </a:t>
            </a:r>
            <a:r>
              <a:rPr kumimoji="0" lang="en-GB" sz="1333" b="0" i="1" u="none" strike="noStrike" kern="1200" cap="none" spc="0" normalizeH="0" baseline="0" noProof="0">
                <a:ln>
                  <a:noFill/>
                </a:ln>
                <a:solidFill>
                  <a:srgbClr val="1C6D7D"/>
                </a:solidFill>
                <a:effectLst/>
                <a:uLnTx/>
                <a:uFillTx/>
                <a:latin typeface="Rawline"/>
                <a:ea typeface="+mn-ea"/>
                <a:cs typeface="+mn-cs"/>
              </a:rPr>
              <a:t>actually</a:t>
            </a:r>
            <a:r>
              <a:rPr kumimoji="0" lang="en-GB" sz="1333" b="0" i="0" u="none" strike="noStrike" kern="1200" cap="none" spc="0" normalizeH="0" baseline="0" noProof="0">
                <a:ln>
                  <a:noFill/>
                </a:ln>
                <a:solidFill>
                  <a:srgbClr val="1C6D7D"/>
                </a:solidFill>
                <a:effectLst/>
                <a:uLnTx/>
                <a:uFillTx/>
                <a:latin typeface="Rawline"/>
                <a:ea typeface="+mn-ea"/>
                <a:cs typeface="+mn-cs"/>
              </a:rPr>
              <a:t> resonates. </a:t>
            </a:r>
            <a:r>
              <a:rPr kumimoji="0" lang="en-US" sz="1333" b="0" i="0" u="none" strike="noStrike" kern="1200" cap="none" spc="0" normalizeH="0" baseline="0" noProof="0">
                <a:ln>
                  <a:noFill/>
                </a:ln>
                <a:solidFill>
                  <a:srgbClr val="1C6D7D"/>
                </a:solidFill>
                <a:effectLst/>
                <a:uLnTx/>
                <a:uFillTx/>
                <a:latin typeface="Rawline"/>
                <a:ea typeface="+mn-ea"/>
                <a:cs typeface="+mn-cs"/>
              </a:rPr>
              <a:t>Consumers may not accurately (be able to) report the importance of certain perceptions in response to reading a claim.</a:t>
            </a:r>
            <a:r>
              <a:rPr kumimoji="0" lang="en-GB" sz="1333" b="0" i="0" u="none" strike="noStrike" kern="1200" cap="none" spc="0" normalizeH="0" baseline="0" noProof="0">
                <a:ln>
                  <a:noFill/>
                </a:ln>
                <a:solidFill>
                  <a:srgbClr val="1C6D7D"/>
                </a:solidFill>
                <a:effectLst/>
                <a:uLnTx/>
                <a:uFillTx/>
                <a:latin typeface="Rawline"/>
                <a:ea typeface="+mn-ea"/>
                <a:cs typeface="+mn-cs"/>
              </a:rPr>
              <a:t> </a:t>
            </a:r>
          </a:p>
          <a:p>
            <a:pPr marL="288000" marR="0" lvl="0" indent="-288000" algn="l" defTabSz="914400" rtl="0" eaLnBrk="1" fontAlgn="auto" latinLnBrk="0" hangingPunct="1">
              <a:lnSpc>
                <a:spcPct val="120000"/>
              </a:lnSpc>
              <a:spcBef>
                <a:spcPts val="0"/>
              </a:spcBef>
              <a:spcAft>
                <a:spcPts val="1000"/>
              </a:spcAft>
              <a:buClr>
                <a:srgbClr val="1C6D7D"/>
              </a:buClr>
              <a:buSzTx/>
              <a:buFont typeface="Courier New" panose="02070309020205020404" pitchFamily="49" charset="0"/>
              <a:buChar char="o"/>
              <a:tabLst/>
              <a:defRPr/>
            </a:pPr>
            <a:endParaRPr kumimoji="0" lang="en-US" sz="1600" b="0" i="0" u="none" strike="noStrike" kern="1200" cap="none" spc="0" normalizeH="0" baseline="0" noProof="0">
              <a:ln>
                <a:noFill/>
              </a:ln>
              <a:solidFill>
                <a:srgbClr val="263133"/>
              </a:solidFill>
              <a:effectLst/>
              <a:uLnTx/>
              <a:uFillTx/>
              <a:latin typeface="Rawline"/>
              <a:ea typeface="+mn-ea"/>
              <a:cs typeface="+mn-cs"/>
            </a:endParaRPr>
          </a:p>
        </p:txBody>
      </p:sp>
      <p:sp>
        <p:nvSpPr>
          <p:cNvPr id="5" name="Text Placeholder 5">
            <a:extLst>
              <a:ext uri="{FF2B5EF4-FFF2-40B4-BE49-F238E27FC236}">
                <a16:creationId xmlns:a16="http://schemas.microsoft.com/office/drawing/2014/main" id="{58C254EA-B643-40A9-BDAB-C59E8207AAF7}"/>
              </a:ext>
            </a:extLst>
          </p:cNvPr>
          <p:cNvSpPr txBox="1">
            <a:spLocks/>
          </p:cNvSpPr>
          <p:nvPr/>
        </p:nvSpPr>
        <p:spPr>
          <a:xfrm>
            <a:off x="6552000" y="1682515"/>
            <a:ext cx="5040000" cy="311047"/>
          </a:xfrm>
          <a:prstGeom prst="rect">
            <a:avLst/>
          </a:prstGeom>
        </p:spPr>
        <p:txBody>
          <a:bodyPr anchor="ctr"/>
          <a:lstStyle>
            <a:lvl1pPr marL="288000" indent="-288000" algn="l" defTabSz="914400" rtl="0" eaLnBrk="1" latinLnBrk="0" hangingPunct="1">
              <a:lnSpc>
                <a:spcPct val="120000"/>
              </a:lnSpc>
              <a:spcBef>
                <a:spcPts val="0"/>
              </a:spcBef>
              <a:spcAft>
                <a:spcPts val="1000"/>
              </a:spcAft>
              <a:buClr>
                <a:schemeClr val="bg2"/>
              </a:buClr>
              <a:buFont typeface="Courier New" panose="02070309020205020404" pitchFamily="49" charset="0"/>
              <a:buChar char="o"/>
              <a:defRPr sz="1600" kern="1200">
                <a:solidFill>
                  <a:schemeClr val="tx1"/>
                </a:solidFill>
                <a:latin typeface="+mn-lt"/>
                <a:ea typeface="+mn-ea"/>
                <a:cs typeface="+mn-cs"/>
              </a:defRPr>
            </a:lvl1pPr>
            <a:lvl2pPr marL="576000" indent="-288000" algn="l" defTabSz="914400" rtl="0" eaLnBrk="1" latinLnBrk="0" hangingPunct="1">
              <a:lnSpc>
                <a:spcPct val="120000"/>
              </a:lnSpc>
              <a:spcBef>
                <a:spcPts val="0"/>
              </a:spcBef>
              <a:spcAft>
                <a:spcPts val="1000"/>
              </a:spcAft>
              <a:buClr>
                <a:schemeClr val="bg2"/>
              </a:buClr>
              <a:buFont typeface="Wingdings" panose="05000000000000000000" pitchFamily="2" charset="2"/>
              <a:buChar char="§"/>
              <a:defRPr sz="1400" kern="1200">
                <a:solidFill>
                  <a:schemeClr val="tx1"/>
                </a:solidFill>
                <a:latin typeface="+mn-lt"/>
                <a:ea typeface="+mn-ea"/>
                <a:cs typeface="+mn-cs"/>
              </a:defRPr>
            </a:lvl2pPr>
            <a:lvl3pPr marL="864000" indent="-288000" algn="l" defTabSz="914400" rtl="0" eaLnBrk="1" latinLnBrk="0" hangingPunct="1">
              <a:lnSpc>
                <a:spcPct val="120000"/>
              </a:lnSpc>
              <a:spcBef>
                <a:spcPts val="0"/>
              </a:spcBef>
              <a:spcAft>
                <a:spcPts val="1000"/>
              </a:spcAft>
              <a:buClr>
                <a:schemeClr val="bg2"/>
              </a:buClr>
              <a:buFont typeface="Wingdings" panose="05000000000000000000" pitchFamily="2" charset="2"/>
              <a:buChar char="§"/>
              <a:defRPr sz="1200" kern="1200">
                <a:solidFill>
                  <a:schemeClr val="tx1"/>
                </a:solidFill>
                <a:latin typeface="+mn-lt"/>
                <a:ea typeface="+mn-ea"/>
                <a:cs typeface="+mn-cs"/>
              </a:defRPr>
            </a:lvl3pPr>
            <a:lvl4pPr marL="1152000" indent="-288000" algn="l" defTabSz="914400" rtl="0" eaLnBrk="1" latinLnBrk="0" hangingPunct="1">
              <a:lnSpc>
                <a:spcPct val="120000"/>
              </a:lnSpc>
              <a:spcBef>
                <a:spcPts val="0"/>
              </a:spcBef>
              <a:spcAft>
                <a:spcPts val="1000"/>
              </a:spcAft>
              <a:buClr>
                <a:schemeClr val="bg2"/>
              </a:buClr>
              <a:buSzPct val="100000"/>
              <a:buFont typeface="Wingdings" panose="05000000000000000000" pitchFamily="2" charset="2"/>
              <a:buChar char="§"/>
              <a:defRPr sz="1200" kern="1200">
                <a:solidFill>
                  <a:schemeClr val="tx1"/>
                </a:solidFill>
                <a:latin typeface="+mn-lt"/>
                <a:ea typeface="+mn-ea"/>
                <a:cs typeface="+mn-cs"/>
              </a:defRPr>
            </a:lvl4pPr>
            <a:lvl5pPr marL="1152000" indent="-288000" algn="l" defTabSz="914400" rtl="0" eaLnBrk="1" latinLnBrk="0" hangingPunct="1">
              <a:lnSpc>
                <a:spcPct val="120000"/>
              </a:lnSpc>
              <a:spcBef>
                <a:spcPts val="0"/>
              </a:spcBef>
              <a:spcAft>
                <a:spcPts val="1000"/>
              </a:spcAft>
              <a:buClr>
                <a:schemeClr val="bg2"/>
              </a:buClr>
              <a:buFont typeface="Wingdings" panose="05000000000000000000" pitchFamily="2" charset="2"/>
              <a:buChar char="§"/>
              <a:defRPr sz="1200" kern="1200">
                <a:solidFill>
                  <a:schemeClr val="tx1"/>
                </a:solidFill>
                <a:latin typeface="+mn-lt"/>
                <a:ea typeface="+mn-ea"/>
                <a:cs typeface="+mn-cs"/>
              </a:defRPr>
            </a:lvl5pPr>
            <a:lvl6pPr marL="1152000" indent="-288000" algn="l" defTabSz="914400" rtl="0" eaLnBrk="1" latinLnBrk="0" hangingPunct="1">
              <a:lnSpc>
                <a:spcPct val="120000"/>
              </a:lnSpc>
              <a:spcBef>
                <a:spcPts val="0"/>
              </a:spcBef>
              <a:spcAft>
                <a:spcPts val="1000"/>
              </a:spcAft>
              <a:buClr>
                <a:schemeClr val="bg2"/>
              </a:buClr>
              <a:buFont typeface="Wingdings" panose="05000000000000000000" pitchFamily="2" charset="2"/>
              <a:buChar char="§"/>
              <a:defRPr sz="1200" kern="1200">
                <a:solidFill>
                  <a:schemeClr val="tx1"/>
                </a:solidFill>
                <a:latin typeface="+mn-lt"/>
                <a:ea typeface="+mn-ea"/>
                <a:cs typeface="+mn-cs"/>
              </a:defRPr>
            </a:lvl6pPr>
            <a:lvl7pPr marL="1728000" indent="-288000" algn="l" defTabSz="914400" rtl="0" eaLnBrk="1" latinLnBrk="0" hangingPunct="1">
              <a:lnSpc>
                <a:spcPct val="120000"/>
              </a:lnSpc>
              <a:spcBef>
                <a:spcPts val="0"/>
              </a:spcBef>
              <a:spcAft>
                <a:spcPts val="1000"/>
              </a:spcAft>
              <a:buClr>
                <a:schemeClr val="tx1"/>
              </a:buClr>
              <a:buFont typeface="Wingdings" panose="05000000000000000000" pitchFamily="2" charset="2"/>
              <a:buChar char="§"/>
              <a:defRPr sz="1200" kern="1200">
                <a:solidFill>
                  <a:schemeClr val="tx1"/>
                </a:solidFill>
                <a:latin typeface="+mn-lt"/>
                <a:ea typeface="+mn-ea"/>
                <a:cs typeface="+mn-cs"/>
              </a:defRPr>
            </a:lvl7pPr>
            <a:lvl8pPr marL="2016000" indent="-288000" algn="l" defTabSz="914400" rtl="0" eaLnBrk="1" latinLnBrk="0" hangingPunct="1">
              <a:lnSpc>
                <a:spcPct val="120000"/>
              </a:lnSpc>
              <a:spcBef>
                <a:spcPts val="0"/>
              </a:spcBef>
              <a:spcAft>
                <a:spcPts val="1000"/>
              </a:spcAft>
              <a:buClr>
                <a:schemeClr val="tx1"/>
              </a:buClr>
              <a:buFont typeface="Wingdings" panose="05000000000000000000" pitchFamily="2" charset="2"/>
              <a:buChar char="§"/>
              <a:defRPr sz="1200" kern="1200">
                <a:solidFill>
                  <a:schemeClr val="tx1"/>
                </a:solidFill>
                <a:latin typeface="+mn-lt"/>
                <a:ea typeface="+mn-ea"/>
                <a:cs typeface="+mn-cs"/>
              </a:defRPr>
            </a:lvl8pPr>
            <a:lvl9pPr marL="2304000" indent="-288000" algn="l" defTabSz="914400" rtl="0" eaLnBrk="1" latinLnBrk="0" hangingPunct="1">
              <a:lnSpc>
                <a:spcPct val="120000"/>
              </a:lnSpc>
              <a:spcBef>
                <a:spcPts val="0"/>
              </a:spcBef>
              <a:spcAft>
                <a:spcPts val="1000"/>
              </a:spcAft>
              <a:buClr>
                <a:schemeClr val="tx1"/>
              </a:buClr>
              <a:buFont typeface="Wingdings" panose="05000000000000000000" pitchFamily="2" charset="2"/>
              <a:buChar char="§"/>
              <a:defRPr sz="1200" kern="1200">
                <a:solidFill>
                  <a:schemeClr val="tx1"/>
                </a:solidFill>
                <a:latin typeface="+mn-lt"/>
                <a:ea typeface="+mn-ea"/>
                <a:cs typeface="+mn-cs"/>
              </a:defRPr>
            </a:lvl9pPr>
          </a:lstStyle>
          <a:p>
            <a:pPr marL="0" marR="0" lvl="0" indent="0" algn="ctr" defTabSz="914400" rtl="0" eaLnBrk="1" fontAlgn="auto" latinLnBrk="0" hangingPunct="1">
              <a:lnSpc>
                <a:spcPct val="120000"/>
              </a:lnSpc>
              <a:spcBef>
                <a:spcPts val="0"/>
              </a:spcBef>
              <a:spcAft>
                <a:spcPts val="1000"/>
              </a:spcAft>
              <a:buClr>
                <a:srgbClr val="1C6D7D"/>
              </a:buClr>
              <a:buSzTx/>
              <a:buFont typeface="Courier New" panose="02070309020205020404" pitchFamily="49" charset="0"/>
              <a:buNone/>
              <a:tabLst/>
              <a:defRPr/>
            </a:pPr>
            <a:r>
              <a:rPr kumimoji="0" lang="en-US" sz="1600" b="1" i="0" u="none" strike="noStrike" kern="1200" cap="none" spc="0" normalizeH="0" baseline="0" noProof="0">
                <a:ln>
                  <a:noFill/>
                </a:ln>
                <a:solidFill>
                  <a:srgbClr val="81AFB8"/>
                </a:solidFill>
                <a:effectLst/>
                <a:uLnTx/>
                <a:uFillTx/>
                <a:latin typeface="Rawline"/>
                <a:ea typeface="+mn-ea"/>
                <a:cs typeface="+mn-cs"/>
              </a:rPr>
              <a:t>Derived Importance</a:t>
            </a:r>
            <a:endParaRPr kumimoji="0" lang="en-GB" sz="1600" b="1" i="0" u="none" strike="noStrike" kern="1200" cap="none" spc="0" normalizeH="0" baseline="0" noProof="0">
              <a:ln>
                <a:noFill/>
              </a:ln>
              <a:solidFill>
                <a:srgbClr val="81AFB8"/>
              </a:solidFill>
              <a:effectLst/>
              <a:uLnTx/>
              <a:uFillTx/>
              <a:latin typeface="Rawline"/>
              <a:ea typeface="+mn-ea"/>
              <a:cs typeface="+mn-cs"/>
            </a:endParaRPr>
          </a:p>
        </p:txBody>
      </p:sp>
      <p:sp>
        <p:nvSpPr>
          <p:cNvPr id="6" name="Text Placeholder 4">
            <a:extLst>
              <a:ext uri="{FF2B5EF4-FFF2-40B4-BE49-F238E27FC236}">
                <a16:creationId xmlns:a16="http://schemas.microsoft.com/office/drawing/2014/main" id="{2842647B-AE85-4675-967E-CAFEB81F3A24}"/>
              </a:ext>
            </a:extLst>
          </p:cNvPr>
          <p:cNvSpPr txBox="1">
            <a:spLocks/>
          </p:cNvSpPr>
          <p:nvPr/>
        </p:nvSpPr>
        <p:spPr>
          <a:xfrm>
            <a:off x="504000" y="1682515"/>
            <a:ext cx="5040000" cy="299313"/>
          </a:xfrm>
          <a:prstGeom prst="rect">
            <a:avLst/>
          </a:prstGeom>
        </p:spPr>
        <p:txBody>
          <a:bodyPr anchor="ctr"/>
          <a:lstStyle>
            <a:lvl1pPr marL="288000" indent="-288000" algn="l" defTabSz="914400" rtl="0" eaLnBrk="1" latinLnBrk="0" hangingPunct="1">
              <a:lnSpc>
                <a:spcPct val="120000"/>
              </a:lnSpc>
              <a:spcBef>
                <a:spcPts val="0"/>
              </a:spcBef>
              <a:spcAft>
                <a:spcPts val="1000"/>
              </a:spcAft>
              <a:buClr>
                <a:schemeClr val="bg2"/>
              </a:buClr>
              <a:buFont typeface="Courier New" panose="02070309020205020404" pitchFamily="49" charset="0"/>
              <a:buChar char="o"/>
              <a:defRPr sz="1600" kern="1200">
                <a:solidFill>
                  <a:schemeClr val="tx1"/>
                </a:solidFill>
                <a:latin typeface="+mn-lt"/>
                <a:ea typeface="+mn-ea"/>
                <a:cs typeface="+mn-cs"/>
              </a:defRPr>
            </a:lvl1pPr>
            <a:lvl2pPr marL="576000" indent="-288000" algn="l" defTabSz="914400" rtl="0" eaLnBrk="1" latinLnBrk="0" hangingPunct="1">
              <a:lnSpc>
                <a:spcPct val="120000"/>
              </a:lnSpc>
              <a:spcBef>
                <a:spcPts val="0"/>
              </a:spcBef>
              <a:spcAft>
                <a:spcPts val="1000"/>
              </a:spcAft>
              <a:buClr>
                <a:schemeClr val="bg2"/>
              </a:buClr>
              <a:buFont typeface="Wingdings" panose="05000000000000000000" pitchFamily="2" charset="2"/>
              <a:buChar char="§"/>
              <a:defRPr sz="1400" kern="1200">
                <a:solidFill>
                  <a:schemeClr val="tx1"/>
                </a:solidFill>
                <a:latin typeface="+mn-lt"/>
                <a:ea typeface="+mn-ea"/>
                <a:cs typeface="+mn-cs"/>
              </a:defRPr>
            </a:lvl2pPr>
            <a:lvl3pPr marL="864000" indent="-288000" algn="l" defTabSz="914400" rtl="0" eaLnBrk="1" latinLnBrk="0" hangingPunct="1">
              <a:lnSpc>
                <a:spcPct val="120000"/>
              </a:lnSpc>
              <a:spcBef>
                <a:spcPts val="0"/>
              </a:spcBef>
              <a:spcAft>
                <a:spcPts val="1000"/>
              </a:spcAft>
              <a:buClr>
                <a:schemeClr val="bg2"/>
              </a:buClr>
              <a:buFont typeface="Wingdings" panose="05000000000000000000" pitchFamily="2" charset="2"/>
              <a:buChar char="§"/>
              <a:defRPr sz="1200" kern="1200">
                <a:solidFill>
                  <a:schemeClr val="tx1"/>
                </a:solidFill>
                <a:latin typeface="+mn-lt"/>
                <a:ea typeface="+mn-ea"/>
                <a:cs typeface="+mn-cs"/>
              </a:defRPr>
            </a:lvl3pPr>
            <a:lvl4pPr marL="1152000" indent="-288000" algn="l" defTabSz="914400" rtl="0" eaLnBrk="1" latinLnBrk="0" hangingPunct="1">
              <a:lnSpc>
                <a:spcPct val="120000"/>
              </a:lnSpc>
              <a:spcBef>
                <a:spcPts val="0"/>
              </a:spcBef>
              <a:spcAft>
                <a:spcPts val="1000"/>
              </a:spcAft>
              <a:buClr>
                <a:schemeClr val="bg2"/>
              </a:buClr>
              <a:buSzPct val="100000"/>
              <a:buFont typeface="Wingdings" panose="05000000000000000000" pitchFamily="2" charset="2"/>
              <a:buChar char="§"/>
              <a:defRPr sz="1200" kern="1200">
                <a:solidFill>
                  <a:schemeClr val="tx1"/>
                </a:solidFill>
                <a:latin typeface="+mn-lt"/>
                <a:ea typeface="+mn-ea"/>
                <a:cs typeface="+mn-cs"/>
              </a:defRPr>
            </a:lvl4pPr>
            <a:lvl5pPr marL="1152000" indent="-288000" algn="l" defTabSz="914400" rtl="0" eaLnBrk="1" latinLnBrk="0" hangingPunct="1">
              <a:lnSpc>
                <a:spcPct val="120000"/>
              </a:lnSpc>
              <a:spcBef>
                <a:spcPts val="0"/>
              </a:spcBef>
              <a:spcAft>
                <a:spcPts val="1000"/>
              </a:spcAft>
              <a:buClr>
                <a:schemeClr val="bg2"/>
              </a:buClr>
              <a:buFont typeface="Wingdings" panose="05000000000000000000" pitchFamily="2" charset="2"/>
              <a:buChar char="§"/>
              <a:defRPr sz="1200" kern="1200">
                <a:solidFill>
                  <a:schemeClr val="tx1"/>
                </a:solidFill>
                <a:latin typeface="+mn-lt"/>
                <a:ea typeface="+mn-ea"/>
                <a:cs typeface="+mn-cs"/>
              </a:defRPr>
            </a:lvl5pPr>
            <a:lvl6pPr marL="1152000" indent="-288000" algn="l" defTabSz="914400" rtl="0" eaLnBrk="1" latinLnBrk="0" hangingPunct="1">
              <a:lnSpc>
                <a:spcPct val="120000"/>
              </a:lnSpc>
              <a:spcBef>
                <a:spcPts val="0"/>
              </a:spcBef>
              <a:spcAft>
                <a:spcPts val="1000"/>
              </a:spcAft>
              <a:buClr>
                <a:schemeClr val="bg2"/>
              </a:buClr>
              <a:buFont typeface="Wingdings" panose="05000000000000000000" pitchFamily="2" charset="2"/>
              <a:buChar char="§"/>
              <a:defRPr sz="1200" kern="1200">
                <a:solidFill>
                  <a:schemeClr val="tx1"/>
                </a:solidFill>
                <a:latin typeface="+mn-lt"/>
                <a:ea typeface="+mn-ea"/>
                <a:cs typeface="+mn-cs"/>
              </a:defRPr>
            </a:lvl6pPr>
            <a:lvl7pPr marL="1728000" indent="-288000" algn="l" defTabSz="914400" rtl="0" eaLnBrk="1" latinLnBrk="0" hangingPunct="1">
              <a:lnSpc>
                <a:spcPct val="120000"/>
              </a:lnSpc>
              <a:spcBef>
                <a:spcPts val="0"/>
              </a:spcBef>
              <a:spcAft>
                <a:spcPts val="1000"/>
              </a:spcAft>
              <a:buClr>
                <a:schemeClr val="tx1"/>
              </a:buClr>
              <a:buFont typeface="Wingdings" panose="05000000000000000000" pitchFamily="2" charset="2"/>
              <a:buChar char="§"/>
              <a:defRPr sz="1200" kern="1200">
                <a:solidFill>
                  <a:schemeClr val="tx1"/>
                </a:solidFill>
                <a:latin typeface="+mn-lt"/>
                <a:ea typeface="+mn-ea"/>
                <a:cs typeface="+mn-cs"/>
              </a:defRPr>
            </a:lvl7pPr>
            <a:lvl8pPr marL="2016000" indent="-288000" algn="l" defTabSz="914400" rtl="0" eaLnBrk="1" latinLnBrk="0" hangingPunct="1">
              <a:lnSpc>
                <a:spcPct val="120000"/>
              </a:lnSpc>
              <a:spcBef>
                <a:spcPts val="0"/>
              </a:spcBef>
              <a:spcAft>
                <a:spcPts val="1000"/>
              </a:spcAft>
              <a:buClr>
                <a:schemeClr val="tx1"/>
              </a:buClr>
              <a:buFont typeface="Wingdings" panose="05000000000000000000" pitchFamily="2" charset="2"/>
              <a:buChar char="§"/>
              <a:defRPr sz="1200" kern="1200">
                <a:solidFill>
                  <a:schemeClr val="tx1"/>
                </a:solidFill>
                <a:latin typeface="+mn-lt"/>
                <a:ea typeface="+mn-ea"/>
                <a:cs typeface="+mn-cs"/>
              </a:defRPr>
            </a:lvl8pPr>
            <a:lvl9pPr marL="2304000" indent="-288000" algn="l" defTabSz="914400" rtl="0" eaLnBrk="1" latinLnBrk="0" hangingPunct="1">
              <a:lnSpc>
                <a:spcPct val="120000"/>
              </a:lnSpc>
              <a:spcBef>
                <a:spcPts val="0"/>
              </a:spcBef>
              <a:spcAft>
                <a:spcPts val="1000"/>
              </a:spcAft>
              <a:buClr>
                <a:schemeClr val="tx1"/>
              </a:buClr>
              <a:buFont typeface="Wingdings" panose="05000000000000000000" pitchFamily="2" charset="2"/>
              <a:buChar char="§"/>
              <a:defRPr sz="1200" kern="1200">
                <a:solidFill>
                  <a:schemeClr val="tx1"/>
                </a:solidFill>
                <a:latin typeface="+mn-lt"/>
                <a:ea typeface="+mn-ea"/>
                <a:cs typeface="+mn-cs"/>
              </a:defRPr>
            </a:lvl9pPr>
          </a:lstStyle>
          <a:p>
            <a:pPr marL="0" marR="0" lvl="0" indent="0" algn="ctr" defTabSz="914400" rtl="0" eaLnBrk="1" fontAlgn="auto" latinLnBrk="0" hangingPunct="1">
              <a:lnSpc>
                <a:spcPct val="120000"/>
              </a:lnSpc>
              <a:spcBef>
                <a:spcPts val="0"/>
              </a:spcBef>
              <a:spcAft>
                <a:spcPts val="1000"/>
              </a:spcAft>
              <a:buClr>
                <a:srgbClr val="1C6D7D"/>
              </a:buClr>
              <a:buSzTx/>
              <a:buFont typeface="Courier New" panose="02070309020205020404" pitchFamily="49" charset="0"/>
              <a:buNone/>
              <a:tabLst/>
              <a:defRPr/>
            </a:pPr>
            <a:r>
              <a:rPr kumimoji="0" lang="en-US" sz="1600" b="1" i="0" u="none" strike="noStrike" kern="1200" cap="none" spc="0" normalizeH="0" baseline="0" noProof="0">
                <a:ln>
                  <a:noFill/>
                </a:ln>
                <a:solidFill>
                  <a:srgbClr val="81AFB8"/>
                </a:solidFill>
                <a:effectLst/>
                <a:uLnTx/>
                <a:uFillTx/>
                <a:latin typeface="Rawline"/>
                <a:ea typeface="+mn-ea"/>
                <a:cs typeface="+mn-cs"/>
              </a:rPr>
              <a:t>Stated Importance</a:t>
            </a:r>
            <a:endParaRPr kumimoji="0" lang="en-GB" sz="1600" b="1" i="0" u="none" strike="noStrike" kern="1200" cap="none" spc="0" normalizeH="0" baseline="0" noProof="0">
              <a:ln>
                <a:noFill/>
              </a:ln>
              <a:solidFill>
                <a:srgbClr val="81AFB8"/>
              </a:solidFill>
              <a:effectLst/>
              <a:uLnTx/>
              <a:uFillTx/>
              <a:latin typeface="Rawline"/>
              <a:ea typeface="+mn-ea"/>
              <a:cs typeface="+mn-cs"/>
            </a:endParaRPr>
          </a:p>
        </p:txBody>
      </p:sp>
      <p:sp>
        <p:nvSpPr>
          <p:cNvPr id="7" name="Content Placeholder 19">
            <a:extLst>
              <a:ext uri="{FF2B5EF4-FFF2-40B4-BE49-F238E27FC236}">
                <a16:creationId xmlns:a16="http://schemas.microsoft.com/office/drawing/2014/main" id="{A314FBB4-6C78-490D-A1FA-F7B6359DB5E1}"/>
              </a:ext>
            </a:extLst>
          </p:cNvPr>
          <p:cNvSpPr txBox="1">
            <a:spLocks/>
          </p:cNvSpPr>
          <p:nvPr/>
        </p:nvSpPr>
        <p:spPr>
          <a:xfrm>
            <a:off x="6552000" y="2374240"/>
            <a:ext cx="5040000" cy="4245532"/>
          </a:xfrm>
          <a:prstGeom prst="rect">
            <a:avLst/>
          </a:prstGeom>
        </p:spPr>
        <p:txBody>
          <a:bodyPr vert="horz" lIns="0" tIns="0" rIns="0" bIns="0" rtlCol="0">
            <a:noAutofit/>
          </a:bodyPr>
          <a:lstStyle>
            <a:lvl1pPr marL="0" indent="0" algn="l" defTabSz="914400" rtl="0" eaLnBrk="1" latinLnBrk="0" hangingPunct="1">
              <a:lnSpc>
                <a:spcPct val="150000"/>
              </a:lnSpc>
              <a:spcBef>
                <a:spcPts val="0"/>
              </a:spcBef>
              <a:spcAft>
                <a:spcPts val="1000"/>
              </a:spcAft>
              <a:buClr>
                <a:schemeClr val="bg2"/>
              </a:buClr>
              <a:buFont typeface="Courier New" panose="02070309020205020404" pitchFamily="49" charset="0"/>
              <a:buNone/>
              <a:defRPr sz="1600" kern="1200">
                <a:solidFill>
                  <a:schemeClr val="bg2"/>
                </a:solidFill>
                <a:latin typeface="+mn-lt"/>
                <a:ea typeface="+mn-ea"/>
                <a:cs typeface="+mn-cs"/>
              </a:defRPr>
            </a:lvl1pPr>
            <a:lvl2pPr marL="576000" indent="-288000" algn="l" defTabSz="914400" rtl="0" eaLnBrk="1" latinLnBrk="0" hangingPunct="1">
              <a:lnSpc>
                <a:spcPct val="120000"/>
              </a:lnSpc>
              <a:spcBef>
                <a:spcPts val="0"/>
              </a:spcBef>
              <a:spcAft>
                <a:spcPts val="1000"/>
              </a:spcAft>
              <a:buClr>
                <a:schemeClr val="bg2"/>
              </a:buClr>
              <a:buFont typeface="Wingdings" panose="05000000000000000000" pitchFamily="2" charset="2"/>
              <a:buChar char="§"/>
              <a:defRPr sz="1400" kern="1200">
                <a:solidFill>
                  <a:schemeClr val="bg2"/>
                </a:solidFill>
                <a:latin typeface="+mn-lt"/>
                <a:ea typeface="+mn-ea"/>
                <a:cs typeface="+mn-cs"/>
              </a:defRPr>
            </a:lvl2pPr>
            <a:lvl3pPr marL="864000" indent="-288000" algn="l" defTabSz="914400" rtl="0" eaLnBrk="1" latinLnBrk="0" hangingPunct="1">
              <a:lnSpc>
                <a:spcPct val="120000"/>
              </a:lnSpc>
              <a:spcBef>
                <a:spcPts val="0"/>
              </a:spcBef>
              <a:spcAft>
                <a:spcPts val="1000"/>
              </a:spcAft>
              <a:buClr>
                <a:schemeClr val="bg2"/>
              </a:buClr>
              <a:buFont typeface="Wingdings" panose="05000000000000000000" pitchFamily="2" charset="2"/>
              <a:buChar char="§"/>
              <a:defRPr sz="1200" kern="1200">
                <a:solidFill>
                  <a:schemeClr val="bg2"/>
                </a:solidFill>
                <a:latin typeface="+mn-lt"/>
                <a:ea typeface="+mn-ea"/>
                <a:cs typeface="+mn-cs"/>
              </a:defRPr>
            </a:lvl3pPr>
            <a:lvl4pPr marL="1152000" indent="-288000" algn="l" defTabSz="914400" rtl="0" eaLnBrk="1" latinLnBrk="0" hangingPunct="1">
              <a:lnSpc>
                <a:spcPct val="120000"/>
              </a:lnSpc>
              <a:spcBef>
                <a:spcPts val="0"/>
              </a:spcBef>
              <a:spcAft>
                <a:spcPts val="1000"/>
              </a:spcAft>
              <a:buClr>
                <a:schemeClr val="bg2"/>
              </a:buClr>
              <a:buSzPct val="100000"/>
              <a:buFont typeface="Wingdings" panose="05000000000000000000" pitchFamily="2" charset="2"/>
              <a:buChar char="§"/>
              <a:defRPr sz="1200" kern="1200">
                <a:solidFill>
                  <a:schemeClr val="bg2"/>
                </a:solidFill>
                <a:latin typeface="+mn-lt"/>
                <a:ea typeface="+mn-ea"/>
                <a:cs typeface="+mn-cs"/>
              </a:defRPr>
            </a:lvl4pPr>
            <a:lvl5pPr marL="1152000" indent="-288000" algn="l" defTabSz="914400" rtl="0" eaLnBrk="1" latinLnBrk="0" hangingPunct="1">
              <a:lnSpc>
                <a:spcPct val="120000"/>
              </a:lnSpc>
              <a:spcBef>
                <a:spcPts val="0"/>
              </a:spcBef>
              <a:spcAft>
                <a:spcPts val="1000"/>
              </a:spcAft>
              <a:buClr>
                <a:schemeClr val="bg2"/>
              </a:buClr>
              <a:buFont typeface="Wingdings" panose="05000000000000000000" pitchFamily="2" charset="2"/>
              <a:buChar char="§"/>
              <a:defRPr sz="1200" kern="1200">
                <a:solidFill>
                  <a:schemeClr val="bg2"/>
                </a:solidFill>
                <a:latin typeface="+mn-lt"/>
                <a:ea typeface="+mn-ea"/>
                <a:cs typeface="+mn-cs"/>
              </a:defRPr>
            </a:lvl5pPr>
            <a:lvl6pPr marL="1152000" indent="-288000" algn="l" defTabSz="914400" rtl="0" eaLnBrk="1" latinLnBrk="0" hangingPunct="1">
              <a:lnSpc>
                <a:spcPct val="120000"/>
              </a:lnSpc>
              <a:spcBef>
                <a:spcPts val="0"/>
              </a:spcBef>
              <a:spcAft>
                <a:spcPts val="1000"/>
              </a:spcAft>
              <a:buClr>
                <a:schemeClr val="bg2"/>
              </a:buClr>
              <a:buFont typeface="Wingdings" panose="05000000000000000000" pitchFamily="2" charset="2"/>
              <a:buChar char="§"/>
              <a:defRPr sz="1200" kern="1200">
                <a:solidFill>
                  <a:schemeClr val="tx1"/>
                </a:solidFill>
                <a:latin typeface="+mn-lt"/>
                <a:ea typeface="+mn-ea"/>
                <a:cs typeface="+mn-cs"/>
              </a:defRPr>
            </a:lvl6pPr>
            <a:lvl7pPr marL="1728000" indent="-288000" algn="l" defTabSz="914400" rtl="0" eaLnBrk="1" latinLnBrk="0" hangingPunct="1">
              <a:lnSpc>
                <a:spcPct val="120000"/>
              </a:lnSpc>
              <a:spcBef>
                <a:spcPts val="0"/>
              </a:spcBef>
              <a:spcAft>
                <a:spcPts val="1000"/>
              </a:spcAft>
              <a:buClr>
                <a:schemeClr val="tx1"/>
              </a:buClr>
              <a:buFont typeface="Wingdings" panose="05000000000000000000" pitchFamily="2" charset="2"/>
              <a:buChar char="§"/>
              <a:defRPr sz="1200" kern="1200">
                <a:solidFill>
                  <a:schemeClr val="tx1"/>
                </a:solidFill>
                <a:latin typeface="+mn-lt"/>
                <a:ea typeface="+mn-ea"/>
                <a:cs typeface="+mn-cs"/>
              </a:defRPr>
            </a:lvl7pPr>
            <a:lvl8pPr marL="2016000" indent="-288000" algn="l" defTabSz="914400" rtl="0" eaLnBrk="1" latinLnBrk="0" hangingPunct="1">
              <a:lnSpc>
                <a:spcPct val="120000"/>
              </a:lnSpc>
              <a:spcBef>
                <a:spcPts val="0"/>
              </a:spcBef>
              <a:spcAft>
                <a:spcPts val="1000"/>
              </a:spcAft>
              <a:buClr>
                <a:schemeClr val="tx1"/>
              </a:buClr>
              <a:buFont typeface="Wingdings" panose="05000000000000000000" pitchFamily="2" charset="2"/>
              <a:buChar char="§"/>
              <a:defRPr sz="1200" kern="1200">
                <a:solidFill>
                  <a:schemeClr val="tx1"/>
                </a:solidFill>
                <a:latin typeface="+mn-lt"/>
                <a:ea typeface="+mn-ea"/>
                <a:cs typeface="+mn-cs"/>
              </a:defRPr>
            </a:lvl8pPr>
            <a:lvl9pPr marL="2304000" indent="-288000" algn="l" defTabSz="914400" rtl="0" eaLnBrk="1" latinLnBrk="0" hangingPunct="1">
              <a:lnSpc>
                <a:spcPct val="120000"/>
              </a:lnSpc>
              <a:spcBef>
                <a:spcPts val="0"/>
              </a:spcBef>
              <a:spcAft>
                <a:spcPts val="1000"/>
              </a:spcAft>
              <a:buClr>
                <a:schemeClr val="tx1"/>
              </a:buClr>
              <a:buFont typeface="Wingdings" panose="05000000000000000000" pitchFamily="2" charset="2"/>
              <a:buChar char="§"/>
              <a:defRPr sz="1200" kern="1200">
                <a:solidFill>
                  <a:schemeClr val="tx1"/>
                </a:solidFill>
                <a:latin typeface="+mn-lt"/>
                <a:ea typeface="+mn-ea"/>
                <a:cs typeface="+mn-cs"/>
              </a:defRPr>
            </a:lvl9pPr>
          </a:lstStyle>
          <a:p>
            <a:pPr marL="0" marR="0" lvl="0" indent="0" algn="just" defTabSz="914400" rtl="0" eaLnBrk="1" fontAlgn="auto" latinLnBrk="0" hangingPunct="1">
              <a:lnSpc>
                <a:spcPct val="100000"/>
              </a:lnSpc>
              <a:spcBef>
                <a:spcPts val="0"/>
              </a:spcBef>
              <a:spcAft>
                <a:spcPts val="600"/>
              </a:spcAft>
              <a:buClr>
                <a:srgbClr val="1C6D7D"/>
              </a:buClr>
              <a:buSzTx/>
              <a:buFont typeface="Courier New" panose="02070309020205020404" pitchFamily="49" charset="0"/>
              <a:buNone/>
              <a:tabLst/>
              <a:defRPr/>
            </a:pPr>
            <a:r>
              <a:rPr kumimoji="0" lang="en-US" sz="1333" b="1" i="0" u="none" strike="noStrike" kern="1200" cap="none" spc="0" normalizeH="0" baseline="0" noProof="0">
                <a:ln>
                  <a:noFill/>
                </a:ln>
                <a:solidFill>
                  <a:srgbClr val="1C6D7D"/>
                </a:solidFill>
                <a:effectLst/>
                <a:uLnTx/>
                <a:uFillTx/>
                <a:latin typeface="Rawline"/>
                <a:ea typeface="+mn-ea"/>
                <a:cs typeface="+mn-cs"/>
              </a:rPr>
              <a:t>How is it calculated?</a:t>
            </a:r>
          </a:p>
          <a:p>
            <a:pPr marL="0" marR="0" lvl="0" indent="0" algn="just" defTabSz="914400" rtl="0" eaLnBrk="1" fontAlgn="auto" latinLnBrk="0" hangingPunct="1">
              <a:lnSpc>
                <a:spcPct val="100000"/>
              </a:lnSpc>
              <a:spcBef>
                <a:spcPts val="0"/>
              </a:spcBef>
              <a:spcAft>
                <a:spcPts val="600"/>
              </a:spcAft>
              <a:buClr>
                <a:srgbClr val="1C6D7D"/>
              </a:buClr>
              <a:buSzTx/>
              <a:buFont typeface="Courier New" panose="02070309020205020404" pitchFamily="49" charset="0"/>
              <a:buNone/>
              <a:tabLst/>
              <a:defRPr/>
            </a:pPr>
            <a:r>
              <a:rPr kumimoji="0" lang="en-GB" sz="1333" b="0" i="0" u="none" strike="noStrike" kern="1200" cap="none" spc="0" normalizeH="0" baseline="0" noProof="0">
                <a:ln>
                  <a:noFill/>
                </a:ln>
                <a:solidFill>
                  <a:srgbClr val="263133"/>
                </a:solidFill>
                <a:effectLst/>
                <a:uLnTx/>
                <a:uFillTx/>
                <a:latin typeface="Rawline"/>
                <a:ea typeface="+mn-ea"/>
                <a:cs typeface="+mn-cs"/>
              </a:rPr>
              <a:t>In the Unspoken module, we measure and report consumer preference for each claim seen. In a separate and independent question, we ask them to rate each claim against a list of perceptions. We then infers which perceptions are most or least important, by claim, using statistical driver modelling.</a:t>
            </a:r>
          </a:p>
          <a:p>
            <a:pPr marL="0" marR="0" lvl="0" indent="0" algn="just" defTabSz="914400" rtl="0" eaLnBrk="1" fontAlgn="auto" latinLnBrk="0" hangingPunct="1">
              <a:lnSpc>
                <a:spcPct val="100000"/>
              </a:lnSpc>
              <a:spcBef>
                <a:spcPts val="0"/>
              </a:spcBef>
              <a:spcAft>
                <a:spcPts val="600"/>
              </a:spcAft>
              <a:buClr>
                <a:srgbClr val="1C6D7D"/>
              </a:buClr>
              <a:buSzTx/>
              <a:buFont typeface="Courier New" panose="02070309020205020404" pitchFamily="49" charset="0"/>
              <a:buNone/>
              <a:tabLst/>
              <a:defRPr/>
            </a:pPr>
            <a:endParaRPr kumimoji="0" lang="en-GB" sz="1333" b="0" i="0" u="none" strike="noStrike" kern="1200" cap="none" spc="0" normalizeH="0" baseline="0" noProof="0">
              <a:ln>
                <a:noFill/>
              </a:ln>
              <a:solidFill>
                <a:srgbClr val="263133"/>
              </a:solidFill>
              <a:effectLst/>
              <a:uLnTx/>
              <a:uFillTx/>
              <a:latin typeface="Rawline"/>
              <a:ea typeface="+mn-ea"/>
              <a:cs typeface="+mn-cs"/>
            </a:endParaRPr>
          </a:p>
          <a:p>
            <a:pPr marL="0" marR="0" lvl="0" indent="0" algn="just" defTabSz="914400" rtl="0" eaLnBrk="1" fontAlgn="auto" latinLnBrk="0" hangingPunct="1">
              <a:lnSpc>
                <a:spcPct val="100000"/>
              </a:lnSpc>
              <a:spcBef>
                <a:spcPts val="0"/>
              </a:spcBef>
              <a:spcAft>
                <a:spcPts val="600"/>
              </a:spcAft>
              <a:buClr>
                <a:srgbClr val="1C6D7D"/>
              </a:buClr>
              <a:buSzTx/>
              <a:buFont typeface="Courier New" panose="02070309020205020404" pitchFamily="49" charset="0"/>
              <a:buNone/>
              <a:tabLst/>
              <a:defRPr/>
            </a:pPr>
            <a:r>
              <a:rPr kumimoji="0" lang="en-GB" sz="1333" b="1" i="0" u="none" strike="noStrike" kern="1200" cap="none" spc="0" normalizeH="0" baseline="0" noProof="0">
                <a:ln>
                  <a:noFill/>
                </a:ln>
                <a:solidFill>
                  <a:srgbClr val="1C6D7D"/>
                </a:solidFill>
                <a:effectLst/>
                <a:uLnTx/>
                <a:uFillTx/>
                <a:latin typeface="Rawline"/>
                <a:ea typeface="+mn-ea"/>
                <a:cs typeface="+mn-cs"/>
              </a:rPr>
              <a:t>What does it indicate?</a:t>
            </a:r>
          </a:p>
          <a:p>
            <a:pPr marL="0" marR="0" lvl="0" indent="0" algn="just" defTabSz="914400" rtl="0" eaLnBrk="1" fontAlgn="auto" latinLnBrk="0" hangingPunct="1">
              <a:lnSpc>
                <a:spcPct val="100000"/>
              </a:lnSpc>
              <a:spcBef>
                <a:spcPts val="0"/>
              </a:spcBef>
              <a:spcAft>
                <a:spcPts val="600"/>
              </a:spcAft>
              <a:buClr>
                <a:srgbClr val="1C6D7D"/>
              </a:buClr>
              <a:buSzTx/>
              <a:buFont typeface="Courier New" panose="02070309020205020404" pitchFamily="49" charset="0"/>
              <a:buNone/>
              <a:tabLst/>
              <a:defRPr/>
            </a:pPr>
            <a:r>
              <a:rPr kumimoji="0" lang="en-GB" sz="1333" b="0" i="0" u="none" strike="noStrike" kern="1200" cap="none" spc="0" normalizeH="0" baseline="0" noProof="0">
                <a:ln>
                  <a:noFill/>
                </a:ln>
                <a:solidFill>
                  <a:srgbClr val="263133"/>
                </a:solidFill>
                <a:effectLst/>
                <a:uLnTx/>
                <a:uFillTx/>
                <a:latin typeface="Rawline"/>
                <a:ea typeface="+mn-ea"/>
                <a:cs typeface="+mn-cs"/>
              </a:rPr>
              <a:t>It is an </a:t>
            </a:r>
            <a:r>
              <a:rPr kumimoji="0" lang="en-GB" sz="1333" b="1" i="0" u="none" strike="noStrike" kern="1200" cap="none" spc="0" normalizeH="0" baseline="0" noProof="0">
                <a:ln>
                  <a:noFill/>
                </a:ln>
                <a:solidFill>
                  <a:srgbClr val="263133"/>
                </a:solidFill>
                <a:effectLst/>
                <a:uLnTx/>
                <a:uFillTx/>
                <a:latin typeface="Rawline"/>
                <a:ea typeface="+mn-ea"/>
                <a:cs typeface="+mn-cs"/>
              </a:rPr>
              <a:t>implicit measure </a:t>
            </a:r>
            <a:r>
              <a:rPr kumimoji="0" lang="en-GB" sz="1333" b="0" i="0" u="none" strike="noStrike" kern="1200" cap="none" spc="0" normalizeH="0" baseline="0" noProof="0">
                <a:ln>
                  <a:noFill/>
                </a:ln>
                <a:solidFill>
                  <a:srgbClr val="263133"/>
                </a:solidFill>
                <a:effectLst/>
                <a:uLnTx/>
                <a:uFillTx/>
                <a:latin typeface="Rawline"/>
                <a:ea typeface="+mn-ea"/>
                <a:cs typeface="+mn-cs"/>
              </a:rPr>
              <a:t>of what is important. Perceptions that are systematically and strongly linked to preference outcomes are more ‘important’.</a:t>
            </a:r>
          </a:p>
          <a:p>
            <a:pPr marL="0" marR="0" lvl="0" indent="0" algn="just" defTabSz="914400" rtl="0" eaLnBrk="1" fontAlgn="auto" latinLnBrk="0" hangingPunct="1">
              <a:lnSpc>
                <a:spcPct val="100000"/>
              </a:lnSpc>
              <a:spcBef>
                <a:spcPts val="0"/>
              </a:spcBef>
              <a:spcAft>
                <a:spcPts val="600"/>
              </a:spcAft>
              <a:buClr>
                <a:srgbClr val="1C6D7D"/>
              </a:buClr>
              <a:buSzTx/>
              <a:buFont typeface="Courier New" panose="02070309020205020404" pitchFamily="49" charset="0"/>
              <a:buNone/>
              <a:tabLst/>
              <a:defRPr/>
            </a:pPr>
            <a:endParaRPr kumimoji="0" lang="en-GB" sz="1333" b="0" i="0" u="none" strike="noStrike" kern="1200" cap="none" spc="0" normalizeH="0" baseline="0" noProof="0">
              <a:ln>
                <a:noFill/>
              </a:ln>
              <a:solidFill>
                <a:srgbClr val="263133"/>
              </a:solidFill>
              <a:effectLst/>
              <a:uLnTx/>
              <a:uFillTx/>
              <a:latin typeface="Rawline"/>
              <a:ea typeface="+mn-ea"/>
              <a:cs typeface="+mn-cs"/>
            </a:endParaRPr>
          </a:p>
          <a:p>
            <a:pPr marL="0" marR="0" lvl="0" indent="0" algn="just" defTabSz="914400" rtl="0" eaLnBrk="1" fontAlgn="auto" latinLnBrk="0" hangingPunct="1">
              <a:lnSpc>
                <a:spcPct val="100000"/>
              </a:lnSpc>
              <a:spcBef>
                <a:spcPts val="0"/>
              </a:spcBef>
              <a:spcAft>
                <a:spcPts val="600"/>
              </a:spcAft>
              <a:buClr>
                <a:srgbClr val="1C6D7D"/>
              </a:buClr>
              <a:buSzTx/>
              <a:buFont typeface="Courier New" panose="02070309020205020404" pitchFamily="49" charset="0"/>
              <a:buNone/>
              <a:tabLst/>
              <a:defRPr/>
            </a:pPr>
            <a:r>
              <a:rPr kumimoji="0" lang="en-GB" sz="1333" b="0" i="0" u="none" strike="noStrike" kern="1200" cap="none" spc="0" normalizeH="0" baseline="0" noProof="0">
                <a:ln>
                  <a:noFill/>
                </a:ln>
                <a:solidFill>
                  <a:srgbClr val="1C6D7D"/>
                </a:solidFill>
                <a:effectLst/>
                <a:uLnTx/>
                <a:uFillTx/>
                <a:latin typeface="Rawline"/>
                <a:ea typeface="+mn-ea"/>
                <a:cs typeface="+mn-cs"/>
              </a:rPr>
              <a:t>It is vital to consider in parallel with stated importance because </a:t>
            </a:r>
            <a:r>
              <a:rPr lang="en-GB" sz="1333">
                <a:solidFill>
                  <a:srgbClr val="1C6D7D"/>
                </a:solidFill>
                <a:latin typeface="Rawline"/>
              </a:rPr>
              <a:t>perceptions</a:t>
            </a:r>
            <a:r>
              <a:rPr kumimoji="0" lang="en-GB" sz="1333" b="0" i="0" u="none" strike="noStrike" kern="1200" cap="none" spc="0" normalizeH="0" baseline="0" noProof="0">
                <a:ln>
                  <a:noFill/>
                </a:ln>
                <a:solidFill>
                  <a:srgbClr val="1C6D7D"/>
                </a:solidFill>
                <a:effectLst/>
                <a:uLnTx/>
                <a:uFillTx/>
                <a:latin typeface="Rawline"/>
                <a:ea typeface="+mn-ea"/>
                <a:cs typeface="+mn-cs"/>
              </a:rPr>
              <a:t> that are consistently low scoring across all claims may </a:t>
            </a:r>
            <a:r>
              <a:rPr kumimoji="0" lang="en-GB" sz="1333" b="0" i="1" u="none" strike="noStrike" kern="1200" cap="none" spc="0" normalizeH="0" baseline="0" noProof="0">
                <a:ln>
                  <a:noFill/>
                </a:ln>
                <a:solidFill>
                  <a:srgbClr val="1C6D7D"/>
                </a:solidFill>
                <a:effectLst/>
                <a:uLnTx/>
                <a:uFillTx/>
                <a:latin typeface="Rawline"/>
                <a:ea typeface="+mn-ea"/>
                <a:cs typeface="+mn-cs"/>
              </a:rPr>
              <a:t>appear</a:t>
            </a:r>
            <a:r>
              <a:rPr kumimoji="0" lang="en-GB" sz="1333" b="0" i="0" u="none" strike="noStrike" kern="1200" cap="none" spc="0" normalizeH="0" baseline="0" noProof="0">
                <a:ln>
                  <a:noFill/>
                </a:ln>
                <a:solidFill>
                  <a:srgbClr val="1C6D7D"/>
                </a:solidFill>
                <a:effectLst/>
                <a:uLnTx/>
                <a:uFillTx/>
                <a:latin typeface="Rawline"/>
                <a:ea typeface="+mn-ea"/>
                <a:cs typeface="+mn-cs"/>
              </a:rPr>
              <a:t> ‘unimportant’. Strong explicit performance of these </a:t>
            </a:r>
            <a:r>
              <a:rPr lang="en-GB" sz="1333">
                <a:solidFill>
                  <a:srgbClr val="1C6D7D"/>
                </a:solidFill>
                <a:latin typeface="Rawline"/>
              </a:rPr>
              <a:t>perceptions</a:t>
            </a:r>
            <a:r>
              <a:rPr kumimoji="0" lang="en-GB" sz="1333" b="0" i="0" u="none" strike="noStrike" kern="1200" cap="none" spc="0" normalizeH="0" baseline="0" noProof="0">
                <a:ln>
                  <a:noFill/>
                </a:ln>
                <a:solidFill>
                  <a:srgbClr val="1C6D7D"/>
                </a:solidFill>
                <a:effectLst/>
                <a:uLnTx/>
                <a:uFillTx/>
                <a:latin typeface="Rawline"/>
                <a:ea typeface="+mn-ea"/>
                <a:cs typeface="+mn-cs"/>
              </a:rPr>
              <a:t> may indicate a gap between consumer expectations and </a:t>
            </a:r>
            <a:r>
              <a:rPr lang="en-GB" sz="1333">
                <a:solidFill>
                  <a:srgbClr val="1C6D7D"/>
                </a:solidFill>
                <a:latin typeface="Rawline"/>
              </a:rPr>
              <a:t>how the claim is really performing</a:t>
            </a:r>
            <a:r>
              <a:rPr kumimoji="0" lang="en-GB" sz="1333" b="0" i="0" u="none" strike="noStrike" kern="1200" cap="none" spc="0" normalizeH="0" baseline="0" noProof="0">
                <a:ln>
                  <a:noFill/>
                </a:ln>
                <a:solidFill>
                  <a:srgbClr val="1C6D7D"/>
                </a:solidFill>
                <a:effectLst/>
                <a:uLnTx/>
                <a:uFillTx/>
                <a:latin typeface="Rawline"/>
                <a:ea typeface="+mn-ea"/>
                <a:cs typeface="+mn-cs"/>
              </a:rPr>
              <a:t>.</a:t>
            </a:r>
          </a:p>
          <a:p>
            <a:pPr marL="0" marR="0" lvl="0" indent="0" algn="l" defTabSz="914400" rtl="0" eaLnBrk="1" fontAlgn="auto" latinLnBrk="0" hangingPunct="1">
              <a:lnSpc>
                <a:spcPct val="150000"/>
              </a:lnSpc>
              <a:spcBef>
                <a:spcPts val="0"/>
              </a:spcBef>
              <a:spcAft>
                <a:spcPts val="1000"/>
              </a:spcAft>
              <a:buClr>
                <a:srgbClr val="1C6D7D"/>
              </a:buClr>
              <a:buSzTx/>
              <a:buFont typeface="Courier New" panose="02070309020205020404" pitchFamily="49" charset="0"/>
              <a:buNone/>
              <a:tabLst/>
              <a:defRPr/>
            </a:pPr>
            <a:endParaRPr kumimoji="0" lang="en-US" sz="1600" b="0" i="0" u="none" strike="noStrike" kern="1200" cap="none" spc="0" normalizeH="0" baseline="0" noProof="0">
              <a:ln>
                <a:noFill/>
              </a:ln>
              <a:solidFill>
                <a:srgbClr val="1C6D7D"/>
              </a:solidFill>
              <a:effectLst/>
              <a:uLnTx/>
              <a:uFillTx/>
              <a:latin typeface="Rawline"/>
              <a:ea typeface="+mn-ea"/>
              <a:cs typeface="+mn-cs"/>
            </a:endParaRPr>
          </a:p>
        </p:txBody>
      </p:sp>
      <p:sp>
        <p:nvSpPr>
          <p:cNvPr id="8" name="Content Placeholder 1">
            <a:extLst>
              <a:ext uri="{FF2B5EF4-FFF2-40B4-BE49-F238E27FC236}">
                <a16:creationId xmlns:a16="http://schemas.microsoft.com/office/drawing/2014/main" id="{E570EE5A-CA99-4037-8432-A36E4F016C7B}"/>
              </a:ext>
            </a:extLst>
          </p:cNvPr>
          <p:cNvSpPr txBox="1">
            <a:spLocks/>
          </p:cNvSpPr>
          <p:nvPr/>
        </p:nvSpPr>
        <p:spPr>
          <a:xfrm>
            <a:off x="702837" y="2121354"/>
            <a:ext cx="4798159" cy="3783369"/>
          </a:xfrm>
          <a:prstGeom prst="rect">
            <a:avLst/>
          </a:prstGeom>
        </p:spPr>
        <p:txBody>
          <a:bodyPr vert="horz" lIns="0" tIns="0" rIns="0" bIns="0" rtlCol="0">
            <a:noAutofit/>
          </a:bodyPr>
          <a:lstStyle>
            <a:lvl1pPr marL="216000" indent="-216000" algn="l" defTabSz="685800" rtl="0" eaLnBrk="1" latinLnBrk="0" hangingPunct="1">
              <a:lnSpc>
                <a:spcPct val="120000"/>
              </a:lnSpc>
              <a:spcBef>
                <a:spcPts val="0"/>
              </a:spcBef>
              <a:spcAft>
                <a:spcPts val="0"/>
              </a:spcAft>
              <a:buClr>
                <a:srgbClr val="1C6D7D"/>
              </a:buClr>
              <a:buSzPct val="100000"/>
              <a:buFont typeface="Courier New" panose="02070309020205020404" pitchFamily="49" charset="0"/>
              <a:buChar char="o"/>
              <a:defRPr sz="1400" kern="1200" baseline="0">
                <a:solidFill>
                  <a:schemeClr val="tx1">
                    <a:lumMod val="75000"/>
                    <a:lumOff val="25000"/>
                  </a:schemeClr>
                </a:solidFill>
                <a:latin typeface="Raleway" panose="020B0503030101060003" pitchFamily="34" charset="0"/>
                <a:ea typeface="+mn-ea"/>
                <a:cs typeface="+mn-cs"/>
              </a:defRPr>
            </a:lvl1pPr>
            <a:lvl2pPr marL="432000" indent="-216000" algn="l" defTabSz="685800" rtl="0" eaLnBrk="1" latinLnBrk="0" hangingPunct="1">
              <a:lnSpc>
                <a:spcPct val="120000"/>
              </a:lnSpc>
              <a:spcBef>
                <a:spcPts val="0"/>
              </a:spcBef>
              <a:spcAft>
                <a:spcPts val="0"/>
              </a:spcAft>
              <a:buClr>
                <a:schemeClr val="tx2"/>
              </a:buClr>
              <a:buSzPct val="100000"/>
              <a:buFont typeface="Courier New" panose="02070309020205020404" pitchFamily="49" charset="0"/>
              <a:buChar char="o"/>
              <a:defRPr sz="1200" kern="1200" baseline="0">
                <a:solidFill>
                  <a:schemeClr val="tx1">
                    <a:lumMod val="75000"/>
                    <a:lumOff val="25000"/>
                  </a:schemeClr>
                </a:solidFill>
                <a:latin typeface="Raleway" panose="020B0503030101060003" pitchFamily="34" charset="0"/>
                <a:ea typeface="+mn-ea"/>
                <a:cs typeface="+mn-cs"/>
              </a:defRPr>
            </a:lvl2pPr>
            <a:lvl3pPr marL="648000" indent="-216000" algn="l" defTabSz="685800" rtl="0" eaLnBrk="1" latinLnBrk="0" hangingPunct="1">
              <a:lnSpc>
                <a:spcPct val="120000"/>
              </a:lnSpc>
              <a:spcBef>
                <a:spcPts val="0"/>
              </a:spcBef>
              <a:spcAft>
                <a:spcPts val="0"/>
              </a:spcAft>
              <a:buClr>
                <a:srgbClr val="1C6D7D"/>
              </a:buClr>
              <a:buSzPct val="140000"/>
              <a:buFont typeface="Arial" panose="020B0604020202020204" pitchFamily="34" charset="0"/>
              <a:buChar char="•"/>
              <a:defRPr lang="en-US" sz="1200" kern="1200" noProof="0">
                <a:solidFill>
                  <a:schemeClr val="tx1">
                    <a:lumMod val="75000"/>
                    <a:lumOff val="25000"/>
                  </a:schemeClr>
                </a:solidFill>
                <a:latin typeface="Raleway" panose="020B0503030101060003" pitchFamily="34" charset="0"/>
                <a:ea typeface="+mn-ea"/>
                <a:cs typeface="+mn-cs"/>
              </a:defRPr>
            </a:lvl3pPr>
            <a:lvl4pPr marL="648000" indent="-216000" algn="l" defTabSz="685800" rtl="0" eaLnBrk="1" latinLnBrk="0" hangingPunct="1">
              <a:lnSpc>
                <a:spcPct val="120000"/>
              </a:lnSpc>
              <a:spcBef>
                <a:spcPts val="0"/>
              </a:spcBef>
              <a:spcAft>
                <a:spcPts val="0"/>
              </a:spcAft>
              <a:buClr>
                <a:srgbClr val="1C6D7D"/>
              </a:buClr>
              <a:buSzPct val="140000"/>
              <a:buFont typeface="Arial" panose="020B0604020202020204" pitchFamily="34" charset="0"/>
              <a:buChar char="•"/>
              <a:defRPr sz="1200" kern="1200" baseline="0">
                <a:solidFill>
                  <a:schemeClr val="tx1">
                    <a:lumMod val="75000"/>
                    <a:lumOff val="25000"/>
                  </a:schemeClr>
                </a:solidFill>
                <a:latin typeface="Raleway" panose="020B0503030101060003" pitchFamily="34" charset="0"/>
                <a:ea typeface="+mn-ea"/>
                <a:cs typeface="+mn-cs"/>
              </a:defRPr>
            </a:lvl4pPr>
            <a:lvl5pPr marL="648000" indent="-216000" algn="l" defTabSz="685800" rtl="0" eaLnBrk="1" latinLnBrk="0" hangingPunct="1">
              <a:lnSpc>
                <a:spcPct val="120000"/>
              </a:lnSpc>
              <a:spcBef>
                <a:spcPts val="0"/>
              </a:spcBef>
              <a:spcAft>
                <a:spcPts val="0"/>
              </a:spcAft>
              <a:buClr>
                <a:srgbClr val="1C6D7D"/>
              </a:buClr>
              <a:buSzPct val="140000"/>
              <a:buFont typeface="Arial" panose="020B0604020202020204" pitchFamily="34" charset="0"/>
              <a:buChar char="•"/>
              <a:defRPr sz="1200" kern="1200">
                <a:solidFill>
                  <a:schemeClr val="tx1">
                    <a:lumMod val="75000"/>
                    <a:lumOff val="25000"/>
                  </a:schemeClr>
                </a:solidFill>
                <a:latin typeface="Raleway" panose="020B0503030101060003" pitchFamily="34" charset="0"/>
                <a:ea typeface="+mn-ea"/>
                <a:cs typeface="+mn-cs"/>
              </a:defRPr>
            </a:lvl5pPr>
            <a:lvl6pPr marL="648000" indent="-216000" algn="l" defTabSz="685800" rtl="0" eaLnBrk="1" latinLnBrk="0" hangingPunct="1">
              <a:lnSpc>
                <a:spcPct val="120000"/>
              </a:lnSpc>
              <a:spcBef>
                <a:spcPts val="0"/>
              </a:spcBef>
              <a:spcAft>
                <a:spcPts val="0"/>
              </a:spcAft>
              <a:buClr>
                <a:srgbClr val="1C6D7D"/>
              </a:buClr>
              <a:buSzPct val="140000"/>
              <a:buFont typeface="Arial" panose="020B0604020202020204" pitchFamily="34" charset="0"/>
              <a:buChar char="•"/>
              <a:defRPr sz="1200" kern="1200">
                <a:solidFill>
                  <a:schemeClr val="tx1">
                    <a:lumMod val="75000"/>
                    <a:lumOff val="25000"/>
                  </a:schemeClr>
                </a:solidFill>
                <a:latin typeface="Raleway" panose="020B0503030101060003" pitchFamily="34" charset="0"/>
                <a:ea typeface="+mn-ea"/>
                <a:cs typeface="+mn-cs"/>
              </a:defRPr>
            </a:lvl6pPr>
            <a:lvl7pPr marL="648000" indent="-216000" algn="l" defTabSz="685800" rtl="0" eaLnBrk="1" latinLnBrk="0" hangingPunct="1">
              <a:lnSpc>
                <a:spcPct val="120000"/>
              </a:lnSpc>
              <a:spcBef>
                <a:spcPts val="0"/>
              </a:spcBef>
              <a:spcAft>
                <a:spcPts val="0"/>
              </a:spcAft>
              <a:buClr>
                <a:srgbClr val="1C6D7D"/>
              </a:buClr>
              <a:buSzPct val="140000"/>
              <a:buFont typeface="Arial" panose="020B0604020202020204" pitchFamily="34" charset="0"/>
              <a:buChar char="•"/>
              <a:defRPr sz="1200" kern="1200">
                <a:solidFill>
                  <a:schemeClr val="tx1">
                    <a:lumMod val="75000"/>
                    <a:lumOff val="25000"/>
                  </a:schemeClr>
                </a:solidFill>
                <a:latin typeface="Raleway" panose="020B0503030101060003" pitchFamily="34" charset="0"/>
                <a:ea typeface="+mn-ea"/>
                <a:cs typeface="+mn-cs"/>
              </a:defRPr>
            </a:lvl7pPr>
            <a:lvl8pPr marL="648000" indent="-216000" algn="l" defTabSz="685800" rtl="0" eaLnBrk="1" latinLnBrk="0" hangingPunct="1">
              <a:lnSpc>
                <a:spcPct val="120000"/>
              </a:lnSpc>
              <a:spcBef>
                <a:spcPts val="0"/>
              </a:spcBef>
              <a:spcAft>
                <a:spcPts val="0"/>
              </a:spcAft>
              <a:buClr>
                <a:srgbClr val="1C6D7D"/>
              </a:buClr>
              <a:buSzPct val="140000"/>
              <a:buFont typeface="Arial" panose="020B0604020202020204" pitchFamily="34" charset="0"/>
              <a:buChar char="•"/>
              <a:defRPr sz="1200" kern="1200">
                <a:solidFill>
                  <a:schemeClr val="tx1">
                    <a:lumMod val="75000"/>
                    <a:lumOff val="25000"/>
                  </a:schemeClr>
                </a:solidFill>
                <a:latin typeface="Raleway" panose="020B0503030101060003" pitchFamily="34" charset="0"/>
                <a:ea typeface="+mn-ea"/>
                <a:cs typeface="+mn-cs"/>
              </a:defRPr>
            </a:lvl8pPr>
            <a:lvl9pPr marL="648000" indent="-216000" algn="l" defTabSz="685800" rtl="0" eaLnBrk="1" latinLnBrk="0" hangingPunct="1">
              <a:lnSpc>
                <a:spcPct val="120000"/>
              </a:lnSpc>
              <a:spcBef>
                <a:spcPts val="0"/>
              </a:spcBef>
              <a:spcAft>
                <a:spcPts val="0"/>
              </a:spcAft>
              <a:buClr>
                <a:srgbClr val="1C6D7D"/>
              </a:buClr>
              <a:buSzPct val="140000"/>
              <a:buFont typeface="Arial" panose="020B0604020202020204" pitchFamily="34" charset="0"/>
              <a:buChar char="•"/>
              <a:defRPr sz="1200" kern="1200">
                <a:solidFill>
                  <a:schemeClr val="tx1">
                    <a:lumMod val="75000"/>
                    <a:lumOff val="25000"/>
                  </a:schemeClr>
                </a:solidFill>
                <a:latin typeface="Raleway" panose="020B0503030101060003" pitchFamily="34" charset="0"/>
                <a:ea typeface="+mn-ea"/>
                <a:cs typeface="+mn-cs"/>
              </a:defRPr>
            </a:lvl9pPr>
          </a:lstStyle>
          <a:p>
            <a:pPr marL="0" marR="0" lvl="0" indent="0" algn="just" defTabSz="685800" rtl="0" eaLnBrk="1" fontAlgn="auto" latinLnBrk="0" hangingPunct="1">
              <a:lnSpc>
                <a:spcPct val="100000"/>
              </a:lnSpc>
              <a:spcBef>
                <a:spcPts val="0"/>
              </a:spcBef>
              <a:spcAft>
                <a:spcPts val="0"/>
              </a:spcAft>
              <a:buClr>
                <a:srgbClr val="1C6D7D"/>
              </a:buClr>
              <a:buSzPct val="100000"/>
              <a:buFont typeface="Courier New" panose="02070309020205020404" pitchFamily="49" charset="0"/>
              <a:buNone/>
              <a:tabLst/>
              <a:defRPr/>
            </a:pPr>
            <a:endParaRPr kumimoji="0" lang="en-GB" sz="1333" b="0" i="0" u="none" strike="noStrike" kern="1200" cap="none" spc="0" normalizeH="0" baseline="0" noProof="0">
              <a:ln>
                <a:noFill/>
              </a:ln>
              <a:solidFill>
                <a:srgbClr val="FF9933"/>
              </a:solidFill>
              <a:effectLst/>
              <a:uLnTx/>
              <a:uFillTx/>
              <a:latin typeface="Rawline" panose="00000500000000000000" pitchFamily="2" charset="0"/>
              <a:ea typeface="+mn-ea"/>
              <a:cs typeface="+mn-cs"/>
            </a:endParaRPr>
          </a:p>
        </p:txBody>
      </p:sp>
      <p:sp>
        <p:nvSpPr>
          <p:cNvPr id="3" name="Slide Number Placeholder 2">
            <a:extLst>
              <a:ext uri="{FF2B5EF4-FFF2-40B4-BE49-F238E27FC236}">
                <a16:creationId xmlns:a16="http://schemas.microsoft.com/office/drawing/2014/main" id="{FD531E83-C14F-B969-540B-2C00CFC347EE}"/>
              </a:ext>
            </a:extLst>
          </p:cNvPr>
          <p:cNvSpPr>
            <a:spLocks noGrp="1"/>
          </p:cNvSpPr>
          <p:nvPr>
            <p:ph type="sldNum" sz="quarter" idx="4"/>
          </p:nvPr>
        </p:nvSpPr>
        <p:spPr/>
        <p:txBody>
          <a:bodyPr/>
          <a:lstStyle/>
          <a:p>
            <a:pPr marL="0" marR="0" lvl="0" indent="-288000" algn="l" defTabSz="914400" rtl="0" eaLnBrk="1" fontAlgn="auto" latinLnBrk="0" hangingPunct="1">
              <a:lnSpc>
                <a:spcPct val="150000"/>
              </a:lnSpc>
              <a:spcBef>
                <a:spcPts val="0"/>
              </a:spcBef>
              <a:spcAft>
                <a:spcPts val="0"/>
              </a:spcAft>
              <a:buClrTx/>
              <a:buSzTx/>
              <a:buFontTx/>
              <a:buNone/>
              <a:tabLst/>
              <a:defRPr/>
            </a:pPr>
            <a:fld id="{B592C3DA-96A1-4E84-9171-AC4C91AB4FEA}" type="slidenum">
              <a:rPr kumimoji="0" lang="en-US" sz="800" b="0" i="0" u="none" strike="noStrike" kern="1200" cap="none" spc="0" normalizeH="0" baseline="0" noProof="0" smtClean="0">
                <a:ln>
                  <a:noFill/>
                </a:ln>
                <a:solidFill>
                  <a:srgbClr val="1C6D7D"/>
                </a:solidFill>
                <a:effectLst/>
                <a:uLnTx/>
                <a:uFillTx/>
                <a:latin typeface="Rawline"/>
                <a:ea typeface="+mn-ea"/>
                <a:cs typeface="+mn-cs"/>
              </a:rPr>
              <a:pPr marL="0" marR="0" lvl="0" indent="-288000" algn="l" defTabSz="914400" rtl="0" eaLnBrk="1" fontAlgn="auto" latinLnBrk="0" hangingPunct="1">
                <a:lnSpc>
                  <a:spcPct val="150000"/>
                </a:lnSpc>
                <a:spcBef>
                  <a:spcPts val="0"/>
                </a:spcBef>
                <a:spcAft>
                  <a:spcPts val="0"/>
                </a:spcAft>
                <a:buClrTx/>
                <a:buSzTx/>
                <a:buFontTx/>
                <a:buNone/>
                <a:tabLst/>
                <a:defRPr/>
              </a:pPr>
              <a:t>36</a:t>
            </a:fld>
            <a:endParaRPr kumimoji="0" lang="en-US" sz="800" b="0" i="0" u="none" strike="noStrike" kern="1200" cap="none" spc="0" normalizeH="0" baseline="0" noProof="0">
              <a:ln>
                <a:noFill/>
              </a:ln>
              <a:solidFill>
                <a:srgbClr val="1C6D7D"/>
              </a:solidFill>
              <a:effectLst/>
              <a:uLnTx/>
              <a:uFillTx/>
              <a:latin typeface="Rawline"/>
              <a:ea typeface="+mn-ea"/>
              <a:cs typeface="+mn-cs"/>
            </a:endParaRPr>
          </a:p>
        </p:txBody>
      </p:sp>
    </p:spTree>
    <p:extLst>
      <p:ext uri="{BB962C8B-B14F-4D97-AF65-F5344CB8AC3E}">
        <p14:creationId xmlns:p14="http://schemas.microsoft.com/office/powerpoint/2010/main" val="588954215"/>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DAA0793-4335-544B-70C8-28A865CCA051}"/>
              </a:ext>
            </a:extLst>
          </p:cNvPr>
          <p:cNvSpPr>
            <a:spLocks noGrp="1"/>
          </p:cNvSpPr>
          <p:nvPr>
            <p:ph type="title"/>
          </p:nvPr>
        </p:nvSpPr>
        <p:spPr/>
        <p:txBody>
          <a:bodyPr/>
          <a:lstStyle/>
          <a:p>
            <a:r>
              <a:rPr lang="en-GB" sz="2667">
                <a:latin typeface="+mj-lt"/>
              </a:rPr>
              <a:t>Shapley values regression</a:t>
            </a:r>
            <a:endParaRPr lang="en-US" sz="2667">
              <a:latin typeface="+mj-lt"/>
            </a:endParaRPr>
          </a:p>
        </p:txBody>
      </p:sp>
      <p:sp>
        <p:nvSpPr>
          <p:cNvPr id="3" name="Slide Number Placeholder 2">
            <a:extLst>
              <a:ext uri="{FF2B5EF4-FFF2-40B4-BE49-F238E27FC236}">
                <a16:creationId xmlns:a16="http://schemas.microsoft.com/office/drawing/2014/main" id="{B8A25BDF-FC07-0F17-8DA1-77C70DB6B413}"/>
              </a:ext>
            </a:extLst>
          </p:cNvPr>
          <p:cNvSpPr>
            <a:spLocks noGrp="1"/>
          </p:cNvSpPr>
          <p:nvPr>
            <p:ph type="sldNum" sz="quarter" idx="4"/>
          </p:nvPr>
        </p:nvSpPr>
        <p:spPr/>
        <p:txBody>
          <a:bodyPr/>
          <a:lstStyle/>
          <a:p>
            <a:pPr marL="0" marR="0" lvl="0" indent="0" algn="l" defTabSz="914377" rtl="0" eaLnBrk="1" fontAlgn="auto" latinLnBrk="0" hangingPunct="1">
              <a:lnSpc>
                <a:spcPct val="100000"/>
              </a:lnSpc>
              <a:spcBef>
                <a:spcPts val="0"/>
              </a:spcBef>
              <a:spcAft>
                <a:spcPts val="0"/>
              </a:spcAft>
              <a:buClrTx/>
              <a:buSzTx/>
              <a:buFontTx/>
              <a:buNone/>
              <a:tabLst/>
              <a:defRPr/>
            </a:pPr>
            <a:fld id="{B592C3DA-96A1-4E84-9171-AC4C91AB4FEA}" type="slidenum">
              <a:rPr kumimoji="0" lang="en-US" sz="800" b="0" i="0" u="none" strike="noStrike" kern="1200" cap="none" spc="0" normalizeH="0" baseline="0" noProof="0">
                <a:ln>
                  <a:noFill/>
                </a:ln>
                <a:solidFill>
                  <a:srgbClr val="1C6D7D"/>
                </a:solidFill>
                <a:effectLst/>
                <a:uLnTx/>
                <a:uFillTx/>
                <a:latin typeface="Segoe UI Semilight" panose="020B0402040204020203" pitchFamily="34" charset="0"/>
                <a:ea typeface="+mn-ea"/>
                <a:cs typeface="+mn-cs"/>
              </a:rPr>
              <a:pPr marL="0" marR="0" lvl="0" indent="0" algn="l" defTabSz="914377" rtl="0" eaLnBrk="1" fontAlgn="auto" latinLnBrk="0" hangingPunct="1">
                <a:lnSpc>
                  <a:spcPct val="100000"/>
                </a:lnSpc>
                <a:spcBef>
                  <a:spcPts val="0"/>
                </a:spcBef>
                <a:spcAft>
                  <a:spcPts val="0"/>
                </a:spcAft>
                <a:buClrTx/>
                <a:buSzTx/>
                <a:buFontTx/>
                <a:buNone/>
                <a:tabLst/>
                <a:defRPr/>
              </a:pPr>
              <a:t>37</a:t>
            </a:fld>
            <a:endParaRPr kumimoji="0" lang="en-US" sz="800" b="0" i="0" u="none" strike="noStrike" kern="1200" cap="none" spc="0" normalizeH="0" baseline="0" noProof="0">
              <a:ln>
                <a:noFill/>
              </a:ln>
              <a:solidFill>
                <a:srgbClr val="1C6D7D"/>
              </a:solidFill>
              <a:effectLst/>
              <a:uLnTx/>
              <a:uFillTx/>
              <a:latin typeface="Segoe UI Semilight" panose="020B0402040204020203" pitchFamily="34" charset="0"/>
              <a:ea typeface="+mn-ea"/>
              <a:cs typeface="+mn-cs"/>
            </a:endParaRPr>
          </a:p>
        </p:txBody>
      </p:sp>
      <p:sp>
        <p:nvSpPr>
          <p:cNvPr id="4" name="Text Placeholder 3">
            <a:extLst>
              <a:ext uri="{FF2B5EF4-FFF2-40B4-BE49-F238E27FC236}">
                <a16:creationId xmlns:a16="http://schemas.microsoft.com/office/drawing/2014/main" id="{C960515C-89D8-6131-B418-4424EA05B631}"/>
              </a:ext>
            </a:extLst>
          </p:cNvPr>
          <p:cNvSpPr>
            <a:spLocks noGrp="1"/>
          </p:cNvSpPr>
          <p:nvPr>
            <p:ph type="body" idx="1"/>
          </p:nvPr>
        </p:nvSpPr>
        <p:spPr>
          <a:xfrm>
            <a:off x="504000" y="1225076"/>
            <a:ext cx="5592001" cy="1152431"/>
          </a:xfrm>
        </p:spPr>
        <p:txBody>
          <a:bodyPr/>
          <a:lstStyle/>
          <a:p>
            <a:r>
              <a:rPr lang="en-GB" sz="1600">
                <a:latin typeface="+mj-lt"/>
              </a:rPr>
              <a:t>For each independent variable (perception) we measure the strength of the direct relationship between itself and the dependent (Unspoken preference) after stripping out its relationship between the other independent variables</a:t>
            </a:r>
          </a:p>
        </p:txBody>
      </p:sp>
      <p:sp>
        <p:nvSpPr>
          <p:cNvPr id="5" name="Text Placeholder 4">
            <a:extLst>
              <a:ext uri="{FF2B5EF4-FFF2-40B4-BE49-F238E27FC236}">
                <a16:creationId xmlns:a16="http://schemas.microsoft.com/office/drawing/2014/main" id="{DAE7F551-3CCA-EB17-0E8A-C0B5CEB27699}"/>
              </a:ext>
            </a:extLst>
          </p:cNvPr>
          <p:cNvSpPr>
            <a:spLocks noGrp="1"/>
          </p:cNvSpPr>
          <p:nvPr>
            <p:ph type="body" idx="16"/>
          </p:nvPr>
        </p:nvSpPr>
        <p:spPr>
          <a:xfrm>
            <a:off x="6540000" y="1225076"/>
            <a:ext cx="5040000" cy="1142492"/>
          </a:xfrm>
        </p:spPr>
        <p:txBody>
          <a:bodyPr/>
          <a:lstStyle/>
          <a:p>
            <a:r>
              <a:rPr lang="en-GB" sz="2133">
                <a:latin typeface="+mj-lt"/>
              </a:rPr>
              <a:t>Results – quantification of the most to least important perceptions for each claim</a:t>
            </a:r>
          </a:p>
        </p:txBody>
      </p:sp>
      <p:graphicFrame>
        <p:nvGraphicFramePr>
          <p:cNvPr id="11" name="Content Placeholder 9">
            <a:extLst>
              <a:ext uri="{FF2B5EF4-FFF2-40B4-BE49-F238E27FC236}">
                <a16:creationId xmlns:a16="http://schemas.microsoft.com/office/drawing/2014/main" id="{3356A6D7-9867-A9E9-B0A1-D205B08308CF}"/>
              </a:ext>
            </a:extLst>
          </p:cNvPr>
          <p:cNvGraphicFramePr>
            <a:graphicFrameLocks noGrp="1"/>
          </p:cNvGraphicFramePr>
          <p:nvPr>
            <p:ph sz="quarter" idx="18"/>
            <p:extLst>
              <p:ext uri="{D42A27DB-BD31-4B8C-83A1-F6EECF244321}">
                <p14:modId xmlns:p14="http://schemas.microsoft.com/office/powerpoint/2010/main" val="1360349618"/>
              </p:ext>
            </p:extLst>
          </p:nvPr>
        </p:nvGraphicFramePr>
        <p:xfrm>
          <a:off x="6251511" y="2422526"/>
          <a:ext cx="5738328" cy="3938588"/>
        </p:xfrm>
        <a:graphic>
          <a:graphicData uri="http://schemas.openxmlformats.org/drawingml/2006/chart">
            <c:chart xmlns:c="http://schemas.openxmlformats.org/drawingml/2006/chart" xmlns:r="http://schemas.openxmlformats.org/officeDocument/2006/relationships" r:id="rId3"/>
          </a:graphicData>
        </a:graphic>
      </p:graphicFrame>
      <p:pic>
        <p:nvPicPr>
          <p:cNvPr id="10" name="Content Placeholder 9" descr="Graphical user interface, application&#10;&#10;Description automatically generated">
            <a:extLst>
              <a:ext uri="{FF2B5EF4-FFF2-40B4-BE49-F238E27FC236}">
                <a16:creationId xmlns:a16="http://schemas.microsoft.com/office/drawing/2014/main" id="{CE383488-F93F-25F2-FD4D-9D61EAB25826}"/>
              </a:ext>
            </a:extLst>
          </p:cNvPr>
          <p:cNvPicPr>
            <a:picLocks noGrp="1" noChangeAspect="1"/>
          </p:cNvPicPr>
          <p:nvPr>
            <p:ph sz="quarter" idx="17"/>
          </p:nvPr>
        </p:nvPicPr>
        <p:blipFill>
          <a:blip r:embed="rId4">
            <a:extLst>
              <a:ext uri="{28A0092B-C50C-407E-A947-70E740481C1C}">
                <a14:useLocalDpi xmlns:a14="http://schemas.microsoft.com/office/drawing/2010/main" val="0"/>
              </a:ext>
            </a:extLst>
          </a:blip>
          <a:stretch>
            <a:fillRect/>
          </a:stretch>
        </p:blipFill>
        <p:spPr>
          <a:xfrm>
            <a:off x="674517" y="2617973"/>
            <a:ext cx="4698283" cy="3550339"/>
          </a:xfrm>
        </p:spPr>
      </p:pic>
    </p:spTree>
    <p:extLst>
      <p:ext uri="{BB962C8B-B14F-4D97-AF65-F5344CB8AC3E}">
        <p14:creationId xmlns:p14="http://schemas.microsoft.com/office/powerpoint/2010/main" val="3079531762"/>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78B27D9B-27B5-4F34-8207-B8365467E625}"/>
              </a:ext>
            </a:extLst>
          </p:cNvPr>
          <p:cNvSpPr>
            <a:spLocks noGrp="1"/>
          </p:cNvSpPr>
          <p:nvPr>
            <p:ph type="body" idx="1"/>
          </p:nvPr>
        </p:nvSpPr>
        <p:spPr/>
        <p:txBody>
          <a:bodyPr/>
          <a:lstStyle/>
          <a:p>
            <a:r>
              <a:rPr lang="en-US"/>
              <a:t>How to interpret the results</a:t>
            </a:r>
          </a:p>
        </p:txBody>
      </p:sp>
      <p:sp>
        <p:nvSpPr>
          <p:cNvPr id="4" name="Title 3">
            <a:extLst>
              <a:ext uri="{FF2B5EF4-FFF2-40B4-BE49-F238E27FC236}">
                <a16:creationId xmlns:a16="http://schemas.microsoft.com/office/drawing/2014/main" id="{863AD480-2453-46C2-956D-ACCA46AE1713}"/>
              </a:ext>
            </a:extLst>
          </p:cNvPr>
          <p:cNvSpPr>
            <a:spLocks noGrp="1"/>
          </p:cNvSpPr>
          <p:nvPr>
            <p:ph type="title"/>
          </p:nvPr>
        </p:nvSpPr>
        <p:spPr/>
        <p:txBody>
          <a:bodyPr>
            <a:normAutofit/>
          </a:bodyPr>
          <a:lstStyle/>
          <a:p>
            <a:r>
              <a:rPr lang="en-US"/>
              <a:t>Mapping perceptions into actionable quadrants</a:t>
            </a:r>
            <a:endParaRPr lang="en-US" sz="2133">
              <a:solidFill>
                <a:schemeClr val="accent2"/>
              </a:solidFill>
            </a:endParaRPr>
          </a:p>
        </p:txBody>
      </p:sp>
      <p:grpSp>
        <p:nvGrpSpPr>
          <p:cNvPr id="3" name="Group 2">
            <a:extLst>
              <a:ext uri="{FF2B5EF4-FFF2-40B4-BE49-F238E27FC236}">
                <a16:creationId xmlns:a16="http://schemas.microsoft.com/office/drawing/2014/main" id="{5E027328-0007-4355-857B-EA5F33A1074F}"/>
              </a:ext>
            </a:extLst>
          </p:cNvPr>
          <p:cNvGrpSpPr/>
          <p:nvPr/>
        </p:nvGrpSpPr>
        <p:grpSpPr>
          <a:xfrm>
            <a:off x="360924" y="1744926"/>
            <a:ext cx="11367526" cy="4434120"/>
            <a:chOff x="360924" y="1744926"/>
            <a:chExt cx="11367526" cy="4434120"/>
          </a:xfrm>
        </p:grpSpPr>
        <p:sp>
          <p:nvSpPr>
            <p:cNvPr id="9" name="Rectangle 8">
              <a:extLst>
                <a:ext uri="{FF2B5EF4-FFF2-40B4-BE49-F238E27FC236}">
                  <a16:creationId xmlns:a16="http://schemas.microsoft.com/office/drawing/2014/main" id="{F71D3CFF-CC9A-44E8-9A1B-1DFC727E60A3}"/>
                </a:ext>
              </a:extLst>
            </p:cNvPr>
            <p:cNvSpPr/>
            <p:nvPr/>
          </p:nvSpPr>
          <p:spPr>
            <a:xfrm>
              <a:off x="869482" y="1982058"/>
              <a:ext cx="5032764" cy="1890064"/>
            </a:xfrm>
            <a:prstGeom prst="rect">
              <a:avLst/>
            </a:prstGeom>
            <a:solidFill>
              <a:srgbClr val="FFDBA3"/>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288000" algn="ctr" defTabSz="914354" rtl="0" eaLnBrk="1" fontAlgn="auto" latinLnBrk="0" hangingPunct="1">
                <a:lnSpc>
                  <a:spcPct val="150000"/>
                </a:lnSpc>
                <a:spcBef>
                  <a:spcPts val="0"/>
                </a:spcBef>
                <a:spcAft>
                  <a:spcPts val="0"/>
                </a:spcAft>
                <a:buClrTx/>
                <a:buSzTx/>
                <a:buFontTx/>
                <a:buNone/>
                <a:tabLst/>
                <a:defRPr/>
              </a:pPr>
              <a:r>
                <a:rPr kumimoji="0" lang="en-US" sz="1333" b="1" i="0" u="none" strike="noStrike" kern="1200" cap="none" spc="0" normalizeH="0" baseline="0" noProof="0">
                  <a:ln>
                    <a:noFill/>
                  </a:ln>
                  <a:solidFill>
                    <a:prstClr val="black"/>
                  </a:solidFill>
                  <a:effectLst/>
                  <a:uLnTx/>
                  <a:uFillTx/>
                  <a:latin typeface="Rawline" panose="00000500000000000000" pitchFamily="2" charset="0"/>
                  <a:ea typeface="+mn-ea"/>
                  <a:cs typeface="MV Boli" panose="02000500030200090000" pitchFamily="2" charset="0"/>
                </a:rPr>
                <a:t>MUST HAVE PERCEPTIONS</a:t>
              </a:r>
            </a:p>
            <a:p>
              <a:pPr marL="0" marR="0" lvl="0" indent="-288000" algn="ctr" defTabSz="914354" rtl="0" eaLnBrk="1" fontAlgn="auto" latinLnBrk="0" hangingPunct="1">
                <a:lnSpc>
                  <a:spcPct val="150000"/>
                </a:lnSpc>
                <a:spcBef>
                  <a:spcPts val="0"/>
                </a:spcBef>
                <a:spcAft>
                  <a:spcPts val="0"/>
                </a:spcAft>
                <a:buClrTx/>
                <a:buSzTx/>
                <a:buFontTx/>
                <a:buNone/>
                <a:tabLst/>
                <a:defRPr/>
              </a:pPr>
              <a:endParaRPr kumimoji="0" lang="en-US" sz="1333" b="0" i="0" u="none" strike="noStrike" kern="1200" cap="none" spc="0" normalizeH="0" baseline="0" noProof="0">
                <a:ln>
                  <a:noFill/>
                </a:ln>
                <a:solidFill>
                  <a:prstClr val="black"/>
                </a:solidFill>
                <a:effectLst/>
                <a:uLnTx/>
                <a:uFillTx/>
                <a:latin typeface="Rawline" panose="00000500000000000000" pitchFamily="2" charset="0"/>
                <a:ea typeface="+mn-ea"/>
                <a:cs typeface="MV Boli" panose="02000500030200090000" pitchFamily="2" charset="0"/>
              </a:endParaRPr>
            </a:p>
            <a:p>
              <a:pPr marL="0" marR="0" lvl="0" indent="-288000" algn="ctr" defTabSz="914354" rtl="0" eaLnBrk="1" fontAlgn="auto" latinLnBrk="0" hangingPunct="1">
                <a:lnSpc>
                  <a:spcPct val="15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Rawline" panose="00000500000000000000" pitchFamily="2" charset="0"/>
                  <a:ea typeface="+mn-ea"/>
                  <a:cs typeface="MV Boli" panose="02000500030200090000" pitchFamily="2" charset="0"/>
                </a:rPr>
                <a:t>Perce</a:t>
              </a:r>
              <a:r>
                <a:rPr lang="en-US" sz="1200" err="1">
                  <a:solidFill>
                    <a:prstClr val="black"/>
                  </a:solidFill>
                  <a:latin typeface="Rawline" panose="00000500000000000000" pitchFamily="2" charset="0"/>
                  <a:cs typeface="MV Boli" panose="02000500030200090000" pitchFamily="2" charset="0"/>
                </a:rPr>
                <a:t>ptions</a:t>
              </a:r>
              <a:r>
                <a:rPr kumimoji="0" lang="en-US" sz="1200" b="0" i="0" u="none" strike="noStrike" kern="1200" cap="none" spc="0" normalizeH="0" baseline="0" noProof="0">
                  <a:ln>
                    <a:noFill/>
                  </a:ln>
                  <a:solidFill>
                    <a:prstClr val="black"/>
                  </a:solidFill>
                  <a:effectLst/>
                  <a:uLnTx/>
                  <a:uFillTx/>
                  <a:latin typeface="Rawline" panose="00000500000000000000" pitchFamily="2" charset="0"/>
                  <a:ea typeface="+mn-ea"/>
                  <a:cs typeface="MV Boli" panose="02000500030200090000" pitchFamily="2" charset="0"/>
                </a:rPr>
                <a:t> that are stated to be important, but do not have a correlation with a consumer’s claim preference. We need to at least meet expectations.</a:t>
              </a:r>
            </a:p>
          </p:txBody>
        </p:sp>
        <p:sp>
          <p:nvSpPr>
            <p:cNvPr id="10" name="Rectangle 9">
              <a:extLst>
                <a:ext uri="{FF2B5EF4-FFF2-40B4-BE49-F238E27FC236}">
                  <a16:creationId xmlns:a16="http://schemas.microsoft.com/office/drawing/2014/main" id="{F876F23E-FD22-4BD4-B4FC-7DBDF2AF0F08}"/>
                </a:ext>
              </a:extLst>
            </p:cNvPr>
            <p:cNvSpPr/>
            <p:nvPr/>
          </p:nvSpPr>
          <p:spPr>
            <a:xfrm>
              <a:off x="5965744" y="1982058"/>
              <a:ext cx="5661092" cy="1873972"/>
            </a:xfrm>
            <a:prstGeom prst="rect">
              <a:avLst/>
            </a:prstGeom>
            <a:solidFill>
              <a:srgbClr val="91B7BF"/>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288000" algn="ctr" defTabSz="914354" rtl="0" eaLnBrk="1" fontAlgn="auto" latinLnBrk="0" hangingPunct="1">
                <a:lnSpc>
                  <a:spcPct val="150000"/>
                </a:lnSpc>
                <a:spcBef>
                  <a:spcPts val="0"/>
                </a:spcBef>
                <a:spcAft>
                  <a:spcPts val="0"/>
                </a:spcAft>
                <a:buClrTx/>
                <a:buSzTx/>
                <a:buFontTx/>
                <a:buNone/>
                <a:tabLst/>
                <a:defRPr/>
              </a:pPr>
              <a:r>
                <a:rPr kumimoji="0" lang="en-US" sz="1333" b="1" i="0" u="none" strike="noStrike" kern="1200" cap="none" spc="0" normalizeH="0" baseline="0" noProof="0">
                  <a:ln>
                    <a:noFill/>
                  </a:ln>
                  <a:solidFill>
                    <a:prstClr val="black"/>
                  </a:solidFill>
                  <a:effectLst/>
                  <a:uLnTx/>
                  <a:uFillTx/>
                  <a:latin typeface="Rawline" panose="00000500000000000000" pitchFamily="2" charset="0"/>
                  <a:ea typeface="+mn-ea"/>
                  <a:cs typeface="MV Boli" panose="02000500030200090000" pitchFamily="2" charset="0"/>
                </a:rPr>
                <a:t>CLEAR BASIS OF CLAIM PREFERENCE</a:t>
              </a:r>
            </a:p>
            <a:p>
              <a:pPr marL="0" marR="0" lvl="0" indent="-288000" algn="ctr" defTabSz="914354" rtl="0" eaLnBrk="1" fontAlgn="auto" latinLnBrk="0" hangingPunct="1">
                <a:lnSpc>
                  <a:spcPct val="150000"/>
                </a:lnSpc>
                <a:spcBef>
                  <a:spcPts val="0"/>
                </a:spcBef>
                <a:spcAft>
                  <a:spcPts val="0"/>
                </a:spcAft>
                <a:buClrTx/>
                <a:buSzTx/>
                <a:buFontTx/>
                <a:buNone/>
                <a:tabLst/>
                <a:defRPr/>
              </a:pPr>
              <a:endParaRPr kumimoji="0" lang="en-US" sz="1333" b="0" i="0" u="none" strike="noStrike" kern="1200" cap="none" spc="0" normalizeH="0" baseline="0" noProof="0">
                <a:ln>
                  <a:noFill/>
                </a:ln>
                <a:solidFill>
                  <a:prstClr val="black"/>
                </a:solidFill>
                <a:effectLst/>
                <a:uLnTx/>
                <a:uFillTx/>
                <a:latin typeface="Rawline" panose="00000500000000000000" pitchFamily="2" charset="0"/>
                <a:ea typeface="+mn-ea"/>
                <a:cs typeface="MV Boli" panose="02000500030200090000" pitchFamily="2" charset="0"/>
              </a:endParaRPr>
            </a:p>
            <a:p>
              <a:pPr marL="0" marR="0" lvl="0" indent="-288000" algn="ctr" defTabSz="914354" rtl="0" eaLnBrk="1" fontAlgn="auto" latinLnBrk="0" hangingPunct="1">
                <a:lnSpc>
                  <a:spcPct val="150000"/>
                </a:lnSpc>
                <a:spcBef>
                  <a:spcPts val="0"/>
                </a:spcBef>
                <a:spcAft>
                  <a:spcPts val="0"/>
                </a:spcAft>
                <a:buClrTx/>
                <a:buSzTx/>
                <a:buFontTx/>
                <a:buNone/>
                <a:tabLst/>
                <a:defRPr/>
              </a:pPr>
              <a:r>
                <a:rPr lang="en-US" sz="1200">
                  <a:solidFill>
                    <a:prstClr val="black"/>
                  </a:solidFill>
                  <a:latin typeface="Rawline" panose="00000500000000000000" pitchFamily="2" charset="0"/>
                  <a:cs typeface="MV Boli" panose="02000500030200090000" pitchFamily="2" charset="0"/>
                </a:rPr>
                <a:t>Perceptions</a:t>
              </a:r>
              <a:r>
                <a:rPr kumimoji="0" lang="en-US" sz="1200" b="0" i="0" u="none" strike="noStrike" kern="1200" cap="none" spc="0" normalizeH="0" baseline="0" noProof="0">
                  <a:ln>
                    <a:noFill/>
                  </a:ln>
                  <a:solidFill>
                    <a:prstClr val="black"/>
                  </a:solidFill>
                  <a:effectLst/>
                  <a:uLnTx/>
                  <a:uFillTx/>
                  <a:latin typeface="Rawline" panose="00000500000000000000" pitchFamily="2" charset="0"/>
                  <a:ea typeface="+mn-ea"/>
                  <a:cs typeface="MV Boli" panose="02000500030200090000" pitchFamily="2" charset="0"/>
                </a:rPr>
                <a:t> that are both stated to be important and have a high correlation to a consumer’s claim preference. Strong areas for claim differentiation.</a:t>
              </a:r>
            </a:p>
          </p:txBody>
        </p:sp>
        <p:sp>
          <p:nvSpPr>
            <p:cNvPr id="11" name="Rectangle 10">
              <a:extLst>
                <a:ext uri="{FF2B5EF4-FFF2-40B4-BE49-F238E27FC236}">
                  <a16:creationId xmlns:a16="http://schemas.microsoft.com/office/drawing/2014/main" id="{ABD3F692-27D9-4BA0-8B09-ED70E2CB4C4F}"/>
                </a:ext>
              </a:extLst>
            </p:cNvPr>
            <p:cNvSpPr/>
            <p:nvPr/>
          </p:nvSpPr>
          <p:spPr>
            <a:xfrm>
              <a:off x="5965751" y="3946200"/>
              <a:ext cx="5661099" cy="1812596"/>
            </a:xfrm>
            <a:prstGeom prst="rect">
              <a:avLst/>
            </a:prstGeom>
            <a:solidFill>
              <a:srgbClr val="E6EFF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288000" algn="ctr" defTabSz="914354" rtl="0" eaLnBrk="1" fontAlgn="auto" latinLnBrk="0" hangingPunct="1">
                <a:lnSpc>
                  <a:spcPct val="150000"/>
                </a:lnSpc>
                <a:spcBef>
                  <a:spcPts val="0"/>
                </a:spcBef>
                <a:spcAft>
                  <a:spcPts val="0"/>
                </a:spcAft>
                <a:buClrTx/>
                <a:buSzTx/>
                <a:buFontTx/>
                <a:buNone/>
                <a:tabLst/>
                <a:defRPr/>
              </a:pPr>
              <a:r>
                <a:rPr kumimoji="0" lang="en-US" sz="1333" b="1" i="0" u="none" strike="noStrike" kern="1200" cap="none" spc="0" normalizeH="0" baseline="0" noProof="0">
                  <a:ln>
                    <a:noFill/>
                  </a:ln>
                  <a:solidFill>
                    <a:prstClr val="black"/>
                  </a:solidFill>
                  <a:effectLst/>
                  <a:uLnTx/>
                  <a:uFillTx/>
                  <a:latin typeface="Rawline" panose="00000500000000000000" pitchFamily="2" charset="0"/>
                  <a:ea typeface="+mn-ea"/>
                  <a:cs typeface="MV Boli" panose="02000500030200090000" pitchFamily="2" charset="0"/>
                </a:rPr>
                <a:t>LESS-CONSCIOUS BASIS OF CLAIM PREFERENCE</a:t>
              </a:r>
            </a:p>
            <a:p>
              <a:pPr marL="0" marR="0" lvl="0" indent="-288000" algn="ctr" defTabSz="914354" rtl="0" eaLnBrk="1" fontAlgn="auto" latinLnBrk="0" hangingPunct="1">
                <a:lnSpc>
                  <a:spcPct val="150000"/>
                </a:lnSpc>
                <a:spcBef>
                  <a:spcPts val="0"/>
                </a:spcBef>
                <a:spcAft>
                  <a:spcPts val="0"/>
                </a:spcAft>
                <a:buClrTx/>
                <a:buSzTx/>
                <a:buFontTx/>
                <a:buNone/>
                <a:tabLst/>
                <a:defRPr/>
              </a:pPr>
              <a:endParaRPr kumimoji="0" lang="en-US" sz="1333" b="0" i="0" u="none" strike="noStrike" kern="1200" cap="none" spc="0" normalizeH="0" baseline="0" noProof="0">
                <a:ln>
                  <a:noFill/>
                </a:ln>
                <a:solidFill>
                  <a:prstClr val="black"/>
                </a:solidFill>
                <a:effectLst/>
                <a:uLnTx/>
                <a:uFillTx/>
                <a:latin typeface="Rawline" panose="00000500000000000000" pitchFamily="2" charset="0"/>
                <a:ea typeface="+mn-ea"/>
                <a:cs typeface="MV Boli" panose="02000500030200090000" pitchFamily="2" charset="0"/>
              </a:endParaRPr>
            </a:p>
            <a:p>
              <a:pPr marL="0" marR="0" lvl="0" indent="-288000" algn="ctr" defTabSz="914354" rtl="0" eaLnBrk="1" fontAlgn="auto" latinLnBrk="0" hangingPunct="1">
                <a:lnSpc>
                  <a:spcPct val="150000"/>
                </a:lnSpc>
                <a:spcBef>
                  <a:spcPts val="0"/>
                </a:spcBef>
                <a:spcAft>
                  <a:spcPts val="0"/>
                </a:spcAft>
                <a:buClrTx/>
                <a:buSzTx/>
                <a:buFontTx/>
                <a:buNone/>
                <a:tabLst/>
                <a:defRPr/>
              </a:pPr>
              <a:r>
                <a:rPr lang="en-US" sz="1200">
                  <a:solidFill>
                    <a:prstClr val="black"/>
                  </a:solidFill>
                  <a:latin typeface="Rawline" panose="00000500000000000000" pitchFamily="2" charset="0"/>
                  <a:cs typeface="MV Boli" panose="02000500030200090000" pitchFamily="2" charset="0"/>
                </a:rPr>
                <a:t>Perceptions</a:t>
              </a:r>
              <a:r>
                <a:rPr kumimoji="0" lang="en-US" sz="1200" b="0" i="0" u="none" strike="noStrike" kern="1200" cap="none" spc="0" normalizeH="0" baseline="0" noProof="0">
                  <a:ln>
                    <a:noFill/>
                  </a:ln>
                  <a:solidFill>
                    <a:prstClr val="black"/>
                  </a:solidFill>
                  <a:effectLst/>
                  <a:uLnTx/>
                  <a:uFillTx/>
                  <a:latin typeface="Rawline" panose="00000500000000000000" pitchFamily="2" charset="0"/>
                  <a:ea typeface="+mn-ea"/>
                  <a:cs typeface="MV Boli" panose="02000500030200090000" pitchFamily="2" charset="0"/>
                </a:rPr>
                <a:t> that consumer's can not / do not identify at a stated level but do have a high correlation with a consumer’s claim preference. Strong potential for building claim differentiation.</a:t>
              </a:r>
            </a:p>
          </p:txBody>
        </p:sp>
        <p:sp>
          <p:nvSpPr>
            <p:cNvPr id="12" name="Rectangle 11">
              <a:extLst>
                <a:ext uri="{FF2B5EF4-FFF2-40B4-BE49-F238E27FC236}">
                  <a16:creationId xmlns:a16="http://schemas.microsoft.com/office/drawing/2014/main" id="{B1297128-DB12-4567-8B79-2273A140D71C}"/>
                </a:ext>
              </a:extLst>
            </p:cNvPr>
            <p:cNvSpPr/>
            <p:nvPr/>
          </p:nvSpPr>
          <p:spPr>
            <a:xfrm>
              <a:off x="869482" y="3946200"/>
              <a:ext cx="5032771" cy="1812596"/>
            </a:xfrm>
            <a:prstGeom prst="rect">
              <a:avLst/>
            </a:prstGeom>
            <a:solidFill>
              <a:schemeClr val="bg1">
                <a:lumMod val="8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288000" algn="ctr" defTabSz="914354" rtl="0" eaLnBrk="1" fontAlgn="auto" latinLnBrk="0" hangingPunct="1">
                <a:lnSpc>
                  <a:spcPct val="150000"/>
                </a:lnSpc>
                <a:spcBef>
                  <a:spcPts val="0"/>
                </a:spcBef>
                <a:spcAft>
                  <a:spcPts val="0"/>
                </a:spcAft>
                <a:buClrTx/>
                <a:buSzTx/>
                <a:buFontTx/>
                <a:buNone/>
                <a:tabLst/>
                <a:defRPr/>
              </a:pPr>
              <a:r>
                <a:rPr kumimoji="0" lang="en-US" sz="1333" b="1" i="0" u="none" strike="noStrike" kern="1200" cap="none" spc="0" normalizeH="0" baseline="0" noProof="0">
                  <a:ln>
                    <a:noFill/>
                  </a:ln>
                  <a:solidFill>
                    <a:prstClr val="black"/>
                  </a:solidFill>
                  <a:effectLst/>
                  <a:uLnTx/>
                  <a:uFillTx/>
                  <a:latin typeface="Rawline" panose="00000500000000000000" pitchFamily="2" charset="0"/>
                  <a:ea typeface="+mn-ea"/>
                  <a:cs typeface="MV Boli" panose="02000500030200090000" pitchFamily="2" charset="0"/>
                </a:rPr>
                <a:t>LOW PRIORITY</a:t>
              </a:r>
            </a:p>
            <a:p>
              <a:pPr marL="0" marR="0" lvl="0" indent="-288000" algn="ctr" defTabSz="914354" rtl="0" eaLnBrk="1" fontAlgn="auto" latinLnBrk="0" hangingPunct="1">
                <a:lnSpc>
                  <a:spcPct val="150000"/>
                </a:lnSpc>
                <a:spcBef>
                  <a:spcPts val="0"/>
                </a:spcBef>
                <a:spcAft>
                  <a:spcPts val="0"/>
                </a:spcAft>
                <a:buClrTx/>
                <a:buSzTx/>
                <a:buFontTx/>
                <a:buNone/>
                <a:tabLst/>
                <a:defRPr/>
              </a:pPr>
              <a:endParaRPr kumimoji="0" lang="en-US" sz="1333" b="1" i="0" u="none" strike="noStrike" kern="1200" cap="none" spc="0" normalizeH="0" baseline="0" noProof="0">
                <a:ln>
                  <a:noFill/>
                </a:ln>
                <a:solidFill>
                  <a:prstClr val="black"/>
                </a:solidFill>
                <a:effectLst/>
                <a:uLnTx/>
                <a:uFillTx/>
                <a:latin typeface="Rawline" panose="00000500000000000000" pitchFamily="2" charset="0"/>
                <a:ea typeface="+mn-ea"/>
                <a:cs typeface="MV Boli" panose="02000500030200090000" pitchFamily="2" charset="0"/>
              </a:endParaRPr>
            </a:p>
            <a:p>
              <a:pPr marL="0" marR="0" lvl="0" indent="-288000" algn="ctr" defTabSz="914354" rtl="0" eaLnBrk="1" fontAlgn="auto" latinLnBrk="0" hangingPunct="1">
                <a:lnSpc>
                  <a:spcPct val="150000"/>
                </a:lnSpc>
                <a:spcBef>
                  <a:spcPts val="0"/>
                </a:spcBef>
                <a:spcAft>
                  <a:spcPts val="0"/>
                </a:spcAft>
                <a:buClrTx/>
                <a:buSzTx/>
                <a:buFontTx/>
                <a:buNone/>
                <a:tabLst/>
                <a:defRPr/>
              </a:pPr>
              <a:r>
                <a:rPr lang="en-US" sz="1200">
                  <a:solidFill>
                    <a:prstClr val="black"/>
                  </a:solidFill>
                  <a:latin typeface="Rawline" panose="00000500000000000000" pitchFamily="2" charset="0"/>
                  <a:cs typeface="MV Boli" panose="02000500030200090000" pitchFamily="2" charset="0"/>
                </a:rPr>
                <a:t>Perceptions</a:t>
              </a:r>
              <a:r>
                <a:rPr kumimoji="0" lang="en-US" sz="1200" b="0" i="0" u="none" strike="noStrike" kern="1200" cap="none" spc="0" normalizeH="0" baseline="0" noProof="0">
                  <a:ln>
                    <a:noFill/>
                  </a:ln>
                  <a:solidFill>
                    <a:prstClr val="black"/>
                  </a:solidFill>
                  <a:effectLst/>
                  <a:uLnTx/>
                  <a:uFillTx/>
                  <a:latin typeface="Rawline" panose="00000500000000000000" pitchFamily="2" charset="0"/>
                  <a:ea typeface="+mn-ea"/>
                  <a:cs typeface="MV Boli" panose="02000500030200090000" pitchFamily="2" charset="0"/>
                </a:rPr>
                <a:t> that are low stated importance and little correlation with a consumer’s claim preference.</a:t>
              </a:r>
            </a:p>
          </p:txBody>
        </p:sp>
        <p:sp>
          <p:nvSpPr>
            <p:cNvPr id="15" name="Rectangle 14">
              <a:extLst>
                <a:ext uri="{FF2B5EF4-FFF2-40B4-BE49-F238E27FC236}">
                  <a16:creationId xmlns:a16="http://schemas.microsoft.com/office/drawing/2014/main" id="{B86B09AE-0D7F-4B01-9B25-95691A81FDEE}"/>
                </a:ext>
              </a:extLst>
            </p:cNvPr>
            <p:cNvSpPr/>
            <p:nvPr/>
          </p:nvSpPr>
          <p:spPr>
            <a:xfrm>
              <a:off x="1291857" y="5801379"/>
              <a:ext cx="9849117" cy="377667"/>
            </a:xfrm>
            <a:prstGeom prst="rect">
              <a:avLst/>
            </a:prstGeom>
          </p:spPr>
          <p:txBody>
            <a:bodyPr wrap="square">
              <a:spAutoFit/>
            </a:bodyPr>
            <a:lstStyle/>
            <a:p>
              <a:pPr marL="0" marR="0" lvl="0" indent="-288000" algn="ctr" defTabSz="914354" rtl="0" eaLnBrk="1" fontAlgn="auto" latinLnBrk="0" hangingPunct="1">
                <a:lnSpc>
                  <a:spcPct val="150000"/>
                </a:lnSpc>
                <a:spcBef>
                  <a:spcPts val="0"/>
                </a:spcBef>
                <a:spcAft>
                  <a:spcPts val="0"/>
                </a:spcAft>
                <a:buClrTx/>
                <a:buSzTx/>
                <a:buFontTx/>
                <a:buNone/>
                <a:tabLst/>
                <a:defRPr/>
              </a:pPr>
              <a:r>
                <a:rPr kumimoji="0" lang="en-US" sz="1400" b="1" i="0" u="none" strike="noStrike" kern="1200" cap="none" spc="0" normalizeH="0" baseline="0" noProof="0">
                  <a:ln>
                    <a:noFill/>
                  </a:ln>
                  <a:solidFill>
                    <a:srgbClr val="1C6D7D"/>
                  </a:solidFill>
                  <a:effectLst/>
                  <a:uLnTx/>
                  <a:uFillTx/>
                  <a:latin typeface="Rawline" panose="00000500000000000000" pitchFamily="2" charset="0"/>
                  <a:ea typeface="+mn-ea"/>
                  <a:cs typeface="+mn-cs"/>
                </a:rPr>
                <a:t>DERIVED </a:t>
              </a:r>
              <a:r>
                <a:rPr kumimoji="0" lang="en-US" sz="1400" b="0" i="0" u="none" strike="noStrike" kern="1200" cap="none" spc="0" normalizeH="0" baseline="0" noProof="0">
                  <a:ln>
                    <a:noFill/>
                  </a:ln>
                  <a:solidFill>
                    <a:srgbClr val="1C6D7D"/>
                  </a:solidFill>
                  <a:effectLst/>
                  <a:uLnTx/>
                  <a:uFillTx/>
                  <a:latin typeface="Rawline" panose="00000500000000000000" pitchFamily="2" charset="0"/>
                  <a:ea typeface="+mn-ea"/>
                  <a:cs typeface="+mn-cs"/>
                </a:rPr>
                <a:t>Importance</a:t>
              </a:r>
            </a:p>
          </p:txBody>
        </p:sp>
        <p:sp>
          <p:nvSpPr>
            <p:cNvPr id="16" name="Footer Placeholder 4">
              <a:extLst>
                <a:ext uri="{FF2B5EF4-FFF2-40B4-BE49-F238E27FC236}">
                  <a16:creationId xmlns:a16="http://schemas.microsoft.com/office/drawing/2014/main" id="{98FA9A98-2A2D-4FF8-91D5-6CB64F01ECE9}"/>
                </a:ext>
              </a:extLst>
            </p:cNvPr>
            <p:cNvSpPr txBox="1">
              <a:spLocks/>
            </p:cNvSpPr>
            <p:nvPr/>
          </p:nvSpPr>
          <p:spPr>
            <a:xfrm rot="16200000">
              <a:off x="-1013830" y="3577032"/>
              <a:ext cx="3127175" cy="377667"/>
            </a:xfrm>
            <a:prstGeom prst="rect">
              <a:avLst/>
            </a:prstGeom>
          </p:spPr>
          <p:txBody>
            <a:bodyPr wrap="square">
              <a:sp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288000" algn="ctr" defTabSz="914354" rtl="0" eaLnBrk="1" fontAlgn="auto" latinLnBrk="0" hangingPunct="1">
                <a:lnSpc>
                  <a:spcPct val="150000"/>
                </a:lnSpc>
                <a:spcBef>
                  <a:spcPts val="0"/>
                </a:spcBef>
                <a:spcAft>
                  <a:spcPts val="0"/>
                </a:spcAft>
                <a:buClrTx/>
                <a:buSzTx/>
                <a:buFontTx/>
                <a:buNone/>
                <a:tabLst/>
                <a:defRPr/>
              </a:pPr>
              <a:r>
                <a:rPr kumimoji="0" lang="en-US" sz="1400" b="1" i="0" u="none" strike="noStrike" kern="1200" cap="none" spc="0" normalizeH="0" baseline="0" noProof="0">
                  <a:ln>
                    <a:noFill/>
                  </a:ln>
                  <a:solidFill>
                    <a:srgbClr val="1C6D7D"/>
                  </a:solidFill>
                  <a:effectLst/>
                  <a:uLnTx/>
                  <a:uFillTx/>
                  <a:latin typeface="Rawline" panose="00000500000000000000" pitchFamily="2" charset="0"/>
                  <a:ea typeface="+mn-ea"/>
                  <a:cs typeface="+mn-cs"/>
                </a:rPr>
                <a:t>STATED</a:t>
              </a:r>
              <a:r>
                <a:rPr kumimoji="0" lang="en-US" sz="1400" b="0" i="0" u="none" strike="noStrike" kern="1200" cap="none" spc="0" normalizeH="0" baseline="0" noProof="0">
                  <a:ln>
                    <a:noFill/>
                  </a:ln>
                  <a:solidFill>
                    <a:srgbClr val="1C6D7D"/>
                  </a:solidFill>
                  <a:effectLst/>
                  <a:uLnTx/>
                  <a:uFillTx/>
                  <a:latin typeface="Rawline" panose="00000500000000000000" pitchFamily="2" charset="0"/>
                  <a:ea typeface="+mn-ea"/>
                  <a:cs typeface="+mn-cs"/>
                </a:rPr>
                <a:t> Importance</a:t>
              </a:r>
            </a:p>
          </p:txBody>
        </p:sp>
        <p:cxnSp>
          <p:nvCxnSpPr>
            <p:cNvPr id="17" name="Straight Arrow Connector 16">
              <a:extLst>
                <a:ext uri="{FF2B5EF4-FFF2-40B4-BE49-F238E27FC236}">
                  <a16:creationId xmlns:a16="http://schemas.microsoft.com/office/drawing/2014/main" id="{55D53295-3A48-43EC-8790-0E8AB88A41C8}"/>
                </a:ext>
              </a:extLst>
            </p:cNvPr>
            <p:cNvCxnSpPr>
              <a:cxnSpLocks/>
            </p:cNvCxnSpPr>
            <p:nvPr/>
          </p:nvCxnSpPr>
          <p:spPr>
            <a:xfrm flipV="1">
              <a:off x="818682" y="1744926"/>
              <a:ext cx="0" cy="4056455"/>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8" name="Straight Arrow Connector 17">
              <a:extLst>
                <a:ext uri="{FF2B5EF4-FFF2-40B4-BE49-F238E27FC236}">
                  <a16:creationId xmlns:a16="http://schemas.microsoft.com/office/drawing/2014/main" id="{49331251-172A-4A46-88F6-0275604423EE}"/>
                </a:ext>
              </a:extLst>
            </p:cNvPr>
            <p:cNvCxnSpPr>
              <a:cxnSpLocks/>
            </p:cNvCxnSpPr>
            <p:nvPr/>
          </p:nvCxnSpPr>
          <p:spPr>
            <a:xfrm flipV="1">
              <a:off x="818682" y="5801379"/>
              <a:ext cx="10909768" cy="1"/>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3711D8AC-5B21-4E30-8768-2ACFD4BF9839}"/>
                </a:ext>
              </a:extLst>
            </p:cNvPr>
            <p:cNvCxnSpPr>
              <a:cxnSpLocks/>
            </p:cNvCxnSpPr>
            <p:nvPr/>
          </p:nvCxnSpPr>
          <p:spPr>
            <a:xfrm>
              <a:off x="5927647" y="1982058"/>
              <a:ext cx="1" cy="3776737"/>
            </a:xfrm>
            <a:prstGeom prst="line">
              <a:avLst/>
            </a:prstGeom>
            <a:ln w="9525">
              <a:solidFill>
                <a:schemeClr val="bg2"/>
              </a:solidFill>
              <a:tailEnd type="none" w="lg" len="med"/>
            </a:ln>
            <a:effectLst/>
          </p:spPr>
          <p:style>
            <a:lnRef idx="2">
              <a:schemeClr val="accent1"/>
            </a:lnRef>
            <a:fillRef idx="0">
              <a:schemeClr val="accent1"/>
            </a:fillRef>
            <a:effectRef idx="1">
              <a:schemeClr val="accent1"/>
            </a:effectRef>
            <a:fontRef idx="minor">
              <a:schemeClr val="tx1"/>
            </a:fontRef>
          </p:style>
        </p:cxnSp>
        <p:cxnSp>
          <p:nvCxnSpPr>
            <p:cNvPr id="22" name="Straight Connector 21">
              <a:extLst>
                <a:ext uri="{FF2B5EF4-FFF2-40B4-BE49-F238E27FC236}">
                  <a16:creationId xmlns:a16="http://schemas.microsoft.com/office/drawing/2014/main" id="{902B422A-DFD0-4C54-B5E2-BA2B0D44D92E}"/>
                </a:ext>
              </a:extLst>
            </p:cNvPr>
            <p:cNvCxnSpPr>
              <a:cxnSpLocks/>
            </p:cNvCxnSpPr>
            <p:nvPr/>
          </p:nvCxnSpPr>
          <p:spPr>
            <a:xfrm>
              <a:off x="856783" y="3897522"/>
              <a:ext cx="10757353" cy="0"/>
            </a:xfrm>
            <a:prstGeom prst="line">
              <a:avLst/>
            </a:prstGeom>
            <a:ln w="9525">
              <a:solidFill>
                <a:schemeClr val="bg2"/>
              </a:solidFill>
              <a:tailEnd type="none" w="lg" len="med"/>
            </a:ln>
            <a:effectLst/>
          </p:spPr>
          <p:style>
            <a:lnRef idx="2">
              <a:schemeClr val="accent1"/>
            </a:lnRef>
            <a:fillRef idx="0">
              <a:schemeClr val="accent1"/>
            </a:fillRef>
            <a:effectRef idx="1">
              <a:schemeClr val="accent1"/>
            </a:effectRef>
            <a:fontRef idx="minor">
              <a:schemeClr val="tx1"/>
            </a:fontRef>
          </p:style>
        </p:cxnSp>
      </p:grpSp>
      <p:sp>
        <p:nvSpPr>
          <p:cNvPr id="5" name="Slide Number Placeholder 4">
            <a:extLst>
              <a:ext uri="{FF2B5EF4-FFF2-40B4-BE49-F238E27FC236}">
                <a16:creationId xmlns:a16="http://schemas.microsoft.com/office/drawing/2014/main" id="{4500DB5B-BB5E-7B37-4704-6FB4D1F5BD68}"/>
              </a:ext>
            </a:extLst>
          </p:cNvPr>
          <p:cNvSpPr>
            <a:spLocks noGrp="1"/>
          </p:cNvSpPr>
          <p:nvPr>
            <p:ph type="sldNum" sz="quarter" idx="4"/>
          </p:nvPr>
        </p:nvSpPr>
        <p:spPr/>
        <p:txBody>
          <a:bodyPr/>
          <a:lstStyle/>
          <a:p>
            <a:pPr marL="0" marR="0" lvl="0" indent="-288000" algn="l" defTabSz="914400" rtl="0" eaLnBrk="1" fontAlgn="auto" latinLnBrk="0" hangingPunct="1">
              <a:lnSpc>
                <a:spcPct val="150000"/>
              </a:lnSpc>
              <a:spcBef>
                <a:spcPts val="0"/>
              </a:spcBef>
              <a:spcAft>
                <a:spcPts val="0"/>
              </a:spcAft>
              <a:buClrTx/>
              <a:buSzTx/>
              <a:buFontTx/>
              <a:buNone/>
              <a:tabLst/>
              <a:defRPr/>
            </a:pPr>
            <a:fld id="{B592C3DA-96A1-4E84-9171-AC4C91AB4FEA}" type="slidenum">
              <a:rPr kumimoji="0" lang="en-US" sz="800" b="0" i="0" u="none" strike="noStrike" kern="1200" cap="none" spc="0" normalizeH="0" baseline="0" noProof="0" smtClean="0">
                <a:ln>
                  <a:noFill/>
                </a:ln>
                <a:solidFill>
                  <a:srgbClr val="1C6D7D"/>
                </a:solidFill>
                <a:effectLst/>
                <a:uLnTx/>
                <a:uFillTx/>
                <a:latin typeface="Rawline"/>
                <a:ea typeface="+mn-ea"/>
                <a:cs typeface="+mn-cs"/>
              </a:rPr>
              <a:pPr marL="0" marR="0" lvl="0" indent="-288000" algn="l" defTabSz="914400" rtl="0" eaLnBrk="1" fontAlgn="auto" latinLnBrk="0" hangingPunct="1">
                <a:lnSpc>
                  <a:spcPct val="150000"/>
                </a:lnSpc>
                <a:spcBef>
                  <a:spcPts val="0"/>
                </a:spcBef>
                <a:spcAft>
                  <a:spcPts val="0"/>
                </a:spcAft>
                <a:buClrTx/>
                <a:buSzTx/>
                <a:buFontTx/>
                <a:buNone/>
                <a:tabLst/>
                <a:defRPr/>
              </a:pPr>
              <a:t>38</a:t>
            </a:fld>
            <a:endParaRPr kumimoji="0" lang="en-US" sz="800" b="0" i="0" u="none" strike="noStrike" kern="1200" cap="none" spc="0" normalizeH="0" baseline="0" noProof="0">
              <a:ln>
                <a:noFill/>
              </a:ln>
              <a:solidFill>
                <a:srgbClr val="1C6D7D"/>
              </a:solidFill>
              <a:effectLst/>
              <a:uLnTx/>
              <a:uFillTx/>
              <a:latin typeface="Rawline"/>
              <a:ea typeface="+mn-ea"/>
              <a:cs typeface="+mn-cs"/>
            </a:endParaRPr>
          </a:p>
        </p:txBody>
      </p:sp>
    </p:spTree>
    <p:extLst>
      <p:ext uri="{BB962C8B-B14F-4D97-AF65-F5344CB8AC3E}">
        <p14:creationId xmlns:p14="http://schemas.microsoft.com/office/powerpoint/2010/main" val="2883681640"/>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F950756-6A2F-4E32-9809-1780C4B863FE}"/>
              </a:ext>
            </a:extLst>
          </p:cNvPr>
          <p:cNvSpPr>
            <a:spLocks noGrp="1"/>
          </p:cNvSpPr>
          <p:nvPr>
            <p:ph type="title"/>
          </p:nvPr>
        </p:nvSpPr>
        <p:spPr>
          <a:xfrm>
            <a:off x="4562386" y="403392"/>
            <a:ext cx="7247681" cy="972000"/>
          </a:xfrm>
        </p:spPr>
        <p:txBody>
          <a:bodyPr/>
          <a:lstStyle/>
          <a:p>
            <a:pPr>
              <a:tabLst>
                <a:tab pos="5738670" algn="l"/>
              </a:tabLst>
            </a:pPr>
            <a:r>
              <a:rPr lang="en-US"/>
              <a:t>We cover 5 global markets</a:t>
            </a:r>
            <a:endParaRPr lang="en-SG"/>
          </a:p>
        </p:txBody>
      </p:sp>
      <p:sp>
        <p:nvSpPr>
          <p:cNvPr id="4" name="Text Placeholder 3">
            <a:extLst>
              <a:ext uri="{FF2B5EF4-FFF2-40B4-BE49-F238E27FC236}">
                <a16:creationId xmlns:a16="http://schemas.microsoft.com/office/drawing/2014/main" id="{5E0C903E-E6BE-4D69-939E-B12BCF730C11}"/>
              </a:ext>
            </a:extLst>
          </p:cNvPr>
          <p:cNvSpPr>
            <a:spLocks noGrp="1"/>
          </p:cNvSpPr>
          <p:nvPr>
            <p:ph type="body" sz="quarter" idx="26"/>
          </p:nvPr>
        </p:nvSpPr>
        <p:spPr>
          <a:xfrm>
            <a:off x="381934" y="403225"/>
            <a:ext cx="3247092" cy="971550"/>
          </a:xfrm>
        </p:spPr>
        <p:txBody>
          <a:bodyPr/>
          <a:lstStyle/>
          <a:p>
            <a:r>
              <a:rPr lang="en-US">
                <a:solidFill>
                  <a:schemeClr val="accent1"/>
                </a:solidFill>
                <a:latin typeface="+mj-lt"/>
                <a:cs typeface="Segoe UI Semilight" panose="020B0402040204020203" pitchFamily="34" charset="0"/>
              </a:rPr>
              <a:t>Who we will speak to</a:t>
            </a:r>
          </a:p>
          <a:p>
            <a:endParaRPr lang="en-US">
              <a:latin typeface="+mj-lt"/>
            </a:endParaRPr>
          </a:p>
        </p:txBody>
      </p:sp>
      <p:sp>
        <p:nvSpPr>
          <p:cNvPr id="5" name="Text Placeholder 4">
            <a:extLst>
              <a:ext uri="{FF2B5EF4-FFF2-40B4-BE49-F238E27FC236}">
                <a16:creationId xmlns:a16="http://schemas.microsoft.com/office/drawing/2014/main" id="{591F9373-603D-41EE-AF78-28D3D7F77833}"/>
              </a:ext>
            </a:extLst>
          </p:cNvPr>
          <p:cNvSpPr>
            <a:spLocks noGrp="1"/>
          </p:cNvSpPr>
          <p:nvPr>
            <p:ph type="body" sz="quarter" idx="27"/>
          </p:nvPr>
        </p:nvSpPr>
        <p:spPr>
          <a:xfrm>
            <a:off x="387351" y="1478304"/>
            <a:ext cx="3407478" cy="4410075"/>
          </a:xfrm>
        </p:spPr>
        <p:txBody>
          <a:bodyPr/>
          <a:lstStyle/>
          <a:p>
            <a:pPr>
              <a:spcAft>
                <a:spcPts val="600"/>
              </a:spcAft>
            </a:pPr>
            <a:r>
              <a:rPr lang="en-GB" sz="1800" b="1"/>
              <a:t>Screening Criteria</a:t>
            </a:r>
            <a:endParaRPr lang="en-GB" sz="1800"/>
          </a:p>
          <a:p>
            <a:pPr marL="171446" indent="-171446">
              <a:buFont typeface="Arial" panose="020B0604020202020204" pitchFamily="34" charset="0"/>
              <a:buChar char="•"/>
            </a:pPr>
            <a:r>
              <a:rPr lang="en-US">
                <a:solidFill>
                  <a:srgbClr val="222222"/>
                </a:solidFill>
              </a:rPr>
              <a:t>Women 50%, Men 50%</a:t>
            </a:r>
          </a:p>
          <a:p>
            <a:pPr marL="171446" indent="-171446">
              <a:buFont typeface="Arial" panose="020B0604020202020204" pitchFamily="34" charset="0"/>
              <a:buChar char="•"/>
            </a:pPr>
            <a:r>
              <a:rPr lang="en-US">
                <a:solidFill>
                  <a:srgbClr val="222222"/>
                </a:solidFill>
              </a:rPr>
              <a:t>Age &gt; 18 </a:t>
            </a:r>
            <a:r>
              <a:rPr lang="en-US" err="1">
                <a:solidFill>
                  <a:srgbClr val="222222"/>
                </a:solidFill>
              </a:rPr>
              <a:t>yo</a:t>
            </a:r>
            <a:endParaRPr lang="en-US">
              <a:solidFill>
                <a:srgbClr val="222222"/>
              </a:solidFill>
            </a:endParaRPr>
          </a:p>
          <a:p>
            <a:pPr marL="171446" indent="-171446">
              <a:buFont typeface="Arial" panose="020B0604020202020204" pitchFamily="34" charset="0"/>
              <a:buChar char="•"/>
            </a:pPr>
            <a:r>
              <a:rPr lang="en-US">
                <a:solidFill>
                  <a:srgbClr val="222222"/>
                </a:solidFill>
              </a:rPr>
              <a:t>Responsible for HH shopping</a:t>
            </a:r>
          </a:p>
          <a:p>
            <a:pPr marL="171446" indent="-171446">
              <a:buFont typeface="Arial" panose="020B0604020202020204" pitchFamily="34" charset="0"/>
              <a:buChar char="•"/>
            </a:pPr>
            <a:r>
              <a:rPr lang="en-US">
                <a:solidFill>
                  <a:srgbClr val="222222"/>
                </a:solidFill>
              </a:rPr>
              <a:t>Users and Non-rejecters of </a:t>
            </a:r>
            <a:r>
              <a:rPr lang="en-US" err="1">
                <a:solidFill>
                  <a:srgbClr val="222222"/>
                </a:solidFill>
              </a:rPr>
              <a:t>Alpro</a:t>
            </a:r>
            <a:endParaRPr lang="en-US" sz="1200">
              <a:solidFill>
                <a:srgbClr val="222222"/>
              </a:solidFill>
            </a:endParaRPr>
          </a:p>
        </p:txBody>
      </p:sp>
      <p:grpSp>
        <p:nvGrpSpPr>
          <p:cNvPr id="247" name="Group 246">
            <a:extLst>
              <a:ext uri="{FF2B5EF4-FFF2-40B4-BE49-F238E27FC236}">
                <a16:creationId xmlns:a16="http://schemas.microsoft.com/office/drawing/2014/main" id="{4EFC2F77-1C91-6AFA-8FDB-3706D759E022}"/>
              </a:ext>
            </a:extLst>
          </p:cNvPr>
          <p:cNvGrpSpPr/>
          <p:nvPr/>
        </p:nvGrpSpPr>
        <p:grpSpPr>
          <a:xfrm>
            <a:off x="6095997" y="1524254"/>
            <a:ext cx="4453277" cy="3912058"/>
            <a:chOff x="6095997" y="1031909"/>
            <a:chExt cx="4453277" cy="3912058"/>
          </a:xfrm>
        </p:grpSpPr>
        <p:grpSp>
          <p:nvGrpSpPr>
            <p:cNvPr id="245" name="Group 244">
              <a:extLst>
                <a:ext uri="{FF2B5EF4-FFF2-40B4-BE49-F238E27FC236}">
                  <a16:creationId xmlns:a16="http://schemas.microsoft.com/office/drawing/2014/main" id="{6F4D18B7-6A4F-E9E6-3F9D-7A230DD48AA1}"/>
                </a:ext>
              </a:extLst>
            </p:cNvPr>
            <p:cNvGrpSpPr/>
            <p:nvPr/>
          </p:nvGrpSpPr>
          <p:grpSpPr>
            <a:xfrm>
              <a:off x="6095997" y="1031909"/>
              <a:ext cx="4453277" cy="3912058"/>
              <a:chOff x="5370987" y="1059429"/>
              <a:chExt cx="4453277" cy="3912058"/>
            </a:xfrm>
          </p:grpSpPr>
          <p:grpSp>
            <p:nvGrpSpPr>
              <p:cNvPr id="3" name="Groep 75">
                <a:extLst>
                  <a:ext uri="{FF2B5EF4-FFF2-40B4-BE49-F238E27FC236}">
                    <a16:creationId xmlns:a16="http://schemas.microsoft.com/office/drawing/2014/main" id="{6AE27E38-6E64-94E1-BA23-7DD3D12B3948}"/>
                  </a:ext>
                </a:extLst>
              </p:cNvPr>
              <p:cNvGrpSpPr/>
              <p:nvPr/>
            </p:nvGrpSpPr>
            <p:grpSpPr>
              <a:xfrm>
                <a:off x="5370987" y="1059429"/>
                <a:ext cx="4453277" cy="3912058"/>
                <a:chOff x="1345421" y="762000"/>
                <a:chExt cx="5605448" cy="5409215"/>
              </a:xfrm>
            </p:grpSpPr>
            <p:sp>
              <p:nvSpPr>
                <p:cNvPr id="6" name="Freeform 100">
                  <a:extLst>
                    <a:ext uri="{FF2B5EF4-FFF2-40B4-BE49-F238E27FC236}">
                      <a16:creationId xmlns:a16="http://schemas.microsoft.com/office/drawing/2014/main" id="{E171CFD5-F267-828C-4D0F-32C64B966BEB}"/>
                    </a:ext>
                  </a:extLst>
                </p:cNvPr>
                <p:cNvSpPr>
                  <a:spLocks noEditPoints="1"/>
                </p:cNvSpPr>
                <p:nvPr/>
              </p:nvSpPr>
              <p:spPr bwMode="auto">
                <a:xfrm>
                  <a:off x="4794820" y="3210083"/>
                  <a:ext cx="300069" cy="150817"/>
                </a:xfrm>
                <a:custGeom>
                  <a:avLst/>
                  <a:gdLst>
                    <a:gd name="T0" fmla="*/ 44 w 104"/>
                    <a:gd name="T1" fmla="*/ 1 h 54"/>
                    <a:gd name="T2" fmla="*/ 48 w 104"/>
                    <a:gd name="T3" fmla="*/ 4 h 54"/>
                    <a:gd name="T4" fmla="*/ 51 w 104"/>
                    <a:gd name="T5" fmla="*/ 5 h 54"/>
                    <a:gd name="T6" fmla="*/ 57 w 104"/>
                    <a:gd name="T7" fmla="*/ 8 h 54"/>
                    <a:gd name="T8" fmla="*/ 69 w 104"/>
                    <a:gd name="T9" fmla="*/ 9 h 54"/>
                    <a:gd name="T10" fmla="*/ 71 w 104"/>
                    <a:gd name="T11" fmla="*/ 7 h 54"/>
                    <a:gd name="T12" fmla="*/ 75 w 104"/>
                    <a:gd name="T13" fmla="*/ 6 h 54"/>
                    <a:gd name="T14" fmla="*/ 82 w 104"/>
                    <a:gd name="T15" fmla="*/ 4 h 54"/>
                    <a:gd name="T16" fmla="*/ 85 w 104"/>
                    <a:gd name="T17" fmla="*/ 8 h 54"/>
                    <a:gd name="T18" fmla="*/ 87 w 104"/>
                    <a:gd name="T19" fmla="*/ 8 h 54"/>
                    <a:gd name="T20" fmla="*/ 91 w 104"/>
                    <a:gd name="T21" fmla="*/ 12 h 54"/>
                    <a:gd name="T22" fmla="*/ 94 w 104"/>
                    <a:gd name="T23" fmla="*/ 15 h 54"/>
                    <a:gd name="T24" fmla="*/ 92 w 104"/>
                    <a:gd name="T25" fmla="*/ 22 h 54"/>
                    <a:gd name="T26" fmla="*/ 92 w 104"/>
                    <a:gd name="T27" fmla="*/ 25 h 54"/>
                    <a:gd name="T28" fmla="*/ 92 w 104"/>
                    <a:gd name="T29" fmla="*/ 35 h 54"/>
                    <a:gd name="T30" fmla="*/ 95 w 104"/>
                    <a:gd name="T31" fmla="*/ 39 h 54"/>
                    <a:gd name="T32" fmla="*/ 95 w 104"/>
                    <a:gd name="T33" fmla="*/ 40 h 54"/>
                    <a:gd name="T34" fmla="*/ 99 w 104"/>
                    <a:gd name="T35" fmla="*/ 39 h 54"/>
                    <a:gd name="T36" fmla="*/ 100 w 104"/>
                    <a:gd name="T37" fmla="*/ 38 h 54"/>
                    <a:gd name="T38" fmla="*/ 99 w 104"/>
                    <a:gd name="T39" fmla="*/ 39 h 54"/>
                    <a:gd name="T40" fmla="*/ 90 w 104"/>
                    <a:gd name="T41" fmla="*/ 41 h 54"/>
                    <a:gd name="T42" fmla="*/ 82 w 104"/>
                    <a:gd name="T43" fmla="*/ 46 h 54"/>
                    <a:gd name="T44" fmla="*/ 61 w 104"/>
                    <a:gd name="T45" fmla="*/ 48 h 54"/>
                    <a:gd name="T46" fmla="*/ 46 w 104"/>
                    <a:gd name="T47" fmla="*/ 49 h 54"/>
                    <a:gd name="T48" fmla="*/ 37 w 104"/>
                    <a:gd name="T49" fmla="*/ 51 h 54"/>
                    <a:gd name="T50" fmla="*/ 24 w 104"/>
                    <a:gd name="T51" fmla="*/ 52 h 54"/>
                    <a:gd name="T52" fmla="*/ 17 w 104"/>
                    <a:gd name="T53" fmla="*/ 52 h 54"/>
                    <a:gd name="T54" fmla="*/ 4 w 104"/>
                    <a:gd name="T55" fmla="*/ 53 h 54"/>
                    <a:gd name="T56" fmla="*/ 5 w 104"/>
                    <a:gd name="T57" fmla="*/ 49 h 54"/>
                    <a:gd name="T58" fmla="*/ 13 w 104"/>
                    <a:gd name="T59" fmla="*/ 40 h 54"/>
                    <a:gd name="T60" fmla="*/ 8 w 104"/>
                    <a:gd name="T61" fmla="*/ 38 h 54"/>
                    <a:gd name="T62" fmla="*/ 4 w 104"/>
                    <a:gd name="T63" fmla="*/ 35 h 54"/>
                    <a:gd name="T64" fmla="*/ 9 w 104"/>
                    <a:gd name="T65" fmla="*/ 22 h 54"/>
                    <a:gd name="T66" fmla="*/ 25 w 104"/>
                    <a:gd name="T67" fmla="*/ 25 h 54"/>
                    <a:gd name="T68" fmla="*/ 38 w 104"/>
                    <a:gd name="T69" fmla="*/ 8 h 54"/>
                    <a:gd name="T70" fmla="*/ 40 w 104"/>
                    <a:gd name="T71" fmla="*/ 1 h 54"/>
                    <a:gd name="T72" fmla="*/ 44 w 104"/>
                    <a:gd name="T73" fmla="*/ 1 h 54"/>
                    <a:gd name="T74" fmla="*/ 102 w 104"/>
                    <a:gd name="T75" fmla="*/ 37 h 54"/>
                    <a:gd name="T76" fmla="*/ 102 w 104"/>
                    <a:gd name="T77" fmla="*/ 37 h 54"/>
                    <a:gd name="T78" fmla="*/ 102 w 104"/>
                    <a:gd name="T79" fmla="*/ 37 h 54"/>
                    <a:gd name="T80" fmla="*/ 102 w 104"/>
                    <a:gd name="T81" fmla="*/ 38 h 54"/>
                    <a:gd name="T82" fmla="*/ 102 w 104"/>
                    <a:gd name="T83" fmla="*/ 37 h 54"/>
                    <a:gd name="T84" fmla="*/ 102 w 104"/>
                    <a:gd name="T85" fmla="*/ 37 h 54"/>
                    <a:gd name="T86" fmla="*/ 102 w 104"/>
                    <a:gd name="T87" fmla="*/ 38 h 54"/>
                    <a:gd name="T88" fmla="*/ 102 w 104"/>
                    <a:gd name="T89" fmla="*/ 38 h 54"/>
                    <a:gd name="T90" fmla="*/ 104 w 104"/>
                    <a:gd name="T91" fmla="*/ 42 h 54"/>
                    <a:gd name="T92" fmla="*/ 104 w 104"/>
                    <a:gd name="T93" fmla="*/ 42 h 54"/>
                    <a:gd name="T94" fmla="*/ 102 w 104"/>
                    <a:gd name="T95" fmla="*/ 38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04" h="54">
                      <a:moveTo>
                        <a:pt x="44" y="1"/>
                      </a:moveTo>
                      <a:cubicBezTo>
                        <a:pt x="48" y="4"/>
                        <a:pt x="48" y="4"/>
                        <a:pt x="48" y="4"/>
                      </a:cubicBezTo>
                      <a:cubicBezTo>
                        <a:pt x="51" y="5"/>
                        <a:pt x="51" y="5"/>
                        <a:pt x="51" y="5"/>
                      </a:cubicBezTo>
                      <a:cubicBezTo>
                        <a:pt x="57" y="8"/>
                        <a:pt x="57" y="8"/>
                        <a:pt x="57" y="8"/>
                      </a:cubicBezTo>
                      <a:cubicBezTo>
                        <a:pt x="69" y="9"/>
                        <a:pt x="69" y="9"/>
                        <a:pt x="69" y="9"/>
                      </a:cubicBezTo>
                      <a:cubicBezTo>
                        <a:pt x="71" y="7"/>
                        <a:pt x="71" y="7"/>
                        <a:pt x="71" y="7"/>
                      </a:cubicBezTo>
                      <a:cubicBezTo>
                        <a:pt x="75" y="6"/>
                        <a:pt x="75" y="6"/>
                        <a:pt x="75" y="6"/>
                      </a:cubicBezTo>
                      <a:cubicBezTo>
                        <a:pt x="82" y="4"/>
                        <a:pt x="82" y="4"/>
                        <a:pt x="82" y="4"/>
                      </a:cubicBezTo>
                      <a:cubicBezTo>
                        <a:pt x="85" y="8"/>
                        <a:pt x="85" y="8"/>
                        <a:pt x="85" y="8"/>
                      </a:cubicBezTo>
                      <a:cubicBezTo>
                        <a:pt x="87" y="8"/>
                        <a:pt x="87" y="8"/>
                        <a:pt x="87" y="8"/>
                      </a:cubicBezTo>
                      <a:cubicBezTo>
                        <a:pt x="87" y="8"/>
                        <a:pt x="89" y="10"/>
                        <a:pt x="91" y="12"/>
                      </a:cubicBezTo>
                      <a:cubicBezTo>
                        <a:pt x="92" y="14"/>
                        <a:pt x="94" y="15"/>
                        <a:pt x="94" y="15"/>
                      </a:cubicBezTo>
                      <a:cubicBezTo>
                        <a:pt x="92" y="22"/>
                        <a:pt x="92" y="22"/>
                        <a:pt x="92" y="22"/>
                      </a:cubicBezTo>
                      <a:cubicBezTo>
                        <a:pt x="92" y="25"/>
                        <a:pt x="92" y="25"/>
                        <a:pt x="92" y="25"/>
                      </a:cubicBezTo>
                      <a:cubicBezTo>
                        <a:pt x="92" y="35"/>
                        <a:pt x="92" y="35"/>
                        <a:pt x="92" y="35"/>
                      </a:cubicBezTo>
                      <a:cubicBezTo>
                        <a:pt x="95" y="39"/>
                        <a:pt x="95" y="39"/>
                        <a:pt x="95" y="39"/>
                      </a:cubicBezTo>
                      <a:cubicBezTo>
                        <a:pt x="95" y="40"/>
                        <a:pt x="95" y="40"/>
                        <a:pt x="95" y="40"/>
                      </a:cubicBezTo>
                      <a:cubicBezTo>
                        <a:pt x="99" y="39"/>
                        <a:pt x="99" y="39"/>
                        <a:pt x="99" y="39"/>
                      </a:cubicBezTo>
                      <a:cubicBezTo>
                        <a:pt x="99" y="39"/>
                        <a:pt x="100" y="39"/>
                        <a:pt x="100" y="38"/>
                      </a:cubicBezTo>
                      <a:cubicBezTo>
                        <a:pt x="100" y="39"/>
                        <a:pt x="99" y="39"/>
                        <a:pt x="99" y="39"/>
                      </a:cubicBezTo>
                      <a:cubicBezTo>
                        <a:pt x="90" y="41"/>
                        <a:pt x="90" y="41"/>
                        <a:pt x="90" y="41"/>
                      </a:cubicBezTo>
                      <a:cubicBezTo>
                        <a:pt x="82" y="46"/>
                        <a:pt x="82" y="46"/>
                        <a:pt x="82" y="46"/>
                      </a:cubicBezTo>
                      <a:cubicBezTo>
                        <a:pt x="82" y="46"/>
                        <a:pt x="63" y="48"/>
                        <a:pt x="61" y="48"/>
                      </a:cubicBezTo>
                      <a:cubicBezTo>
                        <a:pt x="60" y="48"/>
                        <a:pt x="48" y="49"/>
                        <a:pt x="46" y="49"/>
                      </a:cubicBezTo>
                      <a:cubicBezTo>
                        <a:pt x="45" y="50"/>
                        <a:pt x="39" y="51"/>
                        <a:pt x="37" y="51"/>
                      </a:cubicBezTo>
                      <a:cubicBezTo>
                        <a:pt x="35" y="51"/>
                        <a:pt x="26" y="52"/>
                        <a:pt x="24" y="52"/>
                      </a:cubicBezTo>
                      <a:cubicBezTo>
                        <a:pt x="22" y="52"/>
                        <a:pt x="17" y="52"/>
                        <a:pt x="17" y="52"/>
                      </a:cubicBezTo>
                      <a:cubicBezTo>
                        <a:pt x="17" y="52"/>
                        <a:pt x="7" y="53"/>
                        <a:pt x="4" y="53"/>
                      </a:cubicBezTo>
                      <a:cubicBezTo>
                        <a:pt x="1" y="54"/>
                        <a:pt x="5" y="49"/>
                        <a:pt x="5" y="49"/>
                      </a:cubicBezTo>
                      <a:cubicBezTo>
                        <a:pt x="5" y="49"/>
                        <a:pt x="17" y="39"/>
                        <a:pt x="13" y="40"/>
                      </a:cubicBezTo>
                      <a:cubicBezTo>
                        <a:pt x="8" y="38"/>
                        <a:pt x="8" y="38"/>
                        <a:pt x="8" y="38"/>
                      </a:cubicBezTo>
                      <a:cubicBezTo>
                        <a:pt x="4" y="35"/>
                        <a:pt x="4" y="35"/>
                        <a:pt x="4" y="35"/>
                      </a:cubicBezTo>
                      <a:cubicBezTo>
                        <a:pt x="0" y="26"/>
                        <a:pt x="5" y="22"/>
                        <a:pt x="9" y="22"/>
                      </a:cubicBezTo>
                      <a:cubicBezTo>
                        <a:pt x="12" y="22"/>
                        <a:pt x="20" y="25"/>
                        <a:pt x="25" y="25"/>
                      </a:cubicBezTo>
                      <a:cubicBezTo>
                        <a:pt x="43" y="25"/>
                        <a:pt x="39" y="19"/>
                        <a:pt x="38" y="8"/>
                      </a:cubicBezTo>
                      <a:cubicBezTo>
                        <a:pt x="38" y="5"/>
                        <a:pt x="39" y="2"/>
                        <a:pt x="40" y="1"/>
                      </a:cubicBezTo>
                      <a:cubicBezTo>
                        <a:pt x="41" y="0"/>
                        <a:pt x="43" y="2"/>
                        <a:pt x="44" y="1"/>
                      </a:cubicBezTo>
                      <a:close/>
                      <a:moveTo>
                        <a:pt x="102" y="37"/>
                      </a:moveTo>
                      <a:cubicBezTo>
                        <a:pt x="102" y="37"/>
                        <a:pt x="102" y="37"/>
                        <a:pt x="102" y="37"/>
                      </a:cubicBezTo>
                      <a:cubicBezTo>
                        <a:pt x="102" y="37"/>
                        <a:pt x="102" y="37"/>
                        <a:pt x="102" y="37"/>
                      </a:cubicBezTo>
                      <a:cubicBezTo>
                        <a:pt x="102" y="38"/>
                        <a:pt x="102" y="38"/>
                        <a:pt x="102" y="38"/>
                      </a:cubicBezTo>
                      <a:cubicBezTo>
                        <a:pt x="102" y="37"/>
                        <a:pt x="102" y="37"/>
                        <a:pt x="102" y="37"/>
                      </a:cubicBezTo>
                      <a:cubicBezTo>
                        <a:pt x="102" y="37"/>
                        <a:pt x="102" y="37"/>
                        <a:pt x="102" y="37"/>
                      </a:cubicBezTo>
                      <a:close/>
                      <a:moveTo>
                        <a:pt x="102" y="38"/>
                      </a:moveTo>
                      <a:cubicBezTo>
                        <a:pt x="102" y="38"/>
                        <a:pt x="102" y="38"/>
                        <a:pt x="102" y="38"/>
                      </a:cubicBezTo>
                      <a:cubicBezTo>
                        <a:pt x="103" y="39"/>
                        <a:pt x="104" y="41"/>
                        <a:pt x="104" y="42"/>
                      </a:cubicBezTo>
                      <a:cubicBezTo>
                        <a:pt x="104" y="42"/>
                        <a:pt x="104" y="42"/>
                        <a:pt x="104" y="42"/>
                      </a:cubicBezTo>
                      <a:cubicBezTo>
                        <a:pt x="104" y="41"/>
                        <a:pt x="103" y="39"/>
                        <a:pt x="102" y="38"/>
                      </a:cubicBezTo>
                      <a:close/>
                    </a:path>
                  </a:pathLst>
                </a:custGeom>
                <a:solidFill>
                  <a:srgbClr val="E6EFF1"/>
                </a:solidFill>
                <a:ln w="12700" cap="rnd" cmpd="sng">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Lato Light"/>
                  </a:endParaRPr>
                </a:p>
              </p:txBody>
            </p:sp>
            <p:sp>
              <p:nvSpPr>
                <p:cNvPr id="7" name="Freeform 23">
                  <a:extLst>
                    <a:ext uri="{FF2B5EF4-FFF2-40B4-BE49-F238E27FC236}">
                      <a16:creationId xmlns:a16="http://schemas.microsoft.com/office/drawing/2014/main" id="{F6660A3F-7D8B-806A-F14E-9B8779041E2E}"/>
                    </a:ext>
                  </a:extLst>
                </p:cNvPr>
                <p:cNvSpPr>
                  <a:spLocks/>
                </p:cNvSpPr>
                <p:nvPr/>
              </p:nvSpPr>
              <p:spPr bwMode="auto">
                <a:xfrm>
                  <a:off x="5100446" y="5003729"/>
                  <a:ext cx="216716" cy="218146"/>
                </a:xfrm>
                <a:custGeom>
                  <a:avLst/>
                  <a:gdLst>
                    <a:gd name="T0" fmla="*/ 70 w 75"/>
                    <a:gd name="T1" fmla="*/ 49 h 78"/>
                    <a:gd name="T2" fmla="*/ 52 w 75"/>
                    <a:gd name="T3" fmla="*/ 56 h 78"/>
                    <a:gd name="T4" fmla="*/ 40 w 75"/>
                    <a:gd name="T5" fmla="*/ 65 h 78"/>
                    <a:gd name="T6" fmla="*/ 38 w 75"/>
                    <a:gd name="T7" fmla="*/ 77 h 78"/>
                    <a:gd name="T8" fmla="*/ 32 w 75"/>
                    <a:gd name="T9" fmla="*/ 76 h 78"/>
                    <a:gd name="T10" fmla="*/ 31 w 75"/>
                    <a:gd name="T11" fmla="*/ 70 h 78"/>
                    <a:gd name="T12" fmla="*/ 30 w 75"/>
                    <a:gd name="T13" fmla="*/ 66 h 78"/>
                    <a:gd name="T14" fmla="*/ 26 w 75"/>
                    <a:gd name="T15" fmla="*/ 60 h 78"/>
                    <a:gd name="T16" fmla="*/ 21 w 75"/>
                    <a:gd name="T17" fmla="*/ 57 h 78"/>
                    <a:gd name="T18" fmla="*/ 19 w 75"/>
                    <a:gd name="T19" fmla="*/ 57 h 78"/>
                    <a:gd name="T20" fmla="*/ 15 w 75"/>
                    <a:gd name="T21" fmla="*/ 55 h 78"/>
                    <a:gd name="T22" fmla="*/ 13 w 75"/>
                    <a:gd name="T23" fmla="*/ 49 h 78"/>
                    <a:gd name="T24" fmla="*/ 9 w 75"/>
                    <a:gd name="T25" fmla="*/ 46 h 78"/>
                    <a:gd name="T26" fmla="*/ 6 w 75"/>
                    <a:gd name="T27" fmla="*/ 44 h 78"/>
                    <a:gd name="T28" fmla="*/ 1 w 75"/>
                    <a:gd name="T29" fmla="*/ 34 h 78"/>
                    <a:gd name="T30" fmla="*/ 10 w 75"/>
                    <a:gd name="T31" fmla="*/ 29 h 78"/>
                    <a:gd name="T32" fmla="*/ 16 w 75"/>
                    <a:gd name="T33" fmla="*/ 27 h 78"/>
                    <a:gd name="T34" fmla="*/ 20 w 75"/>
                    <a:gd name="T35" fmla="*/ 24 h 78"/>
                    <a:gd name="T36" fmla="*/ 25 w 75"/>
                    <a:gd name="T37" fmla="*/ 15 h 78"/>
                    <a:gd name="T38" fmla="*/ 24 w 75"/>
                    <a:gd name="T39" fmla="*/ 8 h 78"/>
                    <a:gd name="T40" fmla="*/ 25 w 75"/>
                    <a:gd name="T41" fmla="*/ 4 h 78"/>
                    <a:gd name="T42" fmla="*/ 32 w 75"/>
                    <a:gd name="T43" fmla="*/ 2 h 78"/>
                    <a:gd name="T44" fmla="*/ 39 w 75"/>
                    <a:gd name="T45" fmla="*/ 7 h 78"/>
                    <a:gd name="T46" fmla="*/ 47 w 75"/>
                    <a:gd name="T47" fmla="*/ 11 h 78"/>
                    <a:gd name="T48" fmla="*/ 50 w 75"/>
                    <a:gd name="T49" fmla="*/ 17 h 78"/>
                    <a:gd name="T50" fmla="*/ 59 w 75"/>
                    <a:gd name="T51" fmla="*/ 23 h 78"/>
                    <a:gd name="T52" fmla="*/ 67 w 75"/>
                    <a:gd name="T53" fmla="*/ 26 h 78"/>
                    <a:gd name="T54" fmla="*/ 75 w 75"/>
                    <a:gd name="T55" fmla="*/ 26 h 78"/>
                    <a:gd name="T56" fmla="*/ 73 w 75"/>
                    <a:gd name="T57" fmla="*/ 31 h 78"/>
                    <a:gd name="T58" fmla="*/ 70 w 75"/>
                    <a:gd name="T59" fmla="*/ 37 h 78"/>
                    <a:gd name="T60" fmla="*/ 70 w 75"/>
                    <a:gd name="T61" fmla="*/ 43 h 78"/>
                    <a:gd name="T62" fmla="*/ 70 w 75"/>
                    <a:gd name="T63" fmla="*/ 4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5" h="78">
                      <a:moveTo>
                        <a:pt x="71" y="48"/>
                      </a:moveTo>
                      <a:cubicBezTo>
                        <a:pt x="70" y="49"/>
                        <a:pt x="70" y="49"/>
                        <a:pt x="70" y="49"/>
                      </a:cubicBezTo>
                      <a:cubicBezTo>
                        <a:pt x="66" y="51"/>
                        <a:pt x="61" y="49"/>
                        <a:pt x="60" y="56"/>
                      </a:cubicBezTo>
                      <a:cubicBezTo>
                        <a:pt x="60" y="68"/>
                        <a:pt x="56" y="56"/>
                        <a:pt x="52" y="56"/>
                      </a:cubicBezTo>
                      <a:cubicBezTo>
                        <a:pt x="49" y="56"/>
                        <a:pt x="49" y="58"/>
                        <a:pt x="47" y="60"/>
                      </a:cubicBezTo>
                      <a:cubicBezTo>
                        <a:pt x="44" y="62"/>
                        <a:pt x="41" y="63"/>
                        <a:pt x="40" y="65"/>
                      </a:cubicBezTo>
                      <a:cubicBezTo>
                        <a:pt x="40" y="67"/>
                        <a:pt x="39" y="69"/>
                        <a:pt x="39" y="71"/>
                      </a:cubicBezTo>
                      <a:cubicBezTo>
                        <a:pt x="40" y="74"/>
                        <a:pt x="40" y="77"/>
                        <a:pt x="38" y="77"/>
                      </a:cubicBezTo>
                      <a:cubicBezTo>
                        <a:pt x="37" y="77"/>
                        <a:pt x="34" y="78"/>
                        <a:pt x="32" y="77"/>
                      </a:cubicBezTo>
                      <a:cubicBezTo>
                        <a:pt x="32" y="76"/>
                        <a:pt x="32" y="76"/>
                        <a:pt x="32" y="76"/>
                      </a:cubicBezTo>
                      <a:cubicBezTo>
                        <a:pt x="33" y="73"/>
                        <a:pt x="33" y="73"/>
                        <a:pt x="33" y="73"/>
                      </a:cubicBezTo>
                      <a:cubicBezTo>
                        <a:pt x="31" y="70"/>
                        <a:pt x="31" y="70"/>
                        <a:pt x="31" y="70"/>
                      </a:cubicBezTo>
                      <a:cubicBezTo>
                        <a:pt x="31" y="70"/>
                        <a:pt x="31" y="70"/>
                        <a:pt x="31" y="69"/>
                      </a:cubicBezTo>
                      <a:cubicBezTo>
                        <a:pt x="30" y="68"/>
                        <a:pt x="30" y="66"/>
                        <a:pt x="30" y="66"/>
                      </a:cubicBezTo>
                      <a:cubicBezTo>
                        <a:pt x="29" y="63"/>
                        <a:pt x="29" y="63"/>
                        <a:pt x="29" y="63"/>
                      </a:cubicBezTo>
                      <a:cubicBezTo>
                        <a:pt x="29" y="63"/>
                        <a:pt x="27" y="61"/>
                        <a:pt x="26" y="60"/>
                      </a:cubicBezTo>
                      <a:cubicBezTo>
                        <a:pt x="26" y="60"/>
                        <a:pt x="26" y="59"/>
                        <a:pt x="24" y="58"/>
                      </a:cubicBezTo>
                      <a:cubicBezTo>
                        <a:pt x="23" y="58"/>
                        <a:pt x="21" y="57"/>
                        <a:pt x="21" y="57"/>
                      </a:cubicBezTo>
                      <a:cubicBezTo>
                        <a:pt x="20" y="57"/>
                        <a:pt x="20" y="57"/>
                        <a:pt x="20" y="57"/>
                      </a:cubicBezTo>
                      <a:cubicBezTo>
                        <a:pt x="20" y="57"/>
                        <a:pt x="19" y="57"/>
                        <a:pt x="19" y="57"/>
                      </a:cubicBezTo>
                      <a:cubicBezTo>
                        <a:pt x="17" y="55"/>
                        <a:pt x="17" y="55"/>
                        <a:pt x="17" y="55"/>
                      </a:cubicBezTo>
                      <a:cubicBezTo>
                        <a:pt x="15" y="55"/>
                        <a:pt x="15" y="55"/>
                        <a:pt x="15" y="55"/>
                      </a:cubicBezTo>
                      <a:cubicBezTo>
                        <a:pt x="14" y="52"/>
                        <a:pt x="14" y="52"/>
                        <a:pt x="14" y="52"/>
                      </a:cubicBezTo>
                      <a:cubicBezTo>
                        <a:pt x="13" y="49"/>
                        <a:pt x="13" y="49"/>
                        <a:pt x="13" y="49"/>
                      </a:cubicBezTo>
                      <a:cubicBezTo>
                        <a:pt x="11" y="47"/>
                        <a:pt x="11" y="47"/>
                        <a:pt x="11" y="47"/>
                      </a:cubicBezTo>
                      <a:cubicBezTo>
                        <a:pt x="9" y="46"/>
                        <a:pt x="9" y="46"/>
                        <a:pt x="9" y="46"/>
                      </a:cubicBezTo>
                      <a:cubicBezTo>
                        <a:pt x="8" y="45"/>
                        <a:pt x="8" y="45"/>
                        <a:pt x="8" y="45"/>
                      </a:cubicBezTo>
                      <a:cubicBezTo>
                        <a:pt x="6" y="44"/>
                        <a:pt x="6" y="44"/>
                        <a:pt x="6" y="44"/>
                      </a:cubicBezTo>
                      <a:cubicBezTo>
                        <a:pt x="5" y="42"/>
                        <a:pt x="7" y="40"/>
                        <a:pt x="6" y="38"/>
                      </a:cubicBezTo>
                      <a:cubicBezTo>
                        <a:pt x="4" y="36"/>
                        <a:pt x="0" y="34"/>
                        <a:pt x="1" y="34"/>
                      </a:cubicBezTo>
                      <a:cubicBezTo>
                        <a:pt x="2" y="32"/>
                        <a:pt x="6" y="33"/>
                        <a:pt x="8" y="32"/>
                      </a:cubicBezTo>
                      <a:cubicBezTo>
                        <a:pt x="9" y="32"/>
                        <a:pt x="9" y="30"/>
                        <a:pt x="10" y="29"/>
                      </a:cubicBezTo>
                      <a:cubicBezTo>
                        <a:pt x="11" y="29"/>
                        <a:pt x="13" y="30"/>
                        <a:pt x="13" y="28"/>
                      </a:cubicBezTo>
                      <a:cubicBezTo>
                        <a:pt x="13" y="26"/>
                        <a:pt x="15" y="26"/>
                        <a:pt x="16" y="27"/>
                      </a:cubicBezTo>
                      <a:cubicBezTo>
                        <a:pt x="16" y="27"/>
                        <a:pt x="17" y="27"/>
                        <a:pt x="19" y="25"/>
                      </a:cubicBezTo>
                      <a:cubicBezTo>
                        <a:pt x="22" y="24"/>
                        <a:pt x="20" y="24"/>
                        <a:pt x="20" y="24"/>
                      </a:cubicBezTo>
                      <a:cubicBezTo>
                        <a:pt x="19" y="21"/>
                        <a:pt x="19" y="21"/>
                        <a:pt x="19" y="21"/>
                      </a:cubicBezTo>
                      <a:cubicBezTo>
                        <a:pt x="25" y="15"/>
                        <a:pt x="25" y="15"/>
                        <a:pt x="25" y="15"/>
                      </a:cubicBezTo>
                      <a:cubicBezTo>
                        <a:pt x="26" y="10"/>
                        <a:pt x="26" y="10"/>
                        <a:pt x="26" y="10"/>
                      </a:cubicBezTo>
                      <a:cubicBezTo>
                        <a:pt x="26" y="10"/>
                        <a:pt x="25" y="9"/>
                        <a:pt x="24" y="8"/>
                      </a:cubicBezTo>
                      <a:cubicBezTo>
                        <a:pt x="22" y="6"/>
                        <a:pt x="23" y="6"/>
                        <a:pt x="23" y="5"/>
                      </a:cubicBezTo>
                      <a:cubicBezTo>
                        <a:pt x="24" y="4"/>
                        <a:pt x="25" y="4"/>
                        <a:pt x="25" y="4"/>
                      </a:cubicBezTo>
                      <a:cubicBezTo>
                        <a:pt x="26" y="3"/>
                        <a:pt x="28" y="3"/>
                        <a:pt x="30" y="1"/>
                      </a:cubicBezTo>
                      <a:cubicBezTo>
                        <a:pt x="32" y="0"/>
                        <a:pt x="32" y="2"/>
                        <a:pt x="32" y="2"/>
                      </a:cubicBezTo>
                      <a:cubicBezTo>
                        <a:pt x="32" y="2"/>
                        <a:pt x="33" y="5"/>
                        <a:pt x="36" y="6"/>
                      </a:cubicBezTo>
                      <a:cubicBezTo>
                        <a:pt x="38" y="7"/>
                        <a:pt x="39" y="7"/>
                        <a:pt x="39" y="7"/>
                      </a:cubicBezTo>
                      <a:cubicBezTo>
                        <a:pt x="42" y="7"/>
                        <a:pt x="42" y="7"/>
                        <a:pt x="42" y="7"/>
                      </a:cubicBezTo>
                      <a:cubicBezTo>
                        <a:pt x="47" y="11"/>
                        <a:pt x="47" y="11"/>
                        <a:pt x="47" y="11"/>
                      </a:cubicBezTo>
                      <a:cubicBezTo>
                        <a:pt x="47" y="11"/>
                        <a:pt x="47" y="11"/>
                        <a:pt x="48" y="12"/>
                      </a:cubicBezTo>
                      <a:cubicBezTo>
                        <a:pt x="49" y="13"/>
                        <a:pt x="50" y="17"/>
                        <a:pt x="50" y="17"/>
                      </a:cubicBezTo>
                      <a:cubicBezTo>
                        <a:pt x="58" y="19"/>
                        <a:pt x="58" y="19"/>
                        <a:pt x="58" y="19"/>
                      </a:cubicBezTo>
                      <a:cubicBezTo>
                        <a:pt x="59" y="23"/>
                        <a:pt x="59" y="23"/>
                        <a:pt x="59" y="23"/>
                      </a:cubicBezTo>
                      <a:cubicBezTo>
                        <a:pt x="59" y="23"/>
                        <a:pt x="63" y="23"/>
                        <a:pt x="65" y="24"/>
                      </a:cubicBezTo>
                      <a:cubicBezTo>
                        <a:pt x="67" y="24"/>
                        <a:pt x="67" y="26"/>
                        <a:pt x="67" y="26"/>
                      </a:cubicBezTo>
                      <a:cubicBezTo>
                        <a:pt x="70" y="25"/>
                        <a:pt x="70" y="25"/>
                        <a:pt x="70" y="25"/>
                      </a:cubicBezTo>
                      <a:cubicBezTo>
                        <a:pt x="75" y="26"/>
                        <a:pt x="75" y="26"/>
                        <a:pt x="75" y="26"/>
                      </a:cubicBezTo>
                      <a:cubicBezTo>
                        <a:pt x="75" y="26"/>
                        <a:pt x="75" y="27"/>
                        <a:pt x="74" y="28"/>
                      </a:cubicBezTo>
                      <a:cubicBezTo>
                        <a:pt x="73" y="28"/>
                        <a:pt x="73" y="30"/>
                        <a:pt x="73" y="31"/>
                      </a:cubicBezTo>
                      <a:cubicBezTo>
                        <a:pt x="73" y="33"/>
                        <a:pt x="73" y="34"/>
                        <a:pt x="73" y="35"/>
                      </a:cubicBezTo>
                      <a:cubicBezTo>
                        <a:pt x="72" y="37"/>
                        <a:pt x="71" y="36"/>
                        <a:pt x="70" y="37"/>
                      </a:cubicBezTo>
                      <a:cubicBezTo>
                        <a:pt x="69" y="37"/>
                        <a:pt x="70" y="39"/>
                        <a:pt x="71" y="41"/>
                      </a:cubicBezTo>
                      <a:cubicBezTo>
                        <a:pt x="71" y="42"/>
                        <a:pt x="71" y="42"/>
                        <a:pt x="70" y="43"/>
                      </a:cubicBezTo>
                      <a:cubicBezTo>
                        <a:pt x="68" y="45"/>
                        <a:pt x="67" y="45"/>
                        <a:pt x="67" y="45"/>
                      </a:cubicBezTo>
                      <a:cubicBezTo>
                        <a:pt x="70" y="48"/>
                        <a:pt x="70" y="48"/>
                        <a:pt x="70" y="48"/>
                      </a:cubicBezTo>
                      <a:cubicBezTo>
                        <a:pt x="70" y="48"/>
                        <a:pt x="70" y="48"/>
                        <a:pt x="71" y="48"/>
                      </a:cubicBezTo>
                      <a:close/>
                    </a:path>
                  </a:pathLst>
                </a:custGeom>
                <a:solidFill>
                  <a:srgbClr val="E6EFF1"/>
                </a:solidFill>
                <a:ln w="12700" cap="rnd" cmpd="sng">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Lato Light"/>
                  </a:endParaRPr>
                </a:p>
              </p:txBody>
            </p:sp>
            <p:sp>
              <p:nvSpPr>
                <p:cNvPr id="8" name="Freeform 5">
                  <a:extLst>
                    <a:ext uri="{FF2B5EF4-FFF2-40B4-BE49-F238E27FC236}">
                      <a16:creationId xmlns:a16="http://schemas.microsoft.com/office/drawing/2014/main" id="{0A1FEFA5-1C59-CE95-5693-9783EC9722D0}"/>
                    </a:ext>
                  </a:extLst>
                </p:cNvPr>
                <p:cNvSpPr>
                  <a:spLocks/>
                </p:cNvSpPr>
                <p:nvPr/>
              </p:nvSpPr>
              <p:spPr bwMode="auto">
                <a:xfrm>
                  <a:off x="5035154" y="5115496"/>
                  <a:ext cx="244501" cy="447065"/>
                </a:xfrm>
                <a:custGeom>
                  <a:avLst/>
                  <a:gdLst>
                    <a:gd name="T0" fmla="*/ 57 w 85"/>
                    <a:gd name="T1" fmla="*/ 158 h 160"/>
                    <a:gd name="T2" fmla="*/ 58 w 85"/>
                    <a:gd name="T3" fmla="*/ 151 h 160"/>
                    <a:gd name="T4" fmla="*/ 63 w 85"/>
                    <a:gd name="T5" fmla="*/ 149 h 160"/>
                    <a:gd name="T6" fmla="*/ 58 w 85"/>
                    <a:gd name="T7" fmla="*/ 142 h 160"/>
                    <a:gd name="T8" fmla="*/ 61 w 85"/>
                    <a:gd name="T9" fmla="*/ 137 h 160"/>
                    <a:gd name="T10" fmla="*/ 75 w 85"/>
                    <a:gd name="T11" fmla="*/ 124 h 160"/>
                    <a:gd name="T12" fmla="*/ 84 w 85"/>
                    <a:gd name="T13" fmla="*/ 96 h 160"/>
                    <a:gd name="T14" fmla="*/ 79 w 85"/>
                    <a:gd name="T15" fmla="*/ 91 h 160"/>
                    <a:gd name="T16" fmla="*/ 73 w 85"/>
                    <a:gd name="T17" fmla="*/ 88 h 160"/>
                    <a:gd name="T18" fmla="*/ 68 w 85"/>
                    <a:gd name="T19" fmla="*/ 90 h 160"/>
                    <a:gd name="T20" fmla="*/ 68 w 85"/>
                    <a:gd name="T21" fmla="*/ 90 h 160"/>
                    <a:gd name="T22" fmla="*/ 68 w 85"/>
                    <a:gd name="T23" fmla="*/ 90 h 160"/>
                    <a:gd name="T24" fmla="*/ 65 w 85"/>
                    <a:gd name="T25" fmla="*/ 81 h 160"/>
                    <a:gd name="T26" fmla="*/ 59 w 85"/>
                    <a:gd name="T27" fmla="*/ 76 h 160"/>
                    <a:gd name="T28" fmla="*/ 55 w 85"/>
                    <a:gd name="T29" fmla="*/ 68 h 160"/>
                    <a:gd name="T30" fmla="*/ 52 w 85"/>
                    <a:gd name="T31" fmla="*/ 59 h 160"/>
                    <a:gd name="T32" fmla="*/ 56 w 85"/>
                    <a:gd name="T33" fmla="*/ 53 h 160"/>
                    <a:gd name="T34" fmla="*/ 54 w 85"/>
                    <a:gd name="T35" fmla="*/ 43 h 160"/>
                    <a:gd name="T36" fmla="*/ 55 w 85"/>
                    <a:gd name="T37" fmla="*/ 36 h 160"/>
                    <a:gd name="T38" fmla="*/ 53 w 85"/>
                    <a:gd name="T39" fmla="*/ 26 h 160"/>
                    <a:gd name="T40" fmla="*/ 44 w 85"/>
                    <a:gd name="T41" fmla="*/ 17 h 160"/>
                    <a:gd name="T42" fmla="*/ 37 w 85"/>
                    <a:gd name="T43" fmla="*/ 12 h 160"/>
                    <a:gd name="T44" fmla="*/ 31 w 85"/>
                    <a:gd name="T45" fmla="*/ 5 h 160"/>
                    <a:gd name="T46" fmla="*/ 24 w 85"/>
                    <a:gd name="T47" fmla="*/ 7 h 160"/>
                    <a:gd name="T48" fmla="*/ 19 w 85"/>
                    <a:gd name="T49" fmla="*/ 9 h 160"/>
                    <a:gd name="T50" fmla="*/ 17 w 85"/>
                    <a:gd name="T51" fmla="*/ 3 h 160"/>
                    <a:gd name="T52" fmla="*/ 14 w 85"/>
                    <a:gd name="T53" fmla="*/ 0 h 160"/>
                    <a:gd name="T54" fmla="*/ 9 w 85"/>
                    <a:gd name="T55" fmla="*/ 9 h 160"/>
                    <a:gd name="T56" fmla="*/ 5 w 85"/>
                    <a:gd name="T57" fmla="*/ 15 h 160"/>
                    <a:gd name="T58" fmla="*/ 3 w 85"/>
                    <a:gd name="T59" fmla="*/ 21 h 160"/>
                    <a:gd name="T60" fmla="*/ 1 w 85"/>
                    <a:gd name="T61" fmla="*/ 28 h 160"/>
                    <a:gd name="T62" fmla="*/ 5 w 85"/>
                    <a:gd name="T63" fmla="*/ 33 h 160"/>
                    <a:gd name="T64" fmla="*/ 5 w 85"/>
                    <a:gd name="T65" fmla="*/ 39 h 160"/>
                    <a:gd name="T66" fmla="*/ 6 w 85"/>
                    <a:gd name="T67" fmla="*/ 45 h 160"/>
                    <a:gd name="T68" fmla="*/ 14 w 85"/>
                    <a:gd name="T69" fmla="*/ 45 h 160"/>
                    <a:gd name="T70" fmla="*/ 14 w 85"/>
                    <a:gd name="T71" fmla="*/ 54 h 160"/>
                    <a:gd name="T72" fmla="*/ 13 w 85"/>
                    <a:gd name="T73" fmla="*/ 59 h 160"/>
                    <a:gd name="T74" fmla="*/ 14 w 85"/>
                    <a:gd name="T75" fmla="*/ 61 h 160"/>
                    <a:gd name="T76" fmla="*/ 11 w 85"/>
                    <a:gd name="T77" fmla="*/ 67 h 160"/>
                    <a:gd name="T78" fmla="*/ 11 w 85"/>
                    <a:gd name="T79" fmla="*/ 71 h 160"/>
                    <a:gd name="T80" fmla="*/ 14 w 85"/>
                    <a:gd name="T81" fmla="*/ 77 h 160"/>
                    <a:gd name="T82" fmla="*/ 14 w 85"/>
                    <a:gd name="T83" fmla="*/ 87 h 160"/>
                    <a:gd name="T84" fmla="*/ 14 w 85"/>
                    <a:gd name="T85" fmla="*/ 93 h 160"/>
                    <a:gd name="T86" fmla="*/ 13 w 85"/>
                    <a:gd name="T87" fmla="*/ 97 h 160"/>
                    <a:gd name="T88" fmla="*/ 11 w 85"/>
                    <a:gd name="T89" fmla="*/ 101 h 160"/>
                    <a:gd name="T90" fmla="*/ 12 w 85"/>
                    <a:gd name="T91" fmla="*/ 111 h 160"/>
                    <a:gd name="T92" fmla="*/ 19 w 85"/>
                    <a:gd name="T93" fmla="*/ 119 h 160"/>
                    <a:gd name="T94" fmla="*/ 18 w 85"/>
                    <a:gd name="T95" fmla="*/ 126 h 160"/>
                    <a:gd name="T96" fmla="*/ 13 w 85"/>
                    <a:gd name="T97" fmla="*/ 120 h 160"/>
                    <a:gd name="T98" fmla="*/ 14 w 85"/>
                    <a:gd name="T99" fmla="*/ 124 h 160"/>
                    <a:gd name="T100" fmla="*/ 19 w 85"/>
                    <a:gd name="T101" fmla="*/ 131 h 160"/>
                    <a:gd name="T102" fmla="*/ 32 w 85"/>
                    <a:gd name="T103" fmla="*/ 138 h 160"/>
                    <a:gd name="T104" fmla="*/ 38 w 85"/>
                    <a:gd name="T105" fmla="*/ 139 h 160"/>
                    <a:gd name="T106" fmla="*/ 44 w 85"/>
                    <a:gd name="T107" fmla="*/ 151 h 160"/>
                    <a:gd name="T108" fmla="*/ 46 w 85"/>
                    <a:gd name="T109" fmla="*/ 155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85" h="160">
                      <a:moveTo>
                        <a:pt x="49" y="158"/>
                      </a:moveTo>
                      <a:cubicBezTo>
                        <a:pt x="52" y="160"/>
                        <a:pt x="52" y="160"/>
                        <a:pt x="52" y="160"/>
                      </a:cubicBezTo>
                      <a:cubicBezTo>
                        <a:pt x="55" y="159"/>
                        <a:pt x="55" y="159"/>
                        <a:pt x="55" y="159"/>
                      </a:cubicBezTo>
                      <a:cubicBezTo>
                        <a:pt x="57" y="158"/>
                        <a:pt x="57" y="158"/>
                        <a:pt x="57" y="158"/>
                      </a:cubicBezTo>
                      <a:cubicBezTo>
                        <a:pt x="57" y="158"/>
                        <a:pt x="59" y="156"/>
                        <a:pt x="59" y="156"/>
                      </a:cubicBezTo>
                      <a:cubicBezTo>
                        <a:pt x="59" y="156"/>
                        <a:pt x="59" y="154"/>
                        <a:pt x="59" y="154"/>
                      </a:cubicBezTo>
                      <a:cubicBezTo>
                        <a:pt x="58" y="153"/>
                        <a:pt x="58" y="153"/>
                        <a:pt x="58" y="153"/>
                      </a:cubicBezTo>
                      <a:cubicBezTo>
                        <a:pt x="58" y="153"/>
                        <a:pt x="57" y="151"/>
                        <a:pt x="58" y="151"/>
                      </a:cubicBezTo>
                      <a:cubicBezTo>
                        <a:pt x="59" y="151"/>
                        <a:pt x="60" y="150"/>
                        <a:pt x="60" y="151"/>
                      </a:cubicBezTo>
                      <a:cubicBezTo>
                        <a:pt x="61" y="151"/>
                        <a:pt x="60" y="151"/>
                        <a:pt x="61" y="151"/>
                      </a:cubicBezTo>
                      <a:cubicBezTo>
                        <a:pt x="62" y="151"/>
                        <a:pt x="63" y="150"/>
                        <a:pt x="63" y="150"/>
                      </a:cubicBezTo>
                      <a:cubicBezTo>
                        <a:pt x="63" y="149"/>
                        <a:pt x="63" y="149"/>
                        <a:pt x="63" y="149"/>
                      </a:cubicBezTo>
                      <a:cubicBezTo>
                        <a:pt x="63" y="149"/>
                        <a:pt x="63" y="149"/>
                        <a:pt x="63" y="149"/>
                      </a:cubicBezTo>
                      <a:cubicBezTo>
                        <a:pt x="62" y="148"/>
                        <a:pt x="59" y="146"/>
                        <a:pt x="58" y="146"/>
                      </a:cubicBezTo>
                      <a:cubicBezTo>
                        <a:pt x="58" y="145"/>
                        <a:pt x="57" y="144"/>
                        <a:pt x="57" y="144"/>
                      </a:cubicBezTo>
                      <a:cubicBezTo>
                        <a:pt x="57" y="143"/>
                        <a:pt x="58" y="142"/>
                        <a:pt x="58" y="142"/>
                      </a:cubicBezTo>
                      <a:cubicBezTo>
                        <a:pt x="57" y="141"/>
                        <a:pt x="57" y="141"/>
                        <a:pt x="57" y="141"/>
                      </a:cubicBezTo>
                      <a:cubicBezTo>
                        <a:pt x="57" y="141"/>
                        <a:pt x="58" y="140"/>
                        <a:pt x="59" y="140"/>
                      </a:cubicBezTo>
                      <a:cubicBezTo>
                        <a:pt x="59" y="140"/>
                        <a:pt x="60" y="140"/>
                        <a:pt x="60" y="140"/>
                      </a:cubicBezTo>
                      <a:cubicBezTo>
                        <a:pt x="61" y="137"/>
                        <a:pt x="61" y="137"/>
                        <a:pt x="61" y="137"/>
                      </a:cubicBezTo>
                      <a:cubicBezTo>
                        <a:pt x="61" y="137"/>
                        <a:pt x="61" y="136"/>
                        <a:pt x="62" y="136"/>
                      </a:cubicBezTo>
                      <a:cubicBezTo>
                        <a:pt x="62" y="136"/>
                        <a:pt x="63" y="136"/>
                        <a:pt x="63" y="136"/>
                      </a:cubicBezTo>
                      <a:cubicBezTo>
                        <a:pt x="70" y="132"/>
                        <a:pt x="70" y="132"/>
                        <a:pt x="70" y="132"/>
                      </a:cubicBezTo>
                      <a:cubicBezTo>
                        <a:pt x="75" y="124"/>
                        <a:pt x="75" y="124"/>
                        <a:pt x="75" y="124"/>
                      </a:cubicBezTo>
                      <a:cubicBezTo>
                        <a:pt x="77" y="115"/>
                        <a:pt x="77" y="115"/>
                        <a:pt x="77" y="115"/>
                      </a:cubicBezTo>
                      <a:cubicBezTo>
                        <a:pt x="80" y="107"/>
                        <a:pt x="80" y="107"/>
                        <a:pt x="80" y="107"/>
                      </a:cubicBezTo>
                      <a:cubicBezTo>
                        <a:pt x="80" y="107"/>
                        <a:pt x="84" y="103"/>
                        <a:pt x="84" y="104"/>
                      </a:cubicBezTo>
                      <a:cubicBezTo>
                        <a:pt x="85" y="105"/>
                        <a:pt x="84" y="96"/>
                        <a:pt x="84" y="96"/>
                      </a:cubicBezTo>
                      <a:cubicBezTo>
                        <a:pt x="81" y="93"/>
                        <a:pt x="81" y="93"/>
                        <a:pt x="81" y="93"/>
                      </a:cubicBezTo>
                      <a:cubicBezTo>
                        <a:pt x="81" y="91"/>
                        <a:pt x="81" y="91"/>
                        <a:pt x="81" y="91"/>
                      </a:cubicBezTo>
                      <a:cubicBezTo>
                        <a:pt x="81" y="91"/>
                        <a:pt x="80" y="91"/>
                        <a:pt x="80" y="91"/>
                      </a:cubicBezTo>
                      <a:cubicBezTo>
                        <a:pt x="80" y="91"/>
                        <a:pt x="80" y="91"/>
                        <a:pt x="79" y="91"/>
                      </a:cubicBezTo>
                      <a:cubicBezTo>
                        <a:pt x="79" y="90"/>
                        <a:pt x="79" y="90"/>
                        <a:pt x="79" y="90"/>
                      </a:cubicBezTo>
                      <a:cubicBezTo>
                        <a:pt x="77" y="88"/>
                        <a:pt x="77" y="88"/>
                        <a:pt x="77" y="88"/>
                      </a:cubicBezTo>
                      <a:cubicBezTo>
                        <a:pt x="77" y="88"/>
                        <a:pt x="76" y="89"/>
                        <a:pt x="75" y="89"/>
                      </a:cubicBezTo>
                      <a:cubicBezTo>
                        <a:pt x="74" y="89"/>
                        <a:pt x="74" y="88"/>
                        <a:pt x="73" y="88"/>
                      </a:cubicBezTo>
                      <a:cubicBezTo>
                        <a:pt x="73" y="88"/>
                        <a:pt x="73" y="88"/>
                        <a:pt x="73" y="88"/>
                      </a:cubicBezTo>
                      <a:cubicBezTo>
                        <a:pt x="73" y="88"/>
                        <a:pt x="72" y="88"/>
                        <a:pt x="71" y="88"/>
                      </a:cubicBezTo>
                      <a:cubicBezTo>
                        <a:pt x="70" y="88"/>
                        <a:pt x="69" y="90"/>
                        <a:pt x="68" y="90"/>
                      </a:cubicBezTo>
                      <a:cubicBezTo>
                        <a:pt x="68" y="90"/>
                        <a:pt x="68" y="90"/>
                        <a:pt x="68" y="90"/>
                      </a:cubicBezTo>
                      <a:cubicBezTo>
                        <a:pt x="68" y="90"/>
                        <a:pt x="68" y="90"/>
                        <a:pt x="68" y="90"/>
                      </a:cubicBezTo>
                      <a:cubicBezTo>
                        <a:pt x="68" y="90"/>
                        <a:pt x="68" y="90"/>
                        <a:pt x="68" y="90"/>
                      </a:cubicBezTo>
                      <a:cubicBezTo>
                        <a:pt x="68" y="90"/>
                        <a:pt x="68" y="90"/>
                        <a:pt x="68" y="90"/>
                      </a:cubicBezTo>
                      <a:cubicBezTo>
                        <a:pt x="68" y="90"/>
                        <a:pt x="68" y="90"/>
                        <a:pt x="68" y="90"/>
                      </a:cubicBezTo>
                      <a:cubicBezTo>
                        <a:pt x="68" y="90"/>
                        <a:pt x="68" y="90"/>
                        <a:pt x="68" y="90"/>
                      </a:cubicBezTo>
                      <a:cubicBezTo>
                        <a:pt x="68" y="90"/>
                        <a:pt x="68" y="90"/>
                        <a:pt x="68" y="90"/>
                      </a:cubicBezTo>
                      <a:cubicBezTo>
                        <a:pt x="68" y="90"/>
                        <a:pt x="68" y="90"/>
                        <a:pt x="68" y="90"/>
                      </a:cubicBezTo>
                      <a:cubicBezTo>
                        <a:pt x="68" y="90"/>
                        <a:pt x="68" y="90"/>
                        <a:pt x="68" y="90"/>
                      </a:cubicBezTo>
                      <a:cubicBezTo>
                        <a:pt x="68" y="89"/>
                        <a:pt x="68" y="89"/>
                        <a:pt x="68" y="89"/>
                      </a:cubicBezTo>
                      <a:cubicBezTo>
                        <a:pt x="68" y="88"/>
                        <a:pt x="68" y="88"/>
                        <a:pt x="67" y="87"/>
                      </a:cubicBezTo>
                      <a:cubicBezTo>
                        <a:pt x="67" y="86"/>
                        <a:pt x="67" y="84"/>
                        <a:pt x="66" y="83"/>
                      </a:cubicBezTo>
                      <a:cubicBezTo>
                        <a:pt x="65" y="82"/>
                        <a:pt x="65" y="81"/>
                        <a:pt x="65" y="81"/>
                      </a:cubicBezTo>
                      <a:cubicBezTo>
                        <a:pt x="65" y="81"/>
                        <a:pt x="63" y="81"/>
                        <a:pt x="62" y="81"/>
                      </a:cubicBezTo>
                      <a:cubicBezTo>
                        <a:pt x="62" y="81"/>
                        <a:pt x="61" y="81"/>
                        <a:pt x="61" y="81"/>
                      </a:cubicBezTo>
                      <a:cubicBezTo>
                        <a:pt x="61" y="81"/>
                        <a:pt x="60" y="79"/>
                        <a:pt x="61" y="79"/>
                      </a:cubicBezTo>
                      <a:cubicBezTo>
                        <a:pt x="61" y="78"/>
                        <a:pt x="60" y="77"/>
                        <a:pt x="59" y="76"/>
                      </a:cubicBezTo>
                      <a:cubicBezTo>
                        <a:pt x="59" y="76"/>
                        <a:pt x="57" y="73"/>
                        <a:pt x="57" y="73"/>
                      </a:cubicBezTo>
                      <a:cubicBezTo>
                        <a:pt x="57" y="73"/>
                        <a:pt x="56" y="73"/>
                        <a:pt x="56" y="72"/>
                      </a:cubicBezTo>
                      <a:cubicBezTo>
                        <a:pt x="56" y="71"/>
                        <a:pt x="56" y="70"/>
                        <a:pt x="56" y="70"/>
                      </a:cubicBezTo>
                      <a:cubicBezTo>
                        <a:pt x="55" y="68"/>
                        <a:pt x="55" y="68"/>
                        <a:pt x="55" y="68"/>
                      </a:cubicBezTo>
                      <a:cubicBezTo>
                        <a:pt x="55" y="68"/>
                        <a:pt x="57" y="67"/>
                        <a:pt x="57" y="66"/>
                      </a:cubicBezTo>
                      <a:cubicBezTo>
                        <a:pt x="57" y="66"/>
                        <a:pt x="58" y="65"/>
                        <a:pt x="57" y="64"/>
                      </a:cubicBezTo>
                      <a:cubicBezTo>
                        <a:pt x="57" y="63"/>
                        <a:pt x="55" y="62"/>
                        <a:pt x="55" y="62"/>
                      </a:cubicBezTo>
                      <a:cubicBezTo>
                        <a:pt x="54" y="61"/>
                        <a:pt x="53" y="60"/>
                        <a:pt x="52" y="59"/>
                      </a:cubicBezTo>
                      <a:cubicBezTo>
                        <a:pt x="52" y="58"/>
                        <a:pt x="52" y="57"/>
                        <a:pt x="52" y="57"/>
                      </a:cubicBezTo>
                      <a:cubicBezTo>
                        <a:pt x="52" y="57"/>
                        <a:pt x="52" y="56"/>
                        <a:pt x="53" y="56"/>
                      </a:cubicBezTo>
                      <a:cubicBezTo>
                        <a:pt x="54" y="55"/>
                        <a:pt x="55" y="55"/>
                        <a:pt x="55" y="54"/>
                      </a:cubicBezTo>
                      <a:cubicBezTo>
                        <a:pt x="55" y="54"/>
                        <a:pt x="56" y="54"/>
                        <a:pt x="56" y="53"/>
                      </a:cubicBezTo>
                      <a:cubicBezTo>
                        <a:pt x="55" y="52"/>
                        <a:pt x="54" y="51"/>
                        <a:pt x="54" y="51"/>
                      </a:cubicBezTo>
                      <a:cubicBezTo>
                        <a:pt x="55" y="48"/>
                        <a:pt x="55" y="48"/>
                        <a:pt x="55" y="48"/>
                      </a:cubicBezTo>
                      <a:cubicBezTo>
                        <a:pt x="54" y="47"/>
                        <a:pt x="54" y="47"/>
                        <a:pt x="54" y="47"/>
                      </a:cubicBezTo>
                      <a:cubicBezTo>
                        <a:pt x="54" y="43"/>
                        <a:pt x="54" y="43"/>
                        <a:pt x="54" y="43"/>
                      </a:cubicBezTo>
                      <a:cubicBezTo>
                        <a:pt x="54" y="42"/>
                        <a:pt x="54" y="42"/>
                        <a:pt x="54" y="42"/>
                      </a:cubicBezTo>
                      <a:cubicBezTo>
                        <a:pt x="54" y="42"/>
                        <a:pt x="55" y="40"/>
                        <a:pt x="55" y="40"/>
                      </a:cubicBezTo>
                      <a:cubicBezTo>
                        <a:pt x="55" y="39"/>
                        <a:pt x="55" y="37"/>
                        <a:pt x="55" y="37"/>
                      </a:cubicBezTo>
                      <a:cubicBezTo>
                        <a:pt x="55" y="36"/>
                        <a:pt x="55" y="36"/>
                        <a:pt x="55" y="36"/>
                      </a:cubicBezTo>
                      <a:cubicBezTo>
                        <a:pt x="56" y="33"/>
                        <a:pt x="56" y="33"/>
                        <a:pt x="56" y="33"/>
                      </a:cubicBezTo>
                      <a:cubicBezTo>
                        <a:pt x="54" y="30"/>
                        <a:pt x="54" y="30"/>
                        <a:pt x="54" y="30"/>
                      </a:cubicBezTo>
                      <a:cubicBezTo>
                        <a:pt x="54" y="30"/>
                        <a:pt x="54" y="30"/>
                        <a:pt x="54" y="29"/>
                      </a:cubicBezTo>
                      <a:cubicBezTo>
                        <a:pt x="53" y="28"/>
                        <a:pt x="53" y="26"/>
                        <a:pt x="53" y="26"/>
                      </a:cubicBezTo>
                      <a:cubicBezTo>
                        <a:pt x="52" y="23"/>
                        <a:pt x="52" y="23"/>
                        <a:pt x="52" y="23"/>
                      </a:cubicBezTo>
                      <a:cubicBezTo>
                        <a:pt x="52" y="23"/>
                        <a:pt x="50" y="21"/>
                        <a:pt x="49" y="20"/>
                      </a:cubicBezTo>
                      <a:cubicBezTo>
                        <a:pt x="49" y="20"/>
                        <a:pt x="49" y="19"/>
                        <a:pt x="47" y="18"/>
                      </a:cubicBezTo>
                      <a:cubicBezTo>
                        <a:pt x="46" y="18"/>
                        <a:pt x="44" y="17"/>
                        <a:pt x="44" y="17"/>
                      </a:cubicBezTo>
                      <a:cubicBezTo>
                        <a:pt x="42" y="17"/>
                        <a:pt x="42" y="17"/>
                        <a:pt x="42" y="17"/>
                      </a:cubicBezTo>
                      <a:cubicBezTo>
                        <a:pt x="40" y="15"/>
                        <a:pt x="40" y="15"/>
                        <a:pt x="40" y="15"/>
                      </a:cubicBezTo>
                      <a:cubicBezTo>
                        <a:pt x="38" y="15"/>
                        <a:pt x="38" y="15"/>
                        <a:pt x="38" y="15"/>
                      </a:cubicBezTo>
                      <a:cubicBezTo>
                        <a:pt x="37" y="12"/>
                        <a:pt x="37" y="12"/>
                        <a:pt x="37" y="12"/>
                      </a:cubicBezTo>
                      <a:cubicBezTo>
                        <a:pt x="36" y="9"/>
                        <a:pt x="36" y="9"/>
                        <a:pt x="36" y="9"/>
                      </a:cubicBezTo>
                      <a:cubicBezTo>
                        <a:pt x="34" y="7"/>
                        <a:pt x="34" y="7"/>
                        <a:pt x="34" y="7"/>
                      </a:cubicBezTo>
                      <a:cubicBezTo>
                        <a:pt x="32" y="6"/>
                        <a:pt x="32" y="6"/>
                        <a:pt x="32" y="6"/>
                      </a:cubicBezTo>
                      <a:cubicBezTo>
                        <a:pt x="31" y="5"/>
                        <a:pt x="31" y="5"/>
                        <a:pt x="31" y="5"/>
                      </a:cubicBezTo>
                      <a:cubicBezTo>
                        <a:pt x="29" y="4"/>
                        <a:pt x="29" y="4"/>
                        <a:pt x="29" y="4"/>
                      </a:cubicBezTo>
                      <a:cubicBezTo>
                        <a:pt x="28" y="4"/>
                        <a:pt x="28" y="4"/>
                        <a:pt x="28" y="4"/>
                      </a:cubicBezTo>
                      <a:cubicBezTo>
                        <a:pt x="28" y="4"/>
                        <a:pt x="27" y="6"/>
                        <a:pt x="27" y="6"/>
                      </a:cubicBezTo>
                      <a:cubicBezTo>
                        <a:pt x="27" y="6"/>
                        <a:pt x="24" y="7"/>
                        <a:pt x="24" y="7"/>
                      </a:cubicBezTo>
                      <a:cubicBezTo>
                        <a:pt x="22" y="9"/>
                        <a:pt x="22" y="9"/>
                        <a:pt x="22" y="9"/>
                      </a:cubicBezTo>
                      <a:cubicBezTo>
                        <a:pt x="20" y="10"/>
                        <a:pt x="20" y="10"/>
                        <a:pt x="20" y="10"/>
                      </a:cubicBezTo>
                      <a:cubicBezTo>
                        <a:pt x="20" y="10"/>
                        <a:pt x="20" y="10"/>
                        <a:pt x="20" y="9"/>
                      </a:cubicBezTo>
                      <a:cubicBezTo>
                        <a:pt x="19" y="9"/>
                        <a:pt x="19" y="9"/>
                        <a:pt x="19" y="9"/>
                      </a:cubicBezTo>
                      <a:cubicBezTo>
                        <a:pt x="19" y="9"/>
                        <a:pt x="18" y="8"/>
                        <a:pt x="18" y="7"/>
                      </a:cubicBezTo>
                      <a:cubicBezTo>
                        <a:pt x="18" y="7"/>
                        <a:pt x="17" y="6"/>
                        <a:pt x="17" y="6"/>
                      </a:cubicBezTo>
                      <a:cubicBezTo>
                        <a:pt x="17" y="6"/>
                        <a:pt x="17" y="5"/>
                        <a:pt x="17" y="5"/>
                      </a:cubicBezTo>
                      <a:cubicBezTo>
                        <a:pt x="17" y="4"/>
                        <a:pt x="17" y="3"/>
                        <a:pt x="17" y="3"/>
                      </a:cubicBezTo>
                      <a:cubicBezTo>
                        <a:pt x="17" y="2"/>
                        <a:pt x="17" y="2"/>
                        <a:pt x="17" y="2"/>
                      </a:cubicBezTo>
                      <a:cubicBezTo>
                        <a:pt x="16" y="1"/>
                        <a:pt x="16" y="1"/>
                        <a:pt x="16" y="1"/>
                      </a:cubicBezTo>
                      <a:cubicBezTo>
                        <a:pt x="16" y="0"/>
                        <a:pt x="16" y="0"/>
                        <a:pt x="16" y="0"/>
                      </a:cubicBezTo>
                      <a:cubicBezTo>
                        <a:pt x="16" y="0"/>
                        <a:pt x="14" y="0"/>
                        <a:pt x="14" y="0"/>
                      </a:cubicBezTo>
                      <a:cubicBezTo>
                        <a:pt x="14" y="0"/>
                        <a:pt x="10" y="4"/>
                        <a:pt x="10" y="4"/>
                      </a:cubicBezTo>
                      <a:cubicBezTo>
                        <a:pt x="11" y="5"/>
                        <a:pt x="11" y="5"/>
                        <a:pt x="11" y="5"/>
                      </a:cubicBezTo>
                      <a:cubicBezTo>
                        <a:pt x="10" y="7"/>
                        <a:pt x="10" y="7"/>
                        <a:pt x="10" y="7"/>
                      </a:cubicBezTo>
                      <a:cubicBezTo>
                        <a:pt x="9" y="9"/>
                        <a:pt x="9" y="9"/>
                        <a:pt x="9" y="9"/>
                      </a:cubicBezTo>
                      <a:cubicBezTo>
                        <a:pt x="8" y="11"/>
                        <a:pt x="8" y="11"/>
                        <a:pt x="8" y="11"/>
                      </a:cubicBezTo>
                      <a:cubicBezTo>
                        <a:pt x="8" y="11"/>
                        <a:pt x="7" y="12"/>
                        <a:pt x="7" y="13"/>
                      </a:cubicBezTo>
                      <a:cubicBezTo>
                        <a:pt x="7" y="13"/>
                        <a:pt x="6" y="14"/>
                        <a:pt x="6" y="14"/>
                      </a:cubicBezTo>
                      <a:cubicBezTo>
                        <a:pt x="5" y="15"/>
                        <a:pt x="5" y="15"/>
                        <a:pt x="5" y="15"/>
                      </a:cubicBezTo>
                      <a:cubicBezTo>
                        <a:pt x="4" y="16"/>
                        <a:pt x="4" y="16"/>
                        <a:pt x="4" y="16"/>
                      </a:cubicBezTo>
                      <a:cubicBezTo>
                        <a:pt x="4" y="18"/>
                        <a:pt x="4" y="18"/>
                        <a:pt x="4" y="18"/>
                      </a:cubicBezTo>
                      <a:cubicBezTo>
                        <a:pt x="4" y="18"/>
                        <a:pt x="4" y="19"/>
                        <a:pt x="4" y="20"/>
                      </a:cubicBezTo>
                      <a:cubicBezTo>
                        <a:pt x="4" y="20"/>
                        <a:pt x="3" y="21"/>
                        <a:pt x="3" y="21"/>
                      </a:cubicBezTo>
                      <a:cubicBezTo>
                        <a:pt x="2" y="23"/>
                        <a:pt x="2" y="23"/>
                        <a:pt x="2" y="23"/>
                      </a:cubicBezTo>
                      <a:cubicBezTo>
                        <a:pt x="0" y="25"/>
                        <a:pt x="0" y="25"/>
                        <a:pt x="0" y="25"/>
                      </a:cubicBezTo>
                      <a:cubicBezTo>
                        <a:pt x="0" y="27"/>
                        <a:pt x="0" y="27"/>
                        <a:pt x="0" y="27"/>
                      </a:cubicBezTo>
                      <a:cubicBezTo>
                        <a:pt x="1" y="28"/>
                        <a:pt x="1" y="28"/>
                        <a:pt x="1" y="28"/>
                      </a:cubicBezTo>
                      <a:cubicBezTo>
                        <a:pt x="3" y="29"/>
                        <a:pt x="3" y="29"/>
                        <a:pt x="3" y="29"/>
                      </a:cubicBezTo>
                      <a:cubicBezTo>
                        <a:pt x="5" y="30"/>
                        <a:pt x="5" y="30"/>
                        <a:pt x="5" y="30"/>
                      </a:cubicBezTo>
                      <a:cubicBezTo>
                        <a:pt x="5" y="30"/>
                        <a:pt x="5" y="31"/>
                        <a:pt x="5" y="32"/>
                      </a:cubicBezTo>
                      <a:cubicBezTo>
                        <a:pt x="5" y="32"/>
                        <a:pt x="5" y="33"/>
                        <a:pt x="5" y="33"/>
                      </a:cubicBezTo>
                      <a:cubicBezTo>
                        <a:pt x="4" y="35"/>
                        <a:pt x="4" y="35"/>
                        <a:pt x="4" y="35"/>
                      </a:cubicBezTo>
                      <a:cubicBezTo>
                        <a:pt x="4" y="35"/>
                        <a:pt x="5" y="36"/>
                        <a:pt x="5" y="36"/>
                      </a:cubicBezTo>
                      <a:cubicBezTo>
                        <a:pt x="5" y="36"/>
                        <a:pt x="5" y="37"/>
                        <a:pt x="5" y="37"/>
                      </a:cubicBezTo>
                      <a:cubicBezTo>
                        <a:pt x="5" y="37"/>
                        <a:pt x="5" y="39"/>
                        <a:pt x="5" y="39"/>
                      </a:cubicBezTo>
                      <a:cubicBezTo>
                        <a:pt x="4" y="40"/>
                        <a:pt x="4" y="40"/>
                        <a:pt x="4" y="40"/>
                      </a:cubicBezTo>
                      <a:cubicBezTo>
                        <a:pt x="4" y="40"/>
                        <a:pt x="5" y="41"/>
                        <a:pt x="5" y="42"/>
                      </a:cubicBezTo>
                      <a:cubicBezTo>
                        <a:pt x="5" y="42"/>
                        <a:pt x="5" y="43"/>
                        <a:pt x="5" y="43"/>
                      </a:cubicBezTo>
                      <a:cubicBezTo>
                        <a:pt x="4" y="43"/>
                        <a:pt x="6" y="45"/>
                        <a:pt x="6" y="45"/>
                      </a:cubicBezTo>
                      <a:cubicBezTo>
                        <a:pt x="6" y="45"/>
                        <a:pt x="7" y="44"/>
                        <a:pt x="8" y="44"/>
                      </a:cubicBezTo>
                      <a:cubicBezTo>
                        <a:pt x="8" y="44"/>
                        <a:pt x="10" y="44"/>
                        <a:pt x="10" y="44"/>
                      </a:cubicBezTo>
                      <a:cubicBezTo>
                        <a:pt x="12" y="45"/>
                        <a:pt x="12" y="45"/>
                        <a:pt x="12" y="45"/>
                      </a:cubicBezTo>
                      <a:cubicBezTo>
                        <a:pt x="14" y="45"/>
                        <a:pt x="14" y="45"/>
                        <a:pt x="14" y="45"/>
                      </a:cubicBezTo>
                      <a:cubicBezTo>
                        <a:pt x="15" y="47"/>
                        <a:pt x="15" y="47"/>
                        <a:pt x="15" y="47"/>
                      </a:cubicBezTo>
                      <a:cubicBezTo>
                        <a:pt x="15" y="49"/>
                        <a:pt x="15" y="49"/>
                        <a:pt x="15" y="49"/>
                      </a:cubicBezTo>
                      <a:cubicBezTo>
                        <a:pt x="15" y="52"/>
                        <a:pt x="15" y="52"/>
                        <a:pt x="15" y="52"/>
                      </a:cubicBezTo>
                      <a:cubicBezTo>
                        <a:pt x="14" y="54"/>
                        <a:pt x="14" y="54"/>
                        <a:pt x="14" y="54"/>
                      </a:cubicBezTo>
                      <a:cubicBezTo>
                        <a:pt x="16" y="55"/>
                        <a:pt x="16" y="55"/>
                        <a:pt x="16" y="55"/>
                      </a:cubicBezTo>
                      <a:cubicBezTo>
                        <a:pt x="16" y="55"/>
                        <a:pt x="16" y="55"/>
                        <a:pt x="16" y="55"/>
                      </a:cubicBezTo>
                      <a:cubicBezTo>
                        <a:pt x="16" y="55"/>
                        <a:pt x="16" y="57"/>
                        <a:pt x="16" y="58"/>
                      </a:cubicBezTo>
                      <a:cubicBezTo>
                        <a:pt x="15" y="58"/>
                        <a:pt x="14" y="58"/>
                        <a:pt x="13" y="59"/>
                      </a:cubicBezTo>
                      <a:cubicBezTo>
                        <a:pt x="12" y="59"/>
                        <a:pt x="11" y="59"/>
                        <a:pt x="11" y="59"/>
                      </a:cubicBezTo>
                      <a:cubicBezTo>
                        <a:pt x="11" y="60"/>
                        <a:pt x="11" y="60"/>
                        <a:pt x="11" y="60"/>
                      </a:cubicBezTo>
                      <a:cubicBezTo>
                        <a:pt x="13" y="61"/>
                        <a:pt x="13" y="61"/>
                        <a:pt x="13" y="61"/>
                      </a:cubicBezTo>
                      <a:cubicBezTo>
                        <a:pt x="13" y="61"/>
                        <a:pt x="14" y="61"/>
                        <a:pt x="14" y="61"/>
                      </a:cubicBezTo>
                      <a:cubicBezTo>
                        <a:pt x="14" y="62"/>
                        <a:pt x="14" y="64"/>
                        <a:pt x="14" y="64"/>
                      </a:cubicBezTo>
                      <a:cubicBezTo>
                        <a:pt x="14" y="64"/>
                        <a:pt x="14" y="65"/>
                        <a:pt x="13" y="65"/>
                      </a:cubicBezTo>
                      <a:cubicBezTo>
                        <a:pt x="13" y="65"/>
                        <a:pt x="12" y="66"/>
                        <a:pt x="12" y="66"/>
                      </a:cubicBezTo>
                      <a:cubicBezTo>
                        <a:pt x="11" y="67"/>
                        <a:pt x="11" y="67"/>
                        <a:pt x="11" y="67"/>
                      </a:cubicBezTo>
                      <a:cubicBezTo>
                        <a:pt x="10" y="68"/>
                        <a:pt x="10" y="68"/>
                        <a:pt x="10" y="68"/>
                      </a:cubicBezTo>
                      <a:cubicBezTo>
                        <a:pt x="8" y="69"/>
                        <a:pt x="8" y="69"/>
                        <a:pt x="8" y="69"/>
                      </a:cubicBezTo>
                      <a:cubicBezTo>
                        <a:pt x="10" y="71"/>
                        <a:pt x="10" y="71"/>
                        <a:pt x="10" y="71"/>
                      </a:cubicBezTo>
                      <a:cubicBezTo>
                        <a:pt x="11" y="71"/>
                        <a:pt x="11" y="71"/>
                        <a:pt x="11" y="71"/>
                      </a:cubicBezTo>
                      <a:cubicBezTo>
                        <a:pt x="11" y="71"/>
                        <a:pt x="12" y="72"/>
                        <a:pt x="12" y="72"/>
                      </a:cubicBezTo>
                      <a:cubicBezTo>
                        <a:pt x="12" y="72"/>
                        <a:pt x="15" y="74"/>
                        <a:pt x="15" y="74"/>
                      </a:cubicBezTo>
                      <a:cubicBezTo>
                        <a:pt x="14" y="75"/>
                        <a:pt x="14" y="75"/>
                        <a:pt x="14" y="75"/>
                      </a:cubicBezTo>
                      <a:cubicBezTo>
                        <a:pt x="14" y="75"/>
                        <a:pt x="14" y="76"/>
                        <a:pt x="14" y="77"/>
                      </a:cubicBezTo>
                      <a:cubicBezTo>
                        <a:pt x="14" y="78"/>
                        <a:pt x="14" y="81"/>
                        <a:pt x="14" y="81"/>
                      </a:cubicBezTo>
                      <a:cubicBezTo>
                        <a:pt x="13" y="82"/>
                        <a:pt x="13" y="82"/>
                        <a:pt x="13" y="82"/>
                      </a:cubicBezTo>
                      <a:cubicBezTo>
                        <a:pt x="13" y="83"/>
                        <a:pt x="14" y="86"/>
                        <a:pt x="14" y="86"/>
                      </a:cubicBezTo>
                      <a:cubicBezTo>
                        <a:pt x="14" y="87"/>
                        <a:pt x="14" y="87"/>
                        <a:pt x="14" y="87"/>
                      </a:cubicBezTo>
                      <a:cubicBezTo>
                        <a:pt x="13" y="88"/>
                        <a:pt x="13" y="88"/>
                        <a:pt x="13" y="88"/>
                      </a:cubicBezTo>
                      <a:cubicBezTo>
                        <a:pt x="17" y="90"/>
                        <a:pt x="17" y="90"/>
                        <a:pt x="17" y="90"/>
                      </a:cubicBezTo>
                      <a:cubicBezTo>
                        <a:pt x="16" y="92"/>
                        <a:pt x="16" y="92"/>
                        <a:pt x="16" y="92"/>
                      </a:cubicBezTo>
                      <a:cubicBezTo>
                        <a:pt x="14" y="93"/>
                        <a:pt x="14" y="93"/>
                        <a:pt x="14" y="93"/>
                      </a:cubicBezTo>
                      <a:cubicBezTo>
                        <a:pt x="14" y="93"/>
                        <a:pt x="13" y="93"/>
                        <a:pt x="13" y="93"/>
                      </a:cubicBezTo>
                      <a:cubicBezTo>
                        <a:pt x="13" y="94"/>
                        <a:pt x="13" y="95"/>
                        <a:pt x="13" y="95"/>
                      </a:cubicBezTo>
                      <a:cubicBezTo>
                        <a:pt x="14" y="96"/>
                        <a:pt x="14" y="96"/>
                        <a:pt x="14" y="96"/>
                      </a:cubicBezTo>
                      <a:cubicBezTo>
                        <a:pt x="13" y="97"/>
                        <a:pt x="13" y="97"/>
                        <a:pt x="13" y="97"/>
                      </a:cubicBezTo>
                      <a:cubicBezTo>
                        <a:pt x="13" y="97"/>
                        <a:pt x="13" y="97"/>
                        <a:pt x="13" y="97"/>
                      </a:cubicBezTo>
                      <a:cubicBezTo>
                        <a:pt x="13" y="97"/>
                        <a:pt x="13" y="99"/>
                        <a:pt x="13" y="99"/>
                      </a:cubicBezTo>
                      <a:cubicBezTo>
                        <a:pt x="13" y="99"/>
                        <a:pt x="13" y="100"/>
                        <a:pt x="12" y="100"/>
                      </a:cubicBezTo>
                      <a:cubicBezTo>
                        <a:pt x="12" y="100"/>
                        <a:pt x="11" y="101"/>
                        <a:pt x="11" y="101"/>
                      </a:cubicBezTo>
                      <a:cubicBezTo>
                        <a:pt x="12" y="103"/>
                        <a:pt x="12" y="103"/>
                        <a:pt x="12" y="103"/>
                      </a:cubicBezTo>
                      <a:cubicBezTo>
                        <a:pt x="11" y="107"/>
                        <a:pt x="11" y="107"/>
                        <a:pt x="11" y="107"/>
                      </a:cubicBezTo>
                      <a:cubicBezTo>
                        <a:pt x="11" y="108"/>
                        <a:pt x="11" y="108"/>
                        <a:pt x="11" y="108"/>
                      </a:cubicBezTo>
                      <a:cubicBezTo>
                        <a:pt x="12" y="111"/>
                        <a:pt x="12" y="111"/>
                        <a:pt x="12" y="111"/>
                      </a:cubicBezTo>
                      <a:cubicBezTo>
                        <a:pt x="14" y="114"/>
                        <a:pt x="14" y="114"/>
                        <a:pt x="14" y="114"/>
                      </a:cubicBezTo>
                      <a:cubicBezTo>
                        <a:pt x="16" y="116"/>
                        <a:pt x="16" y="116"/>
                        <a:pt x="16" y="116"/>
                      </a:cubicBezTo>
                      <a:cubicBezTo>
                        <a:pt x="17" y="118"/>
                        <a:pt x="17" y="118"/>
                        <a:pt x="17" y="118"/>
                      </a:cubicBezTo>
                      <a:cubicBezTo>
                        <a:pt x="19" y="119"/>
                        <a:pt x="19" y="119"/>
                        <a:pt x="19" y="119"/>
                      </a:cubicBezTo>
                      <a:cubicBezTo>
                        <a:pt x="18" y="122"/>
                        <a:pt x="18" y="122"/>
                        <a:pt x="18" y="122"/>
                      </a:cubicBezTo>
                      <a:cubicBezTo>
                        <a:pt x="19" y="123"/>
                        <a:pt x="19" y="123"/>
                        <a:pt x="19" y="123"/>
                      </a:cubicBezTo>
                      <a:cubicBezTo>
                        <a:pt x="19" y="125"/>
                        <a:pt x="19" y="125"/>
                        <a:pt x="19" y="125"/>
                      </a:cubicBezTo>
                      <a:cubicBezTo>
                        <a:pt x="19" y="125"/>
                        <a:pt x="19" y="125"/>
                        <a:pt x="18" y="126"/>
                      </a:cubicBezTo>
                      <a:cubicBezTo>
                        <a:pt x="18" y="126"/>
                        <a:pt x="18" y="126"/>
                        <a:pt x="17" y="125"/>
                      </a:cubicBezTo>
                      <a:cubicBezTo>
                        <a:pt x="16" y="125"/>
                        <a:pt x="15" y="123"/>
                        <a:pt x="15" y="123"/>
                      </a:cubicBezTo>
                      <a:cubicBezTo>
                        <a:pt x="15" y="123"/>
                        <a:pt x="14" y="121"/>
                        <a:pt x="14" y="121"/>
                      </a:cubicBezTo>
                      <a:cubicBezTo>
                        <a:pt x="14" y="121"/>
                        <a:pt x="13" y="120"/>
                        <a:pt x="13" y="120"/>
                      </a:cubicBezTo>
                      <a:cubicBezTo>
                        <a:pt x="11" y="120"/>
                        <a:pt x="11" y="120"/>
                        <a:pt x="11" y="120"/>
                      </a:cubicBezTo>
                      <a:cubicBezTo>
                        <a:pt x="11" y="120"/>
                        <a:pt x="11" y="121"/>
                        <a:pt x="11" y="121"/>
                      </a:cubicBezTo>
                      <a:cubicBezTo>
                        <a:pt x="11" y="122"/>
                        <a:pt x="11" y="122"/>
                        <a:pt x="12" y="123"/>
                      </a:cubicBezTo>
                      <a:cubicBezTo>
                        <a:pt x="13" y="124"/>
                        <a:pt x="13" y="124"/>
                        <a:pt x="14" y="124"/>
                      </a:cubicBezTo>
                      <a:cubicBezTo>
                        <a:pt x="14" y="124"/>
                        <a:pt x="14" y="125"/>
                        <a:pt x="15" y="125"/>
                      </a:cubicBezTo>
                      <a:cubicBezTo>
                        <a:pt x="15" y="126"/>
                        <a:pt x="15" y="128"/>
                        <a:pt x="15" y="128"/>
                      </a:cubicBezTo>
                      <a:cubicBezTo>
                        <a:pt x="17" y="130"/>
                        <a:pt x="17" y="130"/>
                        <a:pt x="17" y="130"/>
                      </a:cubicBezTo>
                      <a:cubicBezTo>
                        <a:pt x="19" y="131"/>
                        <a:pt x="19" y="131"/>
                        <a:pt x="19" y="131"/>
                      </a:cubicBezTo>
                      <a:cubicBezTo>
                        <a:pt x="27" y="135"/>
                        <a:pt x="27" y="135"/>
                        <a:pt x="27" y="135"/>
                      </a:cubicBezTo>
                      <a:cubicBezTo>
                        <a:pt x="30" y="136"/>
                        <a:pt x="30" y="136"/>
                        <a:pt x="30" y="136"/>
                      </a:cubicBezTo>
                      <a:cubicBezTo>
                        <a:pt x="31" y="136"/>
                        <a:pt x="31" y="136"/>
                        <a:pt x="31" y="136"/>
                      </a:cubicBezTo>
                      <a:cubicBezTo>
                        <a:pt x="32" y="138"/>
                        <a:pt x="32" y="138"/>
                        <a:pt x="32" y="138"/>
                      </a:cubicBezTo>
                      <a:cubicBezTo>
                        <a:pt x="33" y="139"/>
                        <a:pt x="33" y="139"/>
                        <a:pt x="33" y="139"/>
                      </a:cubicBezTo>
                      <a:cubicBezTo>
                        <a:pt x="33" y="139"/>
                        <a:pt x="34" y="139"/>
                        <a:pt x="35" y="139"/>
                      </a:cubicBezTo>
                      <a:cubicBezTo>
                        <a:pt x="35" y="139"/>
                        <a:pt x="37" y="139"/>
                        <a:pt x="37" y="139"/>
                      </a:cubicBezTo>
                      <a:cubicBezTo>
                        <a:pt x="37" y="139"/>
                        <a:pt x="38" y="138"/>
                        <a:pt x="38" y="139"/>
                      </a:cubicBezTo>
                      <a:cubicBezTo>
                        <a:pt x="38" y="140"/>
                        <a:pt x="41" y="145"/>
                        <a:pt x="41" y="145"/>
                      </a:cubicBezTo>
                      <a:cubicBezTo>
                        <a:pt x="41" y="145"/>
                        <a:pt x="41" y="146"/>
                        <a:pt x="42" y="147"/>
                      </a:cubicBezTo>
                      <a:cubicBezTo>
                        <a:pt x="43" y="148"/>
                        <a:pt x="45" y="149"/>
                        <a:pt x="45" y="149"/>
                      </a:cubicBezTo>
                      <a:cubicBezTo>
                        <a:pt x="45" y="149"/>
                        <a:pt x="44" y="150"/>
                        <a:pt x="44" y="151"/>
                      </a:cubicBezTo>
                      <a:cubicBezTo>
                        <a:pt x="45" y="152"/>
                        <a:pt x="44" y="152"/>
                        <a:pt x="45" y="152"/>
                      </a:cubicBezTo>
                      <a:cubicBezTo>
                        <a:pt x="45" y="153"/>
                        <a:pt x="45" y="153"/>
                        <a:pt x="45" y="153"/>
                      </a:cubicBezTo>
                      <a:cubicBezTo>
                        <a:pt x="45" y="153"/>
                        <a:pt x="45" y="153"/>
                        <a:pt x="45" y="154"/>
                      </a:cubicBezTo>
                      <a:cubicBezTo>
                        <a:pt x="46" y="154"/>
                        <a:pt x="46" y="155"/>
                        <a:pt x="46" y="155"/>
                      </a:cubicBezTo>
                      <a:cubicBezTo>
                        <a:pt x="46" y="158"/>
                        <a:pt x="46" y="158"/>
                        <a:pt x="46" y="158"/>
                      </a:cubicBezTo>
                      <a:cubicBezTo>
                        <a:pt x="48" y="158"/>
                        <a:pt x="48" y="158"/>
                        <a:pt x="48" y="158"/>
                      </a:cubicBezTo>
                      <a:lnTo>
                        <a:pt x="49" y="158"/>
                      </a:lnTo>
                      <a:close/>
                    </a:path>
                  </a:pathLst>
                </a:custGeom>
                <a:solidFill>
                  <a:srgbClr val="E6EFF1"/>
                </a:solidFill>
                <a:ln w="12700" cap="rnd" cmpd="sng">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Lato Light"/>
                  </a:endParaRPr>
                </a:p>
              </p:txBody>
            </p:sp>
            <p:sp>
              <p:nvSpPr>
                <p:cNvPr id="9" name="Freeform 6">
                  <a:extLst>
                    <a:ext uri="{FF2B5EF4-FFF2-40B4-BE49-F238E27FC236}">
                      <a16:creationId xmlns:a16="http://schemas.microsoft.com/office/drawing/2014/main" id="{D2F74C44-D499-149F-EE42-BA50E2BAF167}"/>
                    </a:ext>
                  </a:extLst>
                </p:cNvPr>
                <p:cNvSpPr>
                  <a:spLocks noEditPoints="1"/>
                </p:cNvSpPr>
                <p:nvPr/>
              </p:nvSpPr>
              <p:spPr bwMode="auto">
                <a:xfrm>
                  <a:off x="5035154" y="5115496"/>
                  <a:ext cx="244501" cy="447065"/>
                </a:xfrm>
                <a:custGeom>
                  <a:avLst/>
                  <a:gdLst>
                    <a:gd name="T0" fmla="*/ 45 w 85"/>
                    <a:gd name="T1" fmla="*/ 154 h 160"/>
                    <a:gd name="T2" fmla="*/ 41 w 85"/>
                    <a:gd name="T3" fmla="*/ 145 h 160"/>
                    <a:gd name="T4" fmla="*/ 15 w 85"/>
                    <a:gd name="T5" fmla="*/ 128 h 160"/>
                    <a:gd name="T6" fmla="*/ 14 w 85"/>
                    <a:gd name="T7" fmla="*/ 121 h 160"/>
                    <a:gd name="T8" fmla="*/ 18 w 85"/>
                    <a:gd name="T9" fmla="*/ 119 h 160"/>
                    <a:gd name="T10" fmla="*/ 12 w 85"/>
                    <a:gd name="T11" fmla="*/ 100 h 160"/>
                    <a:gd name="T12" fmla="*/ 14 w 85"/>
                    <a:gd name="T13" fmla="*/ 93 h 160"/>
                    <a:gd name="T14" fmla="*/ 14 w 85"/>
                    <a:gd name="T15" fmla="*/ 77 h 160"/>
                    <a:gd name="T16" fmla="*/ 11 w 85"/>
                    <a:gd name="T17" fmla="*/ 67 h 160"/>
                    <a:gd name="T18" fmla="*/ 13 w 85"/>
                    <a:gd name="T19" fmla="*/ 58 h 160"/>
                    <a:gd name="T20" fmla="*/ 14 w 85"/>
                    <a:gd name="T21" fmla="*/ 46 h 160"/>
                    <a:gd name="T22" fmla="*/ 4 w 85"/>
                    <a:gd name="T23" fmla="*/ 39 h 160"/>
                    <a:gd name="T24" fmla="*/ 0 w 85"/>
                    <a:gd name="T25" fmla="*/ 27 h 160"/>
                    <a:gd name="T26" fmla="*/ 4 w 85"/>
                    <a:gd name="T27" fmla="*/ 15 h 160"/>
                    <a:gd name="T28" fmla="*/ 16 w 85"/>
                    <a:gd name="T29" fmla="*/ 0 h 160"/>
                    <a:gd name="T30" fmla="*/ 19 w 85"/>
                    <a:gd name="T31" fmla="*/ 8 h 160"/>
                    <a:gd name="T32" fmla="*/ 31 w 85"/>
                    <a:gd name="T33" fmla="*/ 4 h 160"/>
                    <a:gd name="T34" fmla="*/ 42 w 85"/>
                    <a:gd name="T35" fmla="*/ 16 h 160"/>
                    <a:gd name="T36" fmla="*/ 54 w 85"/>
                    <a:gd name="T37" fmla="*/ 30 h 160"/>
                    <a:gd name="T38" fmla="*/ 55 w 85"/>
                    <a:gd name="T39" fmla="*/ 48 h 160"/>
                    <a:gd name="T40" fmla="*/ 52 w 85"/>
                    <a:gd name="T41" fmla="*/ 59 h 160"/>
                    <a:gd name="T42" fmla="*/ 57 w 85"/>
                    <a:gd name="T43" fmla="*/ 73 h 160"/>
                    <a:gd name="T44" fmla="*/ 68 w 85"/>
                    <a:gd name="T45" fmla="*/ 87 h 160"/>
                    <a:gd name="T46" fmla="*/ 77 w 85"/>
                    <a:gd name="T47" fmla="*/ 88 h 160"/>
                    <a:gd name="T48" fmla="*/ 80 w 85"/>
                    <a:gd name="T49" fmla="*/ 107 h 160"/>
                    <a:gd name="T50" fmla="*/ 60 w 85"/>
                    <a:gd name="T51" fmla="*/ 140 h 160"/>
                    <a:gd name="T52" fmla="*/ 61 w 85"/>
                    <a:gd name="T53" fmla="*/ 147 h 160"/>
                    <a:gd name="T54" fmla="*/ 59 w 85"/>
                    <a:gd name="T55" fmla="*/ 154 h 160"/>
                    <a:gd name="T56" fmla="*/ 49 w 85"/>
                    <a:gd name="T57" fmla="*/ 158 h 160"/>
                    <a:gd name="T58" fmla="*/ 57 w 85"/>
                    <a:gd name="T59" fmla="*/ 151 h 160"/>
                    <a:gd name="T60" fmla="*/ 63 w 85"/>
                    <a:gd name="T61" fmla="*/ 149 h 160"/>
                    <a:gd name="T62" fmla="*/ 59 w 85"/>
                    <a:gd name="T63" fmla="*/ 140 h 160"/>
                    <a:gd name="T64" fmla="*/ 75 w 85"/>
                    <a:gd name="T65" fmla="*/ 124 h 160"/>
                    <a:gd name="T66" fmla="*/ 80 w 85"/>
                    <a:gd name="T67" fmla="*/ 91 h 160"/>
                    <a:gd name="T68" fmla="*/ 69 w 85"/>
                    <a:gd name="T69" fmla="*/ 90 h 160"/>
                    <a:gd name="T70" fmla="*/ 65 w 85"/>
                    <a:gd name="T71" fmla="*/ 81 h 160"/>
                    <a:gd name="T72" fmla="*/ 55 w 85"/>
                    <a:gd name="T73" fmla="*/ 68 h 160"/>
                    <a:gd name="T74" fmla="*/ 54 w 85"/>
                    <a:gd name="T75" fmla="*/ 55 h 160"/>
                    <a:gd name="T76" fmla="*/ 54 w 85"/>
                    <a:gd name="T77" fmla="*/ 42 h 160"/>
                    <a:gd name="T78" fmla="*/ 52 w 85"/>
                    <a:gd name="T79" fmla="*/ 26 h 160"/>
                    <a:gd name="T80" fmla="*/ 40 w 85"/>
                    <a:gd name="T81" fmla="*/ 15 h 160"/>
                    <a:gd name="T82" fmla="*/ 24 w 85"/>
                    <a:gd name="T83" fmla="*/ 7 h 160"/>
                    <a:gd name="T84" fmla="*/ 17 w 85"/>
                    <a:gd name="T85" fmla="*/ 5 h 160"/>
                    <a:gd name="T86" fmla="*/ 9 w 85"/>
                    <a:gd name="T87" fmla="*/ 9 h 160"/>
                    <a:gd name="T88" fmla="*/ 4 w 85"/>
                    <a:gd name="T89" fmla="*/ 20 h 160"/>
                    <a:gd name="T90" fmla="*/ 6 w 85"/>
                    <a:gd name="T91" fmla="*/ 32 h 160"/>
                    <a:gd name="T92" fmla="*/ 5 w 85"/>
                    <a:gd name="T93" fmla="*/ 41 h 160"/>
                    <a:gd name="T94" fmla="*/ 15 w 85"/>
                    <a:gd name="T95" fmla="*/ 46 h 160"/>
                    <a:gd name="T96" fmla="*/ 13 w 85"/>
                    <a:gd name="T97" fmla="*/ 59 h 160"/>
                    <a:gd name="T98" fmla="*/ 12 w 85"/>
                    <a:gd name="T99" fmla="*/ 66 h 160"/>
                    <a:gd name="T100" fmla="*/ 15 w 85"/>
                    <a:gd name="T101" fmla="*/ 75 h 160"/>
                    <a:gd name="T102" fmla="*/ 17 w 85"/>
                    <a:gd name="T103" fmla="*/ 92 h 160"/>
                    <a:gd name="T104" fmla="*/ 13 w 85"/>
                    <a:gd name="T105" fmla="*/ 101 h 160"/>
                    <a:gd name="T106" fmla="*/ 18 w 85"/>
                    <a:gd name="T107" fmla="*/ 122 h 160"/>
                    <a:gd name="T108" fmla="*/ 13 w 85"/>
                    <a:gd name="T109" fmla="*/ 120 h 160"/>
                    <a:gd name="T110" fmla="*/ 27 w 85"/>
                    <a:gd name="T111" fmla="*/ 135 h 160"/>
                    <a:gd name="T112" fmla="*/ 38 w 85"/>
                    <a:gd name="T113" fmla="*/ 139 h 160"/>
                    <a:gd name="T114" fmla="*/ 47 w 85"/>
                    <a:gd name="T115" fmla="*/ 155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85" h="160">
                      <a:moveTo>
                        <a:pt x="52" y="160"/>
                      </a:moveTo>
                      <a:cubicBezTo>
                        <a:pt x="52" y="160"/>
                        <a:pt x="52" y="160"/>
                        <a:pt x="52" y="160"/>
                      </a:cubicBezTo>
                      <a:cubicBezTo>
                        <a:pt x="49" y="158"/>
                        <a:pt x="49" y="158"/>
                        <a:pt x="49" y="158"/>
                      </a:cubicBezTo>
                      <a:cubicBezTo>
                        <a:pt x="48" y="159"/>
                        <a:pt x="48" y="159"/>
                        <a:pt x="48" y="159"/>
                      </a:cubicBezTo>
                      <a:cubicBezTo>
                        <a:pt x="46" y="158"/>
                        <a:pt x="46" y="158"/>
                        <a:pt x="46" y="158"/>
                      </a:cubicBezTo>
                      <a:cubicBezTo>
                        <a:pt x="46" y="155"/>
                        <a:pt x="46" y="155"/>
                        <a:pt x="46" y="155"/>
                      </a:cubicBezTo>
                      <a:cubicBezTo>
                        <a:pt x="46" y="155"/>
                        <a:pt x="45" y="155"/>
                        <a:pt x="45" y="154"/>
                      </a:cubicBezTo>
                      <a:cubicBezTo>
                        <a:pt x="45" y="152"/>
                        <a:pt x="45" y="152"/>
                        <a:pt x="45" y="152"/>
                      </a:cubicBezTo>
                      <a:cubicBezTo>
                        <a:pt x="44" y="153"/>
                        <a:pt x="44" y="153"/>
                        <a:pt x="44" y="153"/>
                      </a:cubicBezTo>
                      <a:cubicBezTo>
                        <a:pt x="44" y="152"/>
                        <a:pt x="44" y="152"/>
                        <a:pt x="44" y="152"/>
                      </a:cubicBezTo>
                      <a:cubicBezTo>
                        <a:pt x="44" y="151"/>
                        <a:pt x="44" y="151"/>
                        <a:pt x="44" y="151"/>
                      </a:cubicBezTo>
                      <a:cubicBezTo>
                        <a:pt x="44" y="150"/>
                        <a:pt x="44" y="149"/>
                        <a:pt x="45" y="149"/>
                      </a:cubicBezTo>
                      <a:cubicBezTo>
                        <a:pt x="44" y="149"/>
                        <a:pt x="42" y="148"/>
                        <a:pt x="42" y="147"/>
                      </a:cubicBezTo>
                      <a:cubicBezTo>
                        <a:pt x="41" y="147"/>
                        <a:pt x="41" y="145"/>
                        <a:pt x="41" y="145"/>
                      </a:cubicBezTo>
                      <a:cubicBezTo>
                        <a:pt x="40" y="145"/>
                        <a:pt x="38" y="141"/>
                        <a:pt x="38" y="139"/>
                      </a:cubicBezTo>
                      <a:cubicBezTo>
                        <a:pt x="36" y="139"/>
                        <a:pt x="35" y="139"/>
                        <a:pt x="35" y="139"/>
                      </a:cubicBezTo>
                      <a:cubicBezTo>
                        <a:pt x="34" y="139"/>
                        <a:pt x="33" y="139"/>
                        <a:pt x="33" y="139"/>
                      </a:cubicBezTo>
                      <a:cubicBezTo>
                        <a:pt x="32" y="138"/>
                        <a:pt x="32" y="138"/>
                        <a:pt x="32" y="138"/>
                      </a:cubicBezTo>
                      <a:cubicBezTo>
                        <a:pt x="31" y="137"/>
                        <a:pt x="31" y="137"/>
                        <a:pt x="31" y="137"/>
                      </a:cubicBezTo>
                      <a:cubicBezTo>
                        <a:pt x="27" y="135"/>
                        <a:pt x="27" y="135"/>
                        <a:pt x="27" y="135"/>
                      </a:cubicBezTo>
                      <a:cubicBezTo>
                        <a:pt x="15" y="128"/>
                        <a:pt x="15" y="128"/>
                        <a:pt x="15" y="128"/>
                      </a:cubicBezTo>
                      <a:cubicBezTo>
                        <a:pt x="15" y="128"/>
                        <a:pt x="14" y="126"/>
                        <a:pt x="14" y="125"/>
                      </a:cubicBezTo>
                      <a:cubicBezTo>
                        <a:pt x="14" y="125"/>
                        <a:pt x="14" y="125"/>
                        <a:pt x="14" y="124"/>
                      </a:cubicBezTo>
                      <a:cubicBezTo>
                        <a:pt x="13" y="124"/>
                        <a:pt x="12" y="124"/>
                        <a:pt x="12" y="123"/>
                      </a:cubicBezTo>
                      <a:cubicBezTo>
                        <a:pt x="11" y="123"/>
                        <a:pt x="11" y="122"/>
                        <a:pt x="10" y="121"/>
                      </a:cubicBezTo>
                      <a:cubicBezTo>
                        <a:pt x="10" y="121"/>
                        <a:pt x="10" y="120"/>
                        <a:pt x="10" y="120"/>
                      </a:cubicBezTo>
                      <a:cubicBezTo>
                        <a:pt x="13" y="120"/>
                        <a:pt x="13" y="120"/>
                        <a:pt x="13" y="120"/>
                      </a:cubicBezTo>
                      <a:cubicBezTo>
                        <a:pt x="13" y="120"/>
                        <a:pt x="14" y="121"/>
                        <a:pt x="14" y="121"/>
                      </a:cubicBezTo>
                      <a:cubicBezTo>
                        <a:pt x="15" y="121"/>
                        <a:pt x="15" y="123"/>
                        <a:pt x="15" y="123"/>
                      </a:cubicBezTo>
                      <a:cubicBezTo>
                        <a:pt x="15" y="123"/>
                        <a:pt x="16" y="125"/>
                        <a:pt x="17" y="125"/>
                      </a:cubicBezTo>
                      <a:cubicBezTo>
                        <a:pt x="17" y="125"/>
                        <a:pt x="18" y="125"/>
                        <a:pt x="18" y="125"/>
                      </a:cubicBezTo>
                      <a:cubicBezTo>
                        <a:pt x="18" y="125"/>
                        <a:pt x="18" y="125"/>
                        <a:pt x="18" y="125"/>
                      </a:cubicBezTo>
                      <a:cubicBezTo>
                        <a:pt x="19" y="123"/>
                        <a:pt x="19" y="123"/>
                        <a:pt x="19" y="123"/>
                      </a:cubicBezTo>
                      <a:cubicBezTo>
                        <a:pt x="18" y="122"/>
                        <a:pt x="18" y="122"/>
                        <a:pt x="18" y="122"/>
                      </a:cubicBezTo>
                      <a:cubicBezTo>
                        <a:pt x="18" y="119"/>
                        <a:pt x="18" y="119"/>
                        <a:pt x="18" y="119"/>
                      </a:cubicBezTo>
                      <a:cubicBezTo>
                        <a:pt x="17" y="118"/>
                        <a:pt x="17" y="118"/>
                        <a:pt x="17" y="118"/>
                      </a:cubicBezTo>
                      <a:cubicBezTo>
                        <a:pt x="16" y="116"/>
                        <a:pt x="16" y="116"/>
                        <a:pt x="16" y="116"/>
                      </a:cubicBezTo>
                      <a:cubicBezTo>
                        <a:pt x="12" y="111"/>
                        <a:pt x="12" y="111"/>
                        <a:pt x="12" y="111"/>
                      </a:cubicBezTo>
                      <a:cubicBezTo>
                        <a:pt x="10" y="108"/>
                        <a:pt x="10" y="108"/>
                        <a:pt x="10" y="108"/>
                      </a:cubicBezTo>
                      <a:cubicBezTo>
                        <a:pt x="12" y="103"/>
                        <a:pt x="12" y="103"/>
                        <a:pt x="12" y="103"/>
                      </a:cubicBezTo>
                      <a:cubicBezTo>
                        <a:pt x="11" y="101"/>
                        <a:pt x="11" y="101"/>
                        <a:pt x="11" y="101"/>
                      </a:cubicBezTo>
                      <a:cubicBezTo>
                        <a:pt x="11" y="101"/>
                        <a:pt x="12" y="100"/>
                        <a:pt x="12" y="100"/>
                      </a:cubicBezTo>
                      <a:cubicBezTo>
                        <a:pt x="12" y="100"/>
                        <a:pt x="13" y="99"/>
                        <a:pt x="13" y="99"/>
                      </a:cubicBezTo>
                      <a:cubicBezTo>
                        <a:pt x="13" y="99"/>
                        <a:pt x="13" y="98"/>
                        <a:pt x="13" y="98"/>
                      </a:cubicBezTo>
                      <a:cubicBezTo>
                        <a:pt x="13" y="97"/>
                        <a:pt x="13" y="97"/>
                        <a:pt x="13" y="97"/>
                      </a:cubicBezTo>
                      <a:cubicBezTo>
                        <a:pt x="14" y="95"/>
                        <a:pt x="14" y="95"/>
                        <a:pt x="14" y="95"/>
                      </a:cubicBezTo>
                      <a:cubicBezTo>
                        <a:pt x="12" y="95"/>
                        <a:pt x="12" y="95"/>
                        <a:pt x="12" y="95"/>
                      </a:cubicBezTo>
                      <a:cubicBezTo>
                        <a:pt x="12" y="94"/>
                        <a:pt x="13" y="93"/>
                        <a:pt x="13" y="93"/>
                      </a:cubicBezTo>
                      <a:cubicBezTo>
                        <a:pt x="13" y="93"/>
                        <a:pt x="13" y="93"/>
                        <a:pt x="14" y="93"/>
                      </a:cubicBezTo>
                      <a:cubicBezTo>
                        <a:pt x="16" y="91"/>
                        <a:pt x="16" y="91"/>
                        <a:pt x="16" y="91"/>
                      </a:cubicBezTo>
                      <a:cubicBezTo>
                        <a:pt x="16" y="90"/>
                        <a:pt x="16" y="90"/>
                        <a:pt x="16" y="90"/>
                      </a:cubicBezTo>
                      <a:cubicBezTo>
                        <a:pt x="13" y="89"/>
                        <a:pt x="13" y="89"/>
                        <a:pt x="13" y="89"/>
                      </a:cubicBezTo>
                      <a:cubicBezTo>
                        <a:pt x="14" y="86"/>
                        <a:pt x="14" y="86"/>
                        <a:pt x="14" y="86"/>
                      </a:cubicBezTo>
                      <a:cubicBezTo>
                        <a:pt x="13" y="85"/>
                        <a:pt x="12" y="83"/>
                        <a:pt x="12" y="83"/>
                      </a:cubicBezTo>
                      <a:cubicBezTo>
                        <a:pt x="13" y="81"/>
                        <a:pt x="13" y="81"/>
                        <a:pt x="13" y="81"/>
                      </a:cubicBezTo>
                      <a:cubicBezTo>
                        <a:pt x="13" y="81"/>
                        <a:pt x="14" y="78"/>
                        <a:pt x="14" y="77"/>
                      </a:cubicBezTo>
                      <a:cubicBezTo>
                        <a:pt x="14" y="76"/>
                        <a:pt x="14" y="75"/>
                        <a:pt x="14" y="75"/>
                      </a:cubicBezTo>
                      <a:cubicBezTo>
                        <a:pt x="14" y="74"/>
                        <a:pt x="14" y="74"/>
                        <a:pt x="14" y="74"/>
                      </a:cubicBezTo>
                      <a:cubicBezTo>
                        <a:pt x="13" y="73"/>
                        <a:pt x="12" y="72"/>
                        <a:pt x="12" y="72"/>
                      </a:cubicBezTo>
                      <a:cubicBezTo>
                        <a:pt x="12" y="72"/>
                        <a:pt x="11" y="72"/>
                        <a:pt x="11" y="71"/>
                      </a:cubicBezTo>
                      <a:cubicBezTo>
                        <a:pt x="10" y="71"/>
                        <a:pt x="10" y="71"/>
                        <a:pt x="10" y="71"/>
                      </a:cubicBezTo>
                      <a:cubicBezTo>
                        <a:pt x="8" y="69"/>
                        <a:pt x="8" y="69"/>
                        <a:pt x="8" y="69"/>
                      </a:cubicBezTo>
                      <a:cubicBezTo>
                        <a:pt x="11" y="67"/>
                        <a:pt x="11" y="67"/>
                        <a:pt x="11" y="67"/>
                      </a:cubicBezTo>
                      <a:cubicBezTo>
                        <a:pt x="11" y="66"/>
                        <a:pt x="11" y="66"/>
                        <a:pt x="11" y="66"/>
                      </a:cubicBezTo>
                      <a:cubicBezTo>
                        <a:pt x="12" y="65"/>
                        <a:pt x="13" y="65"/>
                        <a:pt x="13" y="65"/>
                      </a:cubicBezTo>
                      <a:cubicBezTo>
                        <a:pt x="13" y="65"/>
                        <a:pt x="14" y="64"/>
                        <a:pt x="14" y="64"/>
                      </a:cubicBezTo>
                      <a:cubicBezTo>
                        <a:pt x="14" y="63"/>
                        <a:pt x="14" y="62"/>
                        <a:pt x="14" y="61"/>
                      </a:cubicBezTo>
                      <a:cubicBezTo>
                        <a:pt x="11" y="60"/>
                        <a:pt x="11" y="60"/>
                        <a:pt x="11" y="60"/>
                      </a:cubicBezTo>
                      <a:cubicBezTo>
                        <a:pt x="11" y="59"/>
                        <a:pt x="11" y="59"/>
                        <a:pt x="11" y="59"/>
                      </a:cubicBezTo>
                      <a:cubicBezTo>
                        <a:pt x="11" y="59"/>
                        <a:pt x="12" y="59"/>
                        <a:pt x="13" y="58"/>
                      </a:cubicBezTo>
                      <a:cubicBezTo>
                        <a:pt x="14" y="58"/>
                        <a:pt x="15" y="57"/>
                        <a:pt x="15" y="57"/>
                      </a:cubicBezTo>
                      <a:cubicBezTo>
                        <a:pt x="16" y="57"/>
                        <a:pt x="16" y="56"/>
                        <a:pt x="16" y="55"/>
                      </a:cubicBezTo>
                      <a:cubicBezTo>
                        <a:pt x="14" y="54"/>
                        <a:pt x="14" y="54"/>
                        <a:pt x="14" y="54"/>
                      </a:cubicBezTo>
                      <a:cubicBezTo>
                        <a:pt x="15" y="52"/>
                        <a:pt x="15" y="52"/>
                        <a:pt x="15" y="52"/>
                      </a:cubicBezTo>
                      <a:cubicBezTo>
                        <a:pt x="14" y="49"/>
                        <a:pt x="14" y="49"/>
                        <a:pt x="14" y="49"/>
                      </a:cubicBezTo>
                      <a:cubicBezTo>
                        <a:pt x="15" y="47"/>
                        <a:pt x="15" y="47"/>
                        <a:pt x="15" y="47"/>
                      </a:cubicBezTo>
                      <a:cubicBezTo>
                        <a:pt x="14" y="46"/>
                        <a:pt x="14" y="46"/>
                        <a:pt x="14" y="46"/>
                      </a:cubicBezTo>
                      <a:cubicBezTo>
                        <a:pt x="10" y="44"/>
                        <a:pt x="10" y="44"/>
                        <a:pt x="10" y="44"/>
                      </a:cubicBezTo>
                      <a:cubicBezTo>
                        <a:pt x="9" y="44"/>
                        <a:pt x="9" y="44"/>
                        <a:pt x="9" y="44"/>
                      </a:cubicBezTo>
                      <a:cubicBezTo>
                        <a:pt x="8" y="44"/>
                        <a:pt x="7" y="45"/>
                        <a:pt x="7" y="45"/>
                      </a:cubicBezTo>
                      <a:cubicBezTo>
                        <a:pt x="4" y="44"/>
                        <a:pt x="4" y="43"/>
                        <a:pt x="4" y="43"/>
                      </a:cubicBezTo>
                      <a:cubicBezTo>
                        <a:pt x="5" y="43"/>
                        <a:pt x="5" y="42"/>
                        <a:pt x="5" y="42"/>
                      </a:cubicBezTo>
                      <a:cubicBezTo>
                        <a:pt x="4" y="41"/>
                        <a:pt x="4" y="41"/>
                        <a:pt x="4" y="41"/>
                      </a:cubicBezTo>
                      <a:cubicBezTo>
                        <a:pt x="4" y="39"/>
                        <a:pt x="4" y="39"/>
                        <a:pt x="4" y="39"/>
                      </a:cubicBezTo>
                      <a:cubicBezTo>
                        <a:pt x="4" y="39"/>
                        <a:pt x="5" y="37"/>
                        <a:pt x="5" y="37"/>
                      </a:cubicBezTo>
                      <a:cubicBezTo>
                        <a:pt x="4" y="36"/>
                        <a:pt x="4" y="35"/>
                        <a:pt x="4" y="35"/>
                      </a:cubicBezTo>
                      <a:cubicBezTo>
                        <a:pt x="5" y="33"/>
                        <a:pt x="5" y="33"/>
                        <a:pt x="5" y="33"/>
                      </a:cubicBezTo>
                      <a:cubicBezTo>
                        <a:pt x="5" y="32"/>
                        <a:pt x="5" y="32"/>
                        <a:pt x="5" y="32"/>
                      </a:cubicBezTo>
                      <a:cubicBezTo>
                        <a:pt x="5" y="31"/>
                        <a:pt x="5" y="30"/>
                        <a:pt x="5" y="30"/>
                      </a:cubicBezTo>
                      <a:cubicBezTo>
                        <a:pt x="1" y="28"/>
                        <a:pt x="1" y="28"/>
                        <a:pt x="1" y="28"/>
                      </a:cubicBezTo>
                      <a:cubicBezTo>
                        <a:pt x="0" y="27"/>
                        <a:pt x="0" y="27"/>
                        <a:pt x="0" y="27"/>
                      </a:cubicBezTo>
                      <a:cubicBezTo>
                        <a:pt x="0" y="25"/>
                        <a:pt x="0" y="25"/>
                        <a:pt x="0" y="25"/>
                      </a:cubicBezTo>
                      <a:cubicBezTo>
                        <a:pt x="2" y="23"/>
                        <a:pt x="2" y="23"/>
                        <a:pt x="2" y="23"/>
                      </a:cubicBezTo>
                      <a:cubicBezTo>
                        <a:pt x="3" y="21"/>
                        <a:pt x="3" y="21"/>
                        <a:pt x="3" y="21"/>
                      </a:cubicBezTo>
                      <a:cubicBezTo>
                        <a:pt x="3" y="20"/>
                        <a:pt x="3" y="20"/>
                        <a:pt x="3" y="19"/>
                      </a:cubicBezTo>
                      <a:cubicBezTo>
                        <a:pt x="3" y="19"/>
                        <a:pt x="4" y="18"/>
                        <a:pt x="4" y="18"/>
                      </a:cubicBezTo>
                      <a:cubicBezTo>
                        <a:pt x="4" y="16"/>
                        <a:pt x="4" y="16"/>
                        <a:pt x="4" y="16"/>
                      </a:cubicBezTo>
                      <a:cubicBezTo>
                        <a:pt x="4" y="15"/>
                        <a:pt x="4" y="15"/>
                        <a:pt x="4" y="15"/>
                      </a:cubicBezTo>
                      <a:cubicBezTo>
                        <a:pt x="5" y="14"/>
                        <a:pt x="5" y="14"/>
                        <a:pt x="5" y="14"/>
                      </a:cubicBezTo>
                      <a:cubicBezTo>
                        <a:pt x="5" y="14"/>
                        <a:pt x="6" y="13"/>
                        <a:pt x="7" y="13"/>
                      </a:cubicBezTo>
                      <a:cubicBezTo>
                        <a:pt x="7" y="12"/>
                        <a:pt x="7" y="11"/>
                        <a:pt x="7" y="11"/>
                      </a:cubicBezTo>
                      <a:cubicBezTo>
                        <a:pt x="11" y="5"/>
                        <a:pt x="11" y="5"/>
                        <a:pt x="11" y="5"/>
                      </a:cubicBezTo>
                      <a:cubicBezTo>
                        <a:pt x="10" y="4"/>
                        <a:pt x="10" y="4"/>
                        <a:pt x="10" y="4"/>
                      </a:cubicBezTo>
                      <a:cubicBezTo>
                        <a:pt x="13" y="0"/>
                        <a:pt x="14" y="0"/>
                        <a:pt x="14" y="0"/>
                      </a:cubicBezTo>
                      <a:cubicBezTo>
                        <a:pt x="15" y="0"/>
                        <a:pt x="16" y="0"/>
                        <a:pt x="16" y="0"/>
                      </a:cubicBezTo>
                      <a:cubicBezTo>
                        <a:pt x="17" y="1"/>
                        <a:pt x="17" y="1"/>
                        <a:pt x="17" y="1"/>
                      </a:cubicBezTo>
                      <a:cubicBezTo>
                        <a:pt x="18" y="2"/>
                        <a:pt x="18" y="2"/>
                        <a:pt x="18" y="2"/>
                      </a:cubicBezTo>
                      <a:cubicBezTo>
                        <a:pt x="18" y="3"/>
                        <a:pt x="18" y="3"/>
                        <a:pt x="18" y="3"/>
                      </a:cubicBezTo>
                      <a:cubicBezTo>
                        <a:pt x="18" y="4"/>
                        <a:pt x="17" y="4"/>
                        <a:pt x="17" y="5"/>
                      </a:cubicBezTo>
                      <a:cubicBezTo>
                        <a:pt x="18" y="5"/>
                        <a:pt x="17" y="6"/>
                        <a:pt x="17" y="6"/>
                      </a:cubicBezTo>
                      <a:cubicBezTo>
                        <a:pt x="18" y="6"/>
                        <a:pt x="18" y="7"/>
                        <a:pt x="18" y="7"/>
                      </a:cubicBezTo>
                      <a:cubicBezTo>
                        <a:pt x="19" y="8"/>
                        <a:pt x="19" y="8"/>
                        <a:pt x="19" y="8"/>
                      </a:cubicBezTo>
                      <a:cubicBezTo>
                        <a:pt x="19" y="9"/>
                        <a:pt x="20" y="9"/>
                        <a:pt x="20" y="9"/>
                      </a:cubicBezTo>
                      <a:cubicBezTo>
                        <a:pt x="22" y="8"/>
                        <a:pt x="22" y="8"/>
                        <a:pt x="22" y="8"/>
                      </a:cubicBezTo>
                      <a:cubicBezTo>
                        <a:pt x="24" y="7"/>
                        <a:pt x="24" y="7"/>
                        <a:pt x="24" y="7"/>
                      </a:cubicBezTo>
                      <a:cubicBezTo>
                        <a:pt x="24" y="7"/>
                        <a:pt x="26" y="6"/>
                        <a:pt x="27" y="6"/>
                      </a:cubicBezTo>
                      <a:cubicBezTo>
                        <a:pt x="27" y="6"/>
                        <a:pt x="27" y="5"/>
                        <a:pt x="28" y="4"/>
                      </a:cubicBezTo>
                      <a:cubicBezTo>
                        <a:pt x="29" y="4"/>
                        <a:pt x="29" y="4"/>
                        <a:pt x="29" y="4"/>
                      </a:cubicBezTo>
                      <a:cubicBezTo>
                        <a:pt x="31" y="4"/>
                        <a:pt x="31" y="4"/>
                        <a:pt x="31" y="4"/>
                      </a:cubicBezTo>
                      <a:cubicBezTo>
                        <a:pt x="32" y="6"/>
                        <a:pt x="32" y="6"/>
                        <a:pt x="32" y="6"/>
                      </a:cubicBezTo>
                      <a:cubicBezTo>
                        <a:pt x="34" y="7"/>
                        <a:pt x="34" y="7"/>
                        <a:pt x="34" y="7"/>
                      </a:cubicBezTo>
                      <a:cubicBezTo>
                        <a:pt x="36" y="9"/>
                        <a:pt x="36" y="9"/>
                        <a:pt x="36" y="9"/>
                      </a:cubicBezTo>
                      <a:cubicBezTo>
                        <a:pt x="37" y="12"/>
                        <a:pt x="37" y="12"/>
                        <a:pt x="37" y="12"/>
                      </a:cubicBezTo>
                      <a:cubicBezTo>
                        <a:pt x="39" y="15"/>
                        <a:pt x="39" y="15"/>
                        <a:pt x="39" y="15"/>
                      </a:cubicBezTo>
                      <a:cubicBezTo>
                        <a:pt x="40" y="14"/>
                        <a:pt x="40" y="14"/>
                        <a:pt x="40" y="14"/>
                      </a:cubicBezTo>
                      <a:cubicBezTo>
                        <a:pt x="42" y="16"/>
                        <a:pt x="42" y="16"/>
                        <a:pt x="42" y="16"/>
                      </a:cubicBezTo>
                      <a:cubicBezTo>
                        <a:pt x="44" y="17"/>
                        <a:pt x="44" y="17"/>
                        <a:pt x="44" y="17"/>
                      </a:cubicBezTo>
                      <a:cubicBezTo>
                        <a:pt x="44" y="17"/>
                        <a:pt x="46" y="17"/>
                        <a:pt x="48" y="18"/>
                      </a:cubicBezTo>
                      <a:cubicBezTo>
                        <a:pt x="49" y="18"/>
                        <a:pt x="49" y="19"/>
                        <a:pt x="49" y="19"/>
                      </a:cubicBezTo>
                      <a:cubicBezTo>
                        <a:pt x="50" y="21"/>
                        <a:pt x="52" y="23"/>
                        <a:pt x="52" y="23"/>
                      </a:cubicBezTo>
                      <a:cubicBezTo>
                        <a:pt x="53" y="26"/>
                        <a:pt x="53" y="26"/>
                        <a:pt x="53" y="26"/>
                      </a:cubicBezTo>
                      <a:cubicBezTo>
                        <a:pt x="53" y="26"/>
                        <a:pt x="54" y="28"/>
                        <a:pt x="54" y="29"/>
                      </a:cubicBezTo>
                      <a:cubicBezTo>
                        <a:pt x="54" y="29"/>
                        <a:pt x="54" y="30"/>
                        <a:pt x="54" y="30"/>
                      </a:cubicBezTo>
                      <a:cubicBezTo>
                        <a:pt x="57" y="33"/>
                        <a:pt x="57" y="33"/>
                        <a:pt x="57" y="33"/>
                      </a:cubicBezTo>
                      <a:cubicBezTo>
                        <a:pt x="56" y="36"/>
                        <a:pt x="56" y="36"/>
                        <a:pt x="56" y="36"/>
                      </a:cubicBezTo>
                      <a:cubicBezTo>
                        <a:pt x="55" y="38"/>
                        <a:pt x="55" y="38"/>
                        <a:pt x="55" y="38"/>
                      </a:cubicBezTo>
                      <a:cubicBezTo>
                        <a:pt x="55" y="38"/>
                        <a:pt x="55" y="40"/>
                        <a:pt x="55" y="40"/>
                      </a:cubicBezTo>
                      <a:cubicBezTo>
                        <a:pt x="55" y="40"/>
                        <a:pt x="55" y="42"/>
                        <a:pt x="55" y="42"/>
                      </a:cubicBezTo>
                      <a:cubicBezTo>
                        <a:pt x="54" y="43"/>
                        <a:pt x="54" y="43"/>
                        <a:pt x="54" y="43"/>
                      </a:cubicBezTo>
                      <a:cubicBezTo>
                        <a:pt x="55" y="48"/>
                        <a:pt x="55" y="48"/>
                        <a:pt x="55" y="48"/>
                      </a:cubicBezTo>
                      <a:cubicBezTo>
                        <a:pt x="54" y="51"/>
                        <a:pt x="54" y="51"/>
                        <a:pt x="54" y="51"/>
                      </a:cubicBezTo>
                      <a:cubicBezTo>
                        <a:pt x="55" y="51"/>
                        <a:pt x="56" y="52"/>
                        <a:pt x="56" y="53"/>
                      </a:cubicBezTo>
                      <a:cubicBezTo>
                        <a:pt x="57" y="53"/>
                        <a:pt x="56" y="54"/>
                        <a:pt x="56" y="54"/>
                      </a:cubicBezTo>
                      <a:cubicBezTo>
                        <a:pt x="55" y="55"/>
                        <a:pt x="55" y="55"/>
                        <a:pt x="54" y="56"/>
                      </a:cubicBezTo>
                      <a:cubicBezTo>
                        <a:pt x="53" y="56"/>
                        <a:pt x="53" y="56"/>
                        <a:pt x="53" y="56"/>
                      </a:cubicBezTo>
                      <a:cubicBezTo>
                        <a:pt x="53" y="57"/>
                        <a:pt x="52" y="57"/>
                        <a:pt x="52" y="57"/>
                      </a:cubicBezTo>
                      <a:cubicBezTo>
                        <a:pt x="52" y="57"/>
                        <a:pt x="52" y="58"/>
                        <a:pt x="52" y="59"/>
                      </a:cubicBezTo>
                      <a:cubicBezTo>
                        <a:pt x="53" y="60"/>
                        <a:pt x="55" y="61"/>
                        <a:pt x="55" y="61"/>
                      </a:cubicBezTo>
                      <a:cubicBezTo>
                        <a:pt x="55" y="61"/>
                        <a:pt x="57" y="63"/>
                        <a:pt x="57" y="64"/>
                      </a:cubicBezTo>
                      <a:cubicBezTo>
                        <a:pt x="58" y="64"/>
                        <a:pt x="57" y="65"/>
                        <a:pt x="57" y="66"/>
                      </a:cubicBezTo>
                      <a:cubicBezTo>
                        <a:pt x="57" y="66"/>
                        <a:pt x="57" y="67"/>
                        <a:pt x="55" y="68"/>
                      </a:cubicBezTo>
                      <a:cubicBezTo>
                        <a:pt x="56" y="69"/>
                        <a:pt x="56" y="69"/>
                        <a:pt x="56" y="69"/>
                      </a:cubicBezTo>
                      <a:cubicBezTo>
                        <a:pt x="57" y="72"/>
                        <a:pt x="57" y="72"/>
                        <a:pt x="57" y="72"/>
                      </a:cubicBezTo>
                      <a:cubicBezTo>
                        <a:pt x="57" y="72"/>
                        <a:pt x="57" y="73"/>
                        <a:pt x="57" y="73"/>
                      </a:cubicBezTo>
                      <a:cubicBezTo>
                        <a:pt x="58" y="74"/>
                        <a:pt x="59" y="76"/>
                        <a:pt x="60" y="76"/>
                      </a:cubicBezTo>
                      <a:cubicBezTo>
                        <a:pt x="60" y="76"/>
                        <a:pt x="61" y="78"/>
                        <a:pt x="61" y="79"/>
                      </a:cubicBezTo>
                      <a:cubicBezTo>
                        <a:pt x="61" y="79"/>
                        <a:pt x="61" y="80"/>
                        <a:pt x="61" y="80"/>
                      </a:cubicBezTo>
                      <a:cubicBezTo>
                        <a:pt x="61" y="80"/>
                        <a:pt x="62" y="80"/>
                        <a:pt x="62" y="80"/>
                      </a:cubicBezTo>
                      <a:cubicBezTo>
                        <a:pt x="63" y="81"/>
                        <a:pt x="65" y="81"/>
                        <a:pt x="65" y="81"/>
                      </a:cubicBezTo>
                      <a:cubicBezTo>
                        <a:pt x="65" y="81"/>
                        <a:pt x="66" y="82"/>
                        <a:pt x="66" y="83"/>
                      </a:cubicBezTo>
                      <a:cubicBezTo>
                        <a:pt x="67" y="84"/>
                        <a:pt x="68" y="86"/>
                        <a:pt x="68" y="87"/>
                      </a:cubicBezTo>
                      <a:cubicBezTo>
                        <a:pt x="68" y="87"/>
                        <a:pt x="68" y="88"/>
                        <a:pt x="68" y="88"/>
                      </a:cubicBezTo>
                      <a:cubicBezTo>
                        <a:pt x="68" y="89"/>
                        <a:pt x="68" y="89"/>
                        <a:pt x="68" y="89"/>
                      </a:cubicBezTo>
                      <a:cubicBezTo>
                        <a:pt x="68" y="90"/>
                        <a:pt x="69" y="89"/>
                        <a:pt x="69" y="89"/>
                      </a:cubicBezTo>
                      <a:cubicBezTo>
                        <a:pt x="69" y="89"/>
                        <a:pt x="70" y="88"/>
                        <a:pt x="70" y="88"/>
                      </a:cubicBezTo>
                      <a:cubicBezTo>
                        <a:pt x="71" y="88"/>
                        <a:pt x="72" y="88"/>
                        <a:pt x="73" y="88"/>
                      </a:cubicBezTo>
                      <a:cubicBezTo>
                        <a:pt x="74" y="88"/>
                        <a:pt x="74" y="88"/>
                        <a:pt x="74" y="88"/>
                      </a:cubicBezTo>
                      <a:cubicBezTo>
                        <a:pt x="76" y="88"/>
                        <a:pt x="76" y="88"/>
                        <a:pt x="77" y="88"/>
                      </a:cubicBezTo>
                      <a:cubicBezTo>
                        <a:pt x="79" y="89"/>
                        <a:pt x="79" y="89"/>
                        <a:pt x="79" y="89"/>
                      </a:cubicBezTo>
                      <a:cubicBezTo>
                        <a:pt x="80" y="91"/>
                        <a:pt x="80" y="91"/>
                        <a:pt x="80" y="91"/>
                      </a:cubicBezTo>
                      <a:cubicBezTo>
                        <a:pt x="80" y="91"/>
                        <a:pt x="81" y="91"/>
                        <a:pt x="81" y="91"/>
                      </a:cubicBezTo>
                      <a:cubicBezTo>
                        <a:pt x="82" y="93"/>
                        <a:pt x="82" y="93"/>
                        <a:pt x="82" y="93"/>
                      </a:cubicBezTo>
                      <a:cubicBezTo>
                        <a:pt x="84" y="96"/>
                        <a:pt x="84" y="96"/>
                        <a:pt x="84" y="96"/>
                      </a:cubicBezTo>
                      <a:cubicBezTo>
                        <a:pt x="85" y="104"/>
                        <a:pt x="85" y="104"/>
                        <a:pt x="85" y="104"/>
                      </a:cubicBezTo>
                      <a:cubicBezTo>
                        <a:pt x="83" y="104"/>
                        <a:pt x="81" y="106"/>
                        <a:pt x="80" y="107"/>
                      </a:cubicBezTo>
                      <a:cubicBezTo>
                        <a:pt x="77" y="115"/>
                        <a:pt x="77" y="115"/>
                        <a:pt x="77" y="115"/>
                      </a:cubicBezTo>
                      <a:cubicBezTo>
                        <a:pt x="75" y="124"/>
                        <a:pt x="75" y="124"/>
                        <a:pt x="75" y="124"/>
                      </a:cubicBezTo>
                      <a:cubicBezTo>
                        <a:pt x="70" y="132"/>
                        <a:pt x="70" y="132"/>
                        <a:pt x="70" y="132"/>
                      </a:cubicBezTo>
                      <a:cubicBezTo>
                        <a:pt x="63" y="136"/>
                        <a:pt x="63" y="136"/>
                        <a:pt x="63" y="136"/>
                      </a:cubicBezTo>
                      <a:cubicBezTo>
                        <a:pt x="62" y="136"/>
                        <a:pt x="62" y="136"/>
                        <a:pt x="62" y="136"/>
                      </a:cubicBezTo>
                      <a:cubicBezTo>
                        <a:pt x="62" y="136"/>
                        <a:pt x="61" y="137"/>
                        <a:pt x="61" y="137"/>
                      </a:cubicBezTo>
                      <a:cubicBezTo>
                        <a:pt x="60" y="140"/>
                        <a:pt x="60" y="140"/>
                        <a:pt x="60" y="140"/>
                      </a:cubicBezTo>
                      <a:cubicBezTo>
                        <a:pt x="59" y="141"/>
                        <a:pt x="59" y="141"/>
                        <a:pt x="59" y="141"/>
                      </a:cubicBezTo>
                      <a:cubicBezTo>
                        <a:pt x="58" y="141"/>
                        <a:pt x="58" y="141"/>
                        <a:pt x="58" y="141"/>
                      </a:cubicBezTo>
                      <a:cubicBezTo>
                        <a:pt x="58" y="142"/>
                        <a:pt x="58" y="142"/>
                        <a:pt x="58" y="142"/>
                      </a:cubicBezTo>
                      <a:cubicBezTo>
                        <a:pt x="58" y="143"/>
                        <a:pt x="58" y="143"/>
                        <a:pt x="58" y="144"/>
                      </a:cubicBezTo>
                      <a:cubicBezTo>
                        <a:pt x="58" y="144"/>
                        <a:pt x="58" y="144"/>
                        <a:pt x="58" y="145"/>
                      </a:cubicBezTo>
                      <a:cubicBezTo>
                        <a:pt x="58" y="145"/>
                        <a:pt x="59" y="145"/>
                        <a:pt x="59" y="146"/>
                      </a:cubicBezTo>
                      <a:cubicBezTo>
                        <a:pt x="59" y="146"/>
                        <a:pt x="60" y="147"/>
                        <a:pt x="61" y="147"/>
                      </a:cubicBezTo>
                      <a:cubicBezTo>
                        <a:pt x="62" y="148"/>
                        <a:pt x="63" y="148"/>
                        <a:pt x="63" y="148"/>
                      </a:cubicBezTo>
                      <a:cubicBezTo>
                        <a:pt x="64" y="150"/>
                        <a:pt x="64" y="150"/>
                        <a:pt x="64" y="150"/>
                      </a:cubicBezTo>
                      <a:cubicBezTo>
                        <a:pt x="63" y="151"/>
                        <a:pt x="62" y="151"/>
                        <a:pt x="61" y="151"/>
                      </a:cubicBezTo>
                      <a:cubicBezTo>
                        <a:pt x="61" y="151"/>
                        <a:pt x="60" y="151"/>
                        <a:pt x="60" y="151"/>
                      </a:cubicBezTo>
                      <a:cubicBezTo>
                        <a:pt x="59" y="151"/>
                        <a:pt x="59" y="151"/>
                        <a:pt x="58" y="151"/>
                      </a:cubicBezTo>
                      <a:cubicBezTo>
                        <a:pt x="58" y="151"/>
                        <a:pt x="58" y="152"/>
                        <a:pt x="58" y="153"/>
                      </a:cubicBezTo>
                      <a:cubicBezTo>
                        <a:pt x="59" y="154"/>
                        <a:pt x="59" y="154"/>
                        <a:pt x="59" y="154"/>
                      </a:cubicBezTo>
                      <a:cubicBezTo>
                        <a:pt x="59" y="154"/>
                        <a:pt x="59" y="156"/>
                        <a:pt x="59" y="156"/>
                      </a:cubicBezTo>
                      <a:cubicBezTo>
                        <a:pt x="59" y="156"/>
                        <a:pt x="59" y="157"/>
                        <a:pt x="57" y="158"/>
                      </a:cubicBezTo>
                      <a:cubicBezTo>
                        <a:pt x="56" y="160"/>
                        <a:pt x="56" y="160"/>
                        <a:pt x="56" y="160"/>
                      </a:cubicBezTo>
                      <a:cubicBezTo>
                        <a:pt x="52" y="160"/>
                        <a:pt x="52" y="160"/>
                        <a:pt x="52" y="160"/>
                      </a:cubicBezTo>
                      <a:cubicBezTo>
                        <a:pt x="52" y="160"/>
                        <a:pt x="52" y="160"/>
                        <a:pt x="52" y="160"/>
                      </a:cubicBezTo>
                      <a:close/>
                      <a:moveTo>
                        <a:pt x="49" y="158"/>
                      </a:moveTo>
                      <a:cubicBezTo>
                        <a:pt x="49" y="158"/>
                        <a:pt x="49" y="158"/>
                        <a:pt x="49" y="158"/>
                      </a:cubicBezTo>
                      <a:cubicBezTo>
                        <a:pt x="52" y="159"/>
                        <a:pt x="52" y="159"/>
                        <a:pt x="52" y="159"/>
                      </a:cubicBezTo>
                      <a:cubicBezTo>
                        <a:pt x="55" y="159"/>
                        <a:pt x="55" y="159"/>
                        <a:pt x="55" y="159"/>
                      </a:cubicBezTo>
                      <a:cubicBezTo>
                        <a:pt x="57" y="158"/>
                        <a:pt x="57" y="158"/>
                        <a:pt x="57" y="158"/>
                      </a:cubicBezTo>
                      <a:cubicBezTo>
                        <a:pt x="58" y="157"/>
                        <a:pt x="59" y="156"/>
                        <a:pt x="59" y="156"/>
                      </a:cubicBezTo>
                      <a:cubicBezTo>
                        <a:pt x="59" y="156"/>
                        <a:pt x="58" y="154"/>
                        <a:pt x="58" y="154"/>
                      </a:cubicBezTo>
                      <a:cubicBezTo>
                        <a:pt x="58" y="153"/>
                        <a:pt x="58" y="153"/>
                        <a:pt x="58" y="153"/>
                      </a:cubicBezTo>
                      <a:cubicBezTo>
                        <a:pt x="58" y="153"/>
                        <a:pt x="57" y="152"/>
                        <a:pt x="57" y="151"/>
                      </a:cubicBezTo>
                      <a:cubicBezTo>
                        <a:pt x="57" y="151"/>
                        <a:pt x="58" y="150"/>
                        <a:pt x="58" y="150"/>
                      </a:cubicBezTo>
                      <a:cubicBezTo>
                        <a:pt x="59" y="150"/>
                        <a:pt x="59" y="150"/>
                        <a:pt x="59" y="150"/>
                      </a:cubicBezTo>
                      <a:cubicBezTo>
                        <a:pt x="59" y="150"/>
                        <a:pt x="60" y="150"/>
                        <a:pt x="60" y="150"/>
                      </a:cubicBezTo>
                      <a:cubicBezTo>
                        <a:pt x="61" y="151"/>
                        <a:pt x="61" y="151"/>
                        <a:pt x="61" y="151"/>
                      </a:cubicBezTo>
                      <a:cubicBezTo>
                        <a:pt x="61" y="151"/>
                        <a:pt x="61" y="151"/>
                        <a:pt x="61" y="151"/>
                      </a:cubicBezTo>
                      <a:cubicBezTo>
                        <a:pt x="62" y="151"/>
                        <a:pt x="63" y="150"/>
                        <a:pt x="63" y="149"/>
                      </a:cubicBezTo>
                      <a:cubicBezTo>
                        <a:pt x="63" y="149"/>
                        <a:pt x="63" y="149"/>
                        <a:pt x="63" y="149"/>
                      </a:cubicBezTo>
                      <a:cubicBezTo>
                        <a:pt x="62" y="149"/>
                        <a:pt x="62" y="148"/>
                        <a:pt x="61" y="148"/>
                      </a:cubicBezTo>
                      <a:cubicBezTo>
                        <a:pt x="59" y="147"/>
                        <a:pt x="58" y="146"/>
                        <a:pt x="58" y="146"/>
                      </a:cubicBezTo>
                      <a:cubicBezTo>
                        <a:pt x="58" y="146"/>
                        <a:pt x="58" y="145"/>
                        <a:pt x="58" y="145"/>
                      </a:cubicBezTo>
                      <a:cubicBezTo>
                        <a:pt x="57" y="145"/>
                        <a:pt x="57" y="144"/>
                        <a:pt x="57" y="144"/>
                      </a:cubicBezTo>
                      <a:cubicBezTo>
                        <a:pt x="57" y="143"/>
                        <a:pt x="57" y="142"/>
                        <a:pt x="57" y="142"/>
                      </a:cubicBezTo>
                      <a:cubicBezTo>
                        <a:pt x="57" y="141"/>
                        <a:pt x="57" y="141"/>
                        <a:pt x="57" y="141"/>
                      </a:cubicBezTo>
                      <a:cubicBezTo>
                        <a:pt x="57" y="141"/>
                        <a:pt x="58" y="140"/>
                        <a:pt x="59" y="140"/>
                      </a:cubicBezTo>
                      <a:cubicBezTo>
                        <a:pt x="60" y="140"/>
                        <a:pt x="60" y="140"/>
                        <a:pt x="60" y="140"/>
                      </a:cubicBezTo>
                      <a:cubicBezTo>
                        <a:pt x="61" y="137"/>
                        <a:pt x="61" y="137"/>
                        <a:pt x="61" y="137"/>
                      </a:cubicBezTo>
                      <a:cubicBezTo>
                        <a:pt x="61" y="137"/>
                        <a:pt x="61" y="136"/>
                        <a:pt x="62" y="136"/>
                      </a:cubicBezTo>
                      <a:cubicBezTo>
                        <a:pt x="63" y="136"/>
                        <a:pt x="63" y="136"/>
                        <a:pt x="63" y="136"/>
                      </a:cubicBezTo>
                      <a:cubicBezTo>
                        <a:pt x="63" y="136"/>
                        <a:pt x="63" y="136"/>
                        <a:pt x="63" y="136"/>
                      </a:cubicBezTo>
                      <a:cubicBezTo>
                        <a:pt x="70" y="132"/>
                        <a:pt x="70" y="132"/>
                        <a:pt x="70" y="132"/>
                      </a:cubicBezTo>
                      <a:cubicBezTo>
                        <a:pt x="75" y="124"/>
                        <a:pt x="75" y="124"/>
                        <a:pt x="75" y="124"/>
                      </a:cubicBezTo>
                      <a:cubicBezTo>
                        <a:pt x="76" y="115"/>
                        <a:pt x="76" y="115"/>
                        <a:pt x="76" y="115"/>
                      </a:cubicBezTo>
                      <a:cubicBezTo>
                        <a:pt x="79" y="107"/>
                        <a:pt x="79" y="107"/>
                        <a:pt x="79" y="107"/>
                      </a:cubicBezTo>
                      <a:cubicBezTo>
                        <a:pt x="80" y="106"/>
                        <a:pt x="83" y="104"/>
                        <a:pt x="84" y="104"/>
                      </a:cubicBezTo>
                      <a:cubicBezTo>
                        <a:pt x="84" y="103"/>
                        <a:pt x="84" y="100"/>
                        <a:pt x="83" y="96"/>
                      </a:cubicBezTo>
                      <a:cubicBezTo>
                        <a:pt x="81" y="93"/>
                        <a:pt x="81" y="93"/>
                        <a:pt x="81" y="93"/>
                      </a:cubicBezTo>
                      <a:cubicBezTo>
                        <a:pt x="81" y="91"/>
                        <a:pt x="81" y="91"/>
                        <a:pt x="81" y="91"/>
                      </a:cubicBezTo>
                      <a:cubicBezTo>
                        <a:pt x="81" y="92"/>
                        <a:pt x="80" y="92"/>
                        <a:pt x="80" y="91"/>
                      </a:cubicBezTo>
                      <a:cubicBezTo>
                        <a:pt x="80" y="91"/>
                        <a:pt x="79" y="91"/>
                        <a:pt x="79" y="91"/>
                      </a:cubicBezTo>
                      <a:cubicBezTo>
                        <a:pt x="79" y="90"/>
                        <a:pt x="79" y="90"/>
                        <a:pt x="79" y="90"/>
                      </a:cubicBezTo>
                      <a:cubicBezTo>
                        <a:pt x="76" y="89"/>
                        <a:pt x="76" y="89"/>
                        <a:pt x="76" y="89"/>
                      </a:cubicBezTo>
                      <a:cubicBezTo>
                        <a:pt x="76" y="89"/>
                        <a:pt x="76" y="89"/>
                        <a:pt x="75" y="89"/>
                      </a:cubicBezTo>
                      <a:cubicBezTo>
                        <a:pt x="75" y="89"/>
                        <a:pt x="74" y="89"/>
                        <a:pt x="74" y="89"/>
                      </a:cubicBezTo>
                      <a:cubicBezTo>
                        <a:pt x="72" y="88"/>
                        <a:pt x="71" y="88"/>
                        <a:pt x="71" y="89"/>
                      </a:cubicBezTo>
                      <a:cubicBezTo>
                        <a:pt x="70" y="89"/>
                        <a:pt x="70" y="89"/>
                        <a:pt x="69" y="90"/>
                      </a:cubicBezTo>
                      <a:cubicBezTo>
                        <a:pt x="69" y="90"/>
                        <a:pt x="69" y="90"/>
                        <a:pt x="69" y="90"/>
                      </a:cubicBezTo>
                      <a:cubicBezTo>
                        <a:pt x="68" y="91"/>
                        <a:pt x="68" y="90"/>
                        <a:pt x="68" y="90"/>
                      </a:cubicBezTo>
                      <a:cubicBezTo>
                        <a:pt x="68" y="90"/>
                        <a:pt x="68" y="90"/>
                        <a:pt x="67" y="90"/>
                      </a:cubicBezTo>
                      <a:cubicBezTo>
                        <a:pt x="67" y="88"/>
                        <a:pt x="67" y="88"/>
                        <a:pt x="67" y="88"/>
                      </a:cubicBezTo>
                      <a:cubicBezTo>
                        <a:pt x="67" y="88"/>
                        <a:pt x="67" y="87"/>
                        <a:pt x="67" y="87"/>
                      </a:cubicBezTo>
                      <a:cubicBezTo>
                        <a:pt x="67" y="86"/>
                        <a:pt x="66" y="84"/>
                        <a:pt x="66" y="83"/>
                      </a:cubicBezTo>
                      <a:cubicBezTo>
                        <a:pt x="65" y="82"/>
                        <a:pt x="65" y="82"/>
                        <a:pt x="65" y="81"/>
                      </a:cubicBezTo>
                      <a:cubicBezTo>
                        <a:pt x="65" y="81"/>
                        <a:pt x="63" y="81"/>
                        <a:pt x="63" y="81"/>
                      </a:cubicBezTo>
                      <a:cubicBezTo>
                        <a:pt x="62" y="81"/>
                        <a:pt x="61" y="81"/>
                        <a:pt x="61" y="81"/>
                      </a:cubicBezTo>
                      <a:cubicBezTo>
                        <a:pt x="60" y="80"/>
                        <a:pt x="60" y="79"/>
                        <a:pt x="61" y="78"/>
                      </a:cubicBezTo>
                      <a:cubicBezTo>
                        <a:pt x="61" y="78"/>
                        <a:pt x="60" y="77"/>
                        <a:pt x="59" y="76"/>
                      </a:cubicBezTo>
                      <a:cubicBezTo>
                        <a:pt x="59" y="76"/>
                        <a:pt x="57" y="73"/>
                        <a:pt x="57" y="73"/>
                      </a:cubicBezTo>
                      <a:cubicBezTo>
                        <a:pt x="57" y="73"/>
                        <a:pt x="56" y="73"/>
                        <a:pt x="56" y="72"/>
                      </a:cubicBezTo>
                      <a:cubicBezTo>
                        <a:pt x="55" y="68"/>
                        <a:pt x="55" y="68"/>
                        <a:pt x="55" y="68"/>
                      </a:cubicBezTo>
                      <a:cubicBezTo>
                        <a:pt x="56" y="67"/>
                        <a:pt x="56" y="66"/>
                        <a:pt x="56" y="66"/>
                      </a:cubicBezTo>
                      <a:cubicBezTo>
                        <a:pt x="57" y="65"/>
                        <a:pt x="57" y="64"/>
                        <a:pt x="57" y="64"/>
                      </a:cubicBezTo>
                      <a:cubicBezTo>
                        <a:pt x="57" y="64"/>
                        <a:pt x="55" y="62"/>
                        <a:pt x="54" y="62"/>
                      </a:cubicBezTo>
                      <a:cubicBezTo>
                        <a:pt x="54" y="62"/>
                        <a:pt x="52" y="60"/>
                        <a:pt x="52" y="59"/>
                      </a:cubicBezTo>
                      <a:cubicBezTo>
                        <a:pt x="51" y="58"/>
                        <a:pt x="51" y="57"/>
                        <a:pt x="51" y="57"/>
                      </a:cubicBezTo>
                      <a:cubicBezTo>
                        <a:pt x="52" y="56"/>
                        <a:pt x="52" y="56"/>
                        <a:pt x="53" y="56"/>
                      </a:cubicBezTo>
                      <a:cubicBezTo>
                        <a:pt x="54" y="55"/>
                        <a:pt x="54" y="55"/>
                        <a:pt x="54" y="55"/>
                      </a:cubicBezTo>
                      <a:cubicBezTo>
                        <a:pt x="54" y="55"/>
                        <a:pt x="55" y="54"/>
                        <a:pt x="55" y="54"/>
                      </a:cubicBezTo>
                      <a:cubicBezTo>
                        <a:pt x="55" y="53"/>
                        <a:pt x="55" y="53"/>
                        <a:pt x="55" y="53"/>
                      </a:cubicBezTo>
                      <a:cubicBezTo>
                        <a:pt x="55" y="53"/>
                        <a:pt x="54" y="51"/>
                        <a:pt x="54" y="51"/>
                      </a:cubicBezTo>
                      <a:cubicBezTo>
                        <a:pt x="55" y="48"/>
                        <a:pt x="55" y="48"/>
                        <a:pt x="55" y="48"/>
                      </a:cubicBezTo>
                      <a:cubicBezTo>
                        <a:pt x="54" y="47"/>
                        <a:pt x="54" y="47"/>
                        <a:pt x="54" y="47"/>
                      </a:cubicBezTo>
                      <a:cubicBezTo>
                        <a:pt x="54" y="43"/>
                        <a:pt x="54" y="43"/>
                        <a:pt x="54" y="43"/>
                      </a:cubicBezTo>
                      <a:cubicBezTo>
                        <a:pt x="54" y="42"/>
                        <a:pt x="54" y="42"/>
                        <a:pt x="54" y="42"/>
                      </a:cubicBezTo>
                      <a:cubicBezTo>
                        <a:pt x="54" y="41"/>
                        <a:pt x="54" y="40"/>
                        <a:pt x="54" y="40"/>
                      </a:cubicBezTo>
                      <a:cubicBezTo>
                        <a:pt x="54" y="39"/>
                        <a:pt x="55" y="38"/>
                        <a:pt x="55" y="37"/>
                      </a:cubicBezTo>
                      <a:cubicBezTo>
                        <a:pt x="55" y="35"/>
                        <a:pt x="55" y="35"/>
                        <a:pt x="55" y="35"/>
                      </a:cubicBezTo>
                      <a:cubicBezTo>
                        <a:pt x="56" y="33"/>
                        <a:pt x="56" y="33"/>
                        <a:pt x="56" y="33"/>
                      </a:cubicBezTo>
                      <a:cubicBezTo>
                        <a:pt x="54" y="30"/>
                        <a:pt x="54" y="30"/>
                        <a:pt x="54" y="30"/>
                      </a:cubicBezTo>
                      <a:cubicBezTo>
                        <a:pt x="54" y="30"/>
                        <a:pt x="54" y="30"/>
                        <a:pt x="53" y="29"/>
                      </a:cubicBezTo>
                      <a:cubicBezTo>
                        <a:pt x="53" y="28"/>
                        <a:pt x="52" y="26"/>
                        <a:pt x="52" y="26"/>
                      </a:cubicBezTo>
                      <a:cubicBezTo>
                        <a:pt x="51" y="24"/>
                        <a:pt x="51" y="24"/>
                        <a:pt x="51" y="24"/>
                      </a:cubicBezTo>
                      <a:cubicBezTo>
                        <a:pt x="51" y="23"/>
                        <a:pt x="49" y="21"/>
                        <a:pt x="49" y="21"/>
                      </a:cubicBezTo>
                      <a:cubicBezTo>
                        <a:pt x="49" y="20"/>
                        <a:pt x="48" y="20"/>
                        <a:pt x="48" y="20"/>
                      </a:cubicBezTo>
                      <a:cubicBezTo>
                        <a:pt x="48" y="19"/>
                        <a:pt x="48" y="19"/>
                        <a:pt x="47" y="19"/>
                      </a:cubicBezTo>
                      <a:cubicBezTo>
                        <a:pt x="46" y="18"/>
                        <a:pt x="44" y="17"/>
                        <a:pt x="44" y="17"/>
                      </a:cubicBezTo>
                      <a:cubicBezTo>
                        <a:pt x="42" y="17"/>
                        <a:pt x="42" y="17"/>
                        <a:pt x="42" y="17"/>
                      </a:cubicBezTo>
                      <a:cubicBezTo>
                        <a:pt x="40" y="15"/>
                        <a:pt x="40" y="15"/>
                        <a:pt x="40" y="15"/>
                      </a:cubicBezTo>
                      <a:cubicBezTo>
                        <a:pt x="39" y="16"/>
                        <a:pt x="39" y="16"/>
                        <a:pt x="39" y="16"/>
                      </a:cubicBezTo>
                      <a:cubicBezTo>
                        <a:pt x="36" y="12"/>
                        <a:pt x="36" y="12"/>
                        <a:pt x="36" y="12"/>
                      </a:cubicBezTo>
                      <a:cubicBezTo>
                        <a:pt x="36" y="9"/>
                        <a:pt x="36" y="9"/>
                        <a:pt x="36" y="9"/>
                      </a:cubicBezTo>
                      <a:cubicBezTo>
                        <a:pt x="29" y="4"/>
                        <a:pt x="29" y="4"/>
                        <a:pt x="29" y="4"/>
                      </a:cubicBezTo>
                      <a:cubicBezTo>
                        <a:pt x="28" y="5"/>
                        <a:pt x="28" y="5"/>
                        <a:pt x="28" y="5"/>
                      </a:cubicBezTo>
                      <a:cubicBezTo>
                        <a:pt x="28" y="5"/>
                        <a:pt x="27" y="6"/>
                        <a:pt x="27" y="6"/>
                      </a:cubicBezTo>
                      <a:cubicBezTo>
                        <a:pt x="27" y="7"/>
                        <a:pt x="24" y="7"/>
                        <a:pt x="24" y="7"/>
                      </a:cubicBezTo>
                      <a:cubicBezTo>
                        <a:pt x="23" y="9"/>
                        <a:pt x="23" y="9"/>
                        <a:pt x="23" y="9"/>
                      </a:cubicBezTo>
                      <a:cubicBezTo>
                        <a:pt x="20" y="10"/>
                        <a:pt x="20" y="10"/>
                        <a:pt x="20" y="10"/>
                      </a:cubicBezTo>
                      <a:cubicBezTo>
                        <a:pt x="20" y="10"/>
                        <a:pt x="19" y="10"/>
                        <a:pt x="19" y="10"/>
                      </a:cubicBezTo>
                      <a:cubicBezTo>
                        <a:pt x="19" y="9"/>
                        <a:pt x="18" y="9"/>
                        <a:pt x="18" y="9"/>
                      </a:cubicBezTo>
                      <a:cubicBezTo>
                        <a:pt x="18" y="8"/>
                        <a:pt x="18" y="8"/>
                        <a:pt x="18" y="8"/>
                      </a:cubicBezTo>
                      <a:cubicBezTo>
                        <a:pt x="17" y="7"/>
                        <a:pt x="17" y="6"/>
                        <a:pt x="17" y="6"/>
                      </a:cubicBezTo>
                      <a:cubicBezTo>
                        <a:pt x="17" y="5"/>
                        <a:pt x="17" y="5"/>
                        <a:pt x="17" y="5"/>
                      </a:cubicBezTo>
                      <a:cubicBezTo>
                        <a:pt x="17" y="4"/>
                        <a:pt x="17" y="4"/>
                        <a:pt x="17" y="3"/>
                      </a:cubicBezTo>
                      <a:cubicBezTo>
                        <a:pt x="17" y="2"/>
                        <a:pt x="17" y="2"/>
                        <a:pt x="17" y="2"/>
                      </a:cubicBezTo>
                      <a:cubicBezTo>
                        <a:pt x="15" y="1"/>
                        <a:pt x="15" y="1"/>
                        <a:pt x="15" y="1"/>
                      </a:cubicBezTo>
                      <a:cubicBezTo>
                        <a:pt x="15" y="1"/>
                        <a:pt x="14" y="0"/>
                        <a:pt x="14" y="0"/>
                      </a:cubicBezTo>
                      <a:cubicBezTo>
                        <a:pt x="14" y="1"/>
                        <a:pt x="12" y="2"/>
                        <a:pt x="11" y="4"/>
                      </a:cubicBezTo>
                      <a:cubicBezTo>
                        <a:pt x="11" y="5"/>
                        <a:pt x="11" y="5"/>
                        <a:pt x="11" y="5"/>
                      </a:cubicBezTo>
                      <a:cubicBezTo>
                        <a:pt x="9" y="9"/>
                        <a:pt x="9" y="9"/>
                        <a:pt x="9" y="9"/>
                      </a:cubicBezTo>
                      <a:cubicBezTo>
                        <a:pt x="8" y="12"/>
                        <a:pt x="8" y="12"/>
                        <a:pt x="8" y="12"/>
                      </a:cubicBezTo>
                      <a:cubicBezTo>
                        <a:pt x="8" y="12"/>
                        <a:pt x="8" y="13"/>
                        <a:pt x="7" y="13"/>
                      </a:cubicBezTo>
                      <a:cubicBezTo>
                        <a:pt x="7" y="14"/>
                        <a:pt x="6" y="15"/>
                        <a:pt x="6" y="15"/>
                      </a:cubicBezTo>
                      <a:cubicBezTo>
                        <a:pt x="5" y="15"/>
                        <a:pt x="5" y="15"/>
                        <a:pt x="5" y="15"/>
                      </a:cubicBezTo>
                      <a:cubicBezTo>
                        <a:pt x="4" y="16"/>
                        <a:pt x="4" y="16"/>
                        <a:pt x="4" y="16"/>
                      </a:cubicBezTo>
                      <a:cubicBezTo>
                        <a:pt x="5" y="18"/>
                        <a:pt x="5" y="18"/>
                        <a:pt x="5" y="18"/>
                      </a:cubicBezTo>
                      <a:cubicBezTo>
                        <a:pt x="4" y="18"/>
                        <a:pt x="4" y="19"/>
                        <a:pt x="4" y="20"/>
                      </a:cubicBezTo>
                      <a:cubicBezTo>
                        <a:pt x="4" y="20"/>
                        <a:pt x="4" y="20"/>
                        <a:pt x="3" y="21"/>
                      </a:cubicBezTo>
                      <a:cubicBezTo>
                        <a:pt x="3" y="23"/>
                        <a:pt x="3" y="23"/>
                        <a:pt x="3" y="23"/>
                      </a:cubicBezTo>
                      <a:cubicBezTo>
                        <a:pt x="0" y="26"/>
                        <a:pt x="0" y="26"/>
                        <a:pt x="0" y="26"/>
                      </a:cubicBezTo>
                      <a:cubicBezTo>
                        <a:pt x="0" y="27"/>
                        <a:pt x="0" y="27"/>
                        <a:pt x="0" y="27"/>
                      </a:cubicBezTo>
                      <a:cubicBezTo>
                        <a:pt x="1" y="28"/>
                        <a:pt x="1" y="28"/>
                        <a:pt x="1" y="28"/>
                      </a:cubicBezTo>
                      <a:cubicBezTo>
                        <a:pt x="5" y="30"/>
                        <a:pt x="5" y="30"/>
                        <a:pt x="5" y="30"/>
                      </a:cubicBezTo>
                      <a:cubicBezTo>
                        <a:pt x="6" y="30"/>
                        <a:pt x="6" y="31"/>
                        <a:pt x="6" y="32"/>
                      </a:cubicBezTo>
                      <a:cubicBezTo>
                        <a:pt x="6" y="32"/>
                        <a:pt x="5" y="33"/>
                        <a:pt x="5" y="33"/>
                      </a:cubicBezTo>
                      <a:cubicBezTo>
                        <a:pt x="5" y="35"/>
                        <a:pt x="5" y="35"/>
                        <a:pt x="5" y="35"/>
                      </a:cubicBezTo>
                      <a:cubicBezTo>
                        <a:pt x="5" y="35"/>
                        <a:pt x="5" y="36"/>
                        <a:pt x="5" y="36"/>
                      </a:cubicBezTo>
                      <a:cubicBezTo>
                        <a:pt x="5" y="36"/>
                        <a:pt x="6" y="37"/>
                        <a:pt x="6" y="37"/>
                      </a:cubicBezTo>
                      <a:cubicBezTo>
                        <a:pt x="6" y="38"/>
                        <a:pt x="5" y="39"/>
                        <a:pt x="5" y="39"/>
                      </a:cubicBezTo>
                      <a:cubicBezTo>
                        <a:pt x="4" y="40"/>
                        <a:pt x="4" y="40"/>
                        <a:pt x="4" y="40"/>
                      </a:cubicBezTo>
                      <a:cubicBezTo>
                        <a:pt x="5" y="41"/>
                        <a:pt x="5" y="41"/>
                        <a:pt x="5" y="41"/>
                      </a:cubicBezTo>
                      <a:cubicBezTo>
                        <a:pt x="5" y="41"/>
                        <a:pt x="5" y="43"/>
                        <a:pt x="5" y="43"/>
                      </a:cubicBezTo>
                      <a:cubicBezTo>
                        <a:pt x="5" y="43"/>
                        <a:pt x="6" y="44"/>
                        <a:pt x="7" y="44"/>
                      </a:cubicBezTo>
                      <a:cubicBezTo>
                        <a:pt x="7" y="44"/>
                        <a:pt x="7" y="44"/>
                        <a:pt x="8" y="44"/>
                      </a:cubicBezTo>
                      <a:cubicBezTo>
                        <a:pt x="9" y="44"/>
                        <a:pt x="9" y="44"/>
                        <a:pt x="9" y="44"/>
                      </a:cubicBezTo>
                      <a:cubicBezTo>
                        <a:pt x="10" y="44"/>
                        <a:pt x="10" y="44"/>
                        <a:pt x="10" y="44"/>
                      </a:cubicBezTo>
                      <a:cubicBezTo>
                        <a:pt x="14" y="45"/>
                        <a:pt x="14" y="45"/>
                        <a:pt x="14" y="45"/>
                      </a:cubicBezTo>
                      <a:cubicBezTo>
                        <a:pt x="15" y="46"/>
                        <a:pt x="15" y="46"/>
                        <a:pt x="15" y="46"/>
                      </a:cubicBezTo>
                      <a:cubicBezTo>
                        <a:pt x="15" y="49"/>
                        <a:pt x="15" y="49"/>
                        <a:pt x="15" y="49"/>
                      </a:cubicBezTo>
                      <a:cubicBezTo>
                        <a:pt x="16" y="52"/>
                        <a:pt x="16" y="52"/>
                        <a:pt x="16" y="52"/>
                      </a:cubicBezTo>
                      <a:cubicBezTo>
                        <a:pt x="15" y="54"/>
                        <a:pt x="15" y="54"/>
                        <a:pt x="15" y="54"/>
                      </a:cubicBezTo>
                      <a:cubicBezTo>
                        <a:pt x="16" y="54"/>
                        <a:pt x="16" y="54"/>
                        <a:pt x="16" y="54"/>
                      </a:cubicBezTo>
                      <a:cubicBezTo>
                        <a:pt x="16" y="54"/>
                        <a:pt x="16" y="55"/>
                        <a:pt x="16" y="55"/>
                      </a:cubicBezTo>
                      <a:cubicBezTo>
                        <a:pt x="16" y="56"/>
                        <a:pt x="16" y="58"/>
                        <a:pt x="16" y="58"/>
                      </a:cubicBezTo>
                      <a:cubicBezTo>
                        <a:pt x="15" y="58"/>
                        <a:pt x="14" y="59"/>
                        <a:pt x="13" y="59"/>
                      </a:cubicBezTo>
                      <a:cubicBezTo>
                        <a:pt x="12" y="59"/>
                        <a:pt x="11" y="59"/>
                        <a:pt x="11" y="59"/>
                      </a:cubicBezTo>
                      <a:cubicBezTo>
                        <a:pt x="11" y="60"/>
                        <a:pt x="11" y="60"/>
                        <a:pt x="11" y="60"/>
                      </a:cubicBezTo>
                      <a:cubicBezTo>
                        <a:pt x="13" y="61"/>
                        <a:pt x="13" y="61"/>
                        <a:pt x="13" y="61"/>
                      </a:cubicBezTo>
                      <a:cubicBezTo>
                        <a:pt x="14" y="61"/>
                        <a:pt x="14" y="61"/>
                        <a:pt x="14" y="61"/>
                      </a:cubicBezTo>
                      <a:cubicBezTo>
                        <a:pt x="15" y="62"/>
                        <a:pt x="15" y="64"/>
                        <a:pt x="15" y="64"/>
                      </a:cubicBezTo>
                      <a:cubicBezTo>
                        <a:pt x="14" y="64"/>
                        <a:pt x="14" y="65"/>
                        <a:pt x="14" y="65"/>
                      </a:cubicBezTo>
                      <a:cubicBezTo>
                        <a:pt x="13" y="65"/>
                        <a:pt x="12" y="66"/>
                        <a:pt x="12" y="66"/>
                      </a:cubicBezTo>
                      <a:cubicBezTo>
                        <a:pt x="10" y="68"/>
                        <a:pt x="10" y="68"/>
                        <a:pt x="10" y="68"/>
                      </a:cubicBezTo>
                      <a:cubicBezTo>
                        <a:pt x="9" y="69"/>
                        <a:pt x="9" y="69"/>
                        <a:pt x="9" y="69"/>
                      </a:cubicBezTo>
                      <a:cubicBezTo>
                        <a:pt x="10" y="71"/>
                        <a:pt x="10" y="71"/>
                        <a:pt x="10" y="71"/>
                      </a:cubicBezTo>
                      <a:cubicBezTo>
                        <a:pt x="11" y="71"/>
                        <a:pt x="11" y="71"/>
                        <a:pt x="11" y="71"/>
                      </a:cubicBezTo>
                      <a:cubicBezTo>
                        <a:pt x="12" y="71"/>
                        <a:pt x="12" y="71"/>
                        <a:pt x="12" y="72"/>
                      </a:cubicBezTo>
                      <a:cubicBezTo>
                        <a:pt x="12" y="72"/>
                        <a:pt x="12" y="72"/>
                        <a:pt x="15" y="73"/>
                      </a:cubicBezTo>
                      <a:cubicBezTo>
                        <a:pt x="15" y="75"/>
                        <a:pt x="15" y="75"/>
                        <a:pt x="15" y="75"/>
                      </a:cubicBezTo>
                      <a:cubicBezTo>
                        <a:pt x="15" y="75"/>
                        <a:pt x="15" y="76"/>
                        <a:pt x="15" y="77"/>
                      </a:cubicBezTo>
                      <a:cubicBezTo>
                        <a:pt x="15" y="78"/>
                        <a:pt x="14" y="81"/>
                        <a:pt x="14" y="81"/>
                      </a:cubicBezTo>
                      <a:cubicBezTo>
                        <a:pt x="13" y="83"/>
                        <a:pt x="13" y="83"/>
                        <a:pt x="13" y="83"/>
                      </a:cubicBezTo>
                      <a:cubicBezTo>
                        <a:pt x="13" y="83"/>
                        <a:pt x="14" y="84"/>
                        <a:pt x="14" y="86"/>
                      </a:cubicBezTo>
                      <a:cubicBezTo>
                        <a:pt x="13" y="89"/>
                        <a:pt x="13" y="89"/>
                        <a:pt x="13" y="89"/>
                      </a:cubicBezTo>
                      <a:cubicBezTo>
                        <a:pt x="17" y="90"/>
                        <a:pt x="17" y="90"/>
                        <a:pt x="17" y="90"/>
                      </a:cubicBezTo>
                      <a:cubicBezTo>
                        <a:pt x="17" y="92"/>
                        <a:pt x="17" y="92"/>
                        <a:pt x="17" y="92"/>
                      </a:cubicBezTo>
                      <a:cubicBezTo>
                        <a:pt x="14" y="93"/>
                        <a:pt x="14" y="93"/>
                        <a:pt x="14" y="93"/>
                      </a:cubicBezTo>
                      <a:cubicBezTo>
                        <a:pt x="14" y="93"/>
                        <a:pt x="13" y="93"/>
                        <a:pt x="13" y="94"/>
                      </a:cubicBezTo>
                      <a:cubicBezTo>
                        <a:pt x="13" y="94"/>
                        <a:pt x="13" y="95"/>
                        <a:pt x="13" y="95"/>
                      </a:cubicBezTo>
                      <a:cubicBezTo>
                        <a:pt x="15" y="95"/>
                        <a:pt x="15" y="95"/>
                        <a:pt x="15" y="95"/>
                      </a:cubicBezTo>
                      <a:cubicBezTo>
                        <a:pt x="13" y="97"/>
                        <a:pt x="13" y="97"/>
                        <a:pt x="13" y="97"/>
                      </a:cubicBezTo>
                      <a:cubicBezTo>
                        <a:pt x="13" y="97"/>
                        <a:pt x="13" y="99"/>
                        <a:pt x="13" y="99"/>
                      </a:cubicBezTo>
                      <a:cubicBezTo>
                        <a:pt x="13" y="99"/>
                        <a:pt x="13" y="100"/>
                        <a:pt x="13" y="101"/>
                      </a:cubicBezTo>
                      <a:cubicBezTo>
                        <a:pt x="12" y="101"/>
                        <a:pt x="12" y="101"/>
                        <a:pt x="12" y="101"/>
                      </a:cubicBezTo>
                      <a:cubicBezTo>
                        <a:pt x="12" y="103"/>
                        <a:pt x="12" y="103"/>
                        <a:pt x="12" y="103"/>
                      </a:cubicBezTo>
                      <a:cubicBezTo>
                        <a:pt x="11" y="108"/>
                        <a:pt x="11" y="108"/>
                        <a:pt x="11" y="108"/>
                      </a:cubicBezTo>
                      <a:cubicBezTo>
                        <a:pt x="14" y="114"/>
                        <a:pt x="14" y="114"/>
                        <a:pt x="14" y="114"/>
                      </a:cubicBezTo>
                      <a:cubicBezTo>
                        <a:pt x="17" y="117"/>
                        <a:pt x="17" y="117"/>
                        <a:pt x="17" y="117"/>
                      </a:cubicBezTo>
                      <a:cubicBezTo>
                        <a:pt x="19" y="119"/>
                        <a:pt x="19" y="119"/>
                        <a:pt x="19" y="119"/>
                      </a:cubicBezTo>
                      <a:cubicBezTo>
                        <a:pt x="18" y="122"/>
                        <a:pt x="18" y="122"/>
                        <a:pt x="18" y="122"/>
                      </a:cubicBezTo>
                      <a:cubicBezTo>
                        <a:pt x="19" y="123"/>
                        <a:pt x="19" y="123"/>
                        <a:pt x="19" y="123"/>
                      </a:cubicBezTo>
                      <a:cubicBezTo>
                        <a:pt x="19" y="125"/>
                        <a:pt x="19" y="125"/>
                        <a:pt x="19" y="125"/>
                      </a:cubicBezTo>
                      <a:cubicBezTo>
                        <a:pt x="19" y="125"/>
                        <a:pt x="19" y="126"/>
                        <a:pt x="18" y="126"/>
                      </a:cubicBezTo>
                      <a:cubicBezTo>
                        <a:pt x="18" y="126"/>
                        <a:pt x="17" y="126"/>
                        <a:pt x="17" y="126"/>
                      </a:cubicBezTo>
                      <a:cubicBezTo>
                        <a:pt x="16" y="125"/>
                        <a:pt x="15" y="123"/>
                        <a:pt x="15" y="123"/>
                      </a:cubicBezTo>
                      <a:cubicBezTo>
                        <a:pt x="15" y="123"/>
                        <a:pt x="14" y="122"/>
                        <a:pt x="14" y="121"/>
                      </a:cubicBezTo>
                      <a:cubicBezTo>
                        <a:pt x="14" y="121"/>
                        <a:pt x="13" y="120"/>
                        <a:pt x="13" y="120"/>
                      </a:cubicBezTo>
                      <a:cubicBezTo>
                        <a:pt x="11" y="120"/>
                        <a:pt x="11" y="120"/>
                        <a:pt x="11" y="120"/>
                      </a:cubicBezTo>
                      <a:cubicBezTo>
                        <a:pt x="11" y="121"/>
                        <a:pt x="11" y="121"/>
                        <a:pt x="11" y="121"/>
                      </a:cubicBezTo>
                      <a:cubicBezTo>
                        <a:pt x="11" y="121"/>
                        <a:pt x="12" y="122"/>
                        <a:pt x="12" y="123"/>
                      </a:cubicBezTo>
                      <a:cubicBezTo>
                        <a:pt x="13" y="123"/>
                        <a:pt x="14" y="124"/>
                        <a:pt x="14" y="124"/>
                      </a:cubicBezTo>
                      <a:cubicBezTo>
                        <a:pt x="14" y="124"/>
                        <a:pt x="15" y="125"/>
                        <a:pt x="15" y="125"/>
                      </a:cubicBezTo>
                      <a:cubicBezTo>
                        <a:pt x="15" y="125"/>
                        <a:pt x="16" y="128"/>
                        <a:pt x="16" y="128"/>
                      </a:cubicBezTo>
                      <a:cubicBezTo>
                        <a:pt x="27" y="135"/>
                        <a:pt x="27" y="135"/>
                        <a:pt x="27" y="135"/>
                      </a:cubicBezTo>
                      <a:cubicBezTo>
                        <a:pt x="31" y="136"/>
                        <a:pt x="31" y="136"/>
                        <a:pt x="31" y="136"/>
                      </a:cubicBezTo>
                      <a:cubicBezTo>
                        <a:pt x="32" y="138"/>
                        <a:pt x="32" y="138"/>
                        <a:pt x="32" y="138"/>
                      </a:cubicBezTo>
                      <a:cubicBezTo>
                        <a:pt x="33" y="138"/>
                        <a:pt x="33" y="138"/>
                        <a:pt x="33" y="138"/>
                      </a:cubicBezTo>
                      <a:cubicBezTo>
                        <a:pt x="33" y="138"/>
                        <a:pt x="34" y="138"/>
                        <a:pt x="35" y="138"/>
                      </a:cubicBezTo>
                      <a:cubicBezTo>
                        <a:pt x="35" y="138"/>
                        <a:pt x="35" y="138"/>
                        <a:pt x="35" y="138"/>
                      </a:cubicBezTo>
                      <a:cubicBezTo>
                        <a:pt x="35" y="138"/>
                        <a:pt x="37" y="139"/>
                        <a:pt x="37" y="139"/>
                      </a:cubicBezTo>
                      <a:cubicBezTo>
                        <a:pt x="37" y="139"/>
                        <a:pt x="38" y="139"/>
                        <a:pt x="38" y="139"/>
                      </a:cubicBezTo>
                      <a:cubicBezTo>
                        <a:pt x="38" y="140"/>
                        <a:pt x="40" y="143"/>
                        <a:pt x="41" y="145"/>
                      </a:cubicBezTo>
                      <a:cubicBezTo>
                        <a:pt x="41" y="145"/>
                        <a:pt x="42" y="146"/>
                        <a:pt x="42" y="147"/>
                      </a:cubicBezTo>
                      <a:cubicBezTo>
                        <a:pt x="43" y="147"/>
                        <a:pt x="45" y="148"/>
                        <a:pt x="45" y="148"/>
                      </a:cubicBezTo>
                      <a:cubicBezTo>
                        <a:pt x="45" y="149"/>
                        <a:pt x="45" y="150"/>
                        <a:pt x="45" y="151"/>
                      </a:cubicBezTo>
                      <a:cubicBezTo>
                        <a:pt x="45" y="151"/>
                        <a:pt x="45" y="151"/>
                        <a:pt x="45" y="152"/>
                      </a:cubicBezTo>
                      <a:cubicBezTo>
                        <a:pt x="45" y="153"/>
                        <a:pt x="46" y="153"/>
                        <a:pt x="46" y="153"/>
                      </a:cubicBezTo>
                      <a:cubicBezTo>
                        <a:pt x="46" y="154"/>
                        <a:pt x="47" y="155"/>
                        <a:pt x="47" y="155"/>
                      </a:cubicBezTo>
                      <a:cubicBezTo>
                        <a:pt x="47" y="158"/>
                        <a:pt x="47" y="158"/>
                        <a:pt x="47" y="158"/>
                      </a:cubicBezTo>
                      <a:cubicBezTo>
                        <a:pt x="48" y="158"/>
                        <a:pt x="48" y="158"/>
                        <a:pt x="48" y="158"/>
                      </a:cubicBezTo>
                      <a:lnTo>
                        <a:pt x="49" y="158"/>
                      </a:lnTo>
                      <a:close/>
                    </a:path>
                  </a:pathLst>
                </a:custGeom>
                <a:solidFill>
                  <a:srgbClr val="E6EFF1"/>
                </a:solidFill>
                <a:ln w="12700" cap="rnd" cmpd="sng">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Lato Light"/>
                  </a:endParaRPr>
                </a:p>
              </p:txBody>
            </p:sp>
            <p:sp>
              <p:nvSpPr>
                <p:cNvPr id="10" name="Freeform 84">
                  <a:extLst>
                    <a:ext uri="{FF2B5EF4-FFF2-40B4-BE49-F238E27FC236}">
                      <a16:creationId xmlns:a16="http://schemas.microsoft.com/office/drawing/2014/main" id="{E50CA650-7A45-6B3B-E65F-29B4777DA1D3}"/>
                    </a:ext>
                  </a:extLst>
                </p:cNvPr>
                <p:cNvSpPr>
                  <a:spLocks/>
                </p:cNvSpPr>
                <p:nvPr/>
              </p:nvSpPr>
              <p:spPr bwMode="auto">
                <a:xfrm>
                  <a:off x="4922628" y="4992957"/>
                  <a:ext cx="223662" cy="247771"/>
                </a:xfrm>
                <a:custGeom>
                  <a:avLst/>
                  <a:gdLst>
                    <a:gd name="T0" fmla="*/ 46 w 78"/>
                    <a:gd name="T1" fmla="*/ 88 h 89"/>
                    <a:gd name="T2" fmla="*/ 44 w 78"/>
                    <a:gd name="T3" fmla="*/ 86 h 89"/>
                    <a:gd name="T4" fmla="*/ 44 w 78"/>
                    <a:gd name="T5" fmla="*/ 81 h 89"/>
                    <a:gd name="T6" fmla="*/ 44 w 78"/>
                    <a:gd name="T7" fmla="*/ 77 h 89"/>
                    <a:gd name="T8" fmla="*/ 42 w 78"/>
                    <a:gd name="T9" fmla="*/ 73 h 89"/>
                    <a:gd name="T10" fmla="*/ 39 w 78"/>
                    <a:gd name="T11" fmla="*/ 69 h 89"/>
                    <a:gd name="T12" fmla="*/ 43 w 78"/>
                    <a:gd name="T13" fmla="*/ 64 h 89"/>
                    <a:gd name="T14" fmla="*/ 44 w 78"/>
                    <a:gd name="T15" fmla="*/ 59 h 89"/>
                    <a:gd name="T16" fmla="*/ 47 w 78"/>
                    <a:gd name="T17" fmla="*/ 55 h 89"/>
                    <a:gd name="T18" fmla="*/ 50 w 78"/>
                    <a:gd name="T19" fmla="*/ 49 h 89"/>
                    <a:gd name="T20" fmla="*/ 55 w 78"/>
                    <a:gd name="T21" fmla="*/ 44 h 89"/>
                    <a:gd name="T22" fmla="*/ 56 w 78"/>
                    <a:gd name="T23" fmla="*/ 47 h 89"/>
                    <a:gd name="T24" fmla="*/ 57 w 78"/>
                    <a:gd name="T25" fmla="*/ 51 h 89"/>
                    <a:gd name="T26" fmla="*/ 59 w 78"/>
                    <a:gd name="T27" fmla="*/ 54 h 89"/>
                    <a:gd name="T28" fmla="*/ 66 w 78"/>
                    <a:gd name="T29" fmla="*/ 50 h 89"/>
                    <a:gd name="T30" fmla="*/ 68 w 78"/>
                    <a:gd name="T31" fmla="*/ 48 h 89"/>
                    <a:gd name="T32" fmla="*/ 67 w 78"/>
                    <a:gd name="T33" fmla="*/ 41 h 89"/>
                    <a:gd name="T34" fmla="*/ 70 w 78"/>
                    <a:gd name="T35" fmla="*/ 36 h 89"/>
                    <a:gd name="T36" fmla="*/ 78 w 78"/>
                    <a:gd name="T37" fmla="*/ 31 h 89"/>
                    <a:gd name="T38" fmla="*/ 71 w 78"/>
                    <a:gd name="T39" fmla="*/ 25 h 89"/>
                    <a:gd name="T40" fmla="*/ 62 w 78"/>
                    <a:gd name="T41" fmla="*/ 20 h 89"/>
                    <a:gd name="T42" fmla="*/ 57 w 78"/>
                    <a:gd name="T43" fmla="*/ 17 h 89"/>
                    <a:gd name="T44" fmla="*/ 50 w 78"/>
                    <a:gd name="T45" fmla="*/ 19 h 89"/>
                    <a:gd name="T46" fmla="*/ 46 w 78"/>
                    <a:gd name="T47" fmla="*/ 17 h 89"/>
                    <a:gd name="T48" fmla="*/ 40 w 78"/>
                    <a:gd name="T49" fmla="*/ 14 h 89"/>
                    <a:gd name="T50" fmla="*/ 38 w 78"/>
                    <a:gd name="T51" fmla="*/ 10 h 89"/>
                    <a:gd name="T52" fmla="*/ 33 w 78"/>
                    <a:gd name="T53" fmla="*/ 7 h 89"/>
                    <a:gd name="T54" fmla="*/ 26 w 78"/>
                    <a:gd name="T55" fmla="*/ 5 h 89"/>
                    <a:gd name="T56" fmla="*/ 25 w 78"/>
                    <a:gd name="T57" fmla="*/ 0 h 89"/>
                    <a:gd name="T58" fmla="*/ 20 w 78"/>
                    <a:gd name="T59" fmla="*/ 2 h 89"/>
                    <a:gd name="T60" fmla="*/ 17 w 78"/>
                    <a:gd name="T61" fmla="*/ 0 h 89"/>
                    <a:gd name="T62" fmla="*/ 14 w 78"/>
                    <a:gd name="T63" fmla="*/ 4 h 89"/>
                    <a:gd name="T64" fmla="*/ 17 w 78"/>
                    <a:gd name="T65" fmla="*/ 6 h 89"/>
                    <a:gd name="T66" fmla="*/ 19 w 78"/>
                    <a:gd name="T67" fmla="*/ 10 h 89"/>
                    <a:gd name="T68" fmla="*/ 20 w 78"/>
                    <a:gd name="T69" fmla="*/ 14 h 89"/>
                    <a:gd name="T70" fmla="*/ 17 w 78"/>
                    <a:gd name="T71" fmla="*/ 14 h 89"/>
                    <a:gd name="T72" fmla="*/ 12 w 78"/>
                    <a:gd name="T73" fmla="*/ 12 h 89"/>
                    <a:gd name="T74" fmla="*/ 8 w 78"/>
                    <a:gd name="T75" fmla="*/ 20 h 89"/>
                    <a:gd name="T76" fmla="*/ 7 w 78"/>
                    <a:gd name="T77" fmla="*/ 28 h 89"/>
                    <a:gd name="T78" fmla="*/ 0 w 78"/>
                    <a:gd name="T79" fmla="*/ 32 h 89"/>
                    <a:gd name="T80" fmla="*/ 3 w 78"/>
                    <a:gd name="T81" fmla="*/ 40 h 89"/>
                    <a:gd name="T82" fmla="*/ 4 w 78"/>
                    <a:gd name="T83" fmla="*/ 46 h 89"/>
                    <a:gd name="T84" fmla="*/ 7 w 78"/>
                    <a:gd name="T85" fmla="*/ 49 h 89"/>
                    <a:gd name="T86" fmla="*/ 5 w 78"/>
                    <a:gd name="T87" fmla="*/ 54 h 89"/>
                    <a:gd name="T88" fmla="*/ 3 w 78"/>
                    <a:gd name="T89" fmla="*/ 57 h 89"/>
                    <a:gd name="T90" fmla="*/ 5 w 78"/>
                    <a:gd name="T91" fmla="*/ 61 h 89"/>
                    <a:gd name="T92" fmla="*/ 12 w 78"/>
                    <a:gd name="T93" fmla="*/ 60 h 89"/>
                    <a:gd name="T94" fmla="*/ 13 w 78"/>
                    <a:gd name="T95" fmla="*/ 57 h 89"/>
                    <a:gd name="T96" fmla="*/ 16 w 78"/>
                    <a:gd name="T97" fmla="*/ 60 h 89"/>
                    <a:gd name="T98" fmla="*/ 14 w 78"/>
                    <a:gd name="T99" fmla="*/ 61 h 89"/>
                    <a:gd name="T100" fmla="*/ 12 w 78"/>
                    <a:gd name="T101" fmla="*/ 63 h 89"/>
                    <a:gd name="T102" fmla="*/ 8 w 78"/>
                    <a:gd name="T103" fmla="*/ 65 h 89"/>
                    <a:gd name="T104" fmla="*/ 13 w 78"/>
                    <a:gd name="T105" fmla="*/ 65 h 89"/>
                    <a:gd name="T106" fmla="*/ 17 w 78"/>
                    <a:gd name="T107" fmla="*/ 69 h 89"/>
                    <a:gd name="T108" fmla="*/ 25 w 78"/>
                    <a:gd name="T109" fmla="*/ 71 h 89"/>
                    <a:gd name="T110" fmla="*/ 30 w 78"/>
                    <a:gd name="T111" fmla="*/ 75 h 89"/>
                    <a:gd name="T112" fmla="*/ 31 w 78"/>
                    <a:gd name="T113" fmla="*/ 77 h 89"/>
                    <a:gd name="T114" fmla="*/ 34 w 78"/>
                    <a:gd name="T115" fmla="*/ 80 h 89"/>
                    <a:gd name="T116" fmla="*/ 36 w 78"/>
                    <a:gd name="T117" fmla="*/ 84 h 89"/>
                    <a:gd name="T118" fmla="*/ 40 w 78"/>
                    <a:gd name="T119" fmla="*/ 86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8" h="89">
                      <a:moveTo>
                        <a:pt x="42" y="87"/>
                      </a:moveTo>
                      <a:cubicBezTo>
                        <a:pt x="42" y="87"/>
                        <a:pt x="47" y="89"/>
                        <a:pt x="46" y="89"/>
                      </a:cubicBezTo>
                      <a:cubicBezTo>
                        <a:pt x="46" y="89"/>
                        <a:pt x="46" y="89"/>
                        <a:pt x="46" y="88"/>
                      </a:cubicBezTo>
                      <a:cubicBezTo>
                        <a:pt x="46" y="88"/>
                        <a:pt x="45" y="89"/>
                        <a:pt x="45" y="89"/>
                      </a:cubicBezTo>
                      <a:cubicBezTo>
                        <a:pt x="45" y="89"/>
                        <a:pt x="43" y="87"/>
                        <a:pt x="44" y="87"/>
                      </a:cubicBezTo>
                      <a:cubicBezTo>
                        <a:pt x="44" y="87"/>
                        <a:pt x="44" y="86"/>
                        <a:pt x="44" y="86"/>
                      </a:cubicBezTo>
                      <a:cubicBezTo>
                        <a:pt x="44" y="85"/>
                        <a:pt x="43" y="84"/>
                        <a:pt x="43" y="84"/>
                      </a:cubicBezTo>
                      <a:cubicBezTo>
                        <a:pt x="44" y="83"/>
                        <a:pt x="44" y="83"/>
                        <a:pt x="44" y="83"/>
                      </a:cubicBezTo>
                      <a:cubicBezTo>
                        <a:pt x="44" y="83"/>
                        <a:pt x="44" y="81"/>
                        <a:pt x="44" y="81"/>
                      </a:cubicBezTo>
                      <a:cubicBezTo>
                        <a:pt x="44" y="81"/>
                        <a:pt x="44" y="80"/>
                        <a:pt x="44" y="80"/>
                      </a:cubicBezTo>
                      <a:cubicBezTo>
                        <a:pt x="44" y="80"/>
                        <a:pt x="43" y="79"/>
                        <a:pt x="43" y="79"/>
                      </a:cubicBezTo>
                      <a:cubicBezTo>
                        <a:pt x="44" y="77"/>
                        <a:pt x="44" y="77"/>
                        <a:pt x="44" y="77"/>
                      </a:cubicBezTo>
                      <a:cubicBezTo>
                        <a:pt x="44" y="77"/>
                        <a:pt x="44" y="76"/>
                        <a:pt x="44" y="76"/>
                      </a:cubicBezTo>
                      <a:cubicBezTo>
                        <a:pt x="44" y="75"/>
                        <a:pt x="44" y="74"/>
                        <a:pt x="44" y="74"/>
                      </a:cubicBezTo>
                      <a:cubicBezTo>
                        <a:pt x="42" y="73"/>
                        <a:pt x="42" y="73"/>
                        <a:pt x="42" y="73"/>
                      </a:cubicBezTo>
                      <a:cubicBezTo>
                        <a:pt x="40" y="72"/>
                        <a:pt x="40" y="72"/>
                        <a:pt x="40" y="72"/>
                      </a:cubicBezTo>
                      <a:cubicBezTo>
                        <a:pt x="39" y="71"/>
                        <a:pt x="39" y="71"/>
                        <a:pt x="39" y="71"/>
                      </a:cubicBezTo>
                      <a:cubicBezTo>
                        <a:pt x="39" y="69"/>
                        <a:pt x="39" y="69"/>
                        <a:pt x="39" y="69"/>
                      </a:cubicBezTo>
                      <a:cubicBezTo>
                        <a:pt x="41" y="67"/>
                        <a:pt x="41" y="67"/>
                        <a:pt x="41" y="67"/>
                      </a:cubicBezTo>
                      <a:cubicBezTo>
                        <a:pt x="42" y="65"/>
                        <a:pt x="42" y="65"/>
                        <a:pt x="42" y="65"/>
                      </a:cubicBezTo>
                      <a:cubicBezTo>
                        <a:pt x="42" y="65"/>
                        <a:pt x="43" y="64"/>
                        <a:pt x="43" y="64"/>
                      </a:cubicBezTo>
                      <a:cubicBezTo>
                        <a:pt x="43" y="63"/>
                        <a:pt x="43" y="62"/>
                        <a:pt x="43" y="62"/>
                      </a:cubicBezTo>
                      <a:cubicBezTo>
                        <a:pt x="43" y="60"/>
                        <a:pt x="43" y="60"/>
                        <a:pt x="43" y="60"/>
                      </a:cubicBezTo>
                      <a:cubicBezTo>
                        <a:pt x="44" y="59"/>
                        <a:pt x="44" y="59"/>
                        <a:pt x="44" y="59"/>
                      </a:cubicBezTo>
                      <a:cubicBezTo>
                        <a:pt x="45" y="58"/>
                        <a:pt x="45" y="58"/>
                        <a:pt x="45" y="58"/>
                      </a:cubicBezTo>
                      <a:cubicBezTo>
                        <a:pt x="45" y="58"/>
                        <a:pt x="46" y="57"/>
                        <a:pt x="46" y="57"/>
                      </a:cubicBezTo>
                      <a:cubicBezTo>
                        <a:pt x="46" y="56"/>
                        <a:pt x="47" y="55"/>
                        <a:pt x="47" y="55"/>
                      </a:cubicBezTo>
                      <a:cubicBezTo>
                        <a:pt x="48" y="53"/>
                        <a:pt x="48" y="53"/>
                        <a:pt x="48" y="53"/>
                      </a:cubicBezTo>
                      <a:cubicBezTo>
                        <a:pt x="49" y="51"/>
                        <a:pt x="49" y="51"/>
                        <a:pt x="49" y="51"/>
                      </a:cubicBezTo>
                      <a:cubicBezTo>
                        <a:pt x="50" y="49"/>
                        <a:pt x="50" y="49"/>
                        <a:pt x="50" y="49"/>
                      </a:cubicBezTo>
                      <a:cubicBezTo>
                        <a:pt x="49" y="48"/>
                        <a:pt x="49" y="48"/>
                        <a:pt x="49" y="48"/>
                      </a:cubicBezTo>
                      <a:cubicBezTo>
                        <a:pt x="49" y="48"/>
                        <a:pt x="53" y="44"/>
                        <a:pt x="53" y="44"/>
                      </a:cubicBezTo>
                      <a:cubicBezTo>
                        <a:pt x="53" y="44"/>
                        <a:pt x="55" y="44"/>
                        <a:pt x="55" y="44"/>
                      </a:cubicBezTo>
                      <a:cubicBezTo>
                        <a:pt x="55" y="45"/>
                        <a:pt x="55" y="45"/>
                        <a:pt x="55" y="45"/>
                      </a:cubicBezTo>
                      <a:cubicBezTo>
                        <a:pt x="56" y="46"/>
                        <a:pt x="56" y="46"/>
                        <a:pt x="56" y="46"/>
                      </a:cubicBezTo>
                      <a:cubicBezTo>
                        <a:pt x="56" y="47"/>
                        <a:pt x="56" y="47"/>
                        <a:pt x="56" y="47"/>
                      </a:cubicBezTo>
                      <a:cubicBezTo>
                        <a:pt x="56" y="47"/>
                        <a:pt x="56" y="48"/>
                        <a:pt x="56" y="49"/>
                      </a:cubicBezTo>
                      <a:cubicBezTo>
                        <a:pt x="56" y="49"/>
                        <a:pt x="56" y="50"/>
                        <a:pt x="56" y="50"/>
                      </a:cubicBezTo>
                      <a:cubicBezTo>
                        <a:pt x="56" y="50"/>
                        <a:pt x="57" y="51"/>
                        <a:pt x="57" y="51"/>
                      </a:cubicBezTo>
                      <a:cubicBezTo>
                        <a:pt x="57" y="52"/>
                        <a:pt x="58" y="53"/>
                        <a:pt x="58" y="53"/>
                      </a:cubicBezTo>
                      <a:cubicBezTo>
                        <a:pt x="58" y="53"/>
                        <a:pt x="58" y="53"/>
                        <a:pt x="59" y="53"/>
                      </a:cubicBezTo>
                      <a:cubicBezTo>
                        <a:pt x="59" y="54"/>
                        <a:pt x="59" y="54"/>
                        <a:pt x="59" y="54"/>
                      </a:cubicBezTo>
                      <a:cubicBezTo>
                        <a:pt x="61" y="53"/>
                        <a:pt x="61" y="53"/>
                        <a:pt x="61" y="53"/>
                      </a:cubicBezTo>
                      <a:cubicBezTo>
                        <a:pt x="63" y="51"/>
                        <a:pt x="63" y="51"/>
                        <a:pt x="63" y="51"/>
                      </a:cubicBezTo>
                      <a:cubicBezTo>
                        <a:pt x="63" y="51"/>
                        <a:pt x="66" y="50"/>
                        <a:pt x="66" y="50"/>
                      </a:cubicBezTo>
                      <a:cubicBezTo>
                        <a:pt x="66" y="50"/>
                        <a:pt x="67" y="48"/>
                        <a:pt x="67" y="48"/>
                      </a:cubicBezTo>
                      <a:cubicBezTo>
                        <a:pt x="68" y="48"/>
                        <a:pt x="68" y="48"/>
                        <a:pt x="68" y="48"/>
                      </a:cubicBezTo>
                      <a:cubicBezTo>
                        <a:pt x="68" y="48"/>
                        <a:pt x="68" y="48"/>
                        <a:pt x="68" y="48"/>
                      </a:cubicBezTo>
                      <a:cubicBezTo>
                        <a:pt x="67" y="46"/>
                        <a:pt x="69" y="44"/>
                        <a:pt x="68" y="42"/>
                      </a:cubicBezTo>
                      <a:cubicBezTo>
                        <a:pt x="68" y="42"/>
                        <a:pt x="67" y="41"/>
                        <a:pt x="67" y="41"/>
                      </a:cubicBezTo>
                      <a:cubicBezTo>
                        <a:pt x="67" y="41"/>
                        <a:pt x="67" y="41"/>
                        <a:pt x="67" y="41"/>
                      </a:cubicBezTo>
                      <a:cubicBezTo>
                        <a:pt x="67" y="41"/>
                        <a:pt x="67" y="41"/>
                        <a:pt x="67" y="41"/>
                      </a:cubicBezTo>
                      <a:cubicBezTo>
                        <a:pt x="65" y="39"/>
                        <a:pt x="62" y="38"/>
                        <a:pt x="63" y="38"/>
                      </a:cubicBezTo>
                      <a:cubicBezTo>
                        <a:pt x="64" y="36"/>
                        <a:pt x="68" y="37"/>
                        <a:pt x="70" y="36"/>
                      </a:cubicBezTo>
                      <a:cubicBezTo>
                        <a:pt x="71" y="36"/>
                        <a:pt x="71" y="34"/>
                        <a:pt x="72" y="33"/>
                      </a:cubicBezTo>
                      <a:cubicBezTo>
                        <a:pt x="73" y="33"/>
                        <a:pt x="75" y="34"/>
                        <a:pt x="75" y="32"/>
                      </a:cubicBezTo>
                      <a:cubicBezTo>
                        <a:pt x="75" y="30"/>
                        <a:pt x="77" y="30"/>
                        <a:pt x="78" y="31"/>
                      </a:cubicBezTo>
                      <a:cubicBezTo>
                        <a:pt x="78" y="31"/>
                        <a:pt x="78" y="31"/>
                        <a:pt x="78" y="31"/>
                      </a:cubicBezTo>
                      <a:cubicBezTo>
                        <a:pt x="77" y="29"/>
                        <a:pt x="74" y="27"/>
                        <a:pt x="73" y="26"/>
                      </a:cubicBezTo>
                      <a:cubicBezTo>
                        <a:pt x="73" y="26"/>
                        <a:pt x="73" y="25"/>
                        <a:pt x="71" y="25"/>
                      </a:cubicBezTo>
                      <a:cubicBezTo>
                        <a:pt x="70" y="25"/>
                        <a:pt x="68" y="23"/>
                        <a:pt x="68" y="23"/>
                      </a:cubicBezTo>
                      <a:cubicBezTo>
                        <a:pt x="65" y="23"/>
                        <a:pt x="65" y="23"/>
                        <a:pt x="65" y="23"/>
                      </a:cubicBezTo>
                      <a:cubicBezTo>
                        <a:pt x="65" y="23"/>
                        <a:pt x="62" y="20"/>
                        <a:pt x="62" y="20"/>
                      </a:cubicBezTo>
                      <a:cubicBezTo>
                        <a:pt x="61" y="20"/>
                        <a:pt x="58" y="19"/>
                        <a:pt x="58" y="19"/>
                      </a:cubicBezTo>
                      <a:cubicBezTo>
                        <a:pt x="58" y="17"/>
                        <a:pt x="58" y="17"/>
                        <a:pt x="58" y="17"/>
                      </a:cubicBezTo>
                      <a:cubicBezTo>
                        <a:pt x="58" y="17"/>
                        <a:pt x="57" y="17"/>
                        <a:pt x="57" y="17"/>
                      </a:cubicBezTo>
                      <a:cubicBezTo>
                        <a:pt x="56" y="17"/>
                        <a:pt x="55" y="18"/>
                        <a:pt x="55" y="18"/>
                      </a:cubicBezTo>
                      <a:cubicBezTo>
                        <a:pt x="52" y="19"/>
                        <a:pt x="52" y="19"/>
                        <a:pt x="52" y="19"/>
                      </a:cubicBezTo>
                      <a:cubicBezTo>
                        <a:pt x="52" y="19"/>
                        <a:pt x="50" y="19"/>
                        <a:pt x="50" y="19"/>
                      </a:cubicBezTo>
                      <a:cubicBezTo>
                        <a:pt x="49" y="18"/>
                        <a:pt x="48" y="16"/>
                        <a:pt x="48" y="16"/>
                      </a:cubicBezTo>
                      <a:cubicBezTo>
                        <a:pt x="48" y="16"/>
                        <a:pt x="48" y="16"/>
                        <a:pt x="47" y="16"/>
                      </a:cubicBezTo>
                      <a:cubicBezTo>
                        <a:pt x="46" y="17"/>
                        <a:pt x="48" y="18"/>
                        <a:pt x="46" y="17"/>
                      </a:cubicBezTo>
                      <a:cubicBezTo>
                        <a:pt x="43" y="16"/>
                        <a:pt x="43" y="16"/>
                        <a:pt x="43" y="16"/>
                      </a:cubicBezTo>
                      <a:cubicBezTo>
                        <a:pt x="41" y="14"/>
                        <a:pt x="41" y="14"/>
                        <a:pt x="41" y="14"/>
                      </a:cubicBezTo>
                      <a:cubicBezTo>
                        <a:pt x="40" y="14"/>
                        <a:pt x="40" y="14"/>
                        <a:pt x="40" y="14"/>
                      </a:cubicBezTo>
                      <a:cubicBezTo>
                        <a:pt x="39" y="14"/>
                        <a:pt x="39" y="14"/>
                        <a:pt x="39" y="14"/>
                      </a:cubicBezTo>
                      <a:cubicBezTo>
                        <a:pt x="39" y="14"/>
                        <a:pt x="38" y="12"/>
                        <a:pt x="38" y="12"/>
                      </a:cubicBezTo>
                      <a:cubicBezTo>
                        <a:pt x="38" y="12"/>
                        <a:pt x="38" y="10"/>
                        <a:pt x="38" y="10"/>
                      </a:cubicBezTo>
                      <a:cubicBezTo>
                        <a:pt x="37" y="10"/>
                        <a:pt x="34" y="9"/>
                        <a:pt x="34" y="9"/>
                      </a:cubicBezTo>
                      <a:cubicBezTo>
                        <a:pt x="33" y="7"/>
                        <a:pt x="33" y="7"/>
                        <a:pt x="33" y="7"/>
                      </a:cubicBezTo>
                      <a:cubicBezTo>
                        <a:pt x="33" y="7"/>
                        <a:pt x="33" y="7"/>
                        <a:pt x="33" y="7"/>
                      </a:cubicBezTo>
                      <a:cubicBezTo>
                        <a:pt x="32" y="7"/>
                        <a:pt x="30" y="6"/>
                        <a:pt x="30" y="6"/>
                      </a:cubicBezTo>
                      <a:cubicBezTo>
                        <a:pt x="29" y="5"/>
                        <a:pt x="29" y="5"/>
                        <a:pt x="29" y="5"/>
                      </a:cubicBezTo>
                      <a:cubicBezTo>
                        <a:pt x="26" y="5"/>
                        <a:pt x="26" y="5"/>
                        <a:pt x="26" y="5"/>
                      </a:cubicBezTo>
                      <a:cubicBezTo>
                        <a:pt x="25" y="3"/>
                        <a:pt x="25" y="3"/>
                        <a:pt x="25" y="3"/>
                      </a:cubicBezTo>
                      <a:cubicBezTo>
                        <a:pt x="25" y="3"/>
                        <a:pt x="24" y="2"/>
                        <a:pt x="24" y="2"/>
                      </a:cubicBezTo>
                      <a:cubicBezTo>
                        <a:pt x="25" y="2"/>
                        <a:pt x="25" y="0"/>
                        <a:pt x="25" y="0"/>
                      </a:cubicBezTo>
                      <a:cubicBezTo>
                        <a:pt x="23" y="0"/>
                        <a:pt x="23" y="0"/>
                        <a:pt x="23" y="0"/>
                      </a:cubicBezTo>
                      <a:cubicBezTo>
                        <a:pt x="23" y="0"/>
                        <a:pt x="21" y="1"/>
                        <a:pt x="21" y="1"/>
                      </a:cubicBezTo>
                      <a:cubicBezTo>
                        <a:pt x="21" y="1"/>
                        <a:pt x="20" y="2"/>
                        <a:pt x="20" y="2"/>
                      </a:cubicBezTo>
                      <a:cubicBezTo>
                        <a:pt x="19" y="2"/>
                        <a:pt x="19" y="2"/>
                        <a:pt x="19" y="2"/>
                      </a:cubicBezTo>
                      <a:cubicBezTo>
                        <a:pt x="18" y="1"/>
                        <a:pt x="18" y="1"/>
                        <a:pt x="18" y="1"/>
                      </a:cubicBezTo>
                      <a:cubicBezTo>
                        <a:pt x="17" y="0"/>
                        <a:pt x="17" y="0"/>
                        <a:pt x="17" y="0"/>
                      </a:cubicBezTo>
                      <a:cubicBezTo>
                        <a:pt x="15" y="2"/>
                        <a:pt x="15" y="2"/>
                        <a:pt x="15" y="2"/>
                      </a:cubicBezTo>
                      <a:cubicBezTo>
                        <a:pt x="14" y="3"/>
                        <a:pt x="14" y="3"/>
                        <a:pt x="14" y="3"/>
                      </a:cubicBezTo>
                      <a:cubicBezTo>
                        <a:pt x="14" y="3"/>
                        <a:pt x="14" y="4"/>
                        <a:pt x="14" y="4"/>
                      </a:cubicBezTo>
                      <a:cubicBezTo>
                        <a:pt x="14" y="4"/>
                        <a:pt x="16" y="4"/>
                        <a:pt x="16" y="4"/>
                      </a:cubicBezTo>
                      <a:cubicBezTo>
                        <a:pt x="16" y="6"/>
                        <a:pt x="16" y="6"/>
                        <a:pt x="16" y="6"/>
                      </a:cubicBezTo>
                      <a:cubicBezTo>
                        <a:pt x="16" y="6"/>
                        <a:pt x="16" y="6"/>
                        <a:pt x="17" y="6"/>
                      </a:cubicBezTo>
                      <a:cubicBezTo>
                        <a:pt x="17" y="6"/>
                        <a:pt x="18" y="7"/>
                        <a:pt x="18" y="7"/>
                      </a:cubicBezTo>
                      <a:cubicBezTo>
                        <a:pt x="19" y="8"/>
                        <a:pt x="19" y="8"/>
                        <a:pt x="19" y="8"/>
                      </a:cubicBezTo>
                      <a:cubicBezTo>
                        <a:pt x="19" y="10"/>
                        <a:pt x="19" y="10"/>
                        <a:pt x="19" y="10"/>
                      </a:cubicBezTo>
                      <a:cubicBezTo>
                        <a:pt x="21" y="11"/>
                        <a:pt x="21" y="11"/>
                        <a:pt x="21" y="11"/>
                      </a:cubicBezTo>
                      <a:cubicBezTo>
                        <a:pt x="21" y="13"/>
                        <a:pt x="21" y="13"/>
                        <a:pt x="21" y="13"/>
                      </a:cubicBezTo>
                      <a:cubicBezTo>
                        <a:pt x="20" y="14"/>
                        <a:pt x="20" y="14"/>
                        <a:pt x="20" y="14"/>
                      </a:cubicBezTo>
                      <a:cubicBezTo>
                        <a:pt x="19" y="15"/>
                        <a:pt x="19" y="15"/>
                        <a:pt x="19" y="15"/>
                      </a:cubicBezTo>
                      <a:cubicBezTo>
                        <a:pt x="17" y="15"/>
                        <a:pt x="17" y="15"/>
                        <a:pt x="17" y="15"/>
                      </a:cubicBezTo>
                      <a:cubicBezTo>
                        <a:pt x="17" y="14"/>
                        <a:pt x="17" y="14"/>
                        <a:pt x="17" y="14"/>
                      </a:cubicBezTo>
                      <a:cubicBezTo>
                        <a:pt x="16" y="12"/>
                        <a:pt x="16" y="12"/>
                        <a:pt x="16" y="12"/>
                      </a:cubicBezTo>
                      <a:cubicBezTo>
                        <a:pt x="15" y="11"/>
                        <a:pt x="15" y="11"/>
                        <a:pt x="15" y="11"/>
                      </a:cubicBezTo>
                      <a:cubicBezTo>
                        <a:pt x="12" y="12"/>
                        <a:pt x="12" y="12"/>
                        <a:pt x="12" y="12"/>
                      </a:cubicBezTo>
                      <a:cubicBezTo>
                        <a:pt x="12" y="14"/>
                        <a:pt x="12" y="14"/>
                        <a:pt x="12" y="14"/>
                      </a:cubicBezTo>
                      <a:cubicBezTo>
                        <a:pt x="7" y="18"/>
                        <a:pt x="7" y="18"/>
                        <a:pt x="7" y="18"/>
                      </a:cubicBezTo>
                      <a:cubicBezTo>
                        <a:pt x="8" y="20"/>
                        <a:pt x="8" y="20"/>
                        <a:pt x="8" y="20"/>
                      </a:cubicBezTo>
                      <a:cubicBezTo>
                        <a:pt x="6" y="22"/>
                        <a:pt x="6" y="22"/>
                        <a:pt x="6" y="22"/>
                      </a:cubicBezTo>
                      <a:cubicBezTo>
                        <a:pt x="6" y="25"/>
                        <a:pt x="6" y="25"/>
                        <a:pt x="6" y="25"/>
                      </a:cubicBezTo>
                      <a:cubicBezTo>
                        <a:pt x="7" y="28"/>
                        <a:pt x="7" y="28"/>
                        <a:pt x="7" y="28"/>
                      </a:cubicBezTo>
                      <a:cubicBezTo>
                        <a:pt x="7" y="30"/>
                        <a:pt x="7" y="30"/>
                        <a:pt x="7" y="30"/>
                      </a:cubicBezTo>
                      <a:cubicBezTo>
                        <a:pt x="3" y="31"/>
                        <a:pt x="3" y="31"/>
                        <a:pt x="3" y="31"/>
                      </a:cubicBezTo>
                      <a:cubicBezTo>
                        <a:pt x="0" y="32"/>
                        <a:pt x="0" y="32"/>
                        <a:pt x="0" y="32"/>
                      </a:cubicBezTo>
                      <a:cubicBezTo>
                        <a:pt x="0" y="35"/>
                        <a:pt x="0" y="35"/>
                        <a:pt x="0" y="35"/>
                      </a:cubicBezTo>
                      <a:cubicBezTo>
                        <a:pt x="0" y="36"/>
                        <a:pt x="0" y="36"/>
                        <a:pt x="0" y="36"/>
                      </a:cubicBezTo>
                      <a:cubicBezTo>
                        <a:pt x="3" y="40"/>
                        <a:pt x="3" y="40"/>
                        <a:pt x="3" y="40"/>
                      </a:cubicBezTo>
                      <a:cubicBezTo>
                        <a:pt x="2" y="41"/>
                        <a:pt x="2" y="41"/>
                        <a:pt x="2" y="41"/>
                      </a:cubicBezTo>
                      <a:cubicBezTo>
                        <a:pt x="1" y="42"/>
                        <a:pt x="1" y="42"/>
                        <a:pt x="1" y="42"/>
                      </a:cubicBezTo>
                      <a:cubicBezTo>
                        <a:pt x="4" y="46"/>
                        <a:pt x="4" y="46"/>
                        <a:pt x="4" y="46"/>
                      </a:cubicBezTo>
                      <a:cubicBezTo>
                        <a:pt x="5" y="47"/>
                        <a:pt x="5" y="47"/>
                        <a:pt x="5" y="47"/>
                      </a:cubicBezTo>
                      <a:cubicBezTo>
                        <a:pt x="7" y="47"/>
                        <a:pt x="7" y="47"/>
                        <a:pt x="7" y="47"/>
                      </a:cubicBezTo>
                      <a:cubicBezTo>
                        <a:pt x="7" y="49"/>
                        <a:pt x="7" y="49"/>
                        <a:pt x="7" y="49"/>
                      </a:cubicBezTo>
                      <a:cubicBezTo>
                        <a:pt x="7" y="50"/>
                        <a:pt x="7" y="50"/>
                        <a:pt x="7" y="50"/>
                      </a:cubicBezTo>
                      <a:cubicBezTo>
                        <a:pt x="7" y="52"/>
                        <a:pt x="7" y="52"/>
                        <a:pt x="7" y="52"/>
                      </a:cubicBezTo>
                      <a:cubicBezTo>
                        <a:pt x="5" y="54"/>
                        <a:pt x="5" y="54"/>
                        <a:pt x="5" y="54"/>
                      </a:cubicBezTo>
                      <a:cubicBezTo>
                        <a:pt x="6" y="56"/>
                        <a:pt x="6" y="56"/>
                        <a:pt x="6" y="56"/>
                      </a:cubicBezTo>
                      <a:cubicBezTo>
                        <a:pt x="4" y="55"/>
                        <a:pt x="4" y="55"/>
                        <a:pt x="4" y="55"/>
                      </a:cubicBezTo>
                      <a:cubicBezTo>
                        <a:pt x="3" y="57"/>
                        <a:pt x="3" y="57"/>
                        <a:pt x="3" y="57"/>
                      </a:cubicBezTo>
                      <a:cubicBezTo>
                        <a:pt x="4" y="58"/>
                        <a:pt x="4" y="58"/>
                        <a:pt x="4" y="58"/>
                      </a:cubicBezTo>
                      <a:cubicBezTo>
                        <a:pt x="3" y="59"/>
                        <a:pt x="3" y="59"/>
                        <a:pt x="3" y="59"/>
                      </a:cubicBezTo>
                      <a:cubicBezTo>
                        <a:pt x="5" y="61"/>
                        <a:pt x="5" y="61"/>
                        <a:pt x="5" y="61"/>
                      </a:cubicBezTo>
                      <a:cubicBezTo>
                        <a:pt x="9" y="62"/>
                        <a:pt x="9" y="62"/>
                        <a:pt x="9" y="62"/>
                      </a:cubicBezTo>
                      <a:cubicBezTo>
                        <a:pt x="11" y="61"/>
                        <a:pt x="11" y="61"/>
                        <a:pt x="11" y="61"/>
                      </a:cubicBezTo>
                      <a:cubicBezTo>
                        <a:pt x="12" y="60"/>
                        <a:pt x="12" y="60"/>
                        <a:pt x="12" y="60"/>
                      </a:cubicBezTo>
                      <a:cubicBezTo>
                        <a:pt x="11" y="59"/>
                        <a:pt x="11" y="59"/>
                        <a:pt x="11" y="59"/>
                      </a:cubicBezTo>
                      <a:cubicBezTo>
                        <a:pt x="11" y="59"/>
                        <a:pt x="11" y="58"/>
                        <a:pt x="12" y="58"/>
                      </a:cubicBezTo>
                      <a:cubicBezTo>
                        <a:pt x="12" y="57"/>
                        <a:pt x="13" y="57"/>
                        <a:pt x="13" y="57"/>
                      </a:cubicBezTo>
                      <a:cubicBezTo>
                        <a:pt x="13" y="58"/>
                        <a:pt x="13" y="58"/>
                        <a:pt x="13" y="58"/>
                      </a:cubicBezTo>
                      <a:cubicBezTo>
                        <a:pt x="16" y="58"/>
                        <a:pt x="16" y="58"/>
                        <a:pt x="16" y="58"/>
                      </a:cubicBezTo>
                      <a:cubicBezTo>
                        <a:pt x="16" y="60"/>
                        <a:pt x="16" y="60"/>
                        <a:pt x="16" y="60"/>
                      </a:cubicBezTo>
                      <a:cubicBezTo>
                        <a:pt x="15" y="61"/>
                        <a:pt x="15" y="61"/>
                        <a:pt x="15" y="61"/>
                      </a:cubicBezTo>
                      <a:cubicBezTo>
                        <a:pt x="14" y="60"/>
                        <a:pt x="14" y="60"/>
                        <a:pt x="14" y="60"/>
                      </a:cubicBezTo>
                      <a:cubicBezTo>
                        <a:pt x="14" y="60"/>
                        <a:pt x="14" y="61"/>
                        <a:pt x="14" y="61"/>
                      </a:cubicBezTo>
                      <a:cubicBezTo>
                        <a:pt x="14" y="61"/>
                        <a:pt x="14" y="64"/>
                        <a:pt x="14" y="64"/>
                      </a:cubicBezTo>
                      <a:cubicBezTo>
                        <a:pt x="14" y="64"/>
                        <a:pt x="14" y="65"/>
                        <a:pt x="13" y="64"/>
                      </a:cubicBezTo>
                      <a:cubicBezTo>
                        <a:pt x="13" y="64"/>
                        <a:pt x="12" y="63"/>
                        <a:pt x="12" y="63"/>
                      </a:cubicBezTo>
                      <a:cubicBezTo>
                        <a:pt x="9" y="62"/>
                        <a:pt x="9" y="62"/>
                        <a:pt x="9" y="62"/>
                      </a:cubicBezTo>
                      <a:cubicBezTo>
                        <a:pt x="8" y="63"/>
                        <a:pt x="8" y="63"/>
                        <a:pt x="8" y="63"/>
                      </a:cubicBezTo>
                      <a:cubicBezTo>
                        <a:pt x="8" y="63"/>
                        <a:pt x="8" y="64"/>
                        <a:pt x="8" y="65"/>
                      </a:cubicBezTo>
                      <a:cubicBezTo>
                        <a:pt x="9" y="65"/>
                        <a:pt x="10" y="65"/>
                        <a:pt x="10" y="65"/>
                      </a:cubicBezTo>
                      <a:cubicBezTo>
                        <a:pt x="10" y="65"/>
                        <a:pt x="12" y="65"/>
                        <a:pt x="12" y="65"/>
                      </a:cubicBezTo>
                      <a:cubicBezTo>
                        <a:pt x="12" y="65"/>
                        <a:pt x="12" y="65"/>
                        <a:pt x="13" y="65"/>
                      </a:cubicBezTo>
                      <a:cubicBezTo>
                        <a:pt x="13" y="65"/>
                        <a:pt x="15" y="65"/>
                        <a:pt x="15" y="65"/>
                      </a:cubicBezTo>
                      <a:cubicBezTo>
                        <a:pt x="15" y="67"/>
                        <a:pt x="15" y="67"/>
                        <a:pt x="15" y="67"/>
                      </a:cubicBezTo>
                      <a:cubicBezTo>
                        <a:pt x="17" y="69"/>
                        <a:pt x="17" y="69"/>
                        <a:pt x="17" y="69"/>
                      </a:cubicBezTo>
                      <a:cubicBezTo>
                        <a:pt x="21" y="69"/>
                        <a:pt x="21" y="69"/>
                        <a:pt x="21" y="69"/>
                      </a:cubicBezTo>
                      <a:cubicBezTo>
                        <a:pt x="22" y="69"/>
                        <a:pt x="22" y="69"/>
                        <a:pt x="22" y="69"/>
                      </a:cubicBezTo>
                      <a:cubicBezTo>
                        <a:pt x="25" y="71"/>
                        <a:pt x="25" y="71"/>
                        <a:pt x="25" y="71"/>
                      </a:cubicBezTo>
                      <a:cubicBezTo>
                        <a:pt x="25" y="71"/>
                        <a:pt x="26" y="73"/>
                        <a:pt x="27" y="73"/>
                      </a:cubicBezTo>
                      <a:cubicBezTo>
                        <a:pt x="27" y="73"/>
                        <a:pt x="28" y="75"/>
                        <a:pt x="28" y="75"/>
                      </a:cubicBezTo>
                      <a:cubicBezTo>
                        <a:pt x="30" y="75"/>
                        <a:pt x="30" y="75"/>
                        <a:pt x="30" y="75"/>
                      </a:cubicBezTo>
                      <a:cubicBezTo>
                        <a:pt x="31" y="75"/>
                        <a:pt x="31" y="75"/>
                        <a:pt x="31" y="75"/>
                      </a:cubicBezTo>
                      <a:cubicBezTo>
                        <a:pt x="31" y="75"/>
                        <a:pt x="32" y="76"/>
                        <a:pt x="32" y="76"/>
                      </a:cubicBezTo>
                      <a:cubicBezTo>
                        <a:pt x="31" y="77"/>
                        <a:pt x="31" y="77"/>
                        <a:pt x="31" y="77"/>
                      </a:cubicBezTo>
                      <a:cubicBezTo>
                        <a:pt x="32" y="79"/>
                        <a:pt x="32" y="79"/>
                        <a:pt x="32" y="79"/>
                      </a:cubicBezTo>
                      <a:cubicBezTo>
                        <a:pt x="34" y="79"/>
                        <a:pt x="34" y="79"/>
                        <a:pt x="34" y="79"/>
                      </a:cubicBezTo>
                      <a:cubicBezTo>
                        <a:pt x="34" y="79"/>
                        <a:pt x="34" y="79"/>
                        <a:pt x="34" y="80"/>
                      </a:cubicBezTo>
                      <a:cubicBezTo>
                        <a:pt x="34" y="80"/>
                        <a:pt x="35" y="82"/>
                        <a:pt x="35" y="82"/>
                      </a:cubicBezTo>
                      <a:cubicBezTo>
                        <a:pt x="35" y="83"/>
                        <a:pt x="35" y="83"/>
                        <a:pt x="35" y="83"/>
                      </a:cubicBezTo>
                      <a:cubicBezTo>
                        <a:pt x="35" y="83"/>
                        <a:pt x="36" y="83"/>
                        <a:pt x="36" y="84"/>
                      </a:cubicBezTo>
                      <a:cubicBezTo>
                        <a:pt x="36" y="84"/>
                        <a:pt x="36" y="84"/>
                        <a:pt x="36" y="85"/>
                      </a:cubicBezTo>
                      <a:cubicBezTo>
                        <a:pt x="37" y="85"/>
                        <a:pt x="39" y="85"/>
                        <a:pt x="39" y="85"/>
                      </a:cubicBezTo>
                      <a:cubicBezTo>
                        <a:pt x="40" y="86"/>
                        <a:pt x="40" y="86"/>
                        <a:pt x="40" y="86"/>
                      </a:cubicBezTo>
                      <a:cubicBezTo>
                        <a:pt x="41" y="87"/>
                        <a:pt x="41" y="87"/>
                        <a:pt x="41" y="87"/>
                      </a:cubicBezTo>
                      <a:lnTo>
                        <a:pt x="42" y="87"/>
                      </a:lnTo>
                      <a:close/>
                    </a:path>
                  </a:pathLst>
                </a:custGeom>
                <a:solidFill>
                  <a:srgbClr val="E6EFF1"/>
                </a:solidFill>
                <a:ln w="12700" cap="rnd" cmpd="sng">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Lato Light"/>
                  </a:endParaRPr>
                </a:p>
              </p:txBody>
            </p:sp>
            <p:sp>
              <p:nvSpPr>
                <p:cNvPr id="11" name="Freeform 193">
                  <a:extLst>
                    <a:ext uri="{FF2B5EF4-FFF2-40B4-BE49-F238E27FC236}">
                      <a16:creationId xmlns:a16="http://schemas.microsoft.com/office/drawing/2014/main" id="{5A9526A8-2BB4-212C-7571-EA3B34010189}"/>
                    </a:ext>
                  </a:extLst>
                </p:cNvPr>
                <p:cNvSpPr>
                  <a:spLocks/>
                </p:cNvSpPr>
                <p:nvPr/>
              </p:nvSpPr>
              <p:spPr bwMode="auto">
                <a:xfrm>
                  <a:off x="5183799" y="5110109"/>
                  <a:ext cx="305626" cy="259890"/>
                </a:xfrm>
                <a:custGeom>
                  <a:avLst/>
                  <a:gdLst>
                    <a:gd name="T0" fmla="*/ 19 w 106"/>
                    <a:gd name="T1" fmla="*/ 90 h 93"/>
                    <a:gd name="T2" fmla="*/ 16 w 106"/>
                    <a:gd name="T3" fmla="*/ 91 h 93"/>
                    <a:gd name="T4" fmla="*/ 14 w 106"/>
                    <a:gd name="T5" fmla="*/ 85 h 93"/>
                    <a:gd name="T6" fmla="*/ 10 w 106"/>
                    <a:gd name="T7" fmla="*/ 83 h 93"/>
                    <a:gd name="T8" fmla="*/ 9 w 106"/>
                    <a:gd name="T9" fmla="*/ 81 h 93"/>
                    <a:gd name="T10" fmla="*/ 5 w 106"/>
                    <a:gd name="T11" fmla="*/ 75 h 93"/>
                    <a:gd name="T12" fmla="*/ 4 w 106"/>
                    <a:gd name="T13" fmla="*/ 72 h 93"/>
                    <a:gd name="T14" fmla="*/ 5 w 106"/>
                    <a:gd name="T15" fmla="*/ 68 h 93"/>
                    <a:gd name="T16" fmla="*/ 3 w 106"/>
                    <a:gd name="T17" fmla="*/ 64 h 93"/>
                    <a:gd name="T18" fmla="*/ 0 w 106"/>
                    <a:gd name="T19" fmla="*/ 59 h 93"/>
                    <a:gd name="T20" fmla="*/ 3 w 106"/>
                    <a:gd name="T21" fmla="*/ 56 h 93"/>
                    <a:gd name="T22" fmla="*/ 2 w 106"/>
                    <a:gd name="T23" fmla="*/ 53 h 93"/>
                    <a:gd name="T24" fmla="*/ 2 w 106"/>
                    <a:gd name="T25" fmla="*/ 49 h 93"/>
                    <a:gd name="T26" fmla="*/ 2 w 106"/>
                    <a:gd name="T27" fmla="*/ 44 h 93"/>
                    <a:gd name="T28" fmla="*/ 3 w 106"/>
                    <a:gd name="T29" fmla="*/ 39 h 93"/>
                    <a:gd name="T30" fmla="*/ 9 w 106"/>
                    <a:gd name="T31" fmla="*/ 39 h 93"/>
                    <a:gd name="T32" fmla="*/ 11 w 106"/>
                    <a:gd name="T33" fmla="*/ 27 h 93"/>
                    <a:gd name="T34" fmla="*/ 23 w 106"/>
                    <a:gd name="T35" fmla="*/ 18 h 93"/>
                    <a:gd name="T36" fmla="*/ 26 w 106"/>
                    <a:gd name="T37" fmla="*/ 21 h 93"/>
                    <a:gd name="T38" fmla="*/ 31 w 106"/>
                    <a:gd name="T39" fmla="*/ 18 h 93"/>
                    <a:gd name="T40" fmla="*/ 42 w 106"/>
                    <a:gd name="T41" fmla="*/ 10 h 93"/>
                    <a:gd name="T42" fmla="*/ 46 w 106"/>
                    <a:gd name="T43" fmla="*/ 11 h 93"/>
                    <a:gd name="T44" fmla="*/ 52 w 106"/>
                    <a:gd name="T45" fmla="*/ 6 h 93"/>
                    <a:gd name="T46" fmla="*/ 57 w 106"/>
                    <a:gd name="T47" fmla="*/ 4 h 93"/>
                    <a:gd name="T48" fmla="*/ 62 w 106"/>
                    <a:gd name="T49" fmla="*/ 3 h 93"/>
                    <a:gd name="T50" fmla="*/ 68 w 106"/>
                    <a:gd name="T51" fmla="*/ 1 h 93"/>
                    <a:gd name="T52" fmla="*/ 73 w 106"/>
                    <a:gd name="T53" fmla="*/ 0 h 93"/>
                    <a:gd name="T54" fmla="*/ 94 w 106"/>
                    <a:gd name="T55" fmla="*/ 15 h 93"/>
                    <a:gd name="T56" fmla="*/ 105 w 106"/>
                    <a:gd name="T57" fmla="*/ 30 h 93"/>
                    <a:gd name="T58" fmla="*/ 106 w 106"/>
                    <a:gd name="T59" fmla="*/ 48 h 93"/>
                    <a:gd name="T60" fmla="*/ 97 w 106"/>
                    <a:gd name="T61" fmla="*/ 51 h 93"/>
                    <a:gd name="T62" fmla="*/ 93 w 106"/>
                    <a:gd name="T63" fmla="*/ 64 h 93"/>
                    <a:gd name="T64" fmla="*/ 72 w 106"/>
                    <a:gd name="T65" fmla="*/ 68 h 93"/>
                    <a:gd name="T66" fmla="*/ 63 w 106"/>
                    <a:gd name="T67" fmla="*/ 76 h 93"/>
                    <a:gd name="T68" fmla="*/ 53 w 106"/>
                    <a:gd name="T69" fmla="*/ 85 h 93"/>
                    <a:gd name="T70" fmla="*/ 41 w 106"/>
                    <a:gd name="T71" fmla="*/ 87 h 93"/>
                    <a:gd name="T72" fmla="*/ 29 w 106"/>
                    <a:gd name="T73" fmla="*/ 90 h 93"/>
                    <a:gd name="T74" fmla="*/ 28 w 106"/>
                    <a:gd name="T75" fmla="*/ 93 h 93"/>
                    <a:gd name="T76" fmla="*/ 27 w 106"/>
                    <a:gd name="T77" fmla="*/ 92 h 93"/>
                    <a:gd name="T78" fmla="*/ 23 w 106"/>
                    <a:gd name="T79" fmla="*/ 91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06" h="93">
                      <a:moveTo>
                        <a:pt x="21" y="90"/>
                      </a:moveTo>
                      <a:cubicBezTo>
                        <a:pt x="21" y="90"/>
                        <a:pt x="20" y="90"/>
                        <a:pt x="19" y="90"/>
                      </a:cubicBezTo>
                      <a:cubicBezTo>
                        <a:pt x="18" y="90"/>
                        <a:pt x="17" y="92"/>
                        <a:pt x="16" y="92"/>
                      </a:cubicBezTo>
                      <a:cubicBezTo>
                        <a:pt x="16" y="92"/>
                        <a:pt x="16" y="92"/>
                        <a:pt x="16" y="91"/>
                      </a:cubicBezTo>
                      <a:cubicBezTo>
                        <a:pt x="16" y="90"/>
                        <a:pt x="16" y="90"/>
                        <a:pt x="15" y="89"/>
                      </a:cubicBezTo>
                      <a:cubicBezTo>
                        <a:pt x="15" y="88"/>
                        <a:pt x="15" y="86"/>
                        <a:pt x="14" y="85"/>
                      </a:cubicBezTo>
                      <a:cubicBezTo>
                        <a:pt x="13" y="84"/>
                        <a:pt x="13" y="83"/>
                        <a:pt x="13" y="83"/>
                      </a:cubicBezTo>
                      <a:cubicBezTo>
                        <a:pt x="13" y="83"/>
                        <a:pt x="11" y="83"/>
                        <a:pt x="10" y="83"/>
                      </a:cubicBezTo>
                      <a:cubicBezTo>
                        <a:pt x="10" y="83"/>
                        <a:pt x="9" y="83"/>
                        <a:pt x="9" y="83"/>
                      </a:cubicBezTo>
                      <a:cubicBezTo>
                        <a:pt x="9" y="83"/>
                        <a:pt x="8" y="81"/>
                        <a:pt x="9" y="81"/>
                      </a:cubicBezTo>
                      <a:cubicBezTo>
                        <a:pt x="9" y="80"/>
                        <a:pt x="8" y="79"/>
                        <a:pt x="7" y="78"/>
                      </a:cubicBezTo>
                      <a:cubicBezTo>
                        <a:pt x="7" y="78"/>
                        <a:pt x="5" y="75"/>
                        <a:pt x="5" y="75"/>
                      </a:cubicBezTo>
                      <a:cubicBezTo>
                        <a:pt x="5" y="75"/>
                        <a:pt x="4" y="75"/>
                        <a:pt x="4" y="74"/>
                      </a:cubicBezTo>
                      <a:cubicBezTo>
                        <a:pt x="4" y="73"/>
                        <a:pt x="4" y="72"/>
                        <a:pt x="4" y="72"/>
                      </a:cubicBezTo>
                      <a:cubicBezTo>
                        <a:pt x="3" y="70"/>
                        <a:pt x="3" y="70"/>
                        <a:pt x="3" y="70"/>
                      </a:cubicBezTo>
                      <a:cubicBezTo>
                        <a:pt x="3" y="70"/>
                        <a:pt x="5" y="69"/>
                        <a:pt x="5" y="68"/>
                      </a:cubicBezTo>
                      <a:cubicBezTo>
                        <a:pt x="5" y="68"/>
                        <a:pt x="6" y="67"/>
                        <a:pt x="5" y="66"/>
                      </a:cubicBezTo>
                      <a:cubicBezTo>
                        <a:pt x="5" y="65"/>
                        <a:pt x="3" y="64"/>
                        <a:pt x="3" y="64"/>
                      </a:cubicBezTo>
                      <a:cubicBezTo>
                        <a:pt x="2" y="63"/>
                        <a:pt x="1" y="62"/>
                        <a:pt x="0" y="61"/>
                      </a:cubicBezTo>
                      <a:cubicBezTo>
                        <a:pt x="0" y="60"/>
                        <a:pt x="0" y="59"/>
                        <a:pt x="0" y="59"/>
                      </a:cubicBezTo>
                      <a:cubicBezTo>
                        <a:pt x="0" y="59"/>
                        <a:pt x="0" y="58"/>
                        <a:pt x="1" y="58"/>
                      </a:cubicBezTo>
                      <a:cubicBezTo>
                        <a:pt x="2" y="57"/>
                        <a:pt x="3" y="57"/>
                        <a:pt x="3" y="56"/>
                      </a:cubicBezTo>
                      <a:cubicBezTo>
                        <a:pt x="3" y="56"/>
                        <a:pt x="4" y="56"/>
                        <a:pt x="4" y="55"/>
                      </a:cubicBezTo>
                      <a:cubicBezTo>
                        <a:pt x="3" y="54"/>
                        <a:pt x="2" y="53"/>
                        <a:pt x="2" y="53"/>
                      </a:cubicBezTo>
                      <a:cubicBezTo>
                        <a:pt x="3" y="50"/>
                        <a:pt x="3" y="50"/>
                        <a:pt x="3" y="50"/>
                      </a:cubicBezTo>
                      <a:cubicBezTo>
                        <a:pt x="2" y="49"/>
                        <a:pt x="2" y="49"/>
                        <a:pt x="2" y="49"/>
                      </a:cubicBezTo>
                      <a:cubicBezTo>
                        <a:pt x="2" y="45"/>
                        <a:pt x="2" y="45"/>
                        <a:pt x="2" y="45"/>
                      </a:cubicBezTo>
                      <a:cubicBezTo>
                        <a:pt x="2" y="44"/>
                        <a:pt x="2" y="44"/>
                        <a:pt x="2" y="44"/>
                      </a:cubicBezTo>
                      <a:cubicBezTo>
                        <a:pt x="2" y="44"/>
                        <a:pt x="3" y="42"/>
                        <a:pt x="3" y="42"/>
                      </a:cubicBezTo>
                      <a:cubicBezTo>
                        <a:pt x="3" y="41"/>
                        <a:pt x="3" y="39"/>
                        <a:pt x="3" y="39"/>
                      </a:cubicBezTo>
                      <a:cubicBezTo>
                        <a:pt x="3" y="39"/>
                        <a:pt x="3" y="39"/>
                        <a:pt x="3" y="39"/>
                      </a:cubicBezTo>
                      <a:cubicBezTo>
                        <a:pt x="5" y="40"/>
                        <a:pt x="8" y="39"/>
                        <a:pt x="9" y="39"/>
                      </a:cubicBezTo>
                      <a:cubicBezTo>
                        <a:pt x="11" y="39"/>
                        <a:pt x="11" y="36"/>
                        <a:pt x="10" y="33"/>
                      </a:cubicBezTo>
                      <a:cubicBezTo>
                        <a:pt x="10" y="31"/>
                        <a:pt x="11" y="29"/>
                        <a:pt x="11" y="27"/>
                      </a:cubicBezTo>
                      <a:cubicBezTo>
                        <a:pt x="12" y="25"/>
                        <a:pt x="15" y="24"/>
                        <a:pt x="18" y="22"/>
                      </a:cubicBezTo>
                      <a:cubicBezTo>
                        <a:pt x="20" y="20"/>
                        <a:pt x="20" y="18"/>
                        <a:pt x="23" y="18"/>
                      </a:cubicBezTo>
                      <a:cubicBezTo>
                        <a:pt x="23" y="18"/>
                        <a:pt x="24" y="18"/>
                        <a:pt x="25" y="19"/>
                      </a:cubicBezTo>
                      <a:cubicBezTo>
                        <a:pt x="25" y="19"/>
                        <a:pt x="25" y="20"/>
                        <a:pt x="26" y="21"/>
                      </a:cubicBezTo>
                      <a:cubicBezTo>
                        <a:pt x="26" y="21"/>
                        <a:pt x="26" y="21"/>
                        <a:pt x="27" y="21"/>
                      </a:cubicBezTo>
                      <a:cubicBezTo>
                        <a:pt x="29" y="24"/>
                        <a:pt x="31" y="26"/>
                        <a:pt x="31" y="18"/>
                      </a:cubicBezTo>
                      <a:cubicBezTo>
                        <a:pt x="32" y="11"/>
                        <a:pt x="37" y="13"/>
                        <a:pt x="41" y="11"/>
                      </a:cubicBezTo>
                      <a:cubicBezTo>
                        <a:pt x="41" y="11"/>
                        <a:pt x="41" y="11"/>
                        <a:pt x="42" y="10"/>
                      </a:cubicBezTo>
                      <a:cubicBezTo>
                        <a:pt x="43" y="11"/>
                        <a:pt x="44" y="11"/>
                        <a:pt x="45" y="11"/>
                      </a:cubicBezTo>
                      <a:cubicBezTo>
                        <a:pt x="46" y="11"/>
                        <a:pt x="46" y="11"/>
                        <a:pt x="46" y="11"/>
                      </a:cubicBezTo>
                      <a:cubicBezTo>
                        <a:pt x="46" y="11"/>
                        <a:pt x="49" y="7"/>
                        <a:pt x="49" y="7"/>
                      </a:cubicBezTo>
                      <a:cubicBezTo>
                        <a:pt x="50" y="7"/>
                        <a:pt x="52" y="6"/>
                        <a:pt x="52" y="6"/>
                      </a:cubicBezTo>
                      <a:cubicBezTo>
                        <a:pt x="54" y="3"/>
                        <a:pt x="54" y="3"/>
                        <a:pt x="54" y="3"/>
                      </a:cubicBezTo>
                      <a:cubicBezTo>
                        <a:pt x="54" y="3"/>
                        <a:pt x="56" y="4"/>
                        <a:pt x="57" y="4"/>
                      </a:cubicBezTo>
                      <a:cubicBezTo>
                        <a:pt x="58" y="4"/>
                        <a:pt x="59" y="4"/>
                        <a:pt x="61" y="4"/>
                      </a:cubicBezTo>
                      <a:cubicBezTo>
                        <a:pt x="62" y="3"/>
                        <a:pt x="62" y="3"/>
                        <a:pt x="62" y="3"/>
                      </a:cubicBezTo>
                      <a:cubicBezTo>
                        <a:pt x="62" y="3"/>
                        <a:pt x="64" y="1"/>
                        <a:pt x="66" y="1"/>
                      </a:cubicBezTo>
                      <a:cubicBezTo>
                        <a:pt x="68" y="0"/>
                        <a:pt x="68" y="1"/>
                        <a:pt x="68" y="1"/>
                      </a:cubicBezTo>
                      <a:cubicBezTo>
                        <a:pt x="68" y="1"/>
                        <a:pt x="71" y="1"/>
                        <a:pt x="73" y="1"/>
                      </a:cubicBezTo>
                      <a:cubicBezTo>
                        <a:pt x="73" y="1"/>
                        <a:pt x="73" y="0"/>
                        <a:pt x="73" y="0"/>
                      </a:cubicBezTo>
                      <a:cubicBezTo>
                        <a:pt x="76" y="2"/>
                        <a:pt x="76" y="5"/>
                        <a:pt x="79" y="8"/>
                      </a:cubicBezTo>
                      <a:cubicBezTo>
                        <a:pt x="83" y="12"/>
                        <a:pt x="87" y="11"/>
                        <a:pt x="94" y="15"/>
                      </a:cubicBezTo>
                      <a:cubicBezTo>
                        <a:pt x="94" y="16"/>
                        <a:pt x="98" y="19"/>
                        <a:pt x="99" y="22"/>
                      </a:cubicBezTo>
                      <a:cubicBezTo>
                        <a:pt x="100" y="26"/>
                        <a:pt x="104" y="26"/>
                        <a:pt x="105" y="30"/>
                      </a:cubicBezTo>
                      <a:cubicBezTo>
                        <a:pt x="105" y="33"/>
                        <a:pt x="103" y="34"/>
                        <a:pt x="103" y="37"/>
                      </a:cubicBezTo>
                      <a:cubicBezTo>
                        <a:pt x="103" y="40"/>
                        <a:pt x="105" y="47"/>
                        <a:pt x="106" y="48"/>
                      </a:cubicBezTo>
                      <a:cubicBezTo>
                        <a:pt x="106" y="48"/>
                        <a:pt x="106" y="49"/>
                        <a:pt x="106" y="49"/>
                      </a:cubicBezTo>
                      <a:cubicBezTo>
                        <a:pt x="97" y="51"/>
                        <a:pt x="97" y="51"/>
                        <a:pt x="97" y="51"/>
                      </a:cubicBezTo>
                      <a:cubicBezTo>
                        <a:pt x="98" y="60"/>
                        <a:pt x="98" y="60"/>
                        <a:pt x="98" y="60"/>
                      </a:cubicBezTo>
                      <a:cubicBezTo>
                        <a:pt x="93" y="64"/>
                        <a:pt x="93" y="64"/>
                        <a:pt x="93" y="64"/>
                      </a:cubicBezTo>
                      <a:cubicBezTo>
                        <a:pt x="93" y="64"/>
                        <a:pt x="81" y="66"/>
                        <a:pt x="80" y="66"/>
                      </a:cubicBezTo>
                      <a:cubicBezTo>
                        <a:pt x="79" y="66"/>
                        <a:pt x="74" y="67"/>
                        <a:pt x="72" y="68"/>
                      </a:cubicBezTo>
                      <a:cubicBezTo>
                        <a:pt x="70" y="68"/>
                        <a:pt x="67" y="70"/>
                        <a:pt x="66" y="70"/>
                      </a:cubicBezTo>
                      <a:cubicBezTo>
                        <a:pt x="64" y="71"/>
                        <a:pt x="63" y="76"/>
                        <a:pt x="63" y="76"/>
                      </a:cubicBezTo>
                      <a:cubicBezTo>
                        <a:pt x="63" y="76"/>
                        <a:pt x="60" y="80"/>
                        <a:pt x="59" y="81"/>
                      </a:cubicBezTo>
                      <a:cubicBezTo>
                        <a:pt x="58" y="82"/>
                        <a:pt x="53" y="85"/>
                        <a:pt x="53" y="85"/>
                      </a:cubicBezTo>
                      <a:cubicBezTo>
                        <a:pt x="53" y="85"/>
                        <a:pt x="48" y="85"/>
                        <a:pt x="47" y="85"/>
                      </a:cubicBezTo>
                      <a:cubicBezTo>
                        <a:pt x="45" y="85"/>
                        <a:pt x="43" y="87"/>
                        <a:pt x="41" y="87"/>
                      </a:cubicBezTo>
                      <a:cubicBezTo>
                        <a:pt x="38" y="88"/>
                        <a:pt x="36" y="89"/>
                        <a:pt x="35" y="89"/>
                      </a:cubicBezTo>
                      <a:cubicBezTo>
                        <a:pt x="34" y="89"/>
                        <a:pt x="29" y="90"/>
                        <a:pt x="29" y="90"/>
                      </a:cubicBezTo>
                      <a:cubicBezTo>
                        <a:pt x="29" y="93"/>
                        <a:pt x="29" y="93"/>
                        <a:pt x="29" y="93"/>
                      </a:cubicBezTo>
                      <a:cubicBezTo>
                        <a:pt x="29" y="93"/>
                        <a:pt x="28" y="93"/>
                        <a:pt x="28" y="93"/>
                      </a:cubicBezTo>
                      <a:cubicBezTo>
                        <a:pt x="28" y="93"/>
                        <a:pt x="28" y="93"/>
                        <a:pt x="27" y="93"/>
                      </a:cubicBezTo>
                      <a:cubicBezTo>
                        <a:pt x="27" y="92"/>
                        <a:pt x="27" y="92"/>
                        <a:pt x="27" y="92"/>
                      </a:cubicBezTo>
                      <a:cubicBezTo>
                        <a:pt x="25" y="90"/>
                        <a:pt x="25" y="90"/>
                        <a:pt x="25" y="90"/>
                      </a:cubicBezTo>
                      <a:cubicBezTo>
                        <a:pt x="25" y="90"/>
                        <a:pt x="24" y="91"/>
                        <a:pt x="23" y="91"/>
                      </a:cubicBezTo>
                      <a:cubicBezTo>
                        <a:pt x="22" y="91"/>
                        <a:pt x="22" y="90"/>
                        <a:pt x="21" y="90"/>
                      </a:cubicBezTo>
                      <a:close/>
                    </a:path>
                  </a:pathLst>
                </a:custGeom>
                <a:solidFill>
                  <a:srgbClr val="E6EFF1"/>
                </a:solidFill>
                <a:ln w="12700" cap="rnd" cmpd="sng">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Lato Light"/>
                  </a:endParaRPr>
                </a:p>
              </p:txBody>
            </p:sp>
            <p:sp>
              <p:nvSpPr>
                <p:cNvPr id="12" name="Freeform 47">
                  <a:extLst>
                    <a:ext uri="{FF2B5EF4-FFF2-40B4-BE49-F238E27FC236}">
                      <a16:creationId xmlns:a16="http://schemas.microsoft.com/office/drawing/2014/main" id="{BD627DD4-4855-9C5C-DD0E-8A95E15A5D7D}"/>
                    </a:ext>
                  </a:extLst>
                </p:cNvPr>
                <p:cNvSpPr>
                  <a:spLocks/>
                </p:cNvSpPr>
                <p:nvPr/>
              </p:nvSpPr>
              <p:spPr bwMode="auto">
                <a:xfrm>
                  <a:off x="4642008" y="4067856"/>
                  <a:ext cx="562628" cy="304328"/>
                </a:xfrm>
                <a:custGeom>
                  <a:avLst/>
                  <a:gdLst>
                    <a:gd name="T0" fmla="*/ 32 w 195"/>
                    <a:gd name="T1" fmla="*/ 49 h 109"/>
                    <a:gd name="T2" fmla="*/ 40 w 195"/>
                    <a:gd name="T3" fmla="*/ 37 h 109"/>
                    <a:gd name="T4" fmla="*/ 47 w 195"/>
                    <a:gd name="T5" fmla="*/ 25 h 109"/>
                    <a:gd name="T6" fmla="*/ 53 w 195"/>
                    <a:gd name="T7" fmla="*/ 15 h 109"/>
                    <a:gd name="T8" fmla="*/ 64 w 195"/>
                    <a:gd name="T9" fmla="*/ 13 h 109"/>
                    <a:gd name="T10" fmla="*/ 71 w 195"/>
                    <a:gd name="T11" fmla="*/ 17 h 109"/>
                    <a:gd name="T12" fmla="*/ 78 w 195"/>
                    <a:gd name="T13" fmla="*/ 8 h 109"/>
                    <a:gd name="T14" fmla="*/ 87 w 195"/>
                    <a:gd name="T15" fmla="*/ 10 h 109"/>
                    <a:gd name="T16" fmla="*/ 96 w 195"/>
                    <a:gd name="T17" fmla="*/ 14 h 109"/>
                    <a:gd name="T18" fmla="*/ 97 w 195"/>
                    <a:gd name="T19" fmla="*/ 22 h 109"/>
                    <a:gd name="T20" fmla="*/ 102 w 195"/>
                    <a:gd name="T21" fmla="*/ 23 h 109"/>
                    <a:gd name="T22" fmla="*/ 106 w 195"/>
                    <a:gd name="T23" fmla="*/ 23 h 109"/>
                    <a:gd name="T24" fmla="*/ 108 w 195"/>
                    <a:gd name="T25" fmla="*/ 20 h 109"/>
                    <a:gd name="T26" fmla="*/ 111 w 195"/>
                    <a:gd name="T27" fmla="*/ 15 h 109"/>
                    <a:gd name="T28" fmla="*/ 114 w 195"/>
                    <a:gd name="T29" fmla="*/ 12 h 109"/>
                    <a:gd name="T30" fmla="*/ 118 w 195"/>
                    <a:gd name="T31" fmla="*/ 9 h 109"/>
                    <a:gd name="T32" fmla="*/ 123 w 195"/>
                    <a:gd name="T33" fmla="*/ 9 h 109"/>
                    <a:gd name="T34" fmla="*/ 126 w 195"/>
                    <a:gd name="T35" fmla="*/ 8 h 109"/>
                    <a:gd name="T36" fmla="*/ 131 w 195"/>
                    <a:gd name="T37" fmla="*/ 9 h 109"/>
                    <a:gd name="T38" fmla="*/ 135 w 195"/>
                    <a:gd name="T39" fmla="*/ 11 h 109"/>
                    <a:gd name="T40" fmla="*/ 142 w 195"/>
                    <a:gd name="T41" fmla="*/ 7 h 109"/>
                    <a:gd name="T42" fmla="*/ 145 w 195"/>
                    <a:gd name="T43" fmla="*/ 4 h 109"/>
                    <a:gd name="T44" fmla="*/ 148 w 195"/>
                    <a:gd name="T45" fmla="*/ 1 h 109"/>
                    <a:gd name="T46" fmla="*/ 154 w 195"/>
                    <a:gd name="T47" fmla="*/ 2 h 109"/>
                    <a:gd name="T48" fmla="*/ 162 w 195"/>
                    <a:gd name="T49" fmla="*/ 1 h 109"/>
                    <a:gd name="T50" fmla="*/ 168 w 195"/>
                    <a:gd name="T51" fmla="*/ 1 h 109"/>
                    <a:gd name="T52" fmla="*/ 173 w 195"/>
                    <a:gd name="T53" fmla="*/ 4 h 109"/>
                    <a:gd name="T54" fmla="*/ 175 w 195"/>
                    <a:gd name="T55" fmla="*/ 9 h 109"/>
                    <a:gd name="T56" fmla="*/ 183 w 195"/>
                    <a:gd name="T57" fmla="*/ 10 h 109"/>
                    <a:gd name="T58" fmla="*/ 187 w 195"/>
                    <a:gd name="T59" fmla="*/ 11 h 109"/>
                    <a:gd name="T60" fmla="*/ 195 w 195"/>
                    <a:gd name="T61" fmla="*/ 12 h 109"/>
                    <a:gd name="T62" fmla="*/ 193 w 195"/>
                    <a:gd name="T63" fmla="*/ 20 h 109"/>
                    <a:gd name="T64" fmla="*/ 192 w 195"/>
                    <a:gd name="T65" fmla="*/ 27 h 109"/>
                    <a:gd name="T66" fmla="*/ 191 w 195"/>
                    <a:gd name="T67" fmla="*/ 33 h 109"/>
                    <a:gd name="T68" fmla="*/ 188 w 195"/>
                    <a:gd name="T69" fmla="*/ 39 h 109"/>
                    <a:gd name="T70" fmla="*/ 188 w 195"/>
                    <a:gd name="T71" fmla="*/ 47 h 109"/>
                    <a:gd name="T72" fmla="*/ 186 w 195"/>
                    <a:gd name="T73" fmla="*/ 52 h 109"/>
                    <a:gd name="T74" fmla="*/ 169 w 195"/>
                    <a:gd name="T75" fmla="*/ 49 h 109"/>
                    <a:gd name="T76" fmla="*/ 146 w 195"/>
                    <a:gd name="T77" fmla="*/ 50 h 109"/>
                    <a:gd name="T78" fmla="*/ 126 w 195"/>
                    <a:gd name="T79" fmla="*/ 70 h 109"/>
                    <a:gd name="T80" fmla="*/ 110 w 195"/>
                    <a:gd name="T81" fmla="*/ 78 h 109"/>
                    <a:gd name="T82" fmla="*/ 94 w 195"/>
                    <a:gd name="T83" fmla="*/ 85 h 109"/>
                    <a:gd name="T84" fmla="*/ 73 w 195"/>
                    <a:gd name="T85" fmla="*/ 96 h 109"/>
                    <a:gd name="T86" fmla="*/ 47 w 195"/>
                    <a:gd name="T87" fmla="*/ 107 h 109"/>
                    <a:gd name="T88" fmla="*/ 22 w 195"/>
                    <a:gd name="T89" fmla="*/ 98 h 109"/>
                    <a:gd name="T90" fmla="*/ 14 w 195"/>
                    <a:gd name="T91" fmla="*/ 102 h 109"/>
                    <a:gd name="T92" fmla="*/ 4 w 195"/>
                    <a:gd name="T93" fmla="*/ 88 h 109"/>
                    <a:gd name="T94" fmla="*/ 0 w 195"/>
                    <a:gd name="T95" fmla="*/ 84 h 109"/>
                    <a:gd name="T96" fmla="*/ 2 w 195"/>
                    <a:gd name="T97" fmla="*/ 75 h 109"/>
                    <a:gd name="T98" fmla="*/ 3 w 195"/>
                    <a:gd name="T99" fmla="*/ 68 h 109"/>
                    <a:gd name="T100" fmla="*/ 5 w 195"/>
                    <a:gd name="T101" fmla="*/ 60 h 109"/>
                    <a:gd name="T102" fmla="*/ 9 w 195"/>
                    <a:gd name="T103" fmla="*/ 55 h 109"/>
                    <a:gd name="T104" fmla="*/ 16 w 195"/>
                    <a:gd name="T105" fmla="*/ 57 h 109"/>
                    <a:gd name="T106" fmla="*/ 22 w 195"/>
                    <a:gd name="T107" fmla="*/ 56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5" h="109">
                      <a:moveTo>
                        <a:pt x="26" y="54"/>
                      </a:moveTo>
                      <a:cubicBezTo>
                        <a:pt x="29" y="52"/>
                        <a:pt x="29" y="52"/>
                        <a:pt x="29" y="52"/>
                      </a:cubicBezTo>
                      <a:cubicBezTo>
                        <a:pt x="29" y="52"/>
                        <a:pt x="29" y="49"/>
                        <a:pt x="30" y="50"/>
                      </a:cubicBezTo>
                      <a:cubicBezTo>
                        <a:pt x="30" y="50"/>
                        <a:pt x="32" y="49"/>
                        <a:pt x="32" y="49"/>
                      </a:cubicBezTo>
                      <a:cubicBezTo>
                        <a:pt x="33" y="47"/>
                        <a:pt x="33" y="47"/>
                        <a:pt x="33" y="47"/>
                      </a:cubicBezTo>
                      <a:cubicBezTo>
                        <a:pt x="34" y="44"/>
                        <a:pt x="34" y="44"/>
                        <a:pt x="34" y="44"/>
                      </a:cubicBezTo>
                      <a:cubicBezTo>
                        <a:pt x="39" y="42"/>
                        <a:pt x="39" y="42"/>
                        <a:pt x="39" y="42"/>
                      </a:cubicBezTo>
                      <a:cubicBezTo>
                        <a:pt x="40" y="37"/>
                        <a:pt x="40" y="37"/>
                        <a:pt x="40" y="37"/>
                      </a:cubicBezTo>
                      <a:cubicBezTo>
                        <a:pt x="39" y="34"/>
                        <a:pt x="39" y="34"/>
                        <a:pt x="39" y="34"/>
                      </a:cubicBezTo>
                      <a:cubicBezTo>
                        <a:pt x="39" y="34"/>
                        <a:pt x="39" y="30"/>
                        <a:pt x="40" y="30"/>
                      </a:cubicBezTo>
                      <a:cubicBezTo>
                        <a:pt x="41" y="30"/>
                        <a:pt x="44" y="28"/>
                        <a:pt x="44" y="28"/>
                      </a:cubicBezTo>
                      <a:cubicBezTo>
                        <a:pt x="47" y="25"/>
                        <a:pt x="47" y="25"/>
                        <a:pt x="47" y="25"/>
                      </a:cubicBezTo>
                      <a:cubicBezTo>
                        <a:pt x="47" y="23"/>
                        <a:pt x="47" y="23"/>
                        <a:pt x="47" y="23"/>
                      </a:cubicBezTo>
                      <a:cubicBezTo>
                        <a:pt x="49" y="19"/>
                        <a:pt x="49" y="19"/>
                        <a:pt x="49" y="19"/>
                      </a:cubicBezTo>
                      <a:cubicBezTo>
                        <a:pt x="51" y="17"/>
                        <a:pt x="51" y="17"/>
                        <a:pt x="51" y="17"/>
                      </a:cubicBezTo>
                      <a:cubicBezTo>
                        <a:pt x="53" y="15"/>
                        <a:pt x="53" y="15"/>
                        <a:pt x="53" y="15"/>
                      </a:cubicBezTo>
                      <a:cubicBezTo>
                        <a:pt x="56" y="14"/>
                        <a:pt x="56" y="14"/>
                        <a:pt x="56" y="14"/>
                      </a:cubicBezTo>
                      <a:cubicBezTo>
                        <a:pt x="56" y="14"/>
                        <a:pt x="57" y="14"/>
                        <a:pt x="58" y="14"/>
                      </a:cubicBezTo>
                      <a:cubicBezTo>
                        <a:pt x="59" y="14"/>
                        <a:pt x="60" y="13"/>
                        <a:pt x="60" y="13"/>
                      </a:cubicBezTo>
                      <a:cubicBezTo>
                        <a:pt x="61" y="13"/>
                        <a:pt x="64" y="13"/>
                        <a:pt x="64" y="13"/>
                      </a:cubicBezTo>
                      <a:cubicBezTo>
                        <a:pt x="64" y="13"/>
                        <a:pt x="66" y="11"/>
                        <a:pt x="66" y="12"/>
                      </a:cubicBezTo>
                      <a:cubicBezTo>
                        <a:pt x="66" y="14"/>
                        <a:pt x="66" y="15"/>
                        <a:pt x="66" y="15"/>
                      </a:cubicBezTo>
                      <a:cubicBezTo>
                        <a:pt x="67" y="16"/>
                        <a:pt x="68" y="18"/>
                        <a:pt x="68" y="18"/>
                      </a:cubicBezTo>
                      <a:cubicBezTo>
                        <a:pt x="68" y="18"/>
                        <a:pt x="70" y="18"/>
                        <a:pt x="71" y="17"/>
                      </a:cubicBezTo>
                      <a:cubicBezTo>
                        <a:pt x="72" y="16"/>
                        <a:pt x="74" y="15"/>
                        <a:pt x="74" y="15"/>
                      </a:cubicBezTo>
                      <a:cubicBezTo>
                        <a:pt x="74" y="15"/>
                        <a:pt x="76" y="17"/>
                        <a:pt x="76" y="16"/>
                      </a:cubicBezTo>
                      <a:cubicBezTo>
                        <a:pt x="76" y="15"/>
                        <a:pt x="76" y="11"/>
                        <a:pt x="76" y="11"/>
                      </a:cubicBezTo>
                      <a:cubicBezTo>
                        <a:pt x="78" y="8"/>
                        <a:pt x="78" y="8"/>
                        <a:pt x="78" y="8"/>
                      </a:cubicBezTo>
                      <a:cubicBezTo>
                        <a:pt x="78" y="8"/>
                        <a:pt x="80" y="8"/>
                        <a:pt x="80" y="7"/>
                      </a:cubicBezTo>
                      <a:cubicBezTo>
                        <a:pt x="80" y="6"/>
                        <a:pt x="82" y="4"/>
                        <a:pt x="82" y="4"/>
                      </a:cubicBezTo>
                      <a:cubicBezTo>
                        <a:pt x="85" y="4"/>
                        <a:pt x="85" y="4"/>
                        <a:pt x="85" y="4"/>
                      </a:cubicBezTo>
                      <a:cubicBezTo>
                        <a:pt x="87" y="10"/>
                        <a:pt x="87" y="10"/>
                        <a:pt x="87" y="10"/>
                      </a:cubicBezTo>
                      <a:cubicBezTo>
                        <a:pt x="90" y="12"/>
                        <a:pt x="90" y="12"/>
                        <a:pt x="90" y="12"/>
                      </a:cubicBezTo>
                      <a:cubicBezTo>
                        <a:pt x="91" y="13"/>
                        <a:pt x="91" y="13"/>
                        <a:pt x="91" y="13"/>
                      </a:cubicBezTo>
                      <a:cubicBezTo>
                        <a:pt x="93" y="14"/>
                        <a:pt x="93" y="14"/>
                        <a:pt x="93" y="14"/>
                      </a:cubicBezTo>
                      <a:cubicBezTo>
                        <a:pt x="96" y="14"/>
                        <a:pt x="96" y="14"/>
                        <a:pt x="96" y="14"/>
                      </a:cubicBezTo>
                      <a:cubicBezTo>
                        <a:pt x="96" y="15"/>
                        <a:pt x="96" y="15"/>
                        <a:pt x="96" y="15"/>
                      </a:cubicBezTo>
                      <a:cubicBezTo>
                        <a:pt x="98" y="17"/>
                        <a:pt x="98" y="17"/>
                        <a:pt x="98" y="17"/>
                      </a:cubicBezTo>
                      <a:cubicBezTo>
                        <a:pt x="99" y="20"/>
                        <a:pt x="99" y="20"/>
                        <a:pt x="99" y="20"/>
                      </a:cubicBezTo>
                      <a:cubicBezTo>
                        <a:pt x="97" y="22"/>
                        <a:pt x="97" y="22"/>
                        <a:pt x="97" y="22"/>
                      </a:cubicBezTo>
                      <a:cubicBezTo>
                        <a:pt x="97" y="23"/>
                        <a:pt x="97" y="23"/>
                        <a:pt x="97" y="23"/>
                      </a:cubicBezTo>
                      <a:cubicBezTo>
                        <a:pt x="98" y="24"/>
                        <a:pt x="98" y="24"/>
                        <a:pt x="98" y="24"/>
                      </a:cubicBezTo>
                      <a:cubicBezTo>
                        <a:pt x="98" y="24"/>
                        <a:pt x="99" y="24"/>
                        <a:pt x="99" y="24"/>
                      </a:cubicBezTo>
                      <a:cubicBezTo>
                        <a:pt x="99" y="24"/>
                        <a:pt x="101" y="23"/>
                        <a:pt x="102" y="23"/>
                      </a:cubicBezTo>
                      <a:cubicBezTo>
                        <a:pt x="102" y="23"/>
                        <a:pt x="102" y="22"/>
                        <a:pt x="102" y="22"/>
                      </a:cubicBezTo>
                      <a:cubicBezTo>
                        <a:pt x="102" y="22"/>
                        <a:pt x="104" y="21"/>
                        <a:pt x="104" y="21"/>
                      </a:cubicBezTo>
                      <a:cubicBezTo>
                        <a:pt x="104" y="21"/>
                        <a:pt x="105" y="21"/>
                        <a:pt x="105" y="21"/>
                      </a:cubicBezTo>
                      <a:cubicBezTo>
                        <a:pt x="105" y="22"/>
                        <a:pt x="106" y="23"/>
                        <a:pt x="106" y="23"/>
                      </a:cubicBezTo>
                      <a:cubicBezTo>
                        <a:pt x="106" y="23"/>
                        <a:pt x="107" y="22"/>
                        <a:pt x="107" y="23"/>
                      </a:cubicBezTo>
                      <a:cubicBezTo>
                        <a:pt x="107" y="23"/>
                        <a:pt x="108" y="23"/>
                        <a:pt x="108" y="23"/>
                      </a:cubicBezTo>
                      <a:cubicBezTo>
                        <a:pt x="108" y="23"/>
                        <a:pt x="108" y="23"/>
                        <a:pt x="108" y="22"/>
                      </a:cubicBezTo>
                      <a:cubicBezTo>
                        <a:pt x="108" y="20"/>
                        <a:pt x="108" y="20"/>
                        <a:pt x="108" y="20"/>
                      </a:cubicBezTo>
                      <a:cubicBezTo>
                        <a:pt x="108" y="19"/>
                        <a:pt x="108" y="18"/>
                        <a:pt x="108" y="18"/>
                      </a:cubicBezTo>
                      <a:cubicBezTo>
                        <a:pt x="109" y="17"/>
                        <a:pt x="109" y="17"/>
                        <a:pt x="109" y="16"/>
                      </a:cubicBezTo>
                      <a:cubicBezTo>
                        <a:pt x="109" y="16"/>
                        <a:pt x="108" y="15"/>
                        <a:pt x="109" y="15"/>
                      </a:cubicBezTo>
                      <a:cubicBezTo>
                        <a:pt x="110" y="15"/>
                        <a:pt x="111" y="15"/>
                        <a:pt x="111" y="15"/>
                      </a:cubicBezTo>
                      <a:cubicBezTo>
                        <a:pt x="111" y="15"/>
                        <a:pt x="111" y="14"/>
                        <a:pt x="111" y="14"/>
                      </a:cubicBezTo>
                      <a:cubicBezTo>
                        <a:pt x="111" y="14"/>
                        <a:pt x="112" y="13"/>
                        <a:pt x="113" y="13"/>
                      </a:cubicBezTo>
                      <a:cubicBezTo>
                        <a:pt x="113" y="13"/>
                        <a:pt x="113" y="14"/>
                        <a:pt x="114" y="13"/>
                      </a:cubicBezTo>
                      <a:cubicBezTo>
                        <a:pt x="115" y="12"/>
                        <a:pt x="114" y="12"/>
                        <a:pt x="114" y="12"/>
                      </a:cubicBezTo>
                      <a:cubicBezTo>
                        <a:pt x="114" y="11"/>
                        <a:pt x="114" y="11"/>
                        <a:pt x="114" y="11"/>
                      </a:cubicBezTo>
                      <a:cubicBezTo>
                        <a:pt x="115" y="10"/>
                        <a:pt x="114" y="11"/>
                        <a:pt x="116" y="11"/>
                      </a:cubicBezTo>
                      <a:cubicBezTo>
                        <a:pt x="117" y="10"/>
                        <a:pt x="118" y="10"/>
                        <a:pt x="118" y="10"/>
                      </a:cubicBezTo>
                      <a:cubicBezTo>
                        <a:pt x="118" y="10"/>
                        <a:pt x="118" y="9"/>
                        <a:pt x="118" y="9"/>
                      </a:cubicBezTo>
                      <a:cubicBezTo>
                        <a:pt x="120" y="8"/>
                        <a:pt x="120" y="8"/>
                        <a:pt x="120" y="8"/>
                      </a:cubicBezTo>
                      <a:cubicBezTo>
                        <a:pt x="120" y="8"/>
                        <a:pt x="120" y="9"/>
                        <a:pt x="120" y="9"/>
                      </a:cubicBezTo>
                      <a:cubicBezTo>
                        <a:pt x="120" y="9"/>
                        <a:pt x="121" y="9"/>
                        <a:pt x="122" y="9"/>
                      </a:cubicBezTo>
                      <a:cubicBezTo>
                        <a:pt x="122" y="9"/>
                        <a:pt x="123" y="10"/>
                        <a:pt x="123" y="9"/>
                      </a:cubicBezTo>
                      <a:cubicBezTo>
                        <a:pt x="123" y="9"/>
                        <a:pt x="124" y="9"/>
                        <a:pt x="124" y="8"/>
                      </a:cubicBezTo>
                      <a:cubicBezTo>
                        <a:pt x="124" y="8"/>
                        <a:pt x="124" y="8"/>
                        <a:pt x="124" y="8"/>
                      </a:cubicBezTo>
                      <a:cubicBezTo>
                        <a:pt x="124" y="8"/>
                        <a:pt x="124" y="7"/>
                        <a:pt x="125" y="7"/>
                      </a:cubicBezTo>
                      <a:cubicBezTo>
                        <a:pt x="126" y="8"/>
                        <a:pt x="125" y="8"/>
                        <a:pt x="126" y="8"/>
                      </a:cubicBezTo>
                      <a:cubicBezTo>
                        <a:pt x="126" y="7"/>
                        <a:pt x="128" y="6"/>
                        <a:pt x="128" y="6"/>
                      </a:cubicBezTo>
                      <a:cubicBezTo>
                        <a:pt x="128" y="6"/>
                        <a:pt x="128" y="6"/>
                        <a:pt x="129" y="8"/>
                      </a:cubicBezTo>
                      <a:cubicBezTo>
                        <a:pt x="129" y="9"/>
                        <a:pt x="130" y="9"/>
                        <a:pt x="131" y="9"/>
                      </a:cubicBezTo>
                      <a:cubicBezTo>
                        <a:pt x="131" y="9"/>
                        <a:pt x="131" y="9"/>
                        <a:pt x="131" y="9"/>
                      </a:cubicBezTo>
                      <a:cubicBezTo>
                        <a:pt x="131" y="10"/>
                        <a:pt x="132" y="11"/>
                        <a:pt x="132" y="11"/>
                      </a:cubicBezTo>
                      <a:cubicBezTo>
                        <a:pt x="133" y="11"/>
                        <a:pt x="133" y="11"/>
                        <a:pt x="133" y="11"/>
                      </a:cubicBezTo>
                      <a:cubicBezTo>
                        <a:pt x="134" y="10"/>
                        <a:pt x="134" y="10"/>
                        <a:pt x="134" y="10"/>
                      </a:cubicBezTo>
                      <a:cubicBezTo>
                        <a:pt x="134" y="10"/>
                        <a:pt x="134" y="11"/>
                        <a:pt x="135" y="11"/>
                      </a:cubicBezTo>
                      <a:cubicBezTo>
                        <a:pt x="136" y="11"/>
                        <a:pt x="137" y="12"/>
                        <a:pt x="137" y="12"/>
                      </a:cubicBezTo>
                      <a:cubicBezTo>
                        <a:pt x="137" y="11"/>
                        <a:pt x="138" y="10"/>
                        <a:pt x="138" y="10"/>
                      </a:cubicBezTo>
                      <a:cubicBezTo>
                        <a:pt x="138" y="9"/>
                        <a:pt x="138" y="9"/>
                        <a:pt x="139" y="8"/>
                      </a:cubicBezTo>
                      <a:cubicBezTo>
                        <a:pt x="139" y="8"/>
                        <a:pt x="142" y="7"/>
                        <a:pt x="142" y="7"/>
                      </a:cubicBezTo>
                      <a:cubicBezTo>
                        <a:pt x="142" y="7"/>
                        <a:pt x="141" y="5"/>
                        <a:pt x="140" y="5"/>
                      </a:cubicBezTo>
                      <a:cubicBezTo>
                        <a:pt x="140" y="5"/>
                        <a:pt x="139" y="4"/>
                        <a:pt x="141" y="3"/>
                      </a:cubicBezTo>
                      <a:cubicBezTo>
                        <a:pt x="142" y="3"/>
                        <a:pt x="143" y="3"/>
                        <a:pt x="143" y="3"/>
                      </a:cubicBezTo>
                      <a:cubicBezTo>
                        <a:pt x="145" y="4"/>
                        <a:pt x="145" y="4"/>
                        <a:pt x="145" y="4"/>
                      </a:cubicBezTo>
                      <a:cubicBezTo>
                        <a:pt x="145" y="3"/>
                        <a:pt x="145" y="3"/>
                        <a:pt x="145" y="3"/>
                      </a:cubicBezTo>
                      <a:cubicBezTo>
                        <a:pt x="146" y="2"/>
                        <a:pt x="146" y="2"/>
                        <a:pt x="146" y="2"/>
                      </a:cubicBezTo>
                      <a:cubicBezTo>
                        <a:pt x="146" y="2"/>
                        <a:pt x="147" y="1"/>
                        <a:pt x="147" y="1"/>
                      </a:cubicBezTo>
                      <a:cubicBezTo>
                        <a:pt x="147" y="1"/>
                        <a:pt x="148" y="1"/>
                        <a:pt x="148" y="1"/>
                      </a:cubicBezTo>
                      <a:cubicBezTo>
                        <a:pt x="149" y="1"/>
                        <a:pt x="150" y="1"/>
                        <a:pt x="150" y="1"/>
                      </a:cubicBezTo>
                      <a:cubicBezTo>
                        <a:pt x="150" y="1"/>
                        <a:pt x="151" y="2"/>
                        <a:pt x="151" y="2"/>
                      </a:cubicBezTo>
                      <a:cubicBezTo>
                        <a:pt x="152" y="2"/>
                        <a:pt x="153" y="2"/>
                        <a:pt x="153" y="2"/>
                      </a:cubicBezTo>
                      <a:cubicBezTo>
                        <a:pt x="153" y="2"/>
                        <a:pt x="154" y="3"/>
                        <a:pt x="154" y="2"/>
                      </a:cubicBezTo>
                      <a:cubicBezTo>
                        <a:pt x="155" y="2"/>
                        <a:pt x="155" y="1"/>
                        <a:pt x="155" y="1"/>
                      </a:cubicBezTo>
                      <a:cubicBezTo>
                        <a:pt x="155" y="1"/>
                        <a:pt x="159" y="0"/>
                        <a:pt x="159" y="0"/>
                      </a:cubicBezTo>
                      <a:cubicBezTo>
                        <a:pt x="159" y="0"/>
                        <a:pt x="160" y="0"/>
                        <a:pt x="160" y="0"/>
                      </a:cubicBezTo>
                      <a:cubicBezTo>
                        <a:pt x="161" y="1"/>
                        <a:pt x="162" y="1"/>
                        <a:pt x="162" y="1"/>
                      </a:cubicBezTo>
                      <a:cubicBezTo>
                        <a:pt x="163" y="1"/>
                        <a:pt x="164" y="2"/>
                        <a:pt x="164" y="2"/>
                      </a:cubicBezTo>
                      <a:cubicBezTo>
                        <a:pt x="165" y="3"/>
                        <a:pt x="166" y="3"/>
                        <a:pt x="166" y="3"/>
                      </a:cubicBezTo>
                      <a:cubicBezTo>
                        <a:pt x="166" y="3"/>
                        <a:pt x="166" y="1"/>
                        <a:pt x="166" y="1"/>
                      </a:cubicBezTo>
                      <a:cubicBezTo>
                        <a:pt x="167" y="1"/>
                        <a:pt x="168" y="1"/>
                        <a:pt x="168" y="1"/>
                      </a:cubicBezTo>
                      <a:cubicBezTo>
                        <a:pt x="169" y="2"/>
                        <a:pt x="169" y="2"/>
                        <a:pt x="169" y="2"/>
                      </a:cubicBezTo>
                      <a:cubicBezTo>
                        <a:pt x="169" y="2"/>
                        <a:pt x="170" y="3"/>
                        <a:pt x="171" y="3"/>
                      </a:cubicBezTo>
                      <a:cubicBezTo>
                        <a:pt x="171" y="3"/>
                        <a:pt x="172" y="2"/>
                        <a:pt x="172" y="2"/>
                      </a:cubicBezTo>
                      <a:cubicBezTo>
                        <a:pt x="172" y="3"/>
                        <a:pt x="173" y="3"/>
                        <a:pt x="173" y="4"/>
                      </a:cubicBezTo>
                      <a:cubicBezTo>
                        <a:pt x="173" y="4"/>
                        <a:pt x="174" y="5"/>
                        <a:pt x="174" y="5"/>
                      </a:cubicBezTo>
                      <a:cubicBezTo>
                        <a:pt x="174" y="6"/>
                        <a:pt x="175" y="6"/>
                        <a:pt x="175" y="6"/>
                      </a:cubicBezTo>
                      <a:cubicBezTo>
                        <a:pt x="175" y="7"/>
                        <a:pt x="175" y="8"/>
                        <a:pt x="175" y="8"/>
                      </a:cubicBezTo>
                      <a:cubicBezTo>
                        <a:pt x="175" y="8"/>
                        <a:pt x="175" y="8"/>
                        <a:pt x="175" y="9"/>
                      </a:cubicBezTo>
                      <a:cubicBezTo>
                        <a:pt x="176" y="9"/>
                        <a:pt x="179" y="9"/>
                        <a:pt x="179" y="9"/>
                      </a:cubicBezTo>
                      <a:cubicBezTo>
                        <a:pt x="179" y="9"/>
                        <a:pt x="180" y="9"/>
                        <a:pt x="180" y="10"/>
                      </a:cubicBezTo>
                      <a:cubicBezTo>
                        <a:pt x="180" y="10"/>
                        <a:pt x="182" y="10"/>
                        <a:pt x="182" y="10"/>
                      </a:cubicBezTo>
                      <a:cubicBezTo>
                        <a:pt x="182" y="10"/>
                        <a:pt x="183" y="9"/>
                        <a:pt x="183" y="10"/>
                      </a:cubicBezTo>
                      <a:cubicBezTo>
                        <a:pt x="183" y="10"/>
                        <a:pt x="183" y="11"/>
                        <a:pt x="183" y="11"/>
                      </a:cubicBezTo>
                      <a:cubicBezTo>
                        <a:pt x="185" y="11"/>
                        <a:pt x="185" y="11"/>
                        <a:pt x="185" y="11"/>
                      </a:cubicBezTo>
                      <a:cubicBezTo>
                        <a:pt x="186" y="11"/>
                        <a:pt x="186" y="11"/>
                        <a:pt x="186" y="11"/>
                      </a:cubicBezTo>
                      <a:cubicBezTo>
                        <a:pt x="186" y="11"/>
                        <a:pt x="187" y="10"/>
                        <a:pt x="187" y="11"/>
                      </a:cubicBezTo>
                      <a:cubicBezTo>
                        <a:pt x="187" y="11"/>
                        <a:pt x="188" y="11"/>
                        <a:pt x="188" y="11"/>
                      </a:cubicBezTo>
                      <a:cubicBezTo>
                        <a:pt x="188" y="11"/>
                        <a:pt x="190" y="12"/>
                        <a:pt x="190" y="12"/>
                      </a:cubicBezTo>
                      <a:cubicBezTo>
                        <a:pt x="190" y="12"/>
                        <a:pt x="191" y="12"/>
                        <a:pt x="192" y="12"/>
                      </a:cubicBezTo>
                      <a:cubicBezTo>
                        <a:pt x="192" y="12"/>
                        <a:pt x="195" y="12"/>
                        <a:pt x="195" y="12"/>
                      </a:cubicBezTo>
                      <a:cubicBezTo>
                        <a:pt x="195" y="12"/>
                        <a:pt x="195" y="13"/>
                        <a:pt x="195" y="14"/>
                      </a:cubicBezTo>
                      <a:cubicBezTo>
                        <a:pt x="195" y="14"/>
                        <a:pt x="195" y="16"/>
                        <a:pt x="195" y="16"/>
                      </a:cubicBezTo>
                      <a:cubicBezTo>
                        <a:pt x="195" y="16"/>
                        <a:pt x="194" y="17"/>
                        <a:pt x="194" y="18"/>
                      </a:cubicBezTo>
                      <a:cubicBezTo>
                        <a:pt x="193" y="18"/>
                        <a:pt x="193" y="20"/>
                        <a:pt x="193" y="20"/>
                      </a:cubicBezTo>
                      <a:cubicBezTo>
                        <a:pt x="193" y="20"/>
                        <a:pt x="193" y="21"/>
                        <a:pt x="193" y="21"/>
                      </a:cubicBezTo>
                      <a:cubicBezTo>
                        <a:pt x="193" y="21"/>
                        <a:pt x="193" y="23"/>
                        <a:pt x="193" y="23"/>
                      </a:cubicBezTo>
                      <a:cubicBezTo>
                        <a:pt x="192" y="25"/>
                        <a:pt x="192" y="25"/>
                        <a:pt x="192" y="25"/>
                      </a:cubicBezTo>
                      <a:cubicBezTo>
                        <a:pt x="192" y="25"/>
                        <a:pt x="191" y="26"/>
                        <a:pt x="192" y="27"/>
                      </a:cubicBezTo>
                      <a:cubicBezTo>
                        <a:pt x="192" y="27"/>
                        <a:pt x="192" y="28"/>
                        <a:pt x="192" y="28"/>
                      </a:cubicBezTo>
                      <a:cubicBezTo>
                        <a:pt x="193" y="29"/>
                        <a:pt x="193" y="29"/>
                        <a:pt x="193" y="29"/>
                      </a:cubicBezTo>
                      <a:cubicBezTo>
                        <a:pt x="191" y="31"/>
                        <a:pt x="191" y="31"/>
                        <a:pt x="191" y="31"/>
                      </a:cubicBezTo>
                      <a:cubicBezTo>
                        <a:pt x="191" y="33"/>
                        <a:pt x="191" y="33"/>
                        <a:pt x="191" y="33"/>
                      </a:cubicBezTo>
                      <a:cubicBezTo>
                        <a:pt x="191" y="33"/>
                        <a:pt x="192" y="34"/>
                        <a:pt x="191" y="35"/>
                      </a:cubicBezTo>
                      <a:cubicBezTo>
                        <a:pt x="191" y="35"/>
                        <a:pt x="190" y="36"/>
                        <a:pt x="190" y="36"/>
                      </a:cubicBezTo>
                      <a:cubicBezTo>
                        <a:pt x="190" y="36"/>
                        <a:pt x="188" y="38"/>
                        <a:pt x="188" y="38"/>
                      </a:cubicBezTo>
                      <a:cubicBezTo>
                        <a:pt x="188" y="38"/>
                        <a:pt x="188" y="39"/>
                        <a:pt x="188" y="39"/>
                      </a:cubicBezTo>
                      <a:cubicBezTo>
                        <a:pt x="188" y="39"/>
                        <a:pt x="187" y="41"/>
                        <a:pt x="187" y="41"/>
                      </a:cubicBezTo>
                      <a:cubicBezTo>
                        <a:pt x="187" y="41"/>
                        <a:pt x="187" y="44"/>
                        <a:pt x="187" y="44"/>
                      </a:cubicBezTo>
                      <a:cubicBezTo>
                        <a:pt x="187" y="44"/>
                        <a:pt x="188" y="45"/>
                        <a:pt x="188" y="45"/>
                      </a:cubicBezTo>
                      <a:cubicBezTo>
                        <a:pt x="188" y="45"/>
                        <a:pt x="188" y="46"/>
                        <a:pt x="188" y="47"/>
                      </a:cubicBezTo>
                      <a:cubicBezTo>
                        <a:pt x="187" y="47"/>
                        <a:pt x="188" y="48"/>
                        <a:pt x="188" y="49"/>
                      </a:cubicBezTo>
                      <a:cubicBezTo>
                        <a:pt x="188" y="49"/>
                        <a:pt x="188" y="50"/>
                        <a:pt x="188" y="50"/>
                      </a:cubicBezTo>
                      <a:cubicBezTo>
                        <a:pt x="187" y="52"/>
                        <a:pt x="187" y="52"/>
                        <a:pt x="187" y="52"/>
                      </a:cubicBezTo>
                      <a:cubicBezTo>
                        <a:pt x="186" y="52"/>
                        <a:pt x="186" y="52"/>
                        <a:pt x="186" y="52"/>
                      </a:cubicBezTo>
                      <a:cubicBezTo>
                        <a:pt x="187" y="55"/>
                        <a:pt x="187" y="55"/>
                        <a:pt x="187" y="55"/>
                      </a:cubicBezTo>
                      <a:cubicBezTo>
                        <a:pt x="185" y="57"/>
                        <a:pt x="185" y="57"/>
                        <a:pt x="185" y="57"/>
                      </a:cubicBezTo>
                      <a:cubicBezTo>
                        <a:pt x="177" y="57"/>
                        <a:pt x="177" y="57"/>
                        <a:pt x="177" y="57"/>
                      </a:cubicBezTo>
                      <a:cubicBezTo>
                        <a:pt x="169" y="49"/>
                        <a:pt x="169" y="49"/>
                        <a:pt x="169" y="49"/>
                      </a:cubicBezTo>
                      <a:cubicBezTo>
                        <a:pt x="163" y="48"/>
                        <a:pt x="163" y="48"/>
                        <a:pt x="163" y="48"/>
                      </a:cubicBezTo>
                      <a:cubicBezTo>
                        <a:pt x="158" y="52"/>
                        <a:pt x="158" y="52"/>
                        <a:pt x="158" y="52"/>
                      </a:cubicBezTo>
                      <a:cubicBezTo>
                        <a:pt x="151" y="53"/>
                        <a:pt x="151" y="53"/>
                        <a:pt x="151" y="53"/>
                      </a:cubicBezTo>
                      <a:cubicBezTo>
                        <a:pt x="146" y="50"/>
                        <a:pt x="146" y="50"/>
                        <a:pt x="146" y="50"/>
                      </a:cubicBezTo>
                      <a:cubicBezTo>
                        <a:pt x="132" y="54"/>
                        <a:pt x="132" y="54"/>
                        <a:pt x="132" y="54"/>
                      </a:cubicBezTo>
                      <a:cubicBezTo>
                        <a:pt x="131" y="57"/>
                        <a:pt x="131" y="57"/>
                        <a:pt x="131" y="57"/>
                      </a:cubicBezTo>
                      <a:cubicBezTo>
                        <a:pt x="129" y="64"/>
                        <a:pt x="129" y="64"/>
                        <a:pt x="129" y="64"/>
                      </a:cubicBezTo>
                      <a:cubicBezTo>
                        <a:pt x="126" y="70"/>
                        <a:pt x="126" y="70"/>
                        <a:pt x="126" y="70"/>
                      </a:cubicBezTo>
                      <a:cubicBezTo>
                        <a:pt x="122" y="72"/>
                        <a:pt x="122" y="72"/>
                        <a:pt x="122" y="72"/>
                      </a:cubicBezTo>
                      <a:cubicBezTo>
                        <a:pt x="119" y="74"/>
                        <a:pt x="119" y="74"/>
                        <a:pt x="119" y="74"/>
                      </a:cubicBezTo>
                      <a:cubicBezTo>
                        <a:pt x="116" y="78"/>
                        <a:pt x="116" y="78"/>
                        <a:pt x="116" y="78"/>
                      </a:cubicBezTo>
                      <a:cubicBezTo>
                        <a:pt x="110" y="78"/>
                        <a:pt x="110" y="78"/>
                        <a:pt x="110" y="78"/>
                      </a:cubicBezTo>
                      <a:cubicBezTo>
                        <a:pt x="106" y="77"/>
                        <a:pt x="106" y="77"/>
                        <a:pt x="106" y="77"/>
                      </a:cubicBezTo>
                      <a:cubicBezTo>
                        <a:pt x="100" y="78"/>
                        <a:pt x="100" y="78"/>
                        <a:pt x="100" y="78"/>
                      </a:cubicBezTo>
                      <a:cubicBezTo>
                        <a:pt x="98" y="84"/>
                        <a:pt x="98" y="84"/>
                        <a:pt x="98" y="84"/>
                      </a:cubicBezTo>
                      <a:cubicBezTo>
                        <a:pt x="94" y="85"/>
                        <a:pt x="94" y="85"/>
                        <a:pt x="94" y="85"/>
                      </a:cubicBezTo>
                      <a:cubicBezTo>
                        <a:pt x="87" y="86"/>
                        <a:pt x="87" y="86"/>
                        <a:pt x="87" y="86"/>
                      </a:cubicBezTo>
                      <a:cubicBezTo>
                        <a:pt x="78" y="89"/>
                        <a:pt x="78" y="89"/>
                        <a:pt x="78" y="89"/>
                      </a:cubicBezTo>
                      <a:cubicBezTo>
                        <a:pt x="73" y="94"/>
                        <a:pt x="73" y="94"/>
                        <a:pt x="73" y="94"/>
                      </a:cubicBezTo>
                      <a:cubicBezTo>
                        <a:pt x="73" y="96"/>
                        <a:pt x="73" y="96"/>
                        <a:pt x="73" y="96"/>
                      </a:cubicBezTo>
                      <a:cubicBezTo>
                        <a:pt x="73" y="96"/>
                        <a:pt x="77" y="99"/>
                        <a:pt x="79" y="100"/>
                      </a:cubicBezTo>
                      <a:cubicBezTo>
                        <a:pt x="81" y="102"/>
                        <a:pt x="75" y="103"/>
                        <a:pt x="74" y="104"/>
                      </a:cubicBezTo>
                      <a:cubicBezTo>
                        <a:pt x="73" y="105"/>
                        <a:pt x="64" y="106"/>
                        <a:pt x="64" y="106"/>
                      </a:cubicBezTo>
                      <a:cubicBezTo>
                        <a:pt x="47" y="107"/>
                        <a:pt x="47" y="107"/>
                        <a:pt x="47" y="107"/>
                      </a:cubicBezTo>
                      <a:cubicBezTo>
                        <a:pt x="38" y="109"/>
                        <a:pt x="38" y="109"/>
                        <a:pt x="38" y="109"/>
                      </a:cubicBezTo>
                      <a:cubicBezTo>
                        <a:pt x="34" y="107"/>
                        <a:pt x="34" y="107"/>
                        <a:pt x="34" y="107"/>
                      </a:cubicBezTo>
                      <a:cubicBezTo>
                        <a:pt x="27" y="103"/>
                        <a:pt x="27" y="103"/>
                        <a:pt x="27" y="103"/>
                      </a:cubicBezTo>
                      <a:cubicBezTo>
                        <a:pt x="22" y="98"/>
                        <a:pt x="22" y="98"/>
                        <a:pt x="22" y="98"/>
                      </a:cubicBezTo>
                      <a:cubicBezTo>
                        <a:pt x="22" y="98"/>
                        <a:pt x="22" y="98"/>
                        <a:pt x="22" y="98"/>
                      </a:cubicBezTo>
                      <a:cubicBezTo>
                        <a:pt x="14" y="97"/>
                        <a:pt x="14" y="97"/>
                        <a:pt x="14" y="97"/>
                      </a:cubicBezTo>
                      <a:cubicBezTo>
                        <a:pt x="14" y="98"/>
                        <a:pt x="14" y="98"/>
                        <a:pt x="14" y="98"/>
                      </a:cubicBezTo>
                      <a:cubicBezTo>
                        <a:pt x="14" y="102"/>
                        <a:pt x="14" y="102"/>
                        <a:pt x="14" y="102"/>
                      </a:cubicBezTo>
                      <a:cubicBezTo>
                        <a:pt x="11" y="106"/>
                        <a:pt x="11" y="106"/>
                        <a:pt x="11" y="106"/>
                      </a:cubicBezTo>
                      <a:cubicBezTo>
                        <a:pt x="9" y="103"/>
                        <a:pt x="8" y="98"/>
                        <a:pt x="6" y="93"/>
                      </a:cubicBezTo>
                      <a:cubicBezTo>
                        <a:pt x="6" y="93"/>
                        <a:pt x="6" y="92"/>
                        <a:pt x="5" y="91"/>
                      </a:cubicBezTo>
                      <a:cubicBezTo>
                        <a:pt x="5" y="90"/>
                        <a:pt x="4" y="88"/>
                        <a:pt x="4" y="88"/>
                      </a:cubicBezTo>
                      <a:cubicBezTo>
                        <a:pt x="4" y="88"/>
                        <a:pt x="4" y="88"/>
                        <a:pt x="4" y="88"/>
                      </a:cubicBezTo>
                      <a:cubicBezTo>
                        <a:pt x="3" y="87"/>
                        <a:pt x="2" y="86"/>
                        <a:pt x="2" y="86"/>
                      </a:cubicBezTo>
                      <a:cubicBezTo>
                        <a:pt x="2" y="86"/>
                        <a:pt x="2" y="85"/>
                        <a:pt x="2" y="85"/>
                      </a:cubicBezTo>
                      <a:cubicBezTo>
                        <a:pt x="1" y="85"/>
                        <a:pt x="0" y="84"/>
                        <a:pt x="0" y="84"/>
                      </a:cubicBezTo>
                      <a:cubicBezTo>
                        <a:pt x="0" y="84"/>
                        <a:pt x="0" y="81"/>
                        <a:pt x="0" y="81"/>
                      </a:cubicBezTo>
                      <a:cubicBezTo>
                        <a:pt x="0" y="79"/>
                        <a:pt x="0" y="79"/>
                        <a:pt x="0" y="79"/>
                      </a:cubicBezTo>
                      <a:cubicBezTo>
                        <a:pt x="2" y="77"/>
                        <a:pt x="2" y="77"/>
                        <a:pt x="2" y="77"/>
                      </a:cubicBezTo>
                      <a:cubicBezTo>
                        <a:pt x="2" y="77"/>
                        <a:pt x="2" y="75"/>
                        <a:pt x="2" y="75"/>
                      </a:cubicBezTo>
                      <a:cubicBezTo>
                        <a:pt x="2" y="75"/>
                        <a:pt x="3" y="73"/>
                        <a:pt x="3" y="73"/>
                      </a:cubicBezTo>
                      <a:cubicBezTo>
                        <a:pt x="2" y="72"/>
                        <a:pt x="2" y="72"/>
                        <a:pt x="2" y="72"/>
                      </a:cubicBezTo>
                      <a:cubicBezTo>
                        <a:pt x="2" y="69"/>
                        <a:pt x="2" y="69"/>
                        <a:pt x="2" y="69"/>
                      </a:cubicBezTo>
                      <a:cubicBezTo>
                        <a:pt x="3" y="68"/>
                        <a:pt x="3" y="68"/>
                        <a:pt x="3" y="68"/>
                      </a:cubicBezTo>
                      <a:cubicBezTo>
                        <a:pt x="3" y="66"/>
                        <a:pt x="3" y="66"/>
                        <a:pt x="3" y="66"/>
                      </a:cubicBezTo>
                      <a:cubicBezTo>
                        <a:pt x="3" y="66"/>
                        <a:pt x="3" y="65"/>
                        <a:pt x="3" y="65"/>
                      </a:cubicBezTo>
                      <a:cubicBezTo>
                        <a:pt x="4" y="65"/>
                        <a:pt x="4" y="62"/>
                        <a:pt x="4" y="62"/>
                      </a:cubicBezTo>
                      <a:cubicBezTo>
                        <a:pt x="4" y="62"/>
                        <a:pt x="5" y="60"/>
                        <a:pt x="5" y="60"/>
                      </a:cubicBezTo>
                      <a:cubicBezTo>
                        <a:pt x="6" y="60"/>
                        <a:pt x="6" y="59"/>
                        <a:pt x="6" y="59"/>
                      </a:cubicBezTo>
                      <a:cubicBezTo>
                        <a:pt x="6" y="58"/>
                        <a:pt x="6" y="57"/>
                        <a:pt x="6" y="57"/>
                      </a:cubicBezTo>
                      <a:cubicBezTo>
                        <a:pt x="8" y="56"/>
                        <a:pt x="8" y="56"/>
                        <a:pt x="8" y="56"/>
                      </a:cubicBezTo>
                      <a:cubicBezTo>
                        <a:pt x="8" y="56"/>
                        <a:pt x="9" y="55"/>
                        <a:pt x="9" y="55"/>
                      </a:cubicBezTo>
                      <a:cubicBezTo>
                        <a:pt x="9" y="55"/>
                        <a:pt x="10" y="55"/>
                        <a:pt x="11" y="55"/>
                      </a:cubicBezTo>
                      <a:cubicBezTo>
                        <a:pt x="11" y="55"/>
                        <a:pt x="12" y="55"/>
                        <a:pt x="13" y="55"/>
                      </a:cubicBezTo>
                      <a:cubicBezTo>
                        <a:pt x="13" y="55"/>
                        <a:pt x="13" y="56"/>
                        <a:pt x="14" y="56"/>
                      </a:cubicBezTo>
                      <a:cubicBezTo>
                        <a:pt x="15" y="56"/>
                        <a:pt x="16" y="57"/>
                        <a:pt x="16" y="57"/>
                      </a:cubicBezTo>
                      <a:cubicBezTo>
                        <a:pt x="17" y="56"/>
                        <a:pt x="17" y="56"/>
                        <a:pt x="17" y="56"/>
                      </a:cubicBezTo>
                      <a:cubicBezTo>
                        <a:pt x="18" y="56"/>
                        <a:pt x="18" y="55"/>
                        <a:pt x="18" y="55"/>
                      </a:cubicBezTo>
                      <a:cubicBezTo>
                        <a:pt x="19" y="55"/>
                        <a:pt x="21" y="56"/>
                        <a:pt x="21" y="56"/>
                      </a:cubicBezTo>
                      <a:cubicBezTo>
                        <a:pt x="21" y="56"/>
                        <a:pt x="22" y="57"/>
                        <a:pt x="22" y="56"/>
                      </a:cubicBezTo>
                      <a:cubicBezTo>
                        <a:pt x="23" y="56"/>
                        <a:pt x="24" y="55"/>
                        <a:pt x="24" y="55"/>
                      </a:cubicBezTo>
                      <a:cubicBezTo>
                        <a:pt x="26" y="54"/>
                        <a:pt x="26" y="54"/>
                        <a:pt x="26" y="54"/>
                      </a:cubicBezTo>
                      <a:close/>
                    </a:path>
                  </a:pathLst>
                </a:custGeom>
                <a:solidFill>
                  <a:srgbClr val="E6EFF1"/>
                </a:solidFill>
                <a:ln w="12700" cap="rnd" cmpd="sng">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Lato Light"/>
                  </a:endParaRPr>
                </a:p>
              </p:txBody>
            </p:sp>
            <p:sp>
              <p:nvSpPr>
                <p:cNvPr id="13" name="Freeform 88">
                  <a:extLst>
                    <a:ext uri="{FF2B5EF4-FFF2-40B4-BE49-F238E27FC236}">
                      <a16:creationId xmlns:a16="http://schemas.microsoft.com/office/drawing/2014/main" id="{6B91AD3C-B78F-B304-F6CB-4E0E4EA23A33}"/>
                    </a:ext>
                  </a:extLst>
                </p:cNvPr>
                <p:cNvSpPr>
                  <a:spLocks/>
                </p:cNvSpPr>
                <p:nvPr/>
              </p:nvSpPr>
              <p:spPr bwMode="auto">
                <a:xfrm>
                  <a:off x="4303042" y="4523000"/>
                  <a:ext cx="336188" cy="246425"/>
                </a:xfrm>
                <a:custGeom>
                  <a:avLst/>
                  <a:gdLst>
                    <a:gd name="T0" fmla="*/ 5 w 117"/>
                    <a:gd name="T1" fmla="*/ 46 h 88"/>
                    <a:gd name="T2" fmla="*/ 1 w 117"/>
                    <a:gd name="T3" fmla="*/ 42 h 88"/>
                    <a:gd name="T4" fmla="*/ 6 w 117"/>
                    <a:gd name="T5" fmla="*/ 36 h 88"/>
                    <a:gd name="T6" fmla="*/ 10 w 117"/>
                    <a:gd name="T7" fmla="*/ 33 h 88"/>
                    <a:gd name="T8" fmla="*/ 13 w 117"/>
                    <a:gd name="T9" fmla="*/ 27 h 88"/>
                    <a:gd name="T10" fmla="*/ 41 w 117"/>
                    <a:gd name="T11" fmla="*/ 31 h 88"/>
                    <a:gd name="T12" fmla="*/ 48 w 117"/>
                    <a:gd name="T13" fmla="*/ 26 h 88"/>
                    <a:gd name="T14" fmla="*/ 55 w 117"/>
                    <a:gd name="T15" fmla="*/ 19 h 88"/>
                    <a:gd name="T16" fmla="*/ 71 w 117"/>
                    <a:gd name="T17" fmla="*/ 15 h 88"/>
                    <a:gd name="T18" fmla="*/ 85 w 117"/>
                    <a:gd name="T19" fmla="*/ 12 h 88"/>
                    <a:gd name="T20" fmla="*/ 95 w 117"/>
                    <a:gd name="T21" fmla="*/ 8 h 88"/>
                    <a:gd name="T22" fmla="*/ 101 w 117"/>
                    <a:gd name="T23" fmla="*/ 2 h 88"/>
                    <a:gd name="T24" fmla="*/ 107 w 117"/>
                    <a:gd name="T25" fmla="*/ 2 h 88"/>
                    <a:gd name="T26" fmla="*/ 108 w 117"/>
                    <a:gd name="T27" fmla="*/ 5 h 88"/>
                    <a:gd name="T28" fmla="*/ 109 w 117"/>
                    <a:gd name="T29" fmla="*/ 7 h 88"/>
                    <a:gd name="T30" fmla="*/ 111 w 117"/>
                    <a:gd name="T31" fmla="*/ 10 h 88"/>
                    <a:gd name="T32" fmla="*/ 115 w 117"/>
                    <a:gd name="T33" fmla="*/ 19 h 88"/>
                    <a:gd name="T34" fmla="*/ 109 w 117"/>
                    <a:gd name="T35" fmla="*/ 22 h 88"/>
                    <a:gd name="T36" fmla="*/ 107 w 117"/>
                    <a:gd name="T37" fmla="*/ 27 h 88"/>
                    <a:gd name="T38" fmla="*/ 102 w 117"/>
                    <a:gd name="T39" fmla="*/ 28 h 88"/>
                    <a:gd name="T40" fmla="*/ 101 w 117"/>
                    <a:gd name="T41" fmla="*/ 32 h 88"/>
                    <a:gd name="T42" fmla="*/ 96 w 117"/>
                    <a:gd name="T43" fmla="*/ 35 h 88"/>
                    <a:gd name="T44" fmla="*/ 91 w 117"/>
                    <a:gd name="T45" fmla="*/ 38 h 88"/>
                    <a:gd name="T46" fmla="*/ 86 w 117"/>
                    <a:gd name="T47" fmla="*/ 41 h 88"/>
                    <a:gd name="T48" fmla="*/ 87 w 117"/>
                    <a:gd name="T49" fmla="*/ 46 h 88"/>
                    <a:gd name="T50" fmla="*/ 90 w 117"/>
                    <a:gd name="T51" fmla="*/ 49 h 88"/>
                    <a:gd name="T52" fmla="*/ 89 w 117"/>
                    <a:gd name="T53" fmla="*/ 56 h 88"/>
                    <a:gd name="T54" fmla="*/ 88 w 117"/>
                    <a:gd name="T55" fmla="*/ 60 h 88"/>
                    <a:gd name="T56" fmla="*/ 83 w 117"/>
                    <a:gd name="T57" fmla="*/ 62 h 88"/>
                    <a:gd name="T58" fmla="*/ 78 w 117"/>
                    <a:gd name="T59" fmla="*/ 64 h 88"/>
                    <a:gd name="T60" fmla="*/ 76 w 117"/>
                    <a:gd name="T61" fmla="*/ 68 h 88"/>
                    <a:gd name="T62" fmla="*/ 79 w 117"/>
                    <a:gd name="T63" fmla="*/ 69 h 88"/>
                    <a:gd name="T64" fmla="*/ 77 w 117"/>
                    <a:gd name="T65" fmla="*/ 72 h 88"/>
                    <a:gd name="T66" fmla="*/ 76 w 117"/>
                    <a:gd name="T67" fmla="*/ 76 h 88"/>
                    <a:gd name="T68" fmla="*/ 79 w 117"/>
                    <a:gd name="T69" fmla="*/ 80 h 88"/>
                    <a:gd name="T70" fmla="*/ 74 w 117"/>
                    <a:gd name="T71" fmla="*/ 83 h 88"/>
                    <a:gd name="T72" fmla="*/ 69 w 117"/>
                    <a:gd name="T73" fmla="*/ 81 h 88"/>
                    <a:gd name="T74" fmla="*/ 64 w 117"/>
                    <a:gd name="T75" fmla="*/ 80 h 88"/>
                    <a:gd name="T76" fmla="*/ 61 w 117"/>
                    <a:gd name="T77" fmla="*/ 82 h 88"/>
                    <a:gd name="T78" fmla="*/ 55 w 117"/>
                    <a:gd name="T79" fmla="*/ 80 h 88"/>
                    <a:gd name="T80" fmla="*/ 53 w 117"/>
                    <a:gd name="T81" fmla="*/ 77 h 88"/>
                    <a:gd name="T82" fmla="*/ 49 w 117"/>
                    <a:gd name="T83" fmla="*/ 72 h 88"/>
                    <a:gd name="T84" fmla="*/ 46 w 117"/>
                    <a:gd name="T85" fmla="*/ 76 h 88"/>
                    <a:gd name="T86" fmla="*/ 45 w 117"/>
                    <a:gd name="T87" fmla="*/ 80 h 88"/>
                    <a:gd name="T88" fmla="*/ 39 w 117"/>
                    <a:gd name="T89" fmla="*/ 83 h 88"/>
                    <a:gd name="T90" fmla="*/ 33 w 117"/>
                    <a:gd name="T91" fmla="*/ 84 h 88"/>
                    <a:gd name="T92" fmla="*/ 28 w 117"/>
                    <a:gd name="T93" fmla="*/ 83 h 88"/>
                    <a:gd name="T94" fmla="*/ 27 w 117"/>
                    <a:gd name="T95" fmla="*/ 84 h 88"/>
                    <a:gd name="T96" fmla="*/ 24 w 117"/>
                    <a:gd name="T97" fmla="*/ 87 h 88"/>
                    <a:gd name="T98" fmla="*/ 21 w 117"/>
                    <a:gd name="T99" fmla="*/ 88 h 88"/>
                    <a:gd name="T100" fmla="*/ 15 w 117"/>
                    <a:gd name="T101" fmla="*/ 87 h 88"/>
                    <a:gd name="T102" fmla="*/ 11 w 117"/>
                    <a:gd name="T103" fmla="*/ 84 h 88"/>
                    <a:gd name="T104" fmla="*/ 15 w 117"/>
                    <a:gd name="T105" fmla="*/ 82 h 88"/>
                    <a:gd name="T106" fmla="*/ 17 w 117"/>
                    <a:gd name="T107" fmla="*/ 81 h 88"/>
                    <a:gd name="T108" fmla="*/ 19 w 117"/>
                    <a:gd name="T109" fmla="*/ 79 h 88"/>
                    <a:gd name="T110" fmla="*/ 17 w 117"/>
                    <a:gd name="T111" fmla="*/ 77 h 88"/>
                    <a:gd name="T112" fmla="*/ 9 w 117"/>
                    <a:gd name="T113" fmla="*/ 67 h 88"/>
                    <a:gd name="T114" fmla="*/ 11 w 117"/>
                    <a:gd name="T115" fmla="*/ 61 h 88"/>
                    <a:gd name="T116" fmla="*/ 9 w 117"/>
                    <a:gd name="T117" fmla="*/ 58 h 88"/>
                    <a:gd name="T118" fmla="*/ 6 w 117"/>
                    <a:gd name="T119" fmla="*/ 58 h 88"/>
                    <a:gd name="T120" fmla="*/ 5 w 117"/>
                    <a:gd name="T121" fmla="*/ 55 h 88"/>
                    <a:gd name="T122" fmla="*/ 11 w 117"/>
                    <a:gd name="T123" fmla="*/ 4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7" h="88">
                      <a:moveTo>
                        <a:pt x="9" y="48"/>
                      </a:moveTo>
                      <a:cubicBezTo>
                        <a:pt x="7" y="47"/>
                        <a:pt x="7" y="47"/>
                        <a:pt x="7" y="47"/>
                      </a:cubicBezTo>
                      <a:cubicBezTo>
                        <a:pt x="5" y="46"/>
                        <a:pt x="5" y="46"/>
                        <a:pt x="5" y="46"/>
                      </a:cubicBezTo>
                      <a:cubicBezTo>
                        <a:pt x="2" y="46"/>
                        <a:pt x="2" y="46"/>
                        <a:pt x="2" y="46"/>
                      </a:cubicBezTo>
                      <a:cubicBezTo>
                        <a:pt x="0" y="44"/>
                        <a:pt x="0" y="44"/>
                        <a:pt x="0" y="44"/>
                      </a:cubicBezTo>
                      <a:cubicBezTo>
                        <a:pt x="1" y="42"/>
                        <a:pt x="1" y="42"/>
                        <a:pt x="1" y="42"/>
                      </a:cubicBezTo>
                      <a:cubicBezTo>
                        <a:pt x="1" y="40"/>
                        <a:pt x="1" y="40"/>
                        <a:pt x="1" y="40"/>
                      </a:cubicBezTo>
                      <a:cubicBezTo>
                        <a:pt x="1" y="40"/>
                        <a:pt x="3" y="38"/>
                        <a:pt x="3" y="38"/>
                      </a:cubicBezTo>
                      <a:cubicBezTo>
                        <a:pt x="4" y="37"/>
                        <a:pt x="6" y="36"/>
                        <a:pt x="6" y="36"/>
                      </a:cubicBezTo>
                      <a:cubicBezTo>
                        <a:pt x="7" y="34"/>
                        <a:pt x="7" y="34"/>
                        <a:pt x="7" y="34"/>
                      </a:cubicBezTo>
                      <a:cubicBezTo>
                        <a:pt x="7" y="34"/>
                        <a:pt x="8" y="33"/>
                        <a:pt x="9" y="33"/>
                      </a:cubicBezTo>
                      <a:cubicBezTo>
                        <a:pt x="10" y="33"/>
                        <a:pt x="10" y="34"/>
                        <a:pt x="10" y="33"/>
                      </a:cubicBezTo>
                      <a:cubicBezTo>
                        <a:pt x="11" y="33"/>
                        <a:pt x="11" y="29"/>
                        <a:pt x="11" y="29"/>
                      </a:cubicBezTo>
                      <a:cubicBezTo>
                        <a:pt x="11" y="27"/>
                        <a:pt x="11" y="27"/>
                        <a:pt x="11" y="27"/>
                      </a:cubicBezTo>
                      <a:cubicBezTo>
                        <a:pt x="13" y="27"/>
                        <a:pt x="13" y="27"/>
                        <a:pt x="13" y="27"/>
                      </a:cubicBezTo>
                      <a:cubicBezTo>
                        <a:pt x="22" y="30"/>
                        <a:pt x="22" y="30"/>
                        <a:pt x="22" y="30"/>
                      </a:cubicBezTo>
                      <a:cubicBezTo>
                        <a:pt x="32" y="31"/>
                        <a:pt x="32" y="31"/>
                        <a:pt x="32" y="31"/>
                      </a:cubicBezTo>
                      <a:cubicBezTo>
                        <a:pt x="41" y="31"/>
                        <a:pt x="41" y="31"/>
                        <a:pt x="41" y="31"/>
                      </a:cubicBezTo>
                      <a:cubicBezTo>
                        <a:pt x="43" y="31"/>
                        <a:pt x="43" y="31"/>
                        <a:pt x="43" y="31"/>
                      </a:cubicBezTo>
                      <a:cubicBezTo>
                        <a:pt x="46" y="29"/>
                        <a:pt x="46" y="29"/>
                        <a:pt x="46" y="29"/>
                      </a:cubicBezTo>
                      <a:cubicBezTo>
                        <a:pt x="48" y="26"/>
                        <a:pt x="48" y="26"/>
                        <a:pt x="48" y="26"/>
                      </a:cubicBezTo>
                      <a:cubicBezTo>
                        <a:pt x="52" y="25"/>
                        <a:pt x="52" y="25"/>
                        <a:pt x="52" y="25"/>
                      </a:cubicBezTo>
                      <a:cubicBezTo>
                        <a:pt x="53" y="23"/>
                        <a:pt x="53" y="23"/>
                        <a:pt x="53" y="23"/>
                      </a:cubicBezTo>
                      <a:cubicBezTo>
                        <a:pt x="55" y="19"/>
                        <a:pt x="55" y="19"/>
                        <a:pt x="55" y="19"/>
                      </a:cubicBezTo>
                      <a:cubicBezTo>
                        <a:pt x="58" y="17"/>
                        <a:pt x="58" y="17"/>
                        <a:pt x="58" y="17"/>
                      </a:cubicBezTo>
                      <a:cubicBezTo>
                        <a:pt x="64" y="17"/>
                        <a:pt x="64" y="17"/>
                        <a:pt x="64" y="17"/>
                      </a:cubicBezTo>
                      <a:cubicBezTo>
                        <a:pt x="71" y="15"/>
                        <a:pt x="71" y="15"/>
                        <a:pt x="71" y="15"/>
                      </a:cubicBezTo>
                      <a:cubicBezTo>
                        <a:pt x="76" y="17"/>
                        <a:pt x="76" y="17"/>
                        <a:pt x="76" y="17"/>
                      </a:cubicBezTo>
                      <a:cubicBezTo>
                        <a:pt x="82" y="13"/>
                        <a:pt x="82" y="13"/>
                        <a:pt x="82" y="13"/>
                      </a:cubicBezTo>
                      <a:cubicBezTo>
                        <a:pt x="85" y="12"/>
                        <a:pt x="85" y="12"/>
                        <a:pt x="85" y="12"/>
                      </a:cubicBezTo>
                      <a:cubicBezTo>
                        <a:pt x="90" y="10"/>
                        <a:pt x="90" y="10"/>
                        <a:pt x="90" y="10"/>
                      </a:cubicBezTo>
                      <a:cubicBezTo>
                        <a:pt x="96" y="14"/>
                        <a:pt x="96" y="14"/>
                        <a:pt x="96" y="14"/>
                      </a:cubicBezTo>
                      <a:cubicBezTo>
                        <a:pt x="95" y="8"/>
                        <a:pt x="95" y="8"/>
                        <a:pt x="95" y="8"/>
                      </a:cubicBezTo>
                      <a:cubicBezTo>
                        <a:pt x="96" y="4"/>
                        <a:pt x="96" y="4"/>
                        <a:pt x="96" y="4"/>
                      </a:cubicBezTo>
                      <a:cubicBezTo>
                        <a:pt x="100" y="2"/>
                        <a:pt x="100" y="2"/>
                        <a:pt x="100" y="2"/>
                      </a:cubicBezTo>
                      <a:cubicBezTo>
                        <a:pt x="101" y="2"/>
                        <a:pt x="101" y="2"/>
                        <a:pt x="101" y="2"/>
                      </a:cubicBezTo>
                      <a:cubicBezTo>
                        <a:pt x="101" y="2"/>
                        <a:pt x="101" y="2"/>
                        <a:pt x="101" y="2"/>
                      </a:cubicBezTo>
                      <a:cubicBezTo>
                        <a:pt x="105" y="0"/>
                        <a:pt x="105" y="0"/>
                        <a:pt x="105" y="0"/>
                      </a:cubicBezTo>
                      <a:cubicBezTo>
                        <a:pt x="107" y="2"/>
                        <a:pt x="107" y="2"/>
                        <a:pt x="107" y="2"/>
                      </a:cubicBezTo>
                      <a:cubicBezTo>
                        <a:pt x="108" y="4"/>
                        <a:pt x="108" y="4"/>
                        <a:pt x="108" y="4"/>
                      </a:cubicBezTo>
                      <a:cubicBezTo>
                        <a:pt x="108" y="4"/>
                        <a:pt x="108" y="4"/>
                        <a:pt x="108" y="4"/>
                      </a:cubicBezTo>
                      <a:cubicBezTo>
                        <a:pt x="108" y="4"/>
                        <a:pt x="108" y="4"/>
                        <a:pt x="108" y="5"/>
                      </a:cubicBezTo>
                      <a:cubicBezTo>
                        <a:pt x="108" y="5"/>
                        <a:pt x="108" y="5"/>
                        <a:pt x="108" y="5"/>
                      </a:cubicBezTo>
                      <a:cubicBezTo>
                        <a:pt x="108" y="6"/>
                        <a:pt x="108" y="6"/>
                        <a:pt x="108" y="6"/>
                      </a:cubicBezTo>
                      <a:cubicBezTo>
                        <a:pt x="109" y="7"/>
                        <a:pt x="109" y="7"/>
                        <a:pt x="109" y="7"/>
                      </a:cubicBezTo>
                      <a:cubicBezTo>
                        <a:pt x="110" y="8"/>
                        <a:pt x="110" y="8"/>
                        <a:pt x="110" y="8"/>
                      </a:cubicBezTo>
                      <a:cubicBezTo>
                        <a:pt x="110" y="8"/>
                        <a:pt x="110" y="8"/>
                        <a:pt x="110" y="8"/>
                      </a:cubicBezTo>
                      <a:cubicBezTo>
                        <a:pt x="111" y="10"/>
                        <a:pt x="111" y="10"/>
                        <a:pt x="111" y="10"/>
                      </a:cubicBezTo>
                      <a:cubicBezTo>
                        <a:pt x="111" y="12"/>
                        <a:pt x="111" y="12"/>
                        <a:pt x="111" y="12"/>
                      </a:cubicBezTo>
                      <a:cubicBezTo>
                        <a:pt x="117" y="19"/>
                        <a:pt x="117" y="19"/>
                        <a:pt x="117" y="19"/>
                      </a:cubicBezTo>
                      <a:cubicBezTo>
                        <a:pt x="117" y="19"/>
                        <a:pt x="115" y="19"/>
                        <a:pt x="115" y="19"/>
                      </a:cubicBezTo>
                      <a:cubicBezTo>
                        <a:pt x="114" y="19"/>
                        <a:pt x="112" y="19"/>
                        <a:pt x="112" y="19"/>
                      </a:cubicBezTo>
                      <a:cubicBezTo>
                        <a:pt x="112" y="19"/>
                        <a:pt x="111" y="20"/>
                        <a:pt x="110" y="20"/>
                      </a:cubicBezTo>
                      <a:cubicBezTo>
                        <a:pt x="110" y="20"/>
                        <a:pt x="109" y="22"/>
                        <a:pt x="109" y="22"/>
                      </a:cubicBezTo>
                      <a:cubicBezTo>
                        <a:pt x="108" y="23"/>
                        <a:pt x="108" y="23"/>
                        <a:pt x="108" y="23"/>
                      </a:cubicBezTo>
                      <a:cubicBezTo>
                        <a:pt x="109" y="24"/>
                        <a:pt x="109" y="24"/>
                        <a:pt x="109" y="24"/>
                      </a:cubicBezTo>
                      <a:cubicBezTo>
                        <a:pt x="111" y="28"/>
                        <a:pt x="112" y="28"/>
                        <a:pt x="107" y="27"/>
                      </a:cubicBezTo>
                      <a:cubicBezTo>
                        <a:pt x="105" y="26"/>
                        <a:pt x="105" y="26"/>
                        <a:pt x="105" y="26"/>
                      </a:cubicBezTo>
                      <a:cubicBezTo>
                        <a:pt x="104" y="27"/>
                        <a:pt x="104" y="27"/>
                        <a:pt x="104" y="27"/>
                      </a:cubicBezTo>
                      <a:cubicBezTo>
                        <a:pt x="102" y="28"/>
                        <a:pt x="102" y="28"/>
                        <a:pt x="102" y="28"/>
                      </a:cubicBezTo>
                      <a:cubicBezTo>
                        <a:pt x="102" y="28"/>
                        <a:pt x="102" y="28"/>
                        <a:pt x="102" y="28"/>
                      </a:cubicBezTo>
                      <a:cubicBezTo>
                        <a:pt x="102" y="28"/>
                        <a:pt x="102" y="30"/>
                        <a:pt x="102" y="30"/>
                      </a:cubicBezTo>
                      <a:cubicBezTo>
                        <a:pt x="101" y="32"/>
                        <a:pt x="101" y="32"/>
                        <a:pt x="101" y="32"/>
                      </a:cubicBezTo>
                      <a:cubicBezTo>
                        <a:pt x="99" y="33"/>
                        <a:pt x="99" y="33"/>
                        <a:pt x="99" y="33"/>
                      </a:cubicBezTo>
                      <a:cubicBezTo>
                        <a:pt x="97" y="34"/>
                        <a:pt x="97" y="34"/>
                        <a:pt x="97" y="34"/>
                      </a:cubicBezTo>
                      <a:cubicBezTo>
                        <a:pt x="96" y="35"/>
                        <a:pt x="96" y="35"/>
                        <a:pt x="96" y="35"/>
                      </a:cubicBezTo>
                      <a:cubicBezTo>
                        <a:pt x="94" y="35"/>
                        <a:pt x="94" y="35"/>
                        <a:pt x="94" y="35"/>
                      </a:cubicBezTo>
                      <a:cubicBezTo>
                        <a:pt x="92" y="36"/>
                        <a:pt x="92" y="36"/>
                        <a:pt x="92" y="36"/>
                      </a:cubicBezTo>
                      <a:cubicBezTo>
                        <a:pt x="91" y="38"/>
                        <a:pt x="91" y="38"/>
                        <a:pt x="91" y="38"/>
                      </a:cubicBezTo>
                      <a:cubicBezTo>
                        <a:pt x="91" y="38"/>
                        <a:pt x="89" y="38"/>
                        <a:pt x="89" y="38"/>
                      </a:cubicBezTo>
                      <a:cubicBezTo>
                        <a:pt x="89" y="38"/>
                        <a:pt x="86" y="39"/>
                        <a:pt x="86" y="39"/>
                      </a:cubicBezTo>
                      <a:cubicBezTo>
                        <a:pt x="86" y="41"/>
                        <a:pt x="86" y="41"/>
                        <a:pt x="86" y="41"/>
                      </a:cubicBezTo>
                      <a:cubicBezTo>
                        <a:pt x="86" y="41"/>
                        <a:pt x="85" y="42"/>
                        <a:pt x="85" y="42"/>
                      </a:cubicBezTo>
                      <a:cubicBezTo>
                        <a:pt x="85" y="42"/>
                        <a:pt x="85" y="45"/>
                        <a:pt x="85" y="45"/>
                      </a:cubicBezTo>
                      <a:cubicBezTo>
                        <a:pt x="85" y="45"/>
                        <a:pt x="87" y="46"/>
                        <a:pt x="87" y="46"/>
                      </a:cubicBezTo>
                      <a:cubicBezTo>
                        <a:pt x="88" y="47"/>
                        <a:pt x="88" y="47"/>
                        <a:pt x="88" y="47"/>
                      </a:cubicBezTo>
                      <a:cubicBezTo>
                        <a:pt x="89" y="48"/>
                        <a:pt x="89" y="48"/>
                        <a:pt x="89" y="48"/>
                      </a:cubicBezTo>
                      <a:cubicBezTo>
                        <a:pt x="89" y="48"/>
                        <a:pt x="90" y="49"/>
                        <a:pt x="90" y="49"/>
                      </a:cubicBezTo>
                      <a:cubicBezTo>
                        <a:pt x="89" y="49"/>
                        <a:pt x="89" y="52"/>
                        <a:pt x="89" y="52"/>
                      </a:cubicBezTo>
                      <a:cubicBezTo>
                        <a:pt x="90" y="55"/>
                        <a:pt x="90" y="55"/>
                        <a:pt x="90" y="55"/>
                      </a:cubicBezTo>
                      <a:cubicBezTo>
                        <a:pt x="89" y="56"/>
                        <a:pt x="89" y="56"/>
                        <a:pt x="89" y="56"/>
                      </a:cubicBezTo>
                      <a:cubicBezTo>
                        <a:pt x="90" y="58"/>
                        <a:pt x="90" y="58"/>
                        <a:pt x="90" y="58"/>
                      </a:cubicBezTo>
                      <a:cubicBezTo>
                        <a:pt x="90" y="58"/>
                        <a:pt x="91" y="58"/>
                        <a:pt x="90" y="59"/>
                      </a:cubicBezTo>
                      <a:cubicBezTo>
                        <a:pt x="89" y="59"/>
                        <a:pt x="88" y="60"/>
                        <a:pt x="88" y="60"/>
                      </a:cubicBezTo>
                      <a:cubicBezTo>
                        <a:pt x="88" y="60"/>
                        <a:pt x="86" y="60"/>
                        <a:pt x="86" y="60"/>
                      </a:cubicBezTo>
                      <a:cubicBezTo>
                        <a:pt x="86" y="60"/>
                        <a:pt x="84" y="60"/>
                        <a:pt x="84" y="60"/>
                      </a:cubicBezTo>
                      <a:cubicBezTo>
                        <a:pt x="83" y="62"/>
                        <a:pt x="83" y="62"/>
                        <a:pt x="83" y="62"/>
                      </a:cubicBezTo>
                      <a:cubicBezTo>
                        <a:pt x="81" y="61"/>
                        <a:pt x="81" y="61"/>
                        <a:pt x="81" y="61"/>
                      </a:cubicBezTo>
                      <a:cubicBezTo>
                        <a:pt x="81" y="63"/>
                        <a:pt x="81" y="63"/>
                        <a:pt x="81" y="63"/>
                      </a:cubicBezTo>
                      <a:cubicBezTo>
                        <a:pt x="78" y="64"/>
                        <a:pt x="78" y="64"/>
                        <a:pt x="78" y="64"/>
                      </a:cubicBezTo>
                      <a:cubicBezTo>
                        <a:pt x="76" y="65"/>
                        <a:pt x="76" y="65"/>
                        <a:pt x="76" y="65"/>
                      </a:cubicBezTo>
                      <a:cubicBezTo>
                        <a:pt x="75" y="67"/>
                        <a:pt x="75" y="67"/>
                        <a:pt x="75" y="67"/>
                      </a:cubicBezTo>
                      <a:cubicBezTo>
                        <a:pt x="76" y="68"/>
                        <a:pt x="76" y="68"/>
                        <a:pt x="76" y="68"/>
                      </a:cubicBezTo>
                      <a:cubicBezTo>
                        <a:pt x="76" y="68"/>
                        <a:pt x="77" y="69"/>
                        <a:pt x="77" y="68"/>
                      </a:cubicBezTo>
                      <a:cubicBezTo>
                        <a:pt x="77" y="68"/>
                        <a:pt x="77" y="67"/>
                        <a:pt x="77" y="67"/>
                      </a:cubicBezTo>
                      <a:cubicBezTo>
                        <a:pt x="78" y="68"/>
                        <a:pt x="79" y="69"/>
                        <a:pt x="79" y="69"/>
                      </a:cubicBezTo>
                      <a:cubicBezTo>
                        <a:pt x="80" y="71"/>
                        <a:pt x="80" y="71"/>
                        <a:pt x="80" y="71"/>
                      </a:cubicBezTo>
                      <a:cubicBezTo>
                        <a:pt x="80" y="71"/>
                        <a:pt x="78" y="71"/>
                        <a:pt x="78" y="71"/>
                      </a:cubicBezTo>
                      <a:cubicBezTo>
                        <a:pt x="78" y="71"/>
                        <a:pt x="77" y="72"/>
                        <a:pt x="77" y="72"/>
                      </a:cubicBezTo>
                      <a:cubicBezTo>
                        <a:pt x="76" y="73"/>
                        <a:pt x="76" y="73"/>
                        <a:pt x="76" y="73"/>
                      </a:cubicBezTo>
                      <a:cubicBezTo>
                        <a:pt x="76" y="74"/>
                        <a:pt x="76" y="74"/>
                        <a:pt x="76" y="75"/>
                      </a:cubicBezTo>
                      <a:cubicBezTo>
                        <a:pt x="76" y="75"/>
                        <a:pt x="76" y="76"/>
                        <a:pt x="76" y="76"/>
                      </a:cubicBezTo>
                      <a:cubicBezTo>
                        <a:pt x="77" y="76"/>
                        <a:pt x="78" y="78"/>
                        <a:pt x="78" y="78"/>
                      </a:cubicBezTo>
                      <a:cubicBezTo>
                        <a:pt x="78" y="78"/>
                        <a:pt x="79" y="79"/>
                        <a:pt x="79" y="79"/>
                      </a:cubicBezTo>
                      <a:cubicBezTo>
                        <a:pt x="79" y="79"/>
                        <a:pt x="79" y="80"/>
                        <a:pt x="79" y="80"/>
                      </a:cubicBezTo>
                      <a:cubicBezTo>
                        <a:pt x="79" y="80"/>
                        <a:pt x="78" y="81"/>
                        <a:pt x="77" y="81"/>
                      </a:cubicBezTo>
                      <a:cubicBezTo>
                        <a:pt x="77" y="81"/>
                        <a:pt x="75" y="81"/>
                        <a:pt x="75" y="81"/>
                      </a:cubicBezTo>
                      <a:cubicBezTo>
                        <a:pt x="75" y="81"/>
                        <a:pt x="74" y="83"/>
                        <a:pt x="74" y="83"/>
                      </a:cubicBezTo>
                      <a:cubicBezTo>
                        <a:pt x="74" y="83"/>
                        <a:pt x="73" y="83"/>
                        <a:pt x="72" y="83"/>
                      </a:cubicBezTo>
                      <a:cubicBezTo>
                        <a:pt x="72" y="83"/>
                        <a:pt x="74" y="84"/>
                        <a:pt x="72" y="83"/>
                      </a:cubicBezTo>
                      <a:cubicBezTo>
                        <a:pt x="69" y="82"/>
                        <a:pt x="69" y="81"/>
                        <a:pt x="69" y="81"/>
                      </a:cubicBezTo>
                      <a:cubicBezTo>
                        <a:pt x="69" y="81"/>
                        <a:pt x="68" y="80"/>
                        <a:pt x="68" y="80"/>
                      </a:cubicBezTo>
                      <a:cubicBezTo>
                        <a:pt x="67" y="80"/>
                        <a:pt x="66" y="80"/>
                        <a:pt x="66" y="80"/>
                      </a:cubicBezTo>
                      <a:cubicBezTo>
                        <a:pt x="64" y="80"/>
                        <a:pt x="64" y="80"/>
                        <a:pt x="64" y="80"/>
                      </a:cubicBezTo>
                      <a:cubicBezTo>
                        <a:pt x="63" y="79"/>
                        <a:pt x="63" y="79"/>
                        <a:pt x="63" y="79"/>
                      </a:cubicBezTo>
                      <a:cubicBezTo>
                        <a:pt x="62" y="81"/>
                        <a:pt x="62" y="81"/>
                        <a:pt x="62" y="81"/>
                      </a:cubicBezTo>
                      <a:cubicBezTo>
                        <a:pt x="62" y="81"/>
                        <a:pt x="62" y="82"/>
                        <a:pt x="61" y="82"/>
                      </a:cubicBezTo>
                      <a:cubicBezTo>
                        <a:pt x="60" y="83"/>
                        <a:pt x="61" y="83"/>
                        <a:pt x="60" y="83"/>
                      </a:cubicBezTo>
                      <a:cubicBezTo>
                        <a:pt x="58" y="83"/>
                        <a:pt x="57" y="81"/>
                        <a:pt x="57" y="81"/>
                      </a:cubicBezTo>
                      <a:cubicBezTo>
                        <a:pt x="57" y="81"/>
                        <a:pt x="55" y="80"/>
                        <a:pt x="55" y="80"/>
                      </a:cubicBezTo>
                      <a:cubicBezTo>
                        <a:pt x="54" y="79"/>
                        <a:pt x="54" y="79"/>
                        <a:pt x="54" y="79"/>
                      </a:cubicBezTo>
                      <a:cubicBezTo>
                        <a:pt x="53" y="79"/>
                        <a:pt x="53" y="80"/>
                        <a:pt x="53" y="78"/>
                      </a:cubicBezTo>
                      <a:cubicBezTo>
                        <a:pt x="53" y="77"/>
                        <a:pt x="53" y="77"/>
                        <a:pt x="53" y="77"/>
                      </a:cubicBezTo>
                      <a:cubicBezTo>
                        <a:pt x="52" y="76"/>
                        <a:pt x="52" y="77"/>
                        <a:pt x="51" y="76"/>
                      </a:cubicBezTo>
                      <a:cubicBezTo>
                        <a:pt x="51" y="75"/>
                        <a:pt x="50" y="74"/>
                        <a:pt x="50" y="74"/>
                      </a:cubicBezTo>
                      <a:cubicBezTo>
                        <a:pt x="49" y="72"/>
                        <a:pt x="49" y="72"/>
                        <a:pt x="49" y="72"/>
                      </a:cubicBezTo>
                      <a:cubicBezTo>
                        <a:pt x="49" y="72"/>
                        <a:pt x="49" y="72"/>
                        <a:pt x="49" y="73"/>
                      </a:cubicBezTo>
                      <a:cubicBezTo>
                        <a:pt x="48" y="74"/>
                        <a:pt x="47" y="74"/>
                        <a:pt x="47" y="74"/>
                      </a:cubicBezTo>
                      <a:cubicBezTo>
                        <a:pt x="47" y="75"/>
                        <a:pt x="46" y="76"/>
                        <a:pt x="46" y="76"/>
                      </a:cubicBezTo>
                      <a:cubicBezTo>
                        <a:pt x="46" y="76"/>
                        <a:pt x="45" y="77"/>
                        <a:pt x="45" y="78"/>
                      </a:cubicBezTo>
                      <a:cubicBezTo>
                        <a:pt x="46" y="78"/>
                        <a:pt x="46" y="78"/>
                        <a:pt x="46" y="79"/>
                      </a:cubicBezTo>
                      <a:cubicBezTo>
                        <a:pt x="46" y="79"/>
                        <a:pt x="45" y="80"/>
                        <a:pt x="45" y="80"/>
                      </a:cubicBezTo>
                      <a:cubicBezTo>
                        <a:pt x="44" y="81"/>
                        <a:pt x="44" y="81"/>
                        <a:pt x="43" y="81"/>
                      </a:cubicBezTo>
                      <a:cubicBezTo>
                        <a:pt x="43" y="82"/>
                        <a:pt x="41" y="83"/>
                        <a:pt x="41" y="83"/>
                      </a:cubicBezTo>
                      <a:cubicBezTo>
                        <a:pt x="39" y="83"/>
                        <a:pt x="39" y="83"/>
                        <a:pt x="39" y="83"/>
                      </a:cubicBezTo>
                      <a:cubicBezTo>
                        <a:pt x="36" y="82"/>
                        <a:pt x="36" y="82"/>
                        <a:pt x="36" y="82"/>
                      </a:cubicBezTo>
                      <a:cubicBezTo>
                        <a:pt x="34" y="84"/>
                        <a:pt x="34" y="84"/>
                        <a:pt x="34" y="84"/>
                      </a:cubicBezTo>
                      <a:cubicBezTo>
                        <a:pt x="34" y="84"/>
                        <a:pt x="33" y="84"/>
                        <a:pt x="33" y="84"/>
                      </a:cubicBezTo>
                      <a:cubicBezTo>
                        <a:pt x="32" y="84"/>
                        <a:pt x="31" y="84"/>
                        <a:pt x="31" y="84"/>
                      </a:cubicBezTo>
                      <a:cubicBezTo>
                        <a:pt x="31" y="84"/>
                        <a:pt x="30" y="83"/>
                        <a:pt x="29" y="83"/>
                      </a:cubicBezTo>
                      <a:cubicBezTo>
                        <a:pt x="29" y="83"/>
                        <a:pt x="28" y="83"/>
                        <a:pt x="28" y="83"/>
                      </a:cubicBezTo>
                      <a:cubicBezTo>
                        <a:pt x="27" y="83"/>
                        <a:pt x="26" y="83"/>
                        <a:pt x="26" y="83"/>
                      </a:cubicBezTo>
                      <a:cubicBezTo>
                        <a:pt x="26" y="84"/>
                        <a:pt x="26" y="84"/>
                        <a:pt x="26" y="84"/>
                      </a:cubicBezTo>
                      <a:cubicBezTo>
                        <a:pt x="26" y="84"/>
                        <a:pt x="27" y="84"/>
                        <a:pt x="27" y="84"/>
                      </a:cubicBezTo>
                      <a:cubicBezTo>
                        <a:pt x="27" y="85"/>
                        <a:pt x="27" y="86"/>
                        <a:pt x="27" y="86"/>
                      </a:cubicBezTo>
                      <a:cubicBezTo>
                        <a:pt x="27" y="86"/>
                        <a:pt x="26" y="86"/>
                        <a:pt x="26" y="86"/>
                      </a:cubicBezTo>
                      <a:cubicBezTo>
                        <a:pt x="26" y="87"/>
                        <a:pt x="24" y="87"/>
                        <a:pt x="24" y="87"/>
                      </a:cubicBezTo>
                      <a:cubicBezTo>
                        <a:pt x="24" y="87"/>
                        <a:pt x="24" y="88"/>
                        <a:pt x="24" y="88"/>
                      </a:cubicBezTo>
                      <a:cubicBezTo>
                        <a:pt x="24" y="88"/>
                        <a:pt x="24" y="88"/>
                        <a:pt x="23" y="88"/>
                      </a:cubicBezTo>
                      <a:cubicBezTo>
                        <a:pt x="22" y="88"/>
                        <a:pt x="22" y="88"/>
                        <a:pt x="21" y="88"/>
                      </a:cubicBezTo>
                      <a:cubicBezTo>
                        <a:pt x="21" y="87"/>
                        <a:pt x="20" y="87"/>
                        <a:pt x="19" y="87"/>
                      </a:cubicBezTo>
                      <a:cubicBezTo>
                        <a:pt x="19" y="87"/>
                        <a:pt x="16" y="86"/>
                        <a:pt x="16" y="86"/>
                      </a:cubicBezTo>
                      <a:cubicBezTo>
                        <a:pt x="16" y="86"/>
                        <a:pt x="15" y="87"/>
                        <a:pt x="15" y="87"/>
                      </a:cubicBezTo>
                      <a:cubicBezTo>
                        <a:pt x="14" y="87"/>
                        <a:pt x="13" y="87"/>
                        <a:pt x="12" y="86"/>
                      </a:cubicBezTo>
                      <a:cubicBezTo>
                        <a:pt x="12" y="86"/>
                        <a:pt x="11" y="86"/>
                        <a:pt x="11" y="86"/>
                      </a:cubicBezTo>
                      <a:cubicBezTo>
                        <a:pt x="11" y="85"/>
                        <a:pt x="11" y="84"/>
                        <a:pt x="11" y="84"/>
                      </a:cubicBezTo>
                      <a:cubicBezTo>
                        <a:pt x="11" y="84"/>
                        <a:pt x="10" y="83"/>
                        <a:pt x="11" y="83"/>
                      </a:cubicBezTo>
                      <a:cubicBezTo>
                        <a:pt x="11" y="83"/>
                        <a:pt x="12" y="83"/>
                        <a:pt x="13" y="83"/>
                      </a:cubicBezTo>
                      <a:cubicBezTo>
                        <a:pt x="14" y="83"/>
                        <a:pt x="15" y="83"/>
                        <a:pt x="15" y="82"/>
                      </a:cubicBezTo>
                      <a:cubicBezTo>
                        <a:pt x="15" y="82"/>
                        <a:pt x="15" y="82"/>
                        <a:pt x="16" y="82"/>
                      </a:cubicBezTo>
                      <a:cubicBezTo>
                        <a:pt x="16" y="82"/>
                        <a:pt x="17" y="83"/>
                        <a:pt x="17" y="82"/>
                      </a:cubicBezTo>
                      <a:cubicBezTo>
                        <a:pt x="17" y="81"/>
                        <a:pt x="17" y="81"/>
                        <a:pt x="17" y="81"/>
                      </a:cubicBezTo>
                      <a:cubicBezTo>
                        <a:pt x="16" y="80"/>
                        <a:pt x="16" y="80"/>
                        <a:pt x="16" y="80"/>
                      </a:cubicBezTo>
                      <a:cubicBezTo>
                        <a:pt x="16" y="80"/>
                        <a:pt x="17" y="79"/>
                        <a:pt x="17" y="79"/>
                      </a:cubicBezTo>
                      <a:cubicBezTo>
                        <a:pt x="18" y="79"/>
                        <a:pt x="19" y="79"/>
                        <a:pt x="19" y="79"/>
                      </a:cubicBezTo>
                      <a:cubicBezTo>
                        <a:pt x="20" y="79"/>
                        <a:pt x="21" y="79"/>
                        <a:pt x="21" y="79"/>
                      </a:cubicBezTo>
                      <a:cubicBezTo>
                        <a:pt x="21" y="79"/>
                        <a:pt x="21" y="79"/>
                        <a:pt x="22" y="78"/>
                      </a:cubicBezTo>
                      <a:cubicBezTo>
                        <a:pt x="22" y="78"/>
                        <a:pt x="18" y="78"/>
                        <a:pt x="17" y="77"/>
                      </a:cubicBezTo>
                      <a:cubicBezTo>
                        <a:pt x="15" y="75"/>
                        <a:pt x="13" y="74"/>
                        <a:pt x="13" y="70"/>
                      </a:cubicBezTo>
                      <a:cubicBezTo>
                        <a:pt x="12" y="70"/>
                        <a:pt x="12" y="68"/>
                        <a:pt x="11" y="68"/>
                      </a:cubicBezTo>
                      <a:cubicBezTo>
                        <a:pt x="11" y="68"/>
                        <a:pt x="9" y="67"/>
                        <a:pt x="9" y="67"/>
                      </a:cubicBezTo>
                      <a:cubicBezTo>
                        <a:pt x="9" y="66"/>
                        <a:pt x="9" y="66"/>
                        <a:pt x="10" y="65"/>
                      </a:cubicBezTo>
                      <a:cubicBezTo>
                        <a:pt x="10" y="64"/>
                        <a:pt x="10" y="64"/>
                        <a:pt x="11" y="63"/>
                      </a:cubicBezTo>
                      <a:cubicBezTo>
                        <a:pt x="11" y="63"/>
                        <a:pt x="11" y="61"/>
                        <a:pt x="11" y="61"/>
                      </a:cubicBezTo>
                      <a:cubicBezTo>
                        <a:pt x="11" y="61"/>
                        <a:pt x="12" y="60"/>
                        <a:pt x="11" y="60"/>
                      </a:cubicBezTo>
                      <a:cubicBezTo>
                        <a:pt x="11" y="59"/>
                        <a:pt x="10" y="58"/>
                        <a:pt x="10" y="58"/>
                      </a:cubicBezTo>
                      <a:cubicBezTo>
                        <a:pt x="10" y="58"/>
                        <a:pt x="10" y="58"/>
                        <a:pt x="9" y="58"/>
                      </a:cubicBezTo>
                      <a:cubicBezTo>
                        <a:pt x="9" y="59"/>
                        <a:pt x="9" y="59"/>
                        <a:pt x="9" y="59"/>
                      </a:cubicBezTo>
                      <a:cubicBezTo>
                        <a:pt x="7" y="60"/>
                        <a:pt x="7" y="60"/>
                        <a:pt x="7" y="60"/>
                      </a:cubicBezTo>
                      <a:cubicBezTo>
                        <a:pt x="7" y="60"/>
                        <a:pt x="6" y="58"/>
                        <a:pt x="6" y="58"/>
                      </a:cubicBezTo>
                      <a:cubicBezTo>
                        <a:pt x="5" y="58"/>
                        <a:pt x="5" y="58"/>
                        <a:pt x="5" y="57"/>
                      </a:cubicBezTo>
                      <a:cubicBezTo>
                        <a:pt x="5" y="57"/>
                        <a:pt x="6" y="56"/>
                        <a:pt x="6" y="56"/>
                      </a:cubicBezTo>
                      <a:cubicBezTo>
                        <a:pt x="6" y="56"/>
                        <a:pt x="5" y="55"/>
                        <a:pt x="5" y="55"/>
                      </a:cubicBezTo>
                      <a:cubicBezTo>
                        <a:pt x="5" y="55"/>
                        <a:pt x="6" y="53"/>
                        <a:pt x="7" y="53"/>
                      </a:cubicBezTo>
                      <a:cubicBezTo>
                        <a:pt x="8" y="52"/>
                        <a:pt x="10" y="50"/>
                        <a:pt x="10" y="50"/>
                      </a:cubicBezTo>
                      <a:cubicBezTo>
                        <a:pt x="11" y="48"/>
                        <a:pt x="11" y="48"/>
                        <a:pt x="11" y="48"/>
                      </a:cubicBezTo>
                      <a:cubicBezTo>
                        <a:pt x="10" y="47"/>
                        <a:pt x="10" y="47"/>
                        <a:pt x="10" y="47"/>
                      </a:cubicBezTo>
                      <a:cubicBezTo>
                        <a:pt x="10" y="47"/>
                        <a:pt x="9" y="48"/>
                        <a:pt x="9" y="48"/>
                      </a:cubicBezTo>
                      <a:close/>
                    </a:path>
                  </a:pathLst>
                </a:custGeom>
                <a:solidFill>
                  <a:srgbClr val="E6EFF1"/>
                </a:solidFill>
                <a:ln w="12700" cap="rnd" cmpd="sng">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Lato Light"/>
                  </a:endParaRPr>
                </a:p>
              </p:txBody>
            </p:sp>
            <p:sp>
              <p:nvSpPr>
                <p:cNvPr id="14" name="Freeform 197">
                  <a:extLst>
                    <a:ext uri="{FF2B5EF4-FFF2-40B4-BE49-F238E27FC236}">
                      <a16:creationId xmlns:a16="http://schemas.microsoft.com/office/drawing/2014/main" id="{A5FBA94E-A38C-B9DF-C8FF-1682B1E6E119}"/>
                    </a:ext>
                  </a:extLst>
                </p:cNvPr>
                <p:cNvSpPr>
                  <a:spLocks noEditPoints="1"/>
                </p:cNvSpPr>
                <p:nvPr/>
              </p:nvSpPr>
              <p:spPr bwMode="auto">
                <a:xfrm>
                  <a:off x="4325269" y="4575516"/>
                  <a:ext cx="654317" cy="589802"/>
                </a:xfrm>
                <a:custGeom>
                  <a:avLst/>
                  <a:gdLst>
                    <a:gd name="T0" fmla="*/ 216 w 227"/>
                    <a:gd name="T1" fmla="*/ 62 h 211"/>
                    <a:gd name="T2" fmla="*/ 209 w 227"/>
                    <a:gd name="T3" fmla="*/ 47 h 211"/>
                    <a:gd name="T4" fmla="*/ 183 w 227"/>
                    <a:gd name="T5" fmla="*/ 33 h 211"/>
                    <a:gd name="T6" fmla="*/ 141 w 227"/>
                    <a:gd name="T7" fmla="*/ 25 h 211"/>
                    <a:gd name="T8" fmla="*/ 102 w 227"/>
                    <a:gd name="T9" fmla="*/ 1 h 211"/>
                    <a:gd name="T10" fmla="*/ 84 w 227"/>
                    <a:gd name="T11" fmla="*/ 17 h 211"/>
                    <a:gd name="T12" fmla="*/ 82 w 227"/>
                    <a:gd name="T13" fmla="*/ 40 h 211"/>
                    <a:gd name="T14" fmla="*/ 70 w 227"/>
                    <a:gd name="T15" fmla="*/ 52 h 211"/>
                    <a:gd name="T16" fmla="*/ 58 w 227"/>
                    <a:gd name="T17" fmla="*/ 61 h 211"/>
                    <a:gd name="T18" fmla="*/ 39 w 227"/>
                    <a:gd name="T19" fmla="*/ 55 h 211"/>
                    <a:gd name="T20" fmla="*/ 18 w 227"/>
                    <a:gd name="T21" fmla="*/ 65 h 211"/>
                    <a:gd name="T22" fmla="*/ 3 w 227"/>
                    <a:gd name="T23" fmla="*/ 67 h 211"/>
                    <a:gd name="T24" fmla="*/ 3 w 227"/>
                    <a:gd name="T25" fmla="*/ 66 h 211"/>
                    <a:gd name="T26" fmla="*/ 3 w 227"/>
                    <a:gd name="T27" fmla="*/ 66 h 211"/>
                    <a:gd name="T28" fmla="*/ 4 w 227"/>
                    <a:gd name="T29" fmla="*/ 77 h 211"/>
                    <a:gd name="T30" fmla="*/ 17 w 227"/>
                    <a:gd name="T31" fmla="*/ 102 h 211"/>
                    <a:gd name="T32" fmla="*/ 30 w 227"/>
                    <a:gd name="T33" fmla="*/ 77 h 211"/>
                    <a:gd name="T34" fmla="*/ 51 w 227"/>
                    <a:gd name="T35" fmla="*/ 92 h 211"/>
                    <a:gd name="T36" fmla="*/ 64 w 227"/>
                    <a:gd name="T37" fmla="*/ 115 h 211"/>
                    <a:gd name="T38" fmla="*/ 53 w 227"/>
                    <a:gd name="T39" fmla="*/ 108 h 211"/>
                    <a:gd name="T40" fmla="*/ 65 w 227"/>
                    <a:gd name="T41" fmla="*/ 124 h 211"/>
                    <a:gd name="T42" fmla="*/ 73 w 227"/>
                    <a:gd name="T43" fmla="*/ 138 h 211"/>
                    <a:gd name="T44" fmla="*/ 72 w 227"/>
                    <a:gd name="T45" fmla="*/ 145 h 211"/>
                    <a:gd name="T46" fmla="*/ 58 w 227"/>
                    <a:gd name="T47" fmla="*/ 130 h 211"/>
                    <a:gd name="T48" fmla="*/ 61 w 227"/>
                    <a:gd name="T49" fmla="*/ 136 h 211"/>
                    <a:gd name="T50" fmla="*/ 76 w 227"/>
                    <a:gd name="T51" fmla="*/ 153 h 211"/>
                    <a:gd name="T52" fmla="*/ 74 w 227"/>
                    <a:gd name="T53" fmla="*/ 146 h 211"/>
                    <a:gd name="T54" fmla="*/ 89 w 227"/>
                    <a:gd name="T55" fmla="*/ 156 h 211"/>
                    <a:gd name="T56" fmla="*/ 99 w 227"/>
                    <a:gd name="T57" fmla="*/ 157 h 211"/>
                    <a:gd name="T58" fmla="*/ 126 w 227"/>
                    <a:gd name="T59" fmla="*/ 164 h 211"/>
                    <a:gd name="T60" fmla="*/ 160 w 227"/>
                    <a:gd name="T61" fmla="*/ 187 h 211"/>
                    <a:gd name="T62" fmla="*/ 140 w 227"/>
                    <a:gd name="T63" fmla="*/ 190 h 211"/>
                    <a:gd name="T64" fmla="*/ 184 w 227"/>
                    <a:gd name="T65" fmla="*/ 200 h 211"/>
                    <a:gd name="T66" fmla="*/ 171 w 227"/>
                    <a:gd name="T67" fmla="*/ 185 h 211"/>
                    <a:gd name="T68" fmla="*/ 153 w 227"/>
                    <a:gd name="T69" fmla="*/ 162 h 211"/>
                    <a:gd name="T70" fmla="*/ 118 w 227"/>
                    <a:gd name="T71" fmla="*/ 135 h 211"/>
                    <a:gd name="T72" fmla="*/ 100 w 227"/>
                    <a:gd name="T73" fmla="*/ 105 h 211"/>
                    <a:gd name="T74" fmla="*/ 88 w 227"/>
                    <a:gd name="T75" fmla="*/ 76 h 211"/>
                    <a:gd name="T76" fmla="*/ 121 w 227"/>
                    <a:gd name="T77" fmla="*/ 70 h 211"/>
                    <a:gd name="T78" fmla="*/ 160 w 227"/>
                    <a:gd name="T79" fmla="*/ 71 h 211"/>
                    <a:gd name="T80" fmla="*/ 189 w 227"/>
                    <a:gd name="T81" fmla="*/ 70 h 211"/>
                    <a:gd name="T82" fmla="*/ 179 w 227"/>
                    <a:gd name="T83" fmla="*/ 190 h 211"/>
                    <a:gd name="T84" fmla="*/ 192 w 227"/>
                    <a:gd name="T85" fmla="*/ 201 h 211"/>
                    <a:gd name="T86" fmla="*/ 159 w 227"/>
                    <a:gd name="T87" fmla="*/ 195 h 211"/>
                    <a:gd name="T88" fmla="*/ 144 w 227"/>
                    <a:gd name="T89" fmla="*/ 199 h 211"/>
                    <a:gd name="T90" fmla="*/ 115 w 227"/>
                    <a:gd name="T91" fmla="*/ 191 h 211"/>
                    <a:gd name="T92" fmla="*/ 136 w 227"/>
                    <a:gd name="T93" fmla="*/ 178 h 211"/>
                    <a:gd name="T94" fmla="*/ 144 w 227"/>
                    <a:gd name="T95" fmla="*/ 180 h 211"/>
                    <a:gd name="T96" fmla="*/ 123 w 227"/>
                    <a:gd name="T97" fmla="*/ 178 h 211"/>
                    <a:gd name="T98" fmla="*/ 129 w 227"/>
                    <a:gd name="T99" fmla="*/ 168 h 211"/>
                    <a:gd name="T100" fmla="*/ 51 w 227"/>
                    <a:gd name="T101" fmla="*/ 93 h 211"/>
                    <a:gd name="T102" fmla="*/ 50 w 227"/>
                    <a:gd name="T103" fmla="*/ 97 h 211"/>
                    <a:gd name="T104" fmla="*/ 60 w 227"/>
                    <a:gd name="T105" fmla="*/ 119 h 211"/>
                    <a:gd name="T106" fmla="*/ 53 w 227"/>
                    <a:gd name="T107" fmla="*/ 121 h 211"/>
                    <a:gd name="T108" fmla="*/ 35 w 227"/>
                    <a:gd name="T109" fmla="*/ 119 h 211"/>
                    <a:gd name="T110" fmla="*/ 36 w 227"/>
                    <a:gd name="T111" fmla="*/ 91 h 211"/>
                    <a:gd name="T112" fmla="*/ 40 w 227"/>
                    <a:gd name="T113" fmla="*/ 103 h 211"/>
                    <a:gd name="T114" fmla="*/ 45 w 227"/>
                    <a:gd name="T115" fmla="*/ 120 h 211"/>
                    <a:gd name="T116" fmla="*/ 37 w 227"/>
                    <a:gd name="T117" fmla="*/ 107 h 211"/>
                    <a:gd name="T118" fmla="*/ 34 w 227"/>
                    <a:gd name="T119" fmla="*/ 90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27" h="211">
                      <a:moveTo>
                        <a:pt x="215" y="82"/>
                      </a:moveTo>
                      <a:cubicBezTo>
                        <a:pt x="215" y="80"/>
                        <a:pt x="214" y="79"/>
                        <a:pt x="216" y="78"/>
                      </a:cubicBezTo>
                      <a:cubicBezTo>
                        <a:pt x="217" y="78"/>
                        <a:pt x="218" y="80"/>
                        <a:pt x="218" y="78"/>
                      </a:cubicBezTo>
                      <a:cubicBezTo>
                        <a:pt x="218" y="76"/>
                        <a:pt x="219" y="77"/>
                        <a:pt x="218" y="75"/>
                      </a:cubicBezTo>
                      <a:cubicBezTo>
                        <a:pt x="218" y="75"/>
                        <a:pt x="218" y="75"/>
                        <a:pt x="218" y="75"/>
                      </a:cubicBezTo>
                      <a:cubicBezTo>
                        <a:pt x="218" y="75"/>
                        <a:pt x="218" y="75"/>
                        <a:pt x="218" y="75"/>
                      </a:cubicBezTo>
                      <a:cubicBezTo>
                        <a:pt x="218" y="75"/>
                        <a:pt x="218" y="77"/>
                        <a:pt x="217" y="77"/>
                      </a:cubicBezTo>
                      <a:cubicBezTo>
                        <a:pt x="217" y="77"/>
                        <a:pt x="216" y="78"/>
                        <a:pt x="215" y="78"/>
                      </a:cubicBezTo>
                      <a:cubicBezTo>
                        <a:pt x="214" y="77"/>
                        <a:pt x="214" y="77"/>
                        <a:pt x="214" y="77"/>
                      </a:cubicBezTo>
                      <a:cubicBezTo>
                        <a:pt x="216" y="75"/>
                        <a:pt x="216" y="75"/>
                        <a:pt x="216" y="75"/>
                      </a:cubicBezTo>
                      <a:cubicBezTo>
                        <a:pt x="216" y="71"/>
                        <a:pt x="216" y="71"/>
                        <a:pt x="216" y="71"/>
                      </a:cubicBezTo>
                      <a:cubicBezTo>
                        <a:pt x="216" y="71"/>
                        <a:pt x="215" y="69"/>
                        <a:pt x="214" y="67"/>
                      </a:cubicBezTo>
                      <a:cubicBezTo>
                        <a:pt x="213" y="66"/>
                        <a:pt x="212" y="65"/>
                        <a:pt x="212" y="65"/>
                      </a:cubicBezTo>
                      <a:cubicBezTo>
                        <a:pt x="215" y="63"/>
                        <a:pt x="215" y="63"/>
                        <a:pt x="215" y="63"/>
                      </a:cubicBezTo>
                      <a:cubicBezTo>
                        <a:pt x="216" y="62"/>
                        <a:pt x="216" y="62"/>
                        <a:pt x="216" y="62"/>
                      </a:cubicBezTo>
                      <a:cubicBezTo>
                        <a:pt x="216" y="61"/>
                        <a:pt x="216" y="61"/>
                        <a:pt x="216" y="61"/>
                      </a:cubicBezTo>
                      <a:cubicBezTo>
                        <a:pt x="216" y="61"/>
                        <a:pt x="218" y="63"/>
                        <a:pt x="220" y="63"/>
                      </a:cubicBezTo>
                      <a:cubicBezTo>
                        <a:pt x="221" y="63"/>
                        <a:pt x="220" y="63"/>
                        <a:pt x="222" y="62"/>
                      </a:cubicBezTo>
                      <a:cubicBezTo>
                        <a:pt x="224" y="62"/>
                        <a:pt x="227" y="59"/>
                        <a:pt x="227" y="59"/>
                      </a:cubicBezTo>
                      <a:cubicBezTo>
                        <a:pt x="227" y="59"/>
                        <a:pt x="225" y="57"/>
                        <a:pt x="224" y="57"/>
                      </a:cubicBezTo>
                      <a:cubicBezTo>
                        <a:pt x="223" y="58"/>
                        <a:pt x="224" y="58"/>
                        <a:pt x="221" y="58"/>
                      </a:cubicBezTo>
                      <a:cubicBezTo>
                        <a:pt x="218" y="57"/>
                        <a:pt x="217" y="56"/>
                        <a:pt x="217" y="56"/>
                      </a:cubicBezTo>
                      <a:cubicBezTo>
                        <a:pt x="217" y="56"/>
                        <a:pt x="216" y="56"/>
                        <a:pt x="215" y="56"/>
                      </a:cubicBezTo>
                      <a:cubicBezTo>
                        <a:pt x="214" y="56"/>
                        <a:pt x="214" y="56"/>
                        <a:pt x="213" y="55"/>
                      </a:cubicBezTo>
                      <a:cubicBezTo>
                        <a:pt x="211" y="53"/>
                        <a:pt x="209" y="51"/>
                        <a:pt x="209" y="51"/>
                      </a:cubicBezTo>
                      <a:cubicBezTo>
                        <a:pt x="209" y="51"/>
                        <a:pt x="207" y="52"/>
                        <a:pt x="207" y="51"/>
                      </a:cubicBezTo>
                      <a:cubicBezTo>
                        <a:pt x="207" y="51"/>
                        <a:pt x="208" y="49"/>
                        <a:pt x="208" y="49"/>
                      </a:cubicBezTo>
                      <a:cubicBezTo>
                        <a:pt x="208" y="48"/>
                        <a:pt x="208" y="48"/>
                        <a:pt x="208" y="48"/>
                      </a:cubicBezTo>
                      <a:cubicBezTo>
                        <a:pt x="207" y="47"/>
                        <a:pt x="207" y="47"/>
                        <a:pt x="207" y="47"/>
                      </a:cubicBezTo>
                      <a:cubicBezTo>
                        <a:pt x="207" y="47"/>
                        <a:pt x="209" y="47"/>
                        <a:pt x="209" y="47"/>
                      </a:cubicBezTo>
                      <a:cubicBezTo>
                        <a:pt x="210" y="46"/>
                        <a:pt x="210" y="46"/>
                        <a:pt x="210" y="46"/>
                      </a:cubicBezTo>
                      <a:cubicBezTo>
                        <a:pt x="212" y="44"/>
                        <a:pt x="210" y="42"/>
                        <a:pt x="207" y="43"/>
                      </a:cubicBezTo>
                      <a:cubicBezTo>
                        <a:pt x="206" y="43"/>
                        <a:pt x="205" y="44"/>
                        <a:pt x="205" y="44"/>
                      </a:cubicBezTo>
                      <a:cubicBezTo>
                        <a:pt x="204" y="44"/>
                        <a:pt x="202" y="43"/>
                        <a:pt x="202" y="42"/>
                      </a:cubicBezTo>
                      <a:cubicBezTo>
                        <a:pt x="202" y="41"/>
                        <a:pt x="201" y="41"/>
                        <a:pt x="203" y="40"/>
                      </a:cubicBezTo>
                      <a:cubicBezTo>
                        <a:pt x="204" y="40"/>
                        <a:pt x="205" y="38"/>
                        <a:pt x="205" y="38"/>
                      </a:cubicBezTo>
                      <a:cubicBezTo>
                        <a:pt x="203" y="35"/>
                        <a:pt x="203" y="35"/>
                        <a:pt x="203" y="35"/>
                      </a:cubicBezTo>
                      <a:cubicBezTo>
                        <a:pt x="204" y="29"/>
                        <a:pt x="204" y="29"/>
                        <a:pt x="204" y="29"/>
                      </a:cubicBezTo>
                      <a:cubicBezTo>
                        <a:pt x="200" y="28"/>
                        <a:pt x="200" y="28"/>
                        <a:pt x="200" y="28"/>
                      </a:cubicBezTo>
                      <a:cubicBezTo>
                        <a:pt x="200" y="26"/>
                        <a:pt x="200" y="26"/>
                        <a:pt x="200" y="26"/>
                      </a:cubicBezTo>
                      <a:cubicBezTo>
                        <a:pt x="198" y="25"/>
                        <a:pt x="198" y="25"/>
                        <a:pt x="198" y="25"/>
                      </a:cubicBezTo>
                      <a:cubicBezTo>
                        <a:pt x="196" y="30"/>
                        <a:pt x="196" y="30"/>
                        <a:pt x="196" y="30"/>
                      </a:cubicBezTo>
                      <a:cubicBezTo>
                        <a:pt x="196" y="30"/>
                        <a:pt x="193" y="31"/>
                        <a:pt x="193" y="32"/>
                      </a:cubicBezTo>
                      <a:cubicBezTo>
                        <a:pt x="192" y="33"/>
                        <a:pt x="187" y="33"/>
                        <a:pt x="187" y="33"/>
                      </a:cubicBezTo>
                      <a:cubicBezTo>
                        <a:pt x="183" y="33"/>
                        <a:pt x="183" y="33"/>
                        <a:pt x="183" y="33"/>
                      </a:cubicBezTo>
                      <a:cubicBezTo>
                        <a:pt x="176" y="35"/>
                        <a:pt x="176" y="35"/>
                        <a:pt x="176" y="35"/>
                      </a:cubicBezTo>
                      <a:cubicBezTo>
                        <a:pt x="176" y="35"/>
                        <a:pt x="174" y="36"/>
                        <a:pt x="173" y="36"/>
                      </a:cubicBezTo>
                      <a:cubicBezTo>
                        <a:pt x="172" y="36"/>
                        <a:pt x="167" y="35"/>
                        <a:pt x="167" y="35"/>
                      </a:cubicBezTo>
                      <a:cubicBezTo>
                        <a:pt x="164" y="36"/>
                        <a:pt x="164" y="36"/>
                        <a:pt x="164" y="36"/>
                      </a:cubicBezTo>
                      <a:cubicBezTo>
                        <a:pt x="157" y="34"/>
                        <a:pt x="157" y="34"/>
                        <a:pt x="157" y="34"/>
                      </a:cubicBezTo>
                      <a:cubicBezTo>
                        <a:pt x="155" y="32"/>
                        <a:pt x="155" y="32"/>
                        <a:pt x="155" y="32"/>
                      </a:cubicBezTo>
                      <a:cubicBezTo>
                        <a:pt x="154" y="31"/>
                        <a:pt x="154" y="31"/>
                        <a:pt x="154" y="31"/>
                      </a:cubicBezTo>
                      <a:cubicBezTo>
                        <a:pt x="149" y="30"/>
                        <a:pt x="149" y="30"/>
                        <a:pt x="149" y="30"/>
                      </a:cubicBezTo>
                      <a:cubicBezTo>
                        <a:pt x="148" y="28"/>
                        <a:pt x="148" y="28"/>
                        <a:pt x="148" y="28"/>
                      </a:cubicBezTo>
                      <a:cubicBezTo>
                        <a:pt x="144" y="28"/>
                        <a:pt x="144" y="28"/>
                        <a:pt x="144" y="28"/>
                      </a:cubicBezTo>
                      <a:cubicBezTo>
                        <a:pt x="144" y="28"/>
                        <a:pt x="144" y="28"/>
                        <a:pt x="144" y="28"/>
                      </a:cubicBezTo>
                      <a:cubicBezTo>
                        <a:pt x="144" y="28"/>
                        <a:pt x="144" y="28"/>
                        <a:pt x="144" y="28"/>
                      </a:cubicBezTo>
                      <a:cubicBezTo>
                        <a:pt x="142" y="27"/>
                        <a:pt x="142" y="27"/>
                        <a:pt x="142" y="27"/>
                      </a:cubicBezTo>
                      <a:cubicBezTo>
                        <a:pt x="142" y="26"/>
                        <a:pt x="142" y="26"/>
                        <a:pt x="142" y="26"/>
                      </a:cubicBezTo>
                      <a:cubicBezTo>
                        <a:pt x="141" y="26"/>
                        <a:pt x="141" y="26"/>
                        <a:pt x="141" y="25"/>
                      </a:cubicBezTo>
                      <a:cubicBezTo>
                        <a:pt x="140" y="24"/>
                        <a:pt x="140" y="24"/>
                        <a:pt x="140" y="24"/>
                      </a:cubicBezTo>
                      <a:cubicBezTo>
                        <a:pt x="135" y="18"/>
                        <a:pt x="135" y="18"/>
                        <a:pt x="135" y="18"/>
                      </a:cubicBezTo>
                      <a:cubicBezTo>
                        <a:pt x="134" y="18"/>
                        <a:pt x="134" y="18"/>
                        <a:pt x="134" y="18"/>
                      </a:cubicBezTo>
                      <a:cubicBezTo>
                        <a:pt x="134" y="18"/>
                        <a:pt x="134" y="18"/>
                        <a:pt x="134" y="18"/>
                      </a:cubicBezTo>
                      <a:cubicBezTo>
                        <a:pt x="125" y="15"/>
                        <a:pt x="125" y="15"/>
                        <a:pt x="125" y="15"/>
                      </a:cubicBezTo>
                      <a:cubicBezTo>
                        <a:pt x="122" y="11"/>
                        <a:pt x="122" y="11"/>
                        <a:pt x="122" y="11"/>
                      </a:cubicBezTo>
                      <a:cubicBezTo>
                        <a:pt x="119" y="9"/>
                        <a:pt x="119" y="9"/>
                        <a:pt x="119" y="9"/>
                      </a:cubicBezTo>
                      <a:cubicBezTo>
                        <a:pt x="115" y="6"/>
                        <a:pt x="115" y="6"/>
                        <a:pt x="115" y="6"/>
                      </a:cubicBezTo>
                      <a:cubicBezTo>
                        <a:pt x="111" y="3"/>
                        <a:pt x="111" y="3"/>
                        <a:pt x="111" y="3"/>
                      </a:cubicBezTo>
                      <a:cubicBezTo>
                        <a:pt x="109" y="1"/>
                        <a:pt x="109" y="1"/>
                        <a:pt x="109" y="1"/>
                      </a:cubicBezTo>
                      <a:cubicBezTo>
                        <a:pt x="109" y="1"/>
                        <a:pt x="109" y="1"/>
                        <a:pt x="109" y="1"/>
                      </a:cubicBezTo>
                      <a:cubicBezTo>
                        <a:pt x="109" y="1"/>
                        <a:pt x="108" y="0"/>
                        <a:pt x="108" y="0"/>
                      </a:cubicBezTo>
                      <a:cubicBezTo>
                        <a:pt x="108" y="0"/>
                        <a:pt x="107" y="0"/>
                        <a:pt x="107" y="0"/>
                      </a:cubicBezTo>
                      <a:cubicBezTo>
                        <a:pt x="106" y="0"/>
                        <a:pt x="104" y="0"/>
                        <a:pt x="104" y="0"/>
                      </a:cubicBezTo>
                      <a:cubicBezTo>
                        <a:pt x="104" y="0"/>
                        <a:pt x="103" y="1"/>
                        <a:pt x="102" y="1"/>
                      </a:cubicBezTo>
                      <a:cubicBezTo>
                        <a:pt x="102" y="1"/>
                        <a:pt x="101" y="3"/>
                        <a:pt x="101" y="3"/>
                      </a:cubicBezTo>
                      <a:cubicBezTo>
                        <a:pt x="100" y="4"/>
                        <a:pt x="100" y="4"/>
                        <a:pt x="100" y="4"/>
                      </a:cubicBezTo>
                      <a:cubicBezTo>
                        <a:pt x="101" y="5"/>
                        <a:pt x="101" y="5"/>
                        <a:pt x="101" y="5"/>
                      </a:cubicBezTo>
                      <a:cubicBezTo>
                        <a:pt x="103" y="9"/>
                        <a:pt x="104" y="9"/>
                        <a:pt x="99" y="8"/>
                      </a:cubicBezTo>
                      <a:cubicBezTo>
                        <a:pt x="97" y="7"/>
                        <a:pt x="97" y="7"/>
                        <a:pt x="97" y="7"/>
                      </a:cubicBezTo>
                      <a:cubicBezTo>
                        <a:pt x="96" y="8"/>
                        <a:pt x="96" y="8"/>
                        <a:pt x="96" y="8"/>
                      </a:cubicBezTo>
                      <a:cubicBezTo>
                        <a:pt x="94" y="9"/>
                        <a:pt x="94" y="9"/>
                        <a:pt x="94" y="9"/>
                      </a:cubicBezTo>
                      <a:cubicBezTo>
                        <a:pt x="94" y="9"/>
                        <a:pt x="94" y="9"/>
                        <a:pt x="94" y="9"/>
                      </a:cubicBezTo>
                      <a:cubicBezTo>
                        <a:pt x="94" y="9"/>
                        <a:pt x="94" y="11"/>
                        <a:pt x="94" y="11"/>
                      </a:cubicBezTo>
                      <a:cubicBezTo>
                        <a:pt x="93" y="13"/>
                        <a:pt x="93" y="13"/>
                        <a:pt x="93" y="13"/>
                      </a:cubicBezTo>
                      <a:cubicBezTo>
                        <a:pt x="91" y="14"/>
                        <a:pt x="91" y="14"/>
                        <a:pt x="91" y="14"/>
                      </a:cubicBezTo>
                      <a:cubicBezTo>
                        <a:pt x="89" y="15"/>
                        <a:pt x="89" y="15"/>
                        <a:pt x="89" y="15"/>
                      </a:cubicBezTo>
                      <a:cubicBezTo>
                        <a:pt x="88" y="16"/>
                        <a:pt x="88" y="16"/>
                        <a:pt x="88" y="16"/>
                      </a:cubicBezTo>
                      <a:cubicBezTo>
                        <a:pt x="86" y="16"/>
                        <a:pt x="86" y="16"/>
                        <a:pt x="86" y="16"/>
                      </a:cubicBezTo>
                      <a:cubicBezTo>
                        <a:pt x="84" y="17"/>
                        <a:pt x="84" y="17"/>
                        <a:pt x="84" y="17"/>
                      </a:cubicBezTo>
                      <a:cubicBezTo>
                        <a:pt x="83" y="19"/>
                        <a:pt x="83" y="19"/>
                        <a:pt x="83" y="19"/>
                      </a:cubicBezTo>
                      <a:cubicBezTo>
                        <a:pt x="83" y="19"/>
                        <a:pt x="81" y="19"/>
                        <a:pt x="81" y="19"/>
                      </a:cubicBezTo>
                      <a:cubicBezTo>
                        <a:pt x="81" y="19"/>
                        <a:pt x="78" y="20"/>
                        <a:pt x="78" y="20"/>
                      </a:cubicBezTo>
                      <a:cubicBezTo>
                        <a:pt x="78" y="22"/>
                        <a:pt x="78" y="22"/>
                        <a:pt x="78" y="22"/>
                      </a:cubicBezTo>
                      <a:cubicBezTo>
                        <a:pt x="78" y="22"/>
                        <a:pt x="77" y="23"/>
                        <a:pt x="77" y="23"/>
                      </a:cubicBezTo>
                      <a:cubicBezTo>
                        <a:pt x="77" y="23"/>
                        <a:pt x="77" y="26"/>
                        <a:pt x="77" y="26"/>
                      </a:cubicBezTo>
                      <a:cubicBezTo>
                        <a:pt x="77" y="26"/>
                        <a:pt x="79" y="27"/>
                        <a:pt x="79" y="27"/>
                      </a:cubicBezTo>
                      <a:cubicBezTo>
                        <a:pt x="80" y="28"/>
                        <a:pt x="80" y="28"/>
                        <a:pt x="80" y="28"/>
                      </a:cubicBezTo>
                      <a:cubicBezTo>
                        <a:pt x="81" y="29"/>
                        <a:pt x="81" y="29"/>
                        <a:pt x="81" y="29"/>
                      </a:cubicBezTo>
                      <a:cubicBezTo>
                        <a:pt x="81" y="29"/>
                        <a:pt x="82" y="30"/>
                        <a:pt x="82" y="30"/>
                      </a:cubicBezTo>
                      <a:cubicBezTo>
                        <a:pt x="81" y="30"/>
                        <a:pt x="81" y="33"/>
                        <a:pt x="81" y="33"/>
                      </a:cubicBezTo>
                      <a:cubicBezTo>
                        <a:pt x="82" y="36"/>
                        <a:pt x="82" y="36"/>
                        <a:pt x="82" y="36"/>
                      </a:cubicBezTo>
                      <a:cubicBezTo>
                        <a:pt x="81" y="37"/>
                        <a:pt x="81" y="37"/>
                        <a:pt x="81" y="37"/>
                      </a:cubicBezTo>
                      <a:cubicBezTo>
                        <a:pt x="82" y="39"/>
                        <a:pt x="82" y="39"/>
                        <a:pt x="82" y="39"/>
                      </a:cubicBezTo>
                      <a:cubicBezTo>
                        <a:pt x="82" y="39"/>
                        <a:pt x="83" y="39"/>
                        <a:pt x="82" y="40"/>
                      </a:cubicBezTo>
                      <a:cubicBezTo>
                        <a:pt x="81" y="40"/>
                        <a:pt x="80" y="41"/>
                        <a:pt x="80" y="41"/>
                      </a:cubicBezTo>
                      <a:cubicBezTo>
                        <a:pt x="80" y="41"/>
                        <a:pt x="78" y="41"/>
                        <a:pt x="78" y="41"/>
                      </a:cubicBezTo>
                      <a:cubicBezTo>
                        <a:pt x="78" y="41"/>
                        <a:pt x="76" y="41"/>
                        <a:pt x="76" y="41"/>
                      </a:cubicBezTo>
                      <a:cubicBezTo>
                        <a:pt x="75" y="43"/>
                        <a:pt x="75" y="43"/>
                        <a:pt x="75" y="43"/>
                      </a:cubicBezTo>
                      <a:cubicBezTo>
                        <a:pt x="73" y="42"/>
                        <a:pt x="73" y="42"/>
                        <a:pt x="73" y="42"/>
                      </a:cubicBezTo>
                      <a:cubicBezTo>
                        <a:pt x="73" y="44"/>
                        <a:pt x="73" y="44"/>
                        <a:pt x="73" y="44"/>
                      </a:cubicBezTo>
                      <a:cubicBezTo>
                        <a:pt x="70" y="45"/>
                        <a:pt x="70" y="45"/>
                        <a:pt x="70" y="45"/>
                      </a:cubicBezTo>
                      <a:cubicBezTo>
                        <a:pt x="68" y="46"/>
                        <a:pt x="68" y="46"/>
                        <a:pt x="68" y="46"/>
                      </a:cubicBezTo>
                      <a:cubicBezTo>
                        <a:pt x="67" y="48"/>
                        <a:pt x="67" y="48"/>
                        <a:pt x="67" y="48"/>
                      </a:cubicBezTo>
                      <a:cubicBezTo>
                        <a:pt x="68" y="49"/>
                        <a:pt x="68" y="49"/>
                        <a:pt x="68" y="49"/>
                      </a:cubicBezTo>
                      <a:cubicBezTo>
                        <a:pt x="68" y="49"/>
                        <a:pt x="69" y="50"/>
                        <a:pt x="69" y="49"/>
                      </a:cubicBezTo>
                      <a:cubicBezTo>
                        <a:pt x="69" y="49"/>
                        <a:pt x="69" y="48"/>
                        <a:pt x="69" y="48"/>
                      </a:cubicBezTo>
                      <a:cubicBezTo>
                        <a:pt x="70" y="49"/>
                        <a:pt x="71" y="50"/>
                        <a:pt x="71" y="50"/>
                      </a:cubicBezTo>
                      <a:cubicBezTo>
                        <a:pt x="72" y="52"/>
                        <a:pt x="72" y="52"/>
                        <a:pt x="72" y="52"/>
                      </a:cubicBezTo>
                      <a:cubicBezTo>
                        <a:pt x="72" y="52"/>
                        <a:pt x="70" y="52"/>
                        <a:pt x="70" y="52"/>
                      </a:cubicBezTo>
                      <a:cubicBezTo>
                        <a:pt x="70" y="52"/>
                        <a:pt x="69" y="53"/>
                        <a:pt x="69" y="53"/>
                      </a:cubicBezTo>
                      <a:cubicBezTo>
                        <a:pt x="68" y="54"/>
                        <a:pt x="68" y="54"/>
                        <a:pt x="68" y="54"/>
                      </a:cubicBezTo>
                      <a:cubicBezTo>
                        <a:pt x="68" y="55"/>
                        <a:pt x="68" y="55"/>
                        <a:pt x="68" y="56"/>
                      </a:cubicBezTo>
                      <a:cubicBezTo>
                        <a:pt x="68" y="56"/>
                        <a:pt x="68" y="57"/>
                        <a:pt x="68" y="57"/>
                      </a:cubicBezTo>
                      <a:cubicBezTo>
                        <a:pt x="69" y="57"/>
                        <a:pt x="70" y="59"/>
                        <a:pt x="70" y="59"/>
                      </a:cubicBezTo>
                      <a:cubicBezTo>
                        <a:pt x="70" y="59"/>
                        <a:pt x="71" y="60"/>
                        <a:pt x="71" y="60"/>
                      </a:cubicBezTo>
                      <a:cubicBezTo>
                        <a:pt x="71" y="60"/>
                        <a:pt x="71" y="61"/>
                        <a:pt x="71" y="61"/>
                      </a:cubicBezTo>
                      <a:cubicBezTo>
                        <a:pt x="71" y="61"/>
                        <a:pt x="70" y="62"/>
                        <a:pt x="69" y="62"/>
                      </a:cubicBezTo>
                      <a:cubicBezTo>
                        <a:pt x="69" y="62"/>
                        <a:pt x="67" y="62"/>
                        <a:pt x="67" y="62"/>
                      </a:cubicBezTo>
                      <a:cubicBezTo>
                        <a:pt x="67" y="62"/>
                        <a:pt x="66" y="64"/>
                        <a:pt x="66" y="64"/>
                      </a:cubicBezTo>
                      <a:cubicBezTo>
                        <a:pt x="66" y="64"/>
                        <a:pt x="65" y="64"/>
                        <a:pt x="64" y="64"/>
                      </a:cubicBezTo>
                      <a:cubicBezTo>
                        <a:pt x="64" y="64"/>
                        <a:pt x="66" y="65"/>
                        <a:pt x="64" y="64"/>
                      </a:cubicBezTo>
                      <a:cubicBezTo>
                        <a:pt x="61" y="63"/>
                        <a:pt x="61" y="62"/>
                        <a:pt x="61" y="62"/>
                      </a:cubicBezTo>
                      <a:cubicBezTo>
                        <a:pt x="61" y="62"/>
                        <a:pt x="60" y="61"/>
                        <a:pt x="60" y="61"/>
                      </a:cubicBezTo>
                      <a:cubicBezTo>
                        <a:pt x="59" y="61"/>
                        <a:pt x="58" y="61"/>
                        <a:pt x="58" y="61"/>
                      </a:cubicBezTo>
                      <a:cubicBezTo>
                        <a:pt x="56" y="61"/>
                        <a:pt x="56" y="61"/>
                        <a:pt x="56" y="61"/>
                      </a:cubicBezTo>
                      <a:cubicBezTo>
                        <a:pt x="55" y="60"/>
                        <a:pt x="55" y="60"/>
                        <a:pt x="55" y="60"/>
                      </a:cubicBezTo>
                      <a:cubicBezTo>
                        <a:pt x="54" y="62"/>
                        <a:pt x="54" y="62"/>
                        <a:pt x="54" y="62"/>
                      </a:cubicBezTo>
                      <a:cubicBezTo>
                        <a:pt x="54" y="62"/>
                        <a:pt x="54" y="63"/>
                        <a:pt x="53" y="63"/>
                      </a:cubicBezTo>
                      <a:cubicBezTo>
                        <a:pt x="52" y="64"/>
                        <a:pt x="53" y="64"/>
                        <a:pt x="52" y="64"/>
                      </a:cubicBezTo>
                      <a:cubicBezTo>
                        <a:pt x="50" y="64"/>
                        <a:pt x="49" y="62"/>
                        <a:pt x="49" y="62"/>
                      </a:cubicBezTo>
                      <a:cubicBezTo>
                        <a:pt x="49" y="62"/>
                        <a:pt x="47" y="61"/>
                        <a:pt x="47" y="61"/>
                      </a:cubicBezTo>
                      <a:cubicBezTo>
                        <a:pt x="46" y="60"/>
                        <a:pt x="46" y="60"/>
                        <a:pt x="46" y="60"/>
                      </a:cubicBezTo>
                      <a:cubicBezTo>
                        <a:pt x="45" y="60"/>
                        <a:pt x="45" y="61"/>
                        <a:pt x="45" y="59"/>
                      </a:cubicBezTo>
                      <a:cubicBezTo>
                        <a:pt x="45" y="58"/>
                        <a:pt x="45" y="58"/>
                        <a:pt x="45" y="58"/>
                      </a:cubicBezTo>
                      <a:cubicBezTo>
                        <a:pt x="44" y="57"/>
                        <a:pt x="44" y="58"/>
                        <a:pt x="43" y="57"/>
                      </a:cubicBezTo>
                      <a:cubicBezTo>
                        <a:pt x="43" y="56"/>
                        <a:pt x="42" y="55"/>
                        <a:pt x="42" y="55"/>
                      </a:cubicBezTo>
                      <a:cubicBezTo>
                        <a:pt x="41" y="53"/>
                        <a:pt x="41" y="53"/>
                        <a:pt x="41" y="53"/>
                      </a:cubicBezTo>
                      <a:cubicBezTo>
                        <a:pt x="41" y="53"/>
                        <a:pt x="41" y="53"/>
                        <a:pt x="41" y="54"/>
                      </a:cubicBezTo>
                      <a:cubicBezTo>
                        <a:pt x="40" y="55"/>
                        <a:pt x="39" y="55"/>
                        <a:pt x="39" y="55"/>
                      </a:cubicBezTo>
                      <a:cubicBezTo>
                        <a:pt x="39" y="56"/>
                        <a:pt x="38" y="57"/>
                        <a:pt x="38" y="57"/>
                      </a:cubicBezTo>
                      <a:cubicBezTo>
                        <a:pt x="38" y="57"/>
                        <a:pt x="37" y="58"/>
                        <a:pt x="37" y="59"/>
                      </a:cubicBezTo>
                      <a:cubicBezTo>
                        <a:pt x="38" y="59"/>
                        <a:pt x="38" y="59"/>
                        <a:pt x="38" y="60"/>
                      </a:cubicBezTo>
                      <a:cubicBezTo>
                        <a:pt x="38" y="60"/>
                        <a:pt x="37" y="61"/>
                        <a:pt x="37" y="61"/>
                      </a:cubicBezTo>
                      <a:cubicBezTo>
                        <a:pt x="36" y="62"/>
                        <a:pt x="36" y="62"/>
                        <a:pt x="35" y="62"/>
                      </a:cubicBezTo>
                      <a:cubicBezTo>
                        <a:pt x="35" y="63"/>
                        <a:pt x="33" y="64"/>
                        <a:pt x="33" y="64"/>
                      </a:cubicBezTo>
                      <a:cubicBezTo>
                        <a:pt x="31" y="64"/>
                        <a:pt x="31" y="64"/>
                        <a:pt x="31" y="64"/>
                      </a:cubicBezTo>
                      <a:cubicBezTo>
                        <a:pt x="28" y="63"/>
                        <a:pt x="28" y="63"/>
                        <a:pt x="28" y="63"/>
                      </a:cubicBezTo>
                      <a:cubicBezTo>
                        <a:pt x="26" y="65"/>
                        <a:pt x="26" y="65"/>
                        <a:pt x="26" y="65"/>
                      </a:cubicBezTo>
                      <a:cubicBezTo>
                        <a:pt x="26" y="65"/>
                        <a:pt x="25" y="65"/>
                        <a:pt x="25" y="65"/>
                      </a:cubicBezTo>
                      <a:cubicBezTo>
                        <a:pt x="24" y="65"/>
                        <a:pt x="23" y="65"/>
                        <a:pt x="23" y="65"/>
                      </a:cubicBezTo>
                      <a:cubicBezTo>
                        <a:pt x="23" y="65"/>
                        <a:pt x="22" y="64"/>
                        <a:pt x="21" y="64"/>
                      </a:cubicBezTo>
                      <a:cubicBezTo>
                        <a:pt x="21" y="64"/>
                        <a:pt x="20" y="64"/>
                        <a:pt x="20" y="64"/>
                      </a:cubicBezTo>
                      <a:cubicBezTo>
                        <a:pt x="19" y="64"/>
                        <a:pt x="18" y="64"/>
                        <a:pt x="18" y="64"/>
                      </a:cubicBezTo>
                      <a:cubicBezTo>
                        <a:pt x="18" y="65"/>
                        <a:pt x="18" y="65"/>
                        <a:pt x="18" y="65"/>
                      </a:cubicBezTo>
                      <a:cubicBezTo>
                        <a:pt x="18" y="65"/>
                        <a:pt x="19" y="65"/>
                        <a:pt x="19" y="65"/>
                      </a:cubicBezTo>
                      <a:cubicBezTo>
                        <a:pt x="19" y="66"/>
                        <a:pt x="19" y="67"/>
                        <a:pt x="19" y="67"/>
                      </a:cubicBezTo>
                      <a:cubicBezTo>
                        <a:pt x="19" y="67"/>
                        <a:pt x="18" y="67"/>
                        <a:pt x="18" y="67"/>
                      </a:cubicBezTo>
                      <a:cubicBezTo>
                        <a:pt x="18" y="68"/>
                        <a:pt x="16" y="68"/>
                        <a:pt x="16" y="68"/>
                      </a:cubicBezTo>
                      <a:cubicBezTo>
                        <a:pt x="16" y="68"/>
                        <a:pt x="16" y="69"/>
                        <a:pt x="16" y="69"/>
                      </a:cubicBezTo>
                      <a:cubicBezTo>
                        <a:pt x="16" y="69"/>
                        <a:pt x="16" y="69"/>
                        <a:pt x="15" y="69"/>
                      </a:cubicBezTo>
                      <a:cubicBezTo>
                        <a:pt x="14" y="69"/>
                        <a:pt x="14" y="69"/>
                        <a:pt x="13" y="69"/>
                      </a:cubicBezTo>
                      <a:cubicBezTo>
                        <a:pt x="13" y="68"/>
                        <a:pt x="12" y="68"/>
                        <a:pt x="11" y="68"/>
                      </a:cubicBezTo>
                      <a:cubicBezTo>
                        <a:pt x="11" y="68"/>
                        <a:pt x="8" y="67"/>
                        <a:pt x="8" y="67"/>
                      </a:cubicBezTo>
                      <a:cubicBezTo>
                        <a:pt x="8" y="67"/>
                        <a:pt x="7" y="68"/>
                        <a:pt x="7" y="68"/>
                      </a:cubicBezTo>
                      <a:cubicBezTo>
                        <a:pt x="6" y="68"/>
                        <a:pt x="5" y="68"/>
                        <a:pt x="4" y="67"/>
                      </a:cubicBezTo>
                      <a:cubicBezTo>
                        <a:pt x="4" y="67"/>
                        <a:pt x="3" y="67"/>
                        <a:pt x="3" y="67"/>
                      </a:cubicBezTo>
                      <a:cubicBezTo>
                        <a:pt x="3" y="67"/>
                        <a:pt x="3" y="67"/>
                        <a:pt x="3" y="67"/>
                      </a:cubicBezTo>
                      <a:cubicBezTo>
                        <a:pt x="3" y="67"/>
                        <a:pt x="3" y="67"/>
                        <a:pt x="3" y="67"/>
                      </a:cubicBezTo>
                      <a:cubicBezTo>
                        <a:pt x="3" y="67"/>
                        <a:pt x="3" y="67"/>
                        <a:pt x="3" y="67"/>
                      </a:cubicBezTo>
                      <a:cubicBezTo>
                        <a:pt x="3" y="67"/>
                        <a:pt x="3" y="67"/>
                        <a:pt x="3" y="67"/>
                      </a:cubicBezTo>
                      <a:cubicBezTo>
                        <a:pt x="3" y="67"/>
                        <a:pt x="3" y="67"/>
                        <a:pt x="3" y="67"/>
                      </a:cubicBezTo>
                      <a:cubicBezTo>
                        <a:pt x="3" y="67"/>
                        <a:pt x="3" y="67"/>
                        <a:pt x="3" y="67"/>
                      </a:cubicBezTo>
                      <a:cubicBezTo>
                        <a:pt x="3" y="67"/>
                        <a:pt x="3" y="67"/>
                        <a:pt x="3" y="67"/>
                      </a:cubicBezTo>
                      <a:cubicBezTo>
                        <a:pt x="3" y="67"/>
                        <a:pt x="3" y="67"/>
                        <a:pt x="3" y="67"/>
                      </a:cubicBezTo>
                      <a:cubicBezTo>
                        <a:pt x="3" y="67"/>
                        <a:pt x="3" y="67"/>
                        <a:pt x="3" y="67"/>
                      </a:cubicBezTo>
                      <a:cubicBezTo>
                        <a:pt x="3" y="67"/>
                        <a:pt x="3" y="67"/>
                        <a:pt x="3" y="67"/>
                      </a:cubicBezTo>
                      <a:cubicBezTo>
                        <a:pt x="3" y="67"/>
                        <a:pt x="3" y="67"/>
                        <a:pt x="3" y="67"/>
                      </a:cubicBezTo>
                      <a:cubicBezTo>
                        <a:pt x="3" y="67"/>
                        <a:pt x="3" y="67"/>
                        <a:pt x="3" y="67"/>
                      </a:cubicBezTo>
                      <a:cubicBezTo>
                        <a:pt x="3" y="67"/>
                        <a:pt x="3" y="67"/>
                        <a:pt x="3" y="67"/>
                      </a:cubicBezTo>
                      <a:cubicBezTo>
                        <a:pt x="3" y="66"/>
                        <a:pt x="3" y="66"/>
                        <a:pt x="3" y="66"/>
                      </a:cubicBezTo>
                      <a:cubicBezTo>
                        <a:pt x="3" y="66"/>
                        <a:pt x="3" y="66"/>
                        <a:pt x="3" y="66"/>
                      </a:cubicBezTo>
                      <a:cubicBezTo>
                        <a:pt x="3" y="66"/>
                        <a:pt x="3" y="66"/>
                        <a:pt x="3" y="66"/>
                      </a:cubicBezTo>
                      <a:cubicBezTo>
                        <a:pt x="3" y="66"/>
                        <a:pt x="3" y="66"/>
                        <a:pt x="3" y="66"/>
                      </a:cubicBezTo>
                      <a:cubicBezTo>
                        <a:pt x="3" y="66"/>
                        <a:pt x="3" y="66"/>
                        <a:pt x="3" y="66"/>
                      </a:cubicBezTo>
                      <a:cubicBezTo>
                        <a:pt x="3" y="66"/>
                        <a:pt x="3" y="66"/>
                        <a:pt x="3" y="66"/>
                      </a:cubicBezTo>
                      <a:cubicBezTo>
                        <a:pt x="3" y="66"/>
                        <a:pt x="3" y="66"/>
                        <a:pt x="3" y="66"/>
                      </a:cubicBezTo>
                      <a:cubicBezTo>
                        <a:pt x="3" y="66"/>
                        <a:pt x="3" y="66"/>
                        <a:pt x="3" y="66"/>
                      </a:cubicBezTo>
                      <a:cubicBezTo>
                        <a:pt x="3" y="66"/>
                        <a:pt x="3" y="66"/>
                        <a:pt x="3" y="66"/>
                      </a:cubicBezTo>
                      <a:cubicBezTo>
                        <a:pt x="3" y="66"/>
                        <a:pt x="3" y="66"/>
                        <a:pt x="3" y="66"/>
                      </a:cubicBezTo>
                      <a:cubicBezTo>
                        <a:pt x="3" y="66"/>
                        <a:pt x="3" y="66"/>
                        <a:pt x="3" y="66"/>
                      </a:cubicBezTo>
                      <a:cubicBezTo>
                        <a:pt x="3" y="66"/>
                        <a:pt x="3" y="66"/>
                        <a:pt x="3" y="66"/>
                      </a:cubicBezTo>
                      <a:cubicBezTo>
                        <a:pt x="3" y="66"/>
                        <a:pt x="3" y="66"/>
                        <a:pt x="3" y="66"/>
                      </a:cubicBezTo>
                      <a:cubicBezTo>
                        <a:pt x="3" y="66"/>
                        <a:pt x="3" y="66"/>
                        <a:pt x="3" y="66"/>
                      </a:cubicBezTo>
                      <a:cubicBezTo>
                        <a:pt x="3" y="66"/>
                        <a:pt x="3" y="66"/>
                        <a:pt x="3" y="66"/>
                      </a:cubicBezTo>
                      <a:cubicBezTo>
                        <a:pt x="3" y="66"/>
                        <a:pt x="3" y="66"/>
                        <a:pt x="3" y="66"/>
                      </a:cubicBezTo>
                      <a:cubicBezTo>
                        <a:pt x="3" y="66"/>
                        <a:pt x="3" y="66"/>
                        <a:pt x="3" y="66"/>
                      </a:cubicBezTo>
                      <a:cubicBezTo>
                        <a:pt x="3" y="66"/>
                        <a:pt x="3" y="66"/>
                        <a:pt x="3" y="66"/>
                      </a:cubicBezTo>
                      <a:cubicBezTo>
                        <a:pt x="3" y="66"/>
                        <a:pt x="3" y="66"/>
                        <a:pt x="3" y="66"/>
                      </a:cubicBezTo>
                      <a:cubicBezTo>
                        <a:pt x="3" y="66"/>
                        <a:pt x="3" y="66"/>
                        <a:pt x="3" y="66"/>
                      </a:cubicBezTo>
                      <a:cubicBezTo>
                        <a:pt x="3" y="66"/>
                        <a:pt x="3" y="66"/>
                        <a:pt x="3" y="66"/>
                      </a:cubicBezTo>
                      <a:cubicBezTo>
                        <a:pt x="3" y="66"/>
                        <a:pt x="3" y="66"/>
                        <a:pt x="3" y="66"/>
                      </a:cubicBezTo>
                      <a:cubicBezTo>
                        <a:pt x="3" y="66"/>
                        <a:pt x="3" y="66"/>
                        <a:pt x="3" y="66"/>
                      </a:cubicBezTo>
                      <a:cubicBezTo>
                        <a:pt x="3" y="66"/>
                        <a:pt x="3" y="66"/>
                        <a:pt x="3" y="66"/>
                      </a:cubicBezTo>
                      <a:cubicBezTo>
                        <a:pt x="3" y="66"/>
                        <a:pt x="3" y="66"/>
                        <a:pt x="3" y="66"/>
                      </a:cubicBezTo>
                      <a:cubicBezTo>
                        <a:pt x="3" y="66"/>
                        <a:pt x="3" y="66"/>
                        <a:pt x="3" y="66"/>
                      </a:cubicBezTo>
                      <a:cubicBezTo>
                        <a:pt x="3" y="66"/>
                        <a:pt x="3" y="66"/>
                        <a:pt x="3" y="66"/>
                      </a:cubicBezTo>
                      <a:cubicBezTo>
                        <a:pt x="3" y="65"/>
                        <a:pt x="3" y="65"/>
                        <a:pt x="3" y="65"/>
                      </a:cubicBezTo>
                      <a:cubicBezTo>
                        <a:pt x="0" y="67"/>
                        <a:pt x="0" y="67"/>
                        <a:pt x="0" y="67"/>
                      </a:cubicBezTo>
                      <a:cubicBezTo>
                        <a:pt x="2" y="71"/>
                        <a:pt x="2" y="71"/>
                        <a:pt x="2" y="71"/>
                      </a:cubicBezTo>
                      <a:cubicBezTo>
                        <a:pt x="1" y="72"/>
                        <a:pt x="1" y="72"/>
                        <a:pt x="1" y="72"/>
                      </a:cubicBezTo>
                      <a:cubicBezTo>
                        <a:pt x="1" y="72"/>
                        <a:pt x="2" y="73"/>
                        <a:pt x="2" y="73"/>
                      </a:cubicBezTo>
                      <a:cubicBezTo>
                        <a:pt x="2" y="74"/>
                        <a:pt x="3" y="74"/>
                        <a:pt x="3" y="75"/>
                      </a:cubicBezTo>
                      <a:cubicBezTo>
                        <a:pt x="3" y="76"/>
                        <a:pt x="3" y="77"/>
                        <a:pt x="3" y="77"/>
                      </a:cubicBezTo>
                      <a:cubicBezTo>
                        <a:pt x="4" y="77"/>
                        <a:pt x="4" y="77"/>
                        <a:pt x="4" y="77"/>
                      </a:cubicBezTo>
                      <a:cubicBezTo>
                        <a:pt x="5" y="79"/>
                        <a:pt x="5" y="79"/>
                        <a:pt x="5" y="79"/>
                      </a:cubicBezTo>
                      <a:cubicBezTo>
                        <a:pt x="5" y="80"/>
                        <a:pt x="5" y="80"/>
                        <a:pt x="5" y="80"/>
                      </a:cubicBezTo>
                      <a:cubicBezTo>
                        <a:pt x="5" y="82"/>
                        <a:pt x="5" y="82"/>
                        <a:pt x="5" y="82"/>
                      </a:cubicBezTo>
                      <a:cubicBezTo>
                        <a:pt x="5" y="82"/>
                        <a:pt x="6" y="83"/>
                        <a:pt x="6" y="84"/>
                      </a:cubicBezTo>
                      <a:cubicBezTo>
                        <a:pt x="6" y="84"/>
                        <a:pt x="6" y="85"/>
                        <a:pt x="6" y="86"/>
                      </a:cubicBezTo>
                      <a:cubicBezTo>
                        <a:pt x="6" y="86"/>
                        <a:pt x="8" y="88"/>
                        <a:pt x="8" y="88"/>
                      </a:cubicBezTo>
                      <a:cubicBezTo>
                        <a:pt x="8" y="90"/>
                        <a:pt x="8" y="90"/>
                        <a:pt x="8" y="90"/>
                      </a:cubicBezTo>
                      <a:cubicBezTo>
                        <a:pt x="8" y="90"/>
                        <a:pt x="9" y="91"/>
                        <a:pt x="10" y="92"/>
                      </a:cubicBezTo>
                      <a:cubicBezTo>
                        <a:pt x="10" y="92"/>
                        <a:pt x="11" y="93"/>
                        <a:pt x="11" y="93"/>
                      </a:cubicBezTo>
                      <a:cubicBezTo>
                        <a:pt x="12" y="95"/>
                        <a:pt x="12" y="95"/>
                        <a:pt x="12" y="95"/>
                      </a:cubicBezTo>
                      <a:cubicBezTo>
                        <a:pt x="13" y="97"/>
                        <a:pt x="13" y="97"/>
                        <a:pt x="13" y="97"/>
                      </a:cubicBezTo>
                      <a:cubicBezTo>
                        <a:pt x="14" y="98"/>
                        <a:pt x="14" y="98"/>
                        <a:pt x="14" y="98"/>
                      </a:cubicBezTo>
                      <a:cubicBezTo>
                        <a:pt x="15" y="100"/>
                        <a:pt x="15" y="100"/>
                        <a:pt x="15" y="100"/>
                      </a:cubicBezTo>
                      <a:cubicBezTo>
                        <a:pt x="16" y="101"/>
                        <a:pt x="16" y="101"/>
                        <a:pt x="16" y="101"/>
                      </a:cubicBezTo>
                      <a:cubicBezTo>
                        <a:pt x="17" y="102"/>
                        <a:pt x="17" y="102"/>
                        <a:pt x="17" y="102"/>
                      </a:cubicBezTo>
                      <a:cubicBezTo>
                        <a:pt x="17" y="102"/>
                        <a:pt x="17" y="103"/>
                        <a:pt x="18" y="103"/>
                      </a:cubicBezTo>
                      <a:cubicBezTo>
                        <a:pt x="19" y="103"/>
                        <a:pt x="20" y="103"/>
                        <a:pt x="20" y="103"/>
                      </a:cubicBezTo>
                      <a:cubicBezTo>
                        <a:pt x="21" y="103"/>
                        <a:pt x="21" y="104"/>
                        <a:pt x="22" y="101"/>
                      </a:cubicBezTo>
                      <a:cubicBezTo>
                        <a:pt x="22" y="99"/>
                        <a:pt x="22" y="98"/>
                        <a:pt x="22" y="98"/>
                      </a:cubicBezTo>
                      <a:cubicBezTo>
                        <a:pt x="22" y="98"/>
                        <a:pt x="23" y="98"/>
                        <a:pt x="23" y="97"/>
                      </a:cubicBezTo>
                      <a:cubicBezTo>
                        <a:pt x="24" y="97"/>
                        <a:pt x="25" y="97"/>
                        <a:pt x="25" y="96"/>
                      </a:cubicBezTo>
                      <a:cubicBezTo>
                        <a:pt x="25" y="94"/>
                        <a:pt x="23" y="93"/>
                        <a:pt x="23" y="93"/>
                      </a:cubicBezTo>
                      <a:cubicBezTo>
                        <a:pt x="23" y="93"/>
                        <a:pt x="25" y="92"/>
                        <a:pt x="26" y="93"/>
                      </a:cubicBezTo>
                      <a:cubicBezTo>
                        <a:pt x="26" y="94"/>
                        <a:pt x="26" y="95"/>
                        <a:pt x="27" y="94"/>
                      </a:cubicBezTo>
                      <a:cubicBezTo>
                        <a:pt x="28" y="92"/>
                        <a:pt x="28" y="92"/>
                        <a:pt x="28" y="92"/>
                      </a:cubicBezTo>
                      <a:cubicBezTo>
                        <a:pt x="27" y="91"/>
                        <a:pt x="27" y="90"/>
                        <a:pt x="27" y="89"/>
                      </a:cubicBezTo>
                      <a:cubicBezTo>
                        <a:pt x="27" y="89"/>
                        <a:pt x="28" y="88"/>
                        <a:pt x="28" y="87"/>
                      </a:cubicBezTo>
                      <a:cubicBezTo>
                        <a:pt x="29" y="86"/>
                        <a:pt x="29" y="85"/>
                        <a:pt x="29" y="84"/>
                      </a:cubicBezTo>
                      <a:cubicBezTo>
                        <a:pt x="29" y="82"/>
                        <a:pt x="29" y="83"/>
                        <a:pt x="30" y="81"/>
                      </a:cubicBezTo>
                      <a:cubicBezTo>
                        <a:pt x="30" y="80"/>
                        <a:pt x="30" y="81"/>
                        <a:pt x="30" y="77"/>
                      </a:cubicBezTo>
                      <a:cubicBezTo>
                        <a:pt x="31" y="74"/>
                        <a:pt x="31" y="73"/>
                        <a:pt x="32" y="73"/>
                      </a:cubicBezTo>
                      <a:cubicBezTo>
                        <a:pt x="32" y="73"/>
                        <a:pt x="40" y="76"/>
                        <a:pt x="40" y="76"/>
                      </a:cubicBezTo>
                      <a:cubicBezTo>
                        <a:pt x="40" y="76"/>
                        <a:pt x="41" y="78"/>
                        <a:pt x="41" y="78"/>
                      </a:cubicBezTo>
                      <a:cubicBezTo>
                        <a:pt x="41" y="79"/>
                        <a:pt x="41" y="80"/>
                        <a:pt x="41" y="80"/>
                      </a:cubicBezTo>
                      <a:cubicBezTo>
                        <a:pt x="41" y="81"/>
                        <a:pt x="40" y="83"/>
                        <a:pt x="40" y="83"/>
                      </a:cubicBezTo>
                      <a:cubicBezTo>
                        <a:pt x="40" y="84"/>
                        <a:pt x="40" y="84"/>
                        <a:pt x="40" y="84"/>
                      </a:cubicBezTo>
                      <a:cubicBezTo>
                        <a:pt x="40" y="84"/>
                        <a:pt x="38" y="84"/>
                        <a:pt x="38" y="86"/>
                      </a:cubicBezTo>
                      <a:cubicBezTo>
                        <a:pt x="37" y="87"/>
                        <a:pt x="37" y="87"/>
                        <a:pt x="38" y="88"/>
                      </a:cubicBezTo>
                      <a:cubicBezTo>
                        <a:pt x="39" y="89"/>
                        <a:pt x="40" y="90"/>
                        <a:pt x="40" y="90"/>
                      </a:cubicBezTo>
                      <a:cubicBezTo>
                        <a:pt x="41" y="90"/>
                        <a:pt x="42" y="89"/>
                        <a:pt x="43" y="89"/>
                      </a:cubicBezTo>
                      <a:cubicBezTo>
                        <a:pt x="43" y="89"/>
                        <a:pt x="44" y="89"/>
                        <a:pt x="44" y="89"/>
                      </a:cubicBezTo>
                      <a:cubicBezTo>
                        <a:pt x="44" y="90"/>
                        <a:pt x="44" y="91"/>
                        <a:pt x="45" y="92"/>
                      </a:cubicBezTo>
                      <a:cubicBezTo>
                        <a:pt x="46" y="92"/>
                        <a:pt x="47" y="93"/>
                        <a:pt x="47" y="93"/>
                      </a:cubicBezTo>
                      <a:cubicBezTo>
                        <a:pt x="48" y="93"/>
                        <a:pt x="49" y="93"/>
                        <a:pt x="49" y="93"/>
                      </a:cubicBezTo>
                      <a:cubicBezTo>
                        <a:pt x="49" y="93"/>
                        <a:pt x="50" y="92"/>
                        <a:pt x="51" y="92"/>
                      </a:cubicBezTo>
                      <a:cubicBezTo>
                        <a:pt x="51" y="92"/>
                        <a:pt x="54" y="95"/>
                        <a:pt x="52" y="91"/>
                      </a:cubicBezTo>
                      <a:cubicBezTo>
                        <a:pt x="49" y="88"/>
                        <a:pt x="49" y="88"/>
                        <a:pt x="49" y="87"/>
                      </a:cubicBezTo>
                      <a:cubicBezTo>
                        <a:pt x="48" y="87"/>
                        <a:pt x="47" y="86"/>
                        <a:pt x="47" y="86"/>
                      </a:cubicBezTo>
                      <a:cubicBezTo>
                        <a:pt x="46" y="86"/>
                        <a:pt x="46" y="86"/>
                        <a:pt x="46" y="86"/>
                      </a:cubicBezTo>
                      <a:cubicBezTo>
                        <a:pt x="46" y="86"/>
                        <a:pt x="46" y="85"/>
                        <a:pt x="46" y="84"/>
                      </a:cubicBezTo>
                      <a:cubicBezTo>
                        <a:pt x="47" y="83"/>
                        <a:pt x="47" y="83"/>
                        <a:pt x="48" y="83"/>
                      </a:cubicBezTo>
                      <a:cubicBezTo>
                        <a:pt x="49" y="83"/>
                        <a:pt x="49" y="82"/>
                        <a:pt x="51" y="84"/>
                      </a:cubicBezTo>
                      <a:cubicBezTo>
                        <a:pt x="52" y="85"/>
                        <a:pt x="52" y="85"/>
                        <a:pt x="52" y="86"/>
                      </a:cubicBezTo>
                      <a:cubicBezTo>
                        <a:pt x="53" y="88"/>
                        <a:pt x="54" y="89"/>
                        <a:pt x="55" y="90"/>
                      </a:cubicBezTo>
                      <a:cubicBezTo>
                        <a:pt x="55" y="90"/>
                        <a:pt x="56" y="90"/>
                        <a:pt x="56" y="92"/>
                      </a:cubicBezTo>
                      <a:cubicBezTo>
                        <a:pt x="56" y="94"/>
                        <a:pt x="56" y="96"/>
                        <a:pt x="56" y="97"/>
                      </a:cubicBezTo>
                      <a:cubicBezTo>
                        <a:pt x="56" y="97"/>
                        <a:pt x="56" y="101"/>
                        <a:pt x="56" y="101"/>
                      </a:cubicBezTo>
                      <a:cubicBezTo>
                        <a:pt x="56" y="101"/>
                        <a:pt x="56" y="103"/>
                        <a:pt x="56" y="104"/>
                      </a:cubicBezTo>
                      <a:cubicBezTo>
                        <a:pt x="56" y="105"/>
                        <a:pt x="61" y="112"/>
                        <a:pt x="61" y="112"/>
                      </a:cubicBezTo>
                      <a:cubicBezTo>
                        <a:pt x="61" y="112"/>
                        <a:pt x="63" y="115"/>
                        <a:pt x="64" y="115"/>
                      </a:cubicBezTo>
                      <a:cubicBezTo>
                        <a:pt x="64" y="115"/>
                        <a:pt x="65" y="118"/>
                        <a:pt x="66" y="119"/>
                      </a:cubicBezTo>
                      <a:cubicBezTo>
                        <a:pt x="68" y="119"/>
                        <a:pt x="72" y="121"/>
                        <a:pt x="72" y="121"/>
                      </a:cubicBezTo>
                      <a:cubicBezTo>
                        <a:pt x="79" y="125"/>
                        <a:pt x="79" y="125"/>
                        <a:pt x="79" y="125"/>
                      </a:cubicBezTo>
                      <a:cubicBezTo>
                        <a:pt x="79" y="125"/>
                        <a:pt x="81" y="128"/>
                        <a:pt x="82" y="128"/>
                      </a:cubicBezTo>
                      <a:cubicBezTo>
                        <a:pt x="82" y="128"/>
                        <a:pt x="87" y="128"/>
                        <a:pt x="83" y="128"/>
                      </a:cubicBezTo>
                      <a:cubicBezTo>
                        <a:pt x="80" y="128"/>
                        <a:pt x="76" y="126"/>
                        <a:pt x="76" y="126"/>
                      </a:cubicBezTo>
                      <a:cubicBezTo>
                        <a:pt x="76" y="126"/>
                        <a:pt x="75" y="124"/>
                        <a:pt x="75" y="124"/>
                      </a:cubicBezTo>
                      <a:cubicBezTo>
                        <a:pt x="74" y="124"/>
                        <a:pt x="70" y="123"/>
                        <a:pt x="69" y="122"/>
                      </a:cubicBezTo>
                      <a:cubicBezTo>
                        <a:pt x="69" y="122"/>
                        <a:pt x="68" y="121"/>
                        <a:pt x="67" y="120"/>
                      </a:cubicBezTo>
                      <a:cubicBezTo>
                        <a:pt x="66" y="118"/>
                        <a:pt x="64" y="117"/>
                        <a:pt x="64" y="117"/>
                      </a:cubicBezTo>
                      <a:cubicBezTo>
                        <a:pt x="64" y="117"/>
                        <a:pt x="63" y="116"/>
                        <a:pt x="62" y="114"/>
                      </a:cubicBezTo>
                      <a:cubicBezTo>
                        <a:pt x="61" y="113"/>
                        <a:pt x="61" y="113"/>
                        <a:pt x="61" y="112"/>
                      </a:cubicBezTo>
                      <a:cubicBezTo>
                        <a:pt x="60" y="112"/>
                        <a:pt x="61" y="112"/>
                        <a:pt x="59" y="111"/>
                      </a:cubicBezTo>
                      <a:cubicBezTo>
                        <a:pt x="57" y="110"/>
                        <a:pt x="56" y="109"/>
                        <a:pt x="56" y="109"/>
                      </a:cubicBezTo>
                      <a:cubicBezTo>
                        <a:pt x="55" y="109"/>
                        <a:pt x="53" y="108"/>
                        <a:pt x="53" y="108"/>
                      </a:cubicBezTo>
                      <a:cubicBezTo>
                        <a:pt x="53" y="108"/>
                        <a:pt x="51" y="106"/>
                        <a:pt x="51" y="106"/>
                      </a:cubicBezTo>
                      <a:cubicBezTo>
                        <a:pt x="51" y="106"/>
                        <a:pt x="50" y="108"/>
                        <a:pt x="52" y="109"/>
                      </a:cubicBezTo>
                      <a:cubicBezTo>
                        <a:pt x="53" y="109"/>
                        <a:pt x="55" y="111"/>
                        <a:pt x="55" y="111"/>
                      </a:cubicBezTo>
                      <a:cubicBezTo>
                        <a:pt x="55" y="111"/>
                        <a:pt x="57" y="112"/>
                        <a:pt x="57" y="112"/>
                      </a:cubicBezTo>
                      <a:cubicBezTo>
                        <a:pt x="57" y="112"/>
                        <a:pt x="57" y="114"/>
                        <a:pt x="57" y="114"/>
                      </a:cubicBezTo>
                      <a:cubicBezTo>
                        <a:pt x="57" y="114"/>
                        <a:pt x="54" y="113"/>
                        <a:pt x="57" y="114"/>
                      </a:cubicBezTo>
                      <a:cubicBezTo>
                        <a:pt x="59" y="115"/>
                        <a:pt x="61" y="115"/>
                        <a:pt x="61" y="115"/>
                      </a:cubicBezTo>
                      <a:cubicBezTo>
                        <a:pt x="61" y="115"/>
                        <a:pt x="59" y="116"/>
                        <a:pt x="58" y="116"/>
                      </a:cubicBezTo>
                      <a:cubicBezTo>
                        <a:pt x="58" y="117"/>
                        <a:pt x="60" y="120"/>
                        <a:pt x="60" y="119"/>
                      </a:cubicBezTo>
                      <a:cubicBezTo>
                        <a:pt x="61" y="119"/>
                        <a:pt x="62" y="120"/>
                        <a:pt x="63" y="120"/>
                      </a:cubicBezTo>
                      <a:cubicBezTo>
                        <a:pt x="63" y="120"/>
                        <a:pt x="65" y="120"/>
                        <a:pt x="65" y="121"/>
                      </a:cubicBezTo>
                      <a:cubicBezTo>
                        <a:pt x="66" y="121"/>
                        <a:pt x="66" y="121"/>
                        <a:pt x="66" y="122"/>
                      </a:cubicBezTo>
                      <a:cubicBezTo>
                        <a:pt x="65" y="122"/>
                        <a:pt x="66" y="124"/>
                        <a:pt x="66" y="124"/>
                      </a:cubicBezTo>
                      <a:cubicBezTo>
                        <a:pt x="68" y="125"/>
                        <a:pt x="68" y="125"/>
                        <a:pt x="68" y="125"/>
                      </a:cubicBezTo>
                      <a:cubicBezTo>
                        <a:pt x="68" y="125"/>
                        <a:pt x="65" y="125"/>
                        <a:pt x="65" y="124"/>
                      </a:cubicBezTo>
                      <a:cubicBezTo>
                        <a:pt x="64" y="124"/>
                        <a:pt x="64" y="123"/>
                        <a:pt x="63" y="124"/>
                      </a:cubicBezTo>
                      <a:cubicBezTo>
                        <a:pt x="62" y="125"/>
                        <a:pt x="62" y="125"/>
                        <a:pt x="62" y="126"/>
                      </a:cubicBezTo>
                      <a:cubicBezTo>
                        <a:pt x="63" y="127"/>
                        <a:pt x="64" y="128"/>
                        <a:pt x="65" y="127"/>
                      </a:cubicBezTo>
                      <a:cubicBezTo>
                        <a:pt x="65" y="127"/>
                        <a:pt x="65" y="127"/>
                        <a:pt x="66" y="126"/>
                      </a:cubicBezTo>
                      <a:cubicBezTo>
                        <a:pt x="66" y="126"/>
                        <a:pt x="66" y="126"/>
                        <a:pt x="67" y="126"/>
                      </a:cubicBezTo>
                      <a:cubicBezTo>
                        <a:pt x="67" y="126"/>
                        <a:pt x="68" y="126"/>
                        <a:pt x="68" y="126"/>
                      </a:cubicBezTo>
                      <a:cubicBezTo>
                        <a:pt x="69" y="125"/>
                        <a:pt x="69" y="125"/>
                        <a:pt x="69" y="125"/>
                      </a:cubicBezTo>
                      <a:cubicBezTo>
                        <a:pt x="69" y="125"/>
                        <a:pt x="69" y="125"/>
                        <a:pt x="69" y="126"/>
                      </a:cubicBezTo>
                      <a:cubicBezTo>
                        <a:pt x="69" y="126"/>
                        <a:pt x="70" y="126"/>
                        <a:pt x="69" y="127"/>
                      </a:cubicBezTo>
                      <a:cubicBezTo>
                        <a:pt x="69" y="128"/>
                        <a:pt x="68" y="128"/>
                        <a:pt x="68" y="128"/>
                      </a:cubicBezTo>
                      <a:cubicBezTo>
                        <a:pt x="68" y="129"/>
                        <a:pt x="67" y="128"/>
                        <a:pt x="68" y="130"/>
                      </a:cubicBezTo>
                      <a:cubicBezTo>
                        <a:pt x="68" y="131"/>
                        <a:pt x="68" y="132"/>
                        <a:pt x="68" y="132"/>
                      </a:cubicBezTo>
                      <a:cubicBezTo>
                        <a:pt x="68" y="132"/>
                        <a:pt x="69" y="132"/>
                        <a:pt x="69" y="132"/>
                      </a:cubicBezTo>
                      <a:cubicBezTo>
                        <a:pt x="70" y="133"/>
                        <a:pt x="70" y="134"/>
                        <a:pt x="70" y="135"/>
                      </a:cubicBezTo>
                      <a:cubicBezTo>
                        <a:pt x="71" y="135"/>
                        <a:pt x="73" y="138"/>
                        <a:pt x="73" y="138"/>
                      </a:cubicBezTo>
                      <a:cubicBezTo>
                        <a:pt x="73" y="138"/>
                        <a:pt x="76" y="140"/>
                        <a:pt x="76" y="140"/>
                      </a:cubicBezTo>
                      <a:cubicBezTo>
                        <a:pt x="76" y="140"/>
                        <a:pt x="77" y="141"/>
                        <a:pt x="77" y="141"/>
                      </a:cubicBezTo>
                      <a:cubicBezTo>
                        <a:pt x="77" y="141"/>
                        <a:pt x="77" y="142"/>
                        <a:pt x="76" y="141"/>
                      </a:cubicBezTo>
                      <a:cubicBezTo>
                        <a:pt x="75" y="140"/>
                        <a:pt x="73" y="139"/>
                        <a:pt x="73" y="139"/>
                      </a:cubicBezTo>
                      <a:cubicBezTo>
                        <a:pt x="73" y="141"/>
                        <a:pt x="73" y="141"/>
                        <a:pt x="73" y="141"/>
                      </a:cubicBezTo>
                      <a:cubicBezTo>
                        <a:pt x="73" y="141"/>
                        <a:pt x="74" y="142"/>
                        <a:pt x="75" y="142"/>
                      </a:cubicBezTo>
                      <a:cubicBezTo>
                        <a:pt x="75" y="143"/>
                        <a:pt x="75" y="143"/>
                        <a:pt x="76" y="144"/>
                      </a:cubicBezTo>
                      <a:cubicBezTo>
                        <a:pt x="77" y="144"/>
                        <a:pt x="78" y="144"/>
                        <a:pt x="79" y="144"/>
                      </a:cubicBezTo>
                      <a:cubicBezTo>
                        <a:pt x="79" y="145"/>
                        <a:pt x="79" y="143"/>
                        <a:pt x="79" y="143"/>
                      </a:cubicBezTo>
                      <a:cubicBezTo>
                        <a:pt x="79" y="143"/>
                        <a:pt x="80" y="143"/>
                        <a:pt x="80" y="143"/>
                      </a:cubicBezTo>
                      <a:cubicBezTo>
                        <a:pt x="80" y="144"/>
                        <a:pt x="81" y="145"/>
                        <a:pt x="80" y="146"/>
                      </a:cubicBezTo>
                      <a:cubicBezTo>
                        <a:pt x="80" y="146"/>
                        <a:pt x="80" y="147"/>
                        <a:pt x="79" y="146"/>
                      </a:cubicBezTo>
                      <a:cubicBezTo>
                        <a:pt x="78" y="146"/>
                        <a:pt x="77" y="145"/>
                        <a:pt x="76" y="145"/>
                      </a:cubicBezTo>
                      <a:cubicBezTo>
                        <a:pt x="76" y="145"/>
                        <a:pt x="75" y="144"/>
                        <a:pt x="74" y="145"/>
                      </a:cubicBezTo>
                      <a:cubicBezTo>
                        <a:pt x="74" y="145"/>
                        <a:pt x="72" y="144"/>
                        <a:pt x="72" y="145"/>
                      </a:cubicBezTo>
                      <a:cubicBezTo>
                        <a:pt x="72" y="146"/>
                        <a:pt x="72" y="147"/>
                        <a:pt x="72" y="147"/>
                      </a:cubicBezTo>
                      <a:cubicBezTo>
                        <a:pt x="72" y="147"/>
                        <a:pt x="71" y="143"/>
                        <a:pt x="70" y="143"/>
                      </a:cubicBezTo>
                      <a:cubicBezTo>
                        <a:pt x="69" y="143"/>
                        <a:pt x="67" y="142"/>
                        <a:pt x="67" y="142"/>
                      </a:cubicBezTo>
                      <a:cubicBezTo>
                        <a:pt x="66" y="140"/>
                        <a:pt x="66" y="140"/>
                        <a:pt x="66" y="140"/>
                      </a:cubicBezTo>
                      <a:cubicBezTo>
                        <a:pt x="66" y="140"/>
                        <a:pt x="67" y="140"/>
                        <a:pt x="67" y="140"/>
                      </a:cubicBezTo>
                      <a:cubicBezTo>
                        <a:pt x="68" y="141"/>
                        <a:pt x="67" y="141"/>
                        <a:pt x="68" y="141"/>
                      </a:cubicBezTo>
                      <a:cubicBezTo>
                        <a:pt x="69" y="141"/>
                        <a:pt x="67" y="139"/>
                        <a:pt x="69" y="139"/>
                      </a:cubicBezTo>
                      <a:cubicBezTo>
                        <a:pt x="71" y="139"/>
                        <a:pt x="71" y="139"/>
                        <a:pt x="71" y="139"/>
                      </a:cubicBezTo>
                      <a:cubicBezTo>
                        <a:pt x="71" y="138"/>
                        <a:pt x="73" y="138"/>
                        <a:pt x="71" y="137"/>
                      </a:cubicBezTo>
                      <a:cubicBezTo>
                        <a:pt x="69" y="136"/>
                        <a:pt x="69" y="136"/>
                        <a:pt x="69" y="136"/>
                      </a:cubicBezTo>
                      <a:cubicBezTo>
                        <a:pt x="68" y="136"/>
                        <a:pt x="68" y="136"/>
                        <a:pt x="68" y="135"/>
                      </a:cubicBezTo>
                      <a:cubicBezTo>
                        <a:pt x="67" y="134"/>
                        <a:pt x="67" y="133"/>
                        <a:pt x="66" y="133"/>
                      </a:cubicBezTo>
                      <a:cubicBezTo>
                        <a:pt x="66" y="133"/>
                        <a:pt x="63" y="133"/>
                        <a:pt x="63" y="133"/>
                      </a:cubicBezTo>
                      <a:cubicBezTo>
                        <a:pt x="63" y="133"/>
                        <a:pt x="62" y="132"/>
                        <a:pt x="61" y="132"/>
                      </a:cubicBezTo>
                      <a:cubicBezTo>
                        <a:pt x="60" y="132"/>
                        <a:pt x="58" y="130"/>
                        <a:pt x="58" y="130"/>
                      </a:cubicBezTo>
                      <a:cubicBezTo>
                        <a:pt x="57" y="129"/>
                        <a:pt x="54" y="128"/>
                        <a:pt x="54" y="128"/>
                      </a:cubicBezTo>
                      <a:cubicBezTo>
                        <a:pt x="54" y="128"/>
                        <a:pt x="53" y="127"/>
                        <a:pt x="52" y="127"/>
                      </a:cubicBezTo>
                      <a:cubicBezTo>
                        <a:pt x="51" y="127"/>
                        <a:pt x="51" y="127"/>
                        <a:pt x="50" y="127"/>
                      </a:cubicBezTo>
                      <a:cubicBezTo>
                        <a:pt x="49" y="126"/>
                        <a:pt x="48" y="125"/>
                        <a:pt x="48" y="125"/>
                      </a:cubicBezTo>
                      <a:cubicBezTo>
                        <a:pt x="47" y="124"/>
                        <a:pt x="46" y="124"/>
                        <a:pt x="46" y="124"/>
                      </a:cubicBezTo>
                      <a:cubicBezTo>
                        <a:pt x="47" y="125"/>
                        <a:pt x="46" y="125"/>
                        <a:pt x="48" y="126"/>
                      </a:cubicBezTo>
                      <a:cubicBezTo>
                        <a:pt x="49" y="127"/>
                        <a:pt x="50" y="127"/>
                        <a:pt x="50" y="127"/>
                      </a:cubicBezTo>
                      <a:cubicBezTo>
                        <a:pt x="50" y="127"/>
                        <a:pt x="51" y="128"/>
                        <a:pt x="51" y="128"/>
                      </a:cubicBezTo>
                      <a:cubicBezTo>
                        <a:pt x="51" y="129"/>
                        <a:pt x="52" y="128"/>
                        <a:pt x="53" y="128"/>
                      </a:cubicBezTo>
                      <a:cubicBezTo>
                        <a:pt x="53" y="129"/>
                        <a:pt x="54" y="129"/>
                        <a:pt x="54" y="130"/>
                      </a:cubicBezTo>
                      <a:cubicBezTo>
                        <a:pt x="54" y="130"/>
                        <a:pt x="57" y="130"/>
                        <a:pt x="57" y="131"/>
                      </a:cubicBezTo>
                      <a:cubicBezTo>
                        <a:pt x="57" y="132"/>
                        <a:pt x="58" y="133"/>
                        <a:pt x="57" y="133"/>
                      </a:cubicBezTo>
                      <a:cubicBezTo>
                        <a:pt x="57" y="133"/>
                        <a:pt x="56" y="134"/>
                        <a:pt x="56" y="134"/>
                      </a:cubicBezTo>
                      <a:cubicBezTo>
                        <a:pt x="57" y="134"/>
                        <a:pt x="58" y="135"/>
                        <a:pt x="59" y="135"/>
                      </a:cubicBezTo>
                      <a:cubicBezTo>
                        <a:pt x="60" y="135"/>
                        <a:pt x="59" y="135"/>
                        <a:pt x="61" y="136"/>
                      </a:cubicBezTo>
                      <a:cubicBezTo>
                        <a:pt x="63" y="136"/>
                        <a:pt x="63" y="138"/>
                        <a:pt x="63" y="138"/>
                      </a:cubicBezTo>
                      <a:cubicBezTo>
                        <a:pt x="63" y="139"/>
                        <a:pt x="65" y="140"/>
                        <a:pt x="65" y="140"/>
                      </a:cubicBezTo>
                      <a:cubicBezTo>
                        <a:pt x="65" y="140"/>
                        <a:pt x="64" y="140"/>
                        <a:pt x="65" y="141"/>
                      </a:cubicBezTo>
                      <a:cubicBezTo>
                        <a:pt x="65" y="141"/>
                        <a:pt x="64" y="141"/>
                        <a:pt x="65" y="142"/>
                      </a:cubicBezTo>
                      <a:cubicBezTo>
                        <a:pt x="66" y="142"/>
                        <a:pt x="67" y="142"/>
                        <a:pt x="67" y="142"/>
                      </a:cubicBezTo>
                      <a:cubicBezTo>
                        <a:pt x="67" y="143"/>
                        <a:pt x="67" y="143"/>
                        <a:pt x="67" y="144"/>
                      </a:cubicBezTo>
                      <a:cubicBezTo>
                        <a:pt x="67" y="144"/>
                        <a:pt x="65" y="146"/>
                        <a:pt x="68" y="146"/>
                      </a:cubicBezTo>
                      <a:cubicBezTo>
                        <a:pt x="70" y="146"/>
                        <a:pt x="70" y="146"/>
                        <a:pt x="70" y="146"/>
                      </a:cubicBezTo>
                      <a:cubicBezTo>
                        <a:pt x="71" y="147"/>
                        <a:pt x="71" y="147"/>
                        <a:pt x="71" y="147"/>
                      </a:cubicBezTo>
                      <a:cubicBezTo>
                        <a:pt x="71" y="147"/>
                        <a:pt x="70" y="148"/>
                        <a:pt x="71" y="149"/>
                      </a:cubicBezTo>
                      <a:cubicBezTo>
                        <a:pt x="71" y="150"/>
                        <a:pt x="75" y="150"/>
                        <a:pt x="75" y="150"/>
                      </a:cubicBezTo>
                      <a:cubicBezTo>
                        <a:pt x="75" y="149"/>
                        <a:pt x="75" y="149"/>
                        <a:pt x="75" y="149"/>
                      </a:cubicBezTo>
                      <a:cubicBezTo>
                        <a:pt x="75" y="149"/>
                        <a:pt x="77" y="150"/>
                        <a:pt x="76" y="150"/>
                      </a:cubicBezTo>
                      <a:cubicBezTo>
                        <a:pt x="76" y="151"/>
                        <a:pt x="75" y="151"/>
                        <a:pt x="75" y="151"/>
                      </a:cubicBezTo>
                      <a:cubicBezTo>
                        <a:pt x="75" y="151"/>
                        <a:pt x="75" y="153"/>
                        <a:pt x="76" y="153"/>
                      </a:cubicBezTo>
                      <a:cubicBezTo>
                        <a:pt x="77" y="153"/>
                        <a:pt x="78" y="154"/>
                        <a:pt x="78" y="154"/>
                      </a:cubicBezTo>
                      <a:cubicBezTo>
                        <a:pt x="78" y="154"/>
                        <a:pt x="79" y="154"/>
                        <a:pt x="79" y="155"/>
                      </a:cubicBezTo>
                      <a:cubicBezTo>
                        <a:pt x="80" y="155"/>
                        <a:pt x="80" y="156"/>
                        <a:pt x="80" y="156"/>
                      </a:cubicBezTo>
                      <a:cubicBezTo>
                        <a:pt x="81" y="156"/>
                        <a:pt x="82" y="156"/>
                        <a:pt x="82" y="157"/>
                      </a:cubicBezTo>
                      <a:cubicBezTo>
                        <a:pt x="83" y="157"/>
                        <a:pt x="84" y="158"/>
                        <a:pt x="84" y="157"/>
                      </a:cubicBezTo>
                      <a:cubicBezTo>
                        <a:pt x="84" y="156"/>
                        <a:pt x="85" y="156"/>
                        <a:pt x="84" y="155"/>
                      </a:cubicBezTo>
                      <a:cubicBezTo>
                        <a:pt x="83" y="154"/>
                        <a:pt x="82" y="154"/>
                        <a:pt x="81" y="154"/>
                      </a:cubicBezTo>
                      <a:cubicBezTo>
                        <a:pt x="81" y="154"/>
                        <a:pt x="80" y="154"/>
                        <a:pt x="80" y="153"/>
                      </a:cubicBezTo>
                      <a:cubicBezTo>
                        <a:pt x="79" y="153"/>
                        <a:pt x="79" y="153"/>
                        <a:pt x="79" y="152"/>
                      </a:cubicBezTo>
                      <a:cubicBezTo>
                        <a:pt x="79" y="151"/>
                        <a:pt x="78" y="150"/>
                        <a:pt x="78" y="150"/>
                      </a:cubicBezTo>
                      <a:cubicBezTo>
                        <a:pt x="78" y="150"/>
                        <a:pt x="78" y="148"/>
                        <a:pt x="78" y="148"/>
                      </a:cubicBezTo>
                      <a:cubicBezTo>
                        <a:pt x="77" y="148"/>
                        <a:pt x="77" y="148"/>
                        <a:pt x="76" y="148"/>
                      </a:cubicBezTo>
                      <a:cubicBezTo>
                        <a:pt x="76" y="148"/>
                        <a:pt x="75" y="147"/>
                        <a:pt x="75" y="147"/>
                      </a:cubicBezTo>
                      <a:cubicBezTo>
                        <a:pt x="74" y="147"/>
                        <a:pt x="73" y="147"/>
                        <a:pt x="73" y="147"/>
                      </a:cubicBezTo>
                      <a:cubicBezTo>
                        <a:pt x="73" y="146"/>
                        <a:pt x="74" y="146"/>
                        <a:pt x="74" y="146"/>
                      </a:cubicBezTo>
                      <a:cubicBezTo>
                        <a:pt x="74" y="146"/>
                        <a:pt x="75" y="146"/>
                        <a:pt x="76" y="146"/>
                      </a:cubicBezTo>
                      <a:cubicBezTo>
                        <a:pt x="77" y="147"/>
                        <a:pt x="77" y="146"/>
                        <a:pt x="78" y="147"/>
                      </a:cubicBezTo>
                      <a:cubicBezTo>
                        <a:pt x="79" y="147"/>
                        <a:pt x="78" y="148"/>
                        <a:pt x="79" y="148"/>
                      </a:cubicBezTo>
                      <a:cubicBezTo>
                        <a:pt x="81" y="148"/>
                        <a:pt x="81" y="147"/>
                        <a:pt x="81" y="147"/>
                      </a:cubicBezTo>
                      <a:cubicBezTo>
                        <a:pt x="83" y="146"/>
                        <a:pt x="83" y="146"/>
                        <a:pt x="83" y="146"/>
                      </a:cubicBezTo>
                      <a:cubicBezTo>
                        <a:pt x="83" y="146"/>
                        <a:pt x="83" y="146"/>
                        <a:pt x="84" y="147"/>
                      </a:cubicBezTo>
                      <a:cubicBezTo>
                        <a:pt x="85" y="147"/>
                        <a:pt x="83" y="148"/>
                        <a:pt x="85" y="148"/>
                      </a:cubicBezTo>
                      <a:cubicBezTo>
                        <a:pt x="87" y="148"/>
                        <a:pt x="88" y="148"/>
                        <a:pt x="88" y="148"/>
                      </a:cubicBezTo>
                      <a:cubicBezTo>
                        <a:pt x="88" y="149"/>
                        <a:pt x="88" y="150"/>
                        <a:pt x="88" y="150"/>
                      </a:cubicBezTo>
                      <a:cubicBezTo>
                        <a:pt x="88" y="150"/>
                        <a:pt x="88" y="151"/>
                        <a:pt x="88" y="151"/>
                      </a:cubicBezTo>
                      <a:cubicBezTo>
                        <a:pt x="89" y="151"/>
                        <a:pt x="91" y="151"/>
                        <a:pt x="91" y="151"/>
                      </a:cubicBezTo>
                      <a:cubicBezTo>
                        <a:pt x="91" y="151"/>
                        <a:pt x="92" y="151"/>
                        <a:pt x="92" y="152"/>
                      </a:cubicBezTo>
                      <a:cubicBezTo>
                        <a:pt x="93" y="153"/>
                        <a:pt x="90" y="154"/>
                        <a:pt x="90" y="154"/>
                      </a:cubicBezTo>
                      <a:cubicBezTo>
                        <a:pt x="90" y="154"/>
                        <a:pt x="89" y="153"/>
                        <a:pt x="89" y="154"/>
                      </a:cubicBezTo>
                      <a:cubicBezTo>
                        <a:pt x="89" y="155"/>
                        <a:pt x="88" y="155"/>
                        <a:pt x="89" y="156"/>
                      </a:cubicBezTo>
                      <a:cubicBezTo>
                        <a:pt x="90" y="156"/>
                        <a:pt x="89" y="156"/>
                        <a:pt x="89" y="156"/>
                      </a:cubicBezTo>
                      <a:cubicBezTo>
                        <a:pt x="88" y="156"/>
                        <a:pt x="87" y="155"/>
                        <a:pt x="88" y="157"/>
                      </a:cubicBezTo>
                      <a:cubicBezTo>
                        <a:pt x="88" y="158"/>
                        <a:pt x="89" y="159"/>
                        <a:pt x="89" y="159"/>
                      </a:cubicBezTo>
                      <a:cubicBezTo>
                        <a:pt x="90" y="159"/>
                        <a:pt x="92" y="159"/>
                        <a:pt x="92" y="159"/>
                      </a:cubicBezTo>
                      <a:cubicBezTo>
                        <a:pt x="93" y="159"/>
                        <a:pt x="94" y="159"/>
                        <a:pt x="93" y="159"/>
                      </a:cubicBezTo>
                      <a:cubicBezTo>
                        <a:pt x="92" y="158"/>
                        <a:pt x="91" y="158"/>
                        <a:pt x="91" y="158"/>
                      </a:cubicBezTo>
                      <a:cubicBezTo>
                        <a:pt x="91" y="158"/>
                        <a:pt x="91" y="158"/>
                        <a:pt x="91" y="157"/>
                      </a:cubicBezTo>
                      <a:cubicBezTo>
                        <a:pt x="91" y="157"/>
                        <a:pt x="92" y="157"/>
                        <a:pt x="92" y="157"/>
                      </a:cubicBezTo>
                      <a:cubicBezTo>
                        <a:pt x="92" y="156"/>
                        <a:pt x="93" y="155"/>
                        <a:pt x="93" y="155"/>
                      </a:cubicBezTo>
                      <a:cubicBezTo>
                        <a:pt x="93" y="155"/>
                        <a:pt x="94" y="153"/>
                        <a:pt x="95" y="154"/>
                      </a:cubicBezTo>
                      <a:cubicBezTo>
                        <a:pt x="95" y="155"/>
                        <a:pt x="95" y="155"/>
                        <a:pt x="96" y="155"/>
                      </a:cubicBezTo>
                      <a:cubicBezTo>
                        <a:pt x="96" y="155"/>
                        <a:pt x="99" y="152"/>
                        <a:pt x="99" y="152"/>
                      </a:cubicBezTo>
                      <a:cubicBezTo>
                        <a:pt x="99" y="152"/>
                        <a:pt x="100" y="152"/>
                        <a:pt x="99" y="153"/>
                      </a:cubicBezTo>
                      <a:cubicBezTo>
                        <a:pt x="99" y="154"/>
                        <a:pt x="98" y="155"/>
                        <a:pt x="99" y="156"/>
                      </a:cubicBezTo>
                      <a:cubicBezTo>
                        <a:pt x="99" y="157"/>
                        <a:pt x="99" y="157"/>
                        <a:pt x="99" y="157"/>
                      </a:cubicBezTo>
                      <a:cubicBezTo>
                        <a:pt x="100" y="158"/>
                        <a:pt x="99" y="158"/>
                        <a:pt x="100" y="159"/>
                      </a:cubicBezTo>
                      <a:cubicBezTo>
                        <a:pt x="100" y="160"/>
                        <a:pt x="100" y="159"/>
                        <a:pt x="100" y="160"/>
                      </a:cubicBezTo>
                      <a:cubicBezTo>
                        <a:pt x="101" y="161"/>
                        <a:pt x="102" y="163"/>
                        <a:pt x="102" y="163"/>
                      </a:cubicBezTo>
                      <a:cubicBezTo>
                        <a:pt x="102" y="163"/>
                        <a:pt x="101" y="164"/>
                        <a:pt x="102" y="164"/>
                      </a:cubicBezTo>
                      <a:cubicBezTo>
                        <a:pt x="103" y="165"/>
                        <a:pt x="105" y="165"/>
                        <a:pt x="105" y="165"/>
                      </a:cubicBezTo>
                      <a:cubicBezTo>
                        <a:pt x="105" y="165"/>
                        <a:pt x="105" y="165"/>
                        <a:pt x="105" y="165"/>
                      </a:cubicBezTo>
                      <a:cubicBezTo>
                        <a:pt x="105" y="165"/>
                        <a:pt x="106" y="166"/>
                        <a:pt x="107" y="165"/>
                      </a:cubicBezTo>
                      <a:cubicBezTo>
                        <a:pt x="107" y="164"/>
                        <a:pt x="108" y="164"/>
                        <a:pt x="108" y="164"/>
                      </a:cubicBezTo>
                      <a:cubicBezTo>
                        <a:pt x="109" y="164"/>
                        <a:pt x="108" y="164"/>
                        <a:pt x="110" y="164"/>
                      </a:cubicBezTo>
                      <a:cubicBezTo>
                        <a:pt x="112" y="164"/>
                        <a:pt x="112" y="165"/>
                        <a:pt x="113" y="164"/>
                      </a:cubicBezTo>
                      <a:cubicBezTo>
                        <a:pt x="114" y="163"/>
                        <a:pt x="113" y="163"/>
                        <a:pt x="115" y="163"/>
                      </a:cubicBezTo>
                      <a:cubicBezTo>
                        <a:pt x="117" y="163"/>
                        <a:pt x="119" y="162"/>
                        <a:pt x="119" y="162"/>
                      </a:cubicBezTo>
                      <a:cubicBezTo>
                        <a:pt x="119" y="162"/>
                        <a:pt x="122" y="162"/>
                        <a:pt x="122" y="162"/>
                      </a:cubicBezTo>
                      <a:cubicBezTo>
                        <a:pt x="124" y="163"/>
                        <a:pt x="124" y="163"/>
                        <a:pt x="124" y="163"/>
                      </a:cubicBezTo>
                      <a:cubicBezTo>
                        <a:pt x="124" y="163"/>
                        <a:pt x="125" y="164"/>
                        <a:pt x="126" y="164"/>
                      </a:cubicBezTo>
                      <a:cubicBezTo>
                        <a:pt x="126" y="164"/>
                        <a:pt x="127" y="164"/>
                        <a:pt x="128" y="164"/>
                      </a:cubicBezTo>
                      <a:cubicBezTo>
                        <a:pt x="128" y="164"/>
                        <a:pt x="132" y="165"/>
                        <a:pt x="132" y="165"/>
                      </a:cubicBezTo>
                      <a:cubicBezTo>
                        <a:pt x="136" y="166"/>
                        <a:pt x="136" y="166"/>
                        <a:pt x="136" y="166"/>
                      </a:cubicBezTo>
                      <a:cubicBezTo>
                        <a:pt x="138" y="167"/>
                        <a:pt x="138" y="167"/>
                        <a:pt x="138" y="167"/>
                      </a:cubicBezTo>
                      <a:cubicBezTo>
                        <a:pt x="142" y="170"/>
                        <a:pt x="142" y="170"/>
                        <a:pt x="142" y="170"/>
                      </a:cubicBezTo>
                      <a:cubicBezTo>
                        <a:pt x="146" y="174"/>
                        <a:pt x="146" y="174"/>
                        <a:pt x="146" y="174"/>
                      </a:cubicBezTo>
                      <a:cubicBezTo>
                        <a:pt x="151" y="176"/>
                        <a:pt x="151" y="176"/>
                        <a:pt x="151" y="176"/>
                      </a:cubicBezTo>
                      <a:cubicBezTo>
                        <a:pt x="154" y="178"/>
                        <a:pt x="154" y="178"/>
                        <a:pt x="154" y="178"/>
                      </a:cubicBezTo>
                      <a:cubicBezTo>
                        <a:pt x="156" y="180"/>
                        <a:pt x="156" y="180"/>
                        <a:pt x="156" y="180"/>
                      </a:cubicBezTo>
                      <a:cubicBezTo>
                        <a:pt x="156" y="180"/>
                        <a:pt x="159" y="182"/>
                        <a:pt x="159" y="182"/>
                      </a:cubicBezTo>
                      <a:cubicBezTo>
                        <a:pt x="160" y="182"/>
                        <a:pt x="163" y="184"/>
                        <a:pt x="163" y="184"/>
                      </a:cubicBezTo>
                      <a:cubicBezTo>
                        <a:pt x="166" y="186"/>
                        <a:pt x="166" y="186"/>
                        <a:pt x="166" y="186"/>
                      </a:cubicBezTo>
                      <a:cubicBezTo>
                        <a:pt x="166" y="186"/>
                        <a:pt x="167" y="188"/>
                        <a:pt x="167" y="188"/>
                      </a:cubicBezTo>
                      <a:cubicBezTo>
                        <a:pt x="167" y="189"/>
                        <a:pt x="166" y="188"/>
                        <a:pt x="165" y="188"/>
                      </a:cubicBezTo>
                      <a:cubicBezTo>
                        <a:pt x="164" y="189"/>
                        <a:pt x="160" y="187"/>
                        <a:pt x="160" y="187"/>
                      </a:cubicBezTo>
                      <a:cubicBezTo>
                        <a:pt x="158" y="185"/>
                        <a:pt x="158" y="185"/>
                        <a:pt x="158" y="185"/>
                      </a:cubicBezTo>
                      <a:cubicBezTo>
                        <a:pt x="155" y="185"/>
                        <a:pt x="155" y="185"/>
                        <a:pt x="155" y="185"/>
                      </a:cubicBezTo>
                      <a:cubicBezTo>
                        <a:pt x="153" y="184"/>
                        <a:pt x="153" y="184"/>
                        <a:pt x="153" y="184"/>
                      </a:cubicBezTo>
                      <a:cubicBezTo>
                        <a:pt x="149" y="185"/>
                        <a:pt x="149" y="185"/>
                        <a:pt x="149" y="185"/>
                      </a:cubicBezTo>
                      <a:cubicBezTo>
                        <a:pt x="146" y="184"/>
                        <a:pt x="146" y="184"/>
                        <a:pt x="146" y="184"/>
                      </a:cubicBezTo>
                      <a:cubicBezTo>
                        <a:pt x="146" y="184"/>
                        <a:pt x="145" y="184"/>
                        <a:pt x="146" y="185"/>
                      </a:cubicBezTo>
                      <a:cubicBezTo>
                        <a:pt x="146" y="185"/>
                        <a:pt x="146" y="186"/>
                        <a:pt x="146" y="186"/>
                      </a:cubicBezTo>
                      <a:cubicBezTo>
                        <a:pt x="143" y="188"/>
                        <a:pt x="143" y="188"/>
                        <a:pt x="143" y="188"/>
                      </a:cubicBezTo>
                      <a:cubicBezTo>
                        <a:pt x="139" y="189"/>
                        <a:pt x="139" y="189"/>
                        <a:pt x="139" y="189"/>
                      </a:cubicBezTo>
                      <a:cubicBezTo>
                        <a:pt x="135" y="189"/>
                        <a:pt x="135" y="189"/>
                        <a:pt x="135" y="189"/>
                      </a:cubicBezTo>
                      <a:cubicBezTo>
                        <a:pt x="132" y="189"/>
                        <a:pt x="132" y="189"/>
                        <a:pt x="132" y="189"/>
                      </a:cubicBezTo>
                      <a:cubicBezTo>
                        <a:pt x="132" y="191"/>
                        <a:pt x="132" y="191"/>
                        <a:pt x="132" y="191"/>
                      </a:cubicBezTo>
                      <a:cubicBezTo>
                        <a:pt x="132" y="191"/>
                        <a:pt x="128" y="191"/>
                        <a:pt x="132" y="192"/>
                      </a:cubicBezTo>
                      <a:cubicBezTo>
                        <a:pt x="136" y="192"/>
                        <a:pt x="138" y="192"/>
                        <a:pt x="138" y="191"/>
                      </a:cubicBezTo>
                      <a:cubicBezTo>
                        <a:pt x="139" y="191"/>
                        <a:pt x="139" y="190"/>
                        <a:pt x="140" y="190"/>
                      </a:cubicBezTo>
                      <a:cubicBezTo>
                        <a:pt x="141" y="190"/>
                        <a:pt x="143" y="190"/>
                        <a:pt x="144" y="190"/>
                      </a:cubicBezTo>
                      <a:cubicBezTo>
                        <a:pt x="144" y="190"/>
                        <a:pt x="145" y="190"/>
                        <a:pt x="147" y="189"/>
                      </a:cubicBezTo>
                      <a:cubicBezTo>
                        <a:pt x="148" y="189"/>
                        <a:pt x="148" y="188"/>
                        <a:pt x="150" y="189"/>
                      </a:cubicBezTo>
                      <a:cubicBezTo>
                        <a:pt x="152" y="190"/>
                        <a:pt x="151" y="187"/>
                        <a:pt x="151" y="187"/>
                      </a:cubicBezTo>
                      <a:cubicBezTo>
                        <a:pt x="151" y="187"/>
                        <a:pt x="151" y="186"/>
                        <a:pt x="152" y="186"/>
                      </a:cubicBezTo>
                      <a:cubicBezTo>
                        <a:pt x="154" y="187"/>
                        <a:pt x="154" y="187"/>
                        <a:pt x="154" y="187"/>
                      </a:cubicBezTo>
                      <a:cubicBezTo>
                        <a:pt x="155" y="187"/>
                        <a:pt x="157" y="188"/>
                        <a:pt x="157" y="188"/>
                      </a:cubicBezTo>
                      <a:cubicBezTo>
                        <a:pt x="158" y="188"/>
                        <a:pt x="162" y="189"/>
                        <a:pt x="162" y="189"/>
                      </a:cubicBezTo>
                      <a:cubicBezTo>
                        <a:pt x="162" y="189"/>
                        <a:pt x="163" y="192"/>
                        <a:pt x="163" y="192"/>
                      </a:cubicBezTo>
                      <a:cubicBezTo>
                        <a:pt x="164" y="192"/>
                        <a:pt x="167" y="192"/>
                        <a:pt x="168" y="192"/>
                      </a:cubicBezTo>
                      <a:cubicBezTo>
                        <a:pt x="169" y="192"/>
                        <a:pt x="171" y="192"/>
                        <a:pt x="172" y="193"/>
                      </a:cubicBezTo>
                      <a:cubicBezTo>
                        <a:pt x="173" y="194"/>
                        <a:pt x="174" y="194"/>
                        <a:pt x="174" y="194"/>
                      </a:cubicBezTo>
                      <a:cubicBezTo>
                        <a:pt x="174" y="194"/>
                        <a:pt x="175" y="195"/>
                        <a:pt x="176" y="196"/>
                      </a:cubicBezTo>
                      <a:cubicBezTo>
                        <a:pt x="176" y="196"/>
                        <a:pt x="179" y="198"/>
                        <a:pt x="179" y="198"/>
                      </a:cubicBezTo>
                      <a:cubicBezTo>
                        <a:pt x="179" y="198"/>
                        <a:pt x="184" y="200"/>
                        <a:pt x="184" y="200"/>
                      </a:cubicBezTo>
                      <a:cubicBezTo>
                        <a:pt x="185" y="199"/>
                        <a:pt x="185" y="199"/>
                        <a:pt x="185" y="199"/>
                      </a:cubicBezTo>
                      <a:cubicBezTo>
                        <a:pt x="185" y="198"/>
                        <a:pt x="185" y="197"/>
                        <a:pt x="185" y="197"/>
                      </a:cubicBezTo>
                      <a:cubicBezTo>
                        <a:pt x="184" y="196"/>
                        <a:pt x="180" y="195"/>
                        <a:pt x="180" y="195"/>
                      </a:cubicBezTo>
                      <a:cubicBezTo>
                        <a:pt x="180" y="195"/>
                        <a:pt x="178" y="194"/>
                        <a:pt x="178" y="194"/>
                      </a:cubicBezTo>
                      <a:cubicBezTo>
                        <a:pt x="177" y="189"/>
                        <a:pt x="178" y="193"/>
                        <a:pt x="175" y="192"/>
                      </a:cubicBezTo>
                      <a:cubicBezTo>
                        <a:pt x="175" y="192"/>
                        <a:pt x="175" y="192"/>
                        <a:pt x="175" y="192"/>
                      </a:cubicBezTo>
                      <a:cubicBezTo>
                        <a:pt x="175" y="192"/>
                        <a:pt x="175" y="192"/>
                        <a:pt x="175" y="192"/>
                      </a:cubicBezTo>
                      <a:cubicBezTo>
                        <a:pt x="173" y="193"/>
                        <a:pt x="173" y="192"/>
                        <a:pt x="173" y="192"/>
                      </a:cubicBezTo>
                      <a:cubicBezTo>
                        <a:pt x="173" y="191"/>
                        <a:pt x="173" y="191"/>
                        <a:pt x="173" y="191"/>
                      </a:cubicBezTo>
                      <a:cubicBezTo>
                        <a:pt x="172" y="190"/>
                        <a:pt x="172" y="190"/>
                        <a:pt x="172" y="190"/>
                      </a:cubicBezTo>
                      <a:cubicBezTo>
                        <a:pt x="172" y="190"/>
                        <a:pt x="171" y="188"/>
                        <a:pt x="172" y="187"/>
                      </a:cubicBezTo>
                      <a:cubicBezTo>
                        <a:pt x="173" y="187"/>
                        <a:pt x="171" y="192"/>
                        <a:pt x="175" y="186"/>
                      </a:cubicBezTo>
                      <a:cubicBezTo>
                        <a:pt x="175" y="186"/>
                        <a:pt x="175" y="185"/>
                        <a:pt x="175" y="185"/>
                      </a:cubicBezTo>
                      <a:cubicBezTo>
                        <a:pt x="174" y="185"/>
                        <a:pt x="174" y="185"/>
                        <a:pt x="174" y="185"/>
                      </a:cubicBezTo>
                      <a:cubicBezTo>
                        <a:pt x="171" y="185"/>
                        <a:pt x="171" y="185"/>
                        <a:pt x="171" y="185"/>
                      </a:cubicBezTo>
                      <a:cubicBezTo>
                        <a:pt x="171" y="185"/>
                        <a:pt x="171" y="186"/>
                        <a:pt x="170" y="187"/>
                      </a:cubicBezTo>
                      <a:cubicBezTo>
                        <a:pt x="169" y="188"/>
                        <a:pt x="169" y="187"/>
                        <a:pt x="169" y="187"/>
                      </a:cubicBezTo>
                      <a:cubicBezTo>
                        <a:pt x="169" y="186"/>
                        <a:pt x="169" y="186"/>
                        <a:pt x="169" y="186"/>
                      </a:cubicBezTo>
                      <a:cubicBezTo>
                        <a:pt x="170" y="185"/>
                        <a:pt x="170" y="185"/>
                        <a:pt x="170" y="185"/>
                      </a:cubicBezTo>
                      <a:cubicBezTo>
                        <a:pt x="170" y="185"/>
                        <a:pt x="170" y="182"/>
                        <a:pt x="170" y="181"/>
                      </a:cubicBezTo>
                      <a:cubicBezTo>
                        <a:pt x="170" y="181"/>
                        <a:pt x="170" y="181"/>
                        <a:pt x="170" y="181"/>
                      </a:cubicBezTo>
                      <a:cubicBezTo>
                        <a:pt x="167" y="179"/>
                        <a:pt x="167" y="179"/>
                        <a:pt x="167" y="179"/>
                      </a:cubicBezTo>
                      <a:cubicBezTo>
                        <a:pt x="165" y="177"/>
                        <a:pt x="165" y="177"/>
                        <a:pt x="165" y="177"/>
                      </a:cubicBezTo>
                      <a:cubicBezTo>
                        <a:pt x="162" y="175"/>
                        <a:pt x="162" y="175"/>
                        <a:pt x="162" y="175"/>
                      </a:cubicBezTo>
                      <a:cubicBezTo>
                        <a:pt x="158" y="171"/>
                        <a:pt x="158" y="171"/>
                        <a:pt x="158" y="171"/>
                      </a:cubicBezTo>
                      <a:cubicBezTo>
                        <a:pt x="156" y="170"/>
                        <a:pt x="156" y="170"/>
                        <a:pt x="156" y="170"/>
                      </a:cubicBezTo>
                      <a:cubicBezTo>
                        <a:pt x="154" y="168"/>
                        <a:pt x="154" y="168"/>
                        <a:pt x="154" y="168"/>
                      </a:cubicBezTo>
                      <a:cubicBezTo>
                        <a:pt x="154" y="166"/>
                        <a:pt x="154" y="166"/>
                        <a:pt x="154" y="166"/>
                      </a:cubicBezTo>
                      <a:cubicBezTo>
                        <a:pt x="153" y="162"/>
                        <a:pt x="153" y="162"/>
                        <a:pt x="153" y="162"/>
                      </a:cubicBezTo>
                      <a:cubicBezTo>
                        <a:pt x="153" y="162"/>
                        <a:pt x="153" y="162"/>
                        <a:pt x="153" y="162"/>
                      </a:cubicBezTo>
                      <a:cubicBezTo>
                        <a:pt x="153" y="162"/>
                        <a:pt x="149" y="161"/>
                        <a:pt x="147" y="160"/>
                      </a:cubicBezTo>
                      <a:cubicBezTo>
                        <a:pt x="145" y="159"/>
                        <a:pt x="145" y="159"/>
                        <a:pt x="145" y="159"/>
                      </a:cubicBezTo>
                      <a:cubicBezTo>
                        <a:pt x="143" y="156"/>
                        <a:pt x="143" y="156"/>
                        <a:pt x="143" y="156"/>
                      </a:cubicBezTo>
                      <a:cubicBezTo>
                        <a:pt x="142" y="155"/>
                        <a:pt x="142" y="155"/>
                        <a:pt x="142" y="155"/>
                      </a:cubicBezTo>
                      <a:cubicBezTo>
                        <a:pt x="139" y="152"/>
                        <a:pt x="139" y="152"/>
                        <a:pt x="139" y="152"/>
                      </a:cubicBezTo>
                      <a:cubicBezTo>
                        <a:pt x="138" y="152"/>
                        <a:pt x="138" y="152"/>
                        <a:pt x="138" y="152"/>
                      </a:cubicBezTo>
                      <a:cubicBezTo>
                        <a:pt x="133" y="150"/>
                        <a:pt x="133" y="150"/>
                        <a:pt x="133" y="150"/>
                      </a:cubicBezTo>
                      <a:cubicBezTo>
                        <a:pt x="132" y="148"/>
                        <a:pt x="132" y="148"/>
                        <a:pt x="132" y="148"/>
                      </a:cubicBezTo>
                      <a:cubicBezTo>
                        <a:pt x="130" y="147"/>
                        <a:pt x="130" y="147"/>
                        <a:pt x="130" y="147"/>
                      </a:cubicBezTo>
                      <a:cubicBezTo>
                        <a:pt x="129" y="145"/>
                        <a:pt x="129" y="145"/>
                        <a:pt x="129" y="145"/>
                      </a:cubicBezTo>
                      <a:cubicBezTo>
                        <a:pt x="126" y="144"/>
                        <a:pt x="126" y="144"/>
                        <a:pt x="126" y="144"/>
                      </a:cubicBezTo>
                      <a:cubicBezTo>
                        <a:pt x="125" y="142"/>
                        <a:pt x="125" y="142"/>
                        <a:pt x="125" y="142"/>
                      </a:cubicBezTo>
                      <a:cubicBezTo>
                        <a:pt x="124" y="141"/>
                        <a:pt x="124" y="141"/>
                        <a:pt x="124" y="141"/>
                      </a:cubicBezTo>
                      <a:cubicBezTo>
                        <a:pt x="121" y="137"/>
                        <a:pt x="121" y="137"/>
                        <a:pt x="121" y="137"/>
                      </a:cubicBezTo>
                      <a:cubicBezTo>
                        <a:pt x="118" y="135"/>
                        <a:pt x="118" y="135"/>
                        <a:pt x="118" y="135"/>
                      </a:cubicBezTo>
                      <a:cubicBezTo>
                        <a:pt x="117" y="134"/>
                        <a:pt x="117" y="134"/>
                        <a:pt x="117" y="134"/>
                      </a:cubicBezTo>
                      <a:cubicBezTo>
                        <a:pt x="116" y="133"/>
                        <a:pt x="116" y="133"/>
                        <a:pt x="116" y="133"/>
                      </a:cubicBezTo>
                      <a:cubicBezTo>
                        <a:pt x="114" y="130"/>
                        <a:pt x="114" y="130"/>
                        <a:pt x="114" y="130"/>
                      </a:cubicBezTo>
                      <a:cubicBezTo>
                        <a:pt x="111" y="127"/>
                        <a:pt x="111" y="127"/>
                        <a:pt x="111" y="127"/>
                      </a:cubicBezTo>
                      <a:cubicBezTo>
                        <a:pt x="109" y="125"/>
                        <a:pt x="109" y="125"/>
                        <a:pt x="109" y="125"/>
                      </a:cubicBezTo>
                      <a:cubicBezTo>
                        <a:pt x="107" y="122"/>
                        <a:pt x="107" y="122"/>
                        <a:pt x="107" y="122"/>
                      </a:cubicBezTo>
                      <a:cubicBezTo>
                        <a:pt x="109" y="120"/>
                        <a:pt x="109" y="120"/>
                        <a:pt x="109" y="120"/>
                      </a:cubicBezTo>
                      <a:cubicBezTo>
                        <a:pt x="108" y="119"/>
                        <a:pt x="107" y="119"/>
                        <a:pt x="107" y="118"/>
                      </a:cubicBezTo>
                      <a:cubicBezTo>
                        <a:pt x="106" y="118"/>
                        <a:pt x="104" y="117"/>
                        <a:pt x="105" y="116"/>
                      </a:cubicBezTo>
                      <a:cubicBezTo>
                        <a:pt x="105" y="115"/>
                        <a:pt x="104" y="114"/>
                        <a:pt x="104" y="112"/>
                      </a:cubicBezTo>
                      <a:cubicBezTo>
                        <a:pt x="104" y="111"/>
                        <a:pt x="104" y="110"/>
                        <a:pt x="103" y="110"/>
                      </a:cubicBezTo>
                      <a:cubicBezTo>
                        <a:pt x="102" y="109"/>
                        <a:pt x="102" y="109"/>
                        <a:pt x="102" y="109"/>
                      </a:cubicBezTo>
                      <a:cubicBezTo>
                        <a:pt x="101" y="109"/>
                        <a:pt x="100" y="109"/>
                        <a:pt x="100" y="109"/>
                      </a:cubicBezTo>
                      <a:cubicBezTo>
                        <a:pt x="99" y="109"/>
                        <a:pt x="99" y="109"/>
                        <a:pt x="99" y="109"/>
                      </a:cubicBezTo>
                      <a:cubicBezTo>
                        <a:pt x="99" y="109"/>
                        <a:pt x="100" y="107"/>
                        <a:pt x="100" y="105"/>
                      </a:cubicBezTo>
                      <a:cubicBezTo>
                        <a:pt x="96" y="104"/>
                        <a:pt x="96" y="104"/>
                        <a:pt x="96" y="104"/>
                      </a:cubicBezTo>
                      <a:cubicBezTo>
                        <a:pt x="96" y="104"/>
                        <a:pt x="96" y="101"/>
                        <a:pt x="94" y="100"/>
                      </a:cubicBezTo>
                      <a:cubicBezTo>
                        <a:pt x="92" y="100"/>
                        <a:pt x="92" y="100"/>
                        <a:pt x="92" y="100"/>
                      </a:cubicBezTo>
                      <a:cubicBezTo>
                        <a:pt x="91" y="101"/>
                        <a:pt x="91" y="102"/>
                        <a:pt x="91" y="102"/>
                      </a:cubicBezTo>
                      <a:cubicBezTo>
                        <a:pt x="87" y="98"/>
                        <a:pt x="87" y="98"/>
                        <a:pt x="87" y="98"/>
                      </a:cubicBezTo>
                      <a:cubicBezTo>
                        <a:pt x="87" y="98"/>
                        <a:pt x="87" y="97"/>
                        <a:pt x="88" y="95"/>
                      </a:cubicBezTo>
                      <a:cubicBezTo>
                        <a:pt x="90" y="93"/>
                        <a:pt x="88" y="92"/>
                        <a:pt x="88" y="92"/>
                      </a:cubicBezTo>
                      <a:cubicBezTo>
                        <a:pt x="87" y="89"/>
                        <a:pt x="87" y="89"/>
                        <a:pt x="87" y="89"/>
                      </a:cubicBezTo>
                      <a:cubicBezTo>
                        <a:pt x="88" y="87"/>
                        <a:pt x="88" y="87"/>
                        <a:pt x="88" y="87"/>
                      </a:cubicBezTo>
                      <a:cubicBezTo>
                        <a:pt x="87" y="86"/>
                        <a:pt x="87" y="86"/>
                        <a:pt x="87" y="86"/>
                      </a:cubicBezTo>
                      <a:cubicBezTo>
                        <a:pt x="86" y="85"/>
                        <a:pt x="86" y="85"/>
                        <a:pt x="86" y="85"/>
                      </a:cubicBezTo>
                      <a:cubicBezTo>
                        <a:pt x="86" y="85"/>
                        <a:pt x="86" y="85"/>
                        <a:pt x="86" y="85"/>
                      </a:cubicBezTo>
                      <a:cubicBezTo>
                        <a:pt x="86" y="85"/>
                        <a:pt x="86" y="85"/>
                        <a:pt x="86" y="85"/>
                      </a:cubicBezTo>
                      <a:cubicBezTo>
                        <a:pt x="88" y="81"/>
                        <a:pt x="88" y="81"/>
                        <a:pt x="88" y="81"/>
                      </a:cubicBezTo>
                      <a:cubicBezTo>
                        <a:pt x="88" y="81"/>
                        <a:pt x="87" y="77"/>
                        <a:pt x="88" y="76"/>
                      </a:cubicBezTo>
                      <a:cubicBezTo>
                        <a:pt x="88" y="76"/>
                        <a:pt x="88" y="76"/>
                        <a:pt x="88" y="76"/>
                      </a:cubicBezTo>
                      <a:cubicBezTo>
                        <a:pt x="88" y="75"/>
                        <a:pt x="88" y="75"/>
                        <a:pt x="89" y="75"/>
                      </a:cubicBezTo>
                      <a:cubicBezTo>
                        <a:pt x="89" y="74"/>
                        <a:pt x="94" y="73"/>
                        <a:pt x="94" y="73"/>
                      </a:cubicBezTo>
                      <a:cubicBezTo>
                        <a:pt x="96" y="72"/>
                        <a:pt x="96" y="72"/>
                        <a:pt x="96" y="72"/>
                      </a:cubicBezTo>
                      <a:cubicBezTo>
                        <a:pt x="100" y="77"/>
                        <a:pt x="100" y="77"/>
                        <a:pt x="100" y="77"/>
                      </a:cubicBezTo>
                      <a:cubicBezTo>
                        <a:pt x="104" y="81"/>
                        <a:pt x="104" y="81"/>
                        <a:pt x="104" y="81"/>
                      </a:cubicBezTo>
                      <a:cubicBezTo>
                        <a:pt x="107" y="83"/>
                        <a:pt x="107" y="83"/>
                        <a:pt x="107" y="83"/>
                      </a:cubicBezTo>
                      <a:cubicBezTo>
                        <a:pt x="107" y="83"/>
                        <a:pt x="108" y="82"/>
                        <a:pt x="109" y="82"/>
                      </a:cubicBezTo>
                      <a:cubicBezTo>
                        <a:pt x="109" y="81"/>
                        <a:pt x="109" y="79"/>
                        <a:pt x="109" y="79"/>
                      </a:cubicBezTo>
                      <a:cubicBezTo>
                        <a:pt x="111" y="77"/>
                        <a:pt x="111" y="77"/>
                        <a:pt x="111" y="77"/>
                      </a:cubicBezTo>
                      <a:cubicBezTo>
                        <a:pt x="112" y="75"/>
                        <a:pt x="112" y="75"/>
                        <a:pt x="112" y="75"/>
                      </a:cubicBezTo>
                      <a:cubicBezTo>
                        <a:pt x="112" y="73"/>
                        <a:pt x="112" y="73"/>
                        <a:pt x="112" y="73"/>
                      </a:cubicBezTo>
                      <a:cubicBezTo>
                        <a:pt x="114" y="72"/>
                        <a:pt x="114" y="72"/>
                        <a:pt x="114" y="72"/>
                      </a:cubicBezTo>
                      <a:cubicBezTo>
                        <a:pt x="117" y="71"/>
                        <a:pt x="117" y="71"/>
                        <a:pt x="117" y="71"/>
                      </a:cubicBezTo>
                      <a:cubicBezTo>
                        <a:pt x="121" y="70"/>
                        <a:pt x="121" y="70"/>
                        <a:pt x="121" y="70"/>
                      </a:cubicBezTo>
                      <a:cubicBezTo>
                        <a:pt x="121" y="70"/>
                        <a:pt x="124" y="71"/>
                        <a:pt x="125" y="71"/>
                      </a:cubicBezTo>
                      <a:cubicBezTo>
                        <a:pt x="125" y="71"/>
                        <a:pt x="126" y="71"/>
                        <a:pt x="126" y="71"/>
                      </a:cubicBezTo>
                      <a:cubicBezTo>
                        <a:pt x="128" y="68"/>
                        <a:pt x="128" y="68"/>
                        <a:pt x="128" y="68"/>
                      </a:cubicBezTo>
                      <a:cubicBezTo>
                        <a:pt x="128" y="68"/>
                        <a:pt x="128" y="68"/>
                        <a:pt x="128" y="68"/>
                      </a:cubicBezTo>
                      <a:cubicBezTo>
                        <a:pt x="129" y="66"/>
                        <a:pt x="129" y="66"/>
                        <a:pt x="129" y="66"/>
                      </a:cubicBezTo>
                      <a:cubicBezTo>
                        <a:pt x="134" y="68"/>
                        <a:pt x="134" y="68"/>
                        <a:pt x="134" y="68"/>
                      </a:cubicBezTo>
                      <a:cubicBezTo>
                        <a:pt x="136" y="70"/>
                        <a:pt x="136" y="70"/>
                        <a:pt x="136" y="70"/>
                      </a:cubicBezTo>
                      <a:cubicBezTo>
                        <a:pt x="141" y="71"/>
                        <a:pt x="141" y="71"/>
                        <a:pt x="141" y="71"/>
                      </a:cubicBezTo>
                      <a:cubicBezTo>
                        <a:pt x="141" y="71"/>
                        <a:pt x="141" y="71"/>
                        <a:pt x="141" y="71"/>
                      </a:cubicBezTo>
                      <a:cubicBezTo>
                        <a:pt x="143" y="71"/>
                        <a:pt x="143" y="71"/>
                        <a:pt x="143" y="71"/>
                      </a:cubicBezTo>
                      <a:cubicBezTo>
                        <a:pt x="143" y="70"/>
                        <a:pt x="143" y="70"/>
                        <a:pt x="143" y="70"/>
                      </a:cubicBezTo>
                      <a:cubicBezTo>
                        <a:pt x="147" y="70"/>
                        <a:pt x="147" y="70"/>
                        <a:pt x="147" y="70"/>
                      </a:cubicBezTo>
                      <a:cubicBezTo>
                        <a:pt x="152" y="71"/>
                        <a:pt x="152" y="71"/>
                        <a:pt x="152" y="71"/>
                      </a:cubicBezTo>
                      <a:cubicBezTo>
                        <a:pt x="155" y="71"/>
                        <a:pt x="155" y="71"/>
                        <a:pt x="155" y="71"/>
                      </a:cubicBezTo>
                      <a:cubicBezTo>
                        <a:pt x="160" y="71"/>
                        <a:pt x="160" y="71"/>
                        <a:pt x="160" y="71"/>
                      </a:cubicBezTo>
                      <a:cubicBezTo>
                        <a:pt x="163" y="72"/>
                        <a:pt x="163" y="72"/>
                        <a:pt x="163" y="72"/>
                      </a:cubicBezTo>
                      <a:cubicBezTo>
                        <a:pt x="165" y="73"/>
                        <a:pt x="165" y="73"/>
                        <a:pt x="165" y="73"/>
                      </a:cubicBezTo>
                      <a:cubicBezTo>
                        <a:pt x="165" y="73"/>
                        <a:pt x="165" y="73"/>
                        <a:pt x="166" y="72"/>
                      </a:cubicBezTo>
                      <a:cubicBezTo>
                        <a:pt x="166" y="72"/>
                        <a:pt x="169" y="72"/>
                        <a:pt x="169" y="72"/>
                      </a:cubicBezTo>
                      <a:cubicBezTo>
                        <a:pt x="170" y="69"/>
                        <a:pt x="170" y="69"/>
                        <a:pt x="170" y="69"/>
                      </a:cubicBezTo>
                      <a:cubicBezTo>
                        <a:pt x="171" y="71"/>
                        <a:pt x="171" y="71"/>
                        <a:pt x="171" y="71"/>
                      </a:cubicBezTo>
                      <a:cubicBezTo>
                        <a:pt x="172" y="71"/>
                        <a:pt x="174" y="71"/>
                        <a:pt x="174" y="71"/>
                      </a:cubicBezTo>
                      <a:cubicBezTo>
                        <a:pt x="175" y="68"/>
                        <a:pt x="175" y="68"/>
                        <a:pt x="175" y="68"/>
                      </a:cubicBezTo>
                      <a:cubicBezTo>
                        <a:pt x="176" y="69"/>
                        <a:pt x="176" y="69"/>
                        <a:pt x="176" y="69"/>
                      </a:cubicBezTo>
                      <a:cubicBezTo>
                        <a:pt x="177" y="69"/>
                        <a:pt x="177" y="69"/>
                        <a:pt x="178" y="69"/>
                      </a:cubicBezTo>
                      <a:cubicBezTo>
                        <a:pt x="179" y="69"/>
                        <a:pt x="180" y="68"/>
                        <a:pt x="180" y="68"/>
                      </a:cubicBezTo>
                      <a:cubicBezTo>
                        <a:pt x="180" y="68"/>
                        <a:pt x="181" y="69"/>
                        <a:pt x="181" y="69"/>
                      </a:cubicBezTo>
                      <a:cubicBezTo>
                        <a:pt x="181" y="69"/>
                        <a:pt x="182" y="68"/>
                        <a:pt x="183" y="68"/>
                      </a:cubicBezTo>
                      <a:cubicBezTo>
                        <a:pt x="185" y="68"/>
                        <a:pt x="186" y="67"/>
                        <a:pt x="186" y="67"/>
                      </a:cubicBezTo>
                      <a:cubicBezTo>
                        <a:pt x="186" y="67"/>
                        <a:pt x="187" y="69"/>
                        <a:pt x="189" y="70"/>
                      </a:cubicBezTo>
                      <a:cubicBezTo>
                        <a:pt x="189" y="70"/>
                        <a:pt x="189" y="70"/>
                        <a:pt x="189" y="70"/>
                      </a:cubicBezTo>
                      <a:cubicBezTo>
                        <a:pt x="191" y="70"/>
                        <a:pt x="191" y="70"/>
                        <a:pt x="191" y="70"/>
                      </a:cubicBezTo>
                      <a:cubicBezTo>
                        <a:pt x="191" y="70"/>
                        <a:pt x="191" y="70"/>
                        <a:pt x="191" y="70"/>
                      </a:cubicBezTo>
                      <a:cubicBezTo>
                        <a:pt x="191" y="70"/>
                        <a:pt x="192" y="69"/>
                        <a:pt x="193" y="69"/>
                      </a:cubicBezTo>
                      <a:cubicBezTo>
                        <a:pt x="195" y="69"/>
                        <a:pt x="196" y="69"/>
                        <a:pt x="197" y="69"/>
                      </a:cubicBezTo>
                      <a:cubicBezTo>
                        <a:pt x="199" y="69"/>
                        <a:pt x="200" y="71"/>
                        <a:pt x="200" y="71"/>
                      </a:cubicBezTo>
                      <a:cubicBezTo>
                        <a:pt x="203" y="74"/>
                        <a:pt x="203" y="74"/>
                        <a:pt x="203" y="74"/>
                      </a:cubicBezTo>
                      <a:cubicBezTo>
                        <a:pt x="203" y="74"/>
                        <a:pt x="204" y="76"/>
                        <a:pt x="204" y="77"/>
                      </a:cubicBezTo>
                      <a:cubicBezTo>
                        <a:pt x="205" y="78"/>
                        <a:pt x="205" y="79"/>
                        <a:pt x="205" y="79"/>
                      </a:cubicBezTo>
                      <a:cubicBezTo>
                        <a:pt x="205" y="79"/>
                        <a:pt x="213" y="82"/>
                        <a:pt x="214" y="82"/>
                      </a:cubicBezTo>
                      <a:cubicBezTo>
                        <a:pt x="214" y="82"/>
                        <a:pt x="215" y="82"/>
                        <a:pt x="215" y="82"/>
                      </a:cubicBezTo>
                      <a:close/>
                      <a:moveTo>
                        <a:pt x="175" y="191"/>
                      </a:moveTo>
                      <a:cubicBezTo>
                        <a:pt x="175" y="191"/>
                        <a:pt x="175" y="191"/>
                        <a:pt x="175" y="191"/>
                      </a:cubicBezTo>
                      <a:cubicBezTo>
                        <a:pt x="176" y="191"/>
                        <a:pt x="176" y="190"/>
                        <a:pt x="176" y="190"/>
                      </a:cubicBezTo>
                      <a:cubicBezTo>
                        <a:pt x="179" y="190"/>
                        <a:pt x="179" y="190"/>
                        <a:pt x="179" y="190"/>
                      </a:cubicBezTo>
                      <a:cubicBezTo>
                        <a:pt x="179" y="190"/>
                        <a:pt x="179" y="190"/>
                        <a:pt x="179" y="190"/>
                      </a:cubicBezTo>
                      <a:cubicBezTo>
                        <a:pt x="182" y="191"/>
                        <a:pt x="182" y="191"/>
                        <a:pt x="182" y="191"/>
                      </a:cubicBezTo>
                      <a:cubicBezTo>
                        <a:pt x="184" y="193"/>
                        <a:pt x="184" y="193"/>
                        <a:pt x="184" y="193"/>
                      </a:cubicBezTo>
                      <a:cubicBezTo>
                        <a:pt x="185" y="195"/>
                        <a:pt x="185" y="195"/>
                        <a:pt x="185" y="195"/>
                      </a:cubicBezTo>
                      <a:cubicBezTo>
                        <a:pt x="187" y="197"/>
                        <a:pt x="187" y="197"/>
                        <a:pt x="187" y="197"/>
                      </a:cubicBezTo>
                      <a:cubicBezTo>
                        <a:pt x="192" y="200"/>
                        <a:pt x="192" y="200"/>
                        <a:pt x="192" y="200"/>
                      </a:cubicBezTo>
                      <a:cubicBezTo>
                        <a:pt x="198" y="203"/>
                        <a:pt x="198" y="203"/>
                        <a:pt x="198" y="203"/>
                      </a:cubicBezTo>
                      <a:cubicBezTo>
                        <a:pt x="198" y="203"/>
                        <a:pt x="202" y="205"/>
                        <a:pt x="203" y="205"/>
                      </a:cubicBezTo>
                      <a:cubicBezTo>
                        <a:pt x="203" y="205"/>
                        <a:pt x="203" y="206"/>
                        <a:pt x="204" y="206"/>
                      </a:cubicBezTo>
                      <a:cubicBezTo>
                        <a:pt x="204" y="207"/>
                        <a:pt x="206" y="210"/>
                        <a:pt x="206" y="210"/>
                      </a:cubicBezTo>
                      <a:cubicBezTo>
                        <a:pt x="207" y="211"/>
                        <a:pt x="204" y="209"/>
                        <a:pt x="204" y="209"/>
                      </a:cubicBezTo>
                      <a:cubicBezTo>
                        <a:pt x="204" y="209"/>
                        <a:pt x="203" y="207"/>
                        <a:pt x="202" y="206"/>
                      </a:cubicBezTo>
                      <a:cubicBezTo>
                        <a:pt x="200" y="206"/>
                        <a:pt x="198" y="206"/>
                        <a:pt x="197" y="205"/>
                      </a:cubicBezTo>
                      <a:cubicBezTo>
                        <a:pt x="196" y="204"/>
                        <a:pt x="196" y="203"/>
                        <a:pt x="196" y="203"/>
                      </a:cubicBezTo>
                      <a:cubicBezTo>
                        <a:pt x="195" y="203"/>
                        <a:pt x="195" y="201"/>
                        <a:pt x="192" y="201"/>
                      </a:cubicBezTo>
                      <a:cubicBezTo>
                        <a:pt x="189" y="200"/>
                        <a:pt x="189" y="201"/>
                        <a:pt x="188" y="199"/>
                      </a:cubicBezTo>
                      <a:cubicBezTo>
                        <a:pt x="187" y="196"/>
                        <a:pt x="187" y="198"/>
                        <a:pt x="186" y="196"/>
                      </a:cubicBezTo>
                      <a:cubicBezTo>
                        <a:pt x="184" y="195"/>
                        <a:pt x="185" y="196"/>
                        <a:pt x="181" y="195"/>
                      </a:cubicBezTo>
                      <a:cubicBezTo>
                        <a:pt x="178" y="193"/>
                        <a:pt x="180" y="194"/>
                        <a:pt x="180" y="193"/>
                      </a:cubicBezTo>
                      <a:cubicBezTo>
                        <a:pt x="179" y="191"/>
                        <a:pt x="180" y="192"/>
                        <a:pt x="178" y="192"/>
                      </a:cubicBezTo>
                      <a:cubicBezTo>
                        <a:pt x="177" y="191"/>
                        <a:pt x="178" y="191"/>
                        <a:pt x="177" y="191"/>
                      </a:cubicBezTo>
                      <a:cubicBezTo>
                        <a:pt x="177" y="191"/>
                        <a:pt x="176" y="192"/>
                        <a:pt x="175" y="192"/>
                      </a:cubicBezTo>
                      <a:cubicBezTo>
                        <a:pt x="175" y="191"/>
                        <a:pt x="175" y="191"/>
                        <a:pt x="175" y="191"/>
                      </a:cubicBezTo>
                      <a:close/>
                      <a:moveTo>
                        <a:pt x="169" y="198"/>
                      </a:moveTo>
                      <a:cubicBezTo>
                        <a:pt x="169" y="198"/>
                        <a:pt x="169" y="198"/>
                        <a:pt x="169" y="198"/>
                      </a:cubicBezTo>
                      <a:cubicBezTo>
                        <a:pt x="169" y="198"/>
                        <a:pt x="167" y="198"/>
                        <a:pt x="166" y="198"/>
                      </a:cubicBezTo>
                      <a:cubicBezTo>
                        <a:pt x="166" y="198"/>
                        <a:pt x="165" y="197"/>
                        <a:pt x="164" y="197"/>
                      </a:cubicBezTo>
                      <a:cubicBezTo>
                        <a:pt x="163" y="197"/>
                        <a:pt x="161" y="197"/>
                        <a:pt x="161" y="197"/>
                      </a:cubicBezTo>
                      <a:cubicBezTo>
                        <a:pt x="160" y="197"/>
                        <a:pt x="159" y="196"/>
                        <a:pt x="159" y="196"/>
                      </a:cubicBezTo>
                      <a:cubicBezTo>
                        <a:pt x="159" y="196"/>
                        <a:pt x="159" y="195"/>
                        <a:pt x="159" y="195"/>
                      </a:cubicBezTo>
                      <a:cubicBezTo>
                        <a:pt x="159" y="195"/>
                        <a:pt x="161" y="194"/>
                        <a:pt x="161" y="194"/>
                      </a:cubicBezTo>
                      <a:cubicBezTo>
                        <a:pt x="161" y="195"/>
                        <a:pt x="167" y="196"/>
                        <a:pt x="167" y="196"/>
                      </a:cubicBezTo>
                      <a:cubicBezTo>
                        <a:pt x="171" y="196"/>
                        <a:pt x="171" y="196"/>
                        <a:pt x="171" y="196"/>
                      </a:cubicBezTo>
                      <a:cubicBezTo>
                        <a:pt x="171" y="196"/>
                        <a:pt x="172" y="196"/>
                        <a:pt x="172" y="196"/>
                      </a:cubicBezTo>
                      <a:cubicBezTo>
                        <a:pt x="172" y="196"/>
                        <a:pt x="173" y="196"/>
                        <a:pt x="174" y="197"/>
                      </a:cubicBezTo>
                      <a:cubicBezTo>
                        <a:pt x="175" y="197"/>
                        <a:pt x="175" y="197"/>
                        <a:pt x="175" y="198"/>
                      </a:cubicBezTo>
                      <a:cubicBezTo>
                        <a:pt x="175" y="198"/>
                        <a:pt x="176" y="199"/>
                        <a:pt x="175" y="199"/>
                      </a:cubicBezTo>
                      <a:cubicBezTo>
                        <a:pt x="175" y="199"/>
                        <a:pt x="174" y="199"/>
                        <a:pt x="174" y="199"/>
                      </a:cubicBezTo>
                      <a:cubicBezTo>
                        <a:pt x="174" y="199"/>
                        <a:pt x="172" y="198"/>
                        <a:pt x="172" y="198"/>
                      </a:cubicBezTo>
                      <a:cubicBezTo>
                        <a:pt x="170" y="198"/>
                        <a:pt x="170" y="198"/>
                        <a:pt x="170" y="198"/>
                      </a:cubicBezTo>
                      <a:cubicBezTo>
                        <a:pt x="169" y="198"/>
                        <a:pt x="169" y="198"/>
                        <a:pt x="169" y="198"/>
                      </a:cubicBezTo>
                      <a:close/>
                      <a:moveTo>
                        <a:pt x="138" y="199"/>
                      </a:moveTo>
                      <a:cubicBezTo>
                        <a:pt x="138" y="199"/>
                        <a:pt x="138" y="199"/>
                        <a:pt x="138" y="199"/>
                      </a:cubicBezTo>
                      <a:cubicBezTo>
                        <a:pt x="138" y="199"/>
                        <a:pt x="142" y="198"/>
                        <a:pt x="142" y="198"/>
                      </a:cubicBezTo>
                      <a:cubicBezTo>
                        <a:pt x="144" y="199"/>
                        <a:pt x="144" y="199"/>
                        <a:pt x="144" y="199"/>
                      </a:cubicBezTo>
                      <a:cubicBezTo>
                        <a:pt x="144" y="199"/>
                        <a:pt x="144" y="200"/>
                        <a:pt x="143" y="200"/>
                      </a:cubicBezTo>
                      <a:cubicBezTo>
                        <a:pt x="143" y="200"/>
                        <a:pt x="141" y="202"/>
                        <a:pt x="141" y="202"/>
                      </a:cubicBezTo>
                      <a:cubicBezTo>
                        <a:pt x="138" y="200"/>
                        <a:pt x="138" y="200"/>
                        <a:pt x="138" y="200"/>
                      </a:cubicBezTo>
                      <a:cubicBezTo>
                        <a:pt x="138" y="199"/>
                        <a:pt x="138" y="199"/>
                        <a:pt x="138" y="199"/>
                      </a:cubicBezTo>
                      <a:close/>
                      <a:moveTo>
                        <a:pt x="107" y="194"/>
                      </a:moveTo>
                      <a:cubicBezTo>
                        <a:pt x="107" y="194"/>
                        <a:pt x="107" y="194"/>
                        <a:pt x="107" y="194"/>
                      </a:cubicBezTo>
                      <a:cubicBezTo>
                        <a:pt x="108" y="194"/>
                        <a:pt x="109" y="193"/>
                        <a:pt x="109" y="194"/>
                      </a:cubicBezTo>
                      <a:cubicBezTo>
                        <a:pt x="109" y="195"/>
                        <a:pt x="108" y="196"/>
                        <a:pt x="108" y="196"/>
                      </a:cubicBezTo>
                      <a:cubicBezTo>
                        <a:pt x="108" y="196"/>
                        <a:pt x="107" y="196"/>
                        <a:pt x="107" y="196"/>
                      </a:cubicBezTo>
                      <a:cubicBezTo>
                        <a:pt x="107" y="195"/>
                        <a:pt x="107" y="194"/>
                        <a:pt x="107" y="194"/>
                      </a:cubicBezTo>
                      <a:close/>
                      <a:moveTo>
                        <a:pt x="113" y="189"/>
                      </a:moveTo>
                      <a:cubicBezTo>
                        <a:pt x="113" y="189"/>
                        <a:pt x="113" y="189"/>
                        <a:pt x="113" y="189"/>
                      </a:cubicBezTo>
                      <a:cubicBezTo>
                        <a:pt x="113" y="189"/>
                        <a:pt x="115" y="188"/>
                        <a:pt x="115" y="188"/>
                      </a:cubicBezTo>
                      <a:cubicBezTo>
                        <a:pt x="116" y="189"/>
                        <a:pt x="117" y="189"/>
                        <a:pt x="116" y="190"/>
                      </a:cubicBezTo>
                      <a:cubicBezTo>
                        <a:pt x="116" y="190"/>
                        <a:pt x="116" y="190"/>
                        <a:pt x="115" y="191"/>
                      </a:cubicBezTo>
                      <a:cubicBezTo>
                        <a:pt x="114" y="192"/>
                        <a:pt x="112" y="193"/>
                        <a:pt x="112" y="193"/>
                      </a:cubicBezTo>
                      <a:cubicBezTo>
                        <a:pt x="112" y="193"/>
                        <a:pt x="112" y="193"/>
                        <a:pt x="111" y="193"/>
                      </a:cubicBezTo>
                      <a:cubicBezTo>
                        <a:pt x="109" y="192"/>
                        <a:pt x="108" y="191"/>
                        <a:pt x="108" y="191"/>
                      </a:cubicBezTo>
                      <a:cubicBezTo>
                        <a:pt x="108" y="191"/>
                        <a:pt x="107" y="190"/>
                        <a:pt x="109" y="190"/>
                      </a:cubicBezTo>
                      <a:cubicBezTo>
                        <a:pt x="110" y="189"/>
                        <a:pt x="111" y="189"/>
                        <a:pt x="111" y="189"/>
                      </a:cubicBezTo>
                      <a:cubicBezTo>
                        <a:pt x="112" y="189"/>
                        <a:pt x="113" y="189"/>
                        <a:pt x="113" y="189"/>
                      </a:cubicBezTo>
                      <a:close/>
                      <a:moveTo>
                        <a:pt x="124" y="178"/>
                      </a:moveTo>
                      <a:cubicBezTo>
                        <a:pt x="124" y="178"/>
                        <a:pt x="124" y="178"/>
                        <a:pt x="124" y="178"/>
                      </a:cubicBezTo>
                      <a:cubicBezTo>
                        <a:pt x="124" y="178"/>
                        <a:pt x="126" y="177"/>
                        <a:pt x="126" y="177"/>
                      </a:cubicBezTo>
                      <a:cubicBezTo>
                        <a:pt x="126" y="177"/>
                        <a:pt x="126" y="177"/>
                        <a:pt x="127" y="177"/>
                      </a:cubicBezTo>
                      <a:cubicBezTo>
                        <a:pt x="127" y="177"/>
                        <a:pt x="127" y="177"/>
                        <a:pt x="128" y="177"/>
                      </a:cubicBezTo>
                      <a:cubicBezTo>
                        <a:pt x="128" y="177"/>
                        <a:pt x="129" y="176"/>
                        <a:pt x="130" y="177"/>
                      </a:cubicBezTo>
                      <a:cubicBezTo>
                        <a:pt x="131" y="177"/>
                        <a:pt x="131" y="178"/>
                        <a:pt x="132" y="178"/>
                      </a:cubicBezTo>
                      <a:cubicBezTo>
                        <a:pt x="132" y="178"/>
                        <a:pt x="133" y="178"/>
                        <a:pt x="133" y="178"/>
                      </a:cubicBezTo>
                      <a:cubicBezTo>
                        <a:pt x="134" y="178"/>
                        <a:pt x="134" y="178"/>
                        <a:pt x="136" y="178"/>
                      </a:cubicBezTo>
                      <a:cubicBezTo>
                        <a:pt x="138" y="178"/>
                        <a:pt x="141" y="178"/>
                        <a:pt x="141" y="178"/>
                      </a:cubicBezTo>
                      <a:cubicBezTo>
                        <a:pt x="141" y="179"/>
                        <a:pt x="142" y="178"/>
                        <a:pt x="143" y="178"/>
                      </a:cubicBezTo>
                      <a:cubicBezTo>
                        <a:pt x="145" y="179"/>
                        <a:pt x="145" y="179"/>
                        <a:pt x="145" y="179"/>
                      </a:cubicBezTo>
                      <a:cubicBezTo>
                        <a:pt x="146" y="179"/>
                        <a:pt x="145" y="180"/>
                        <a:pt x="147" y="179"/>
                      </a:cubicBezTo>
                      <a:cubicBezTo>
                        <a:pt x="148" y="179"/>
                        <a:pt x="148" y="179"/>
                        <a:pt x="148" y="179"/>
                      </a:cubicBezTo>
                      <a:cubicBezTo>
                        <a:pt x="148" y="179"/>
                        <a:pt x="148" y="179"/>
                        <a:pt x="149" y="178"/>
                      </a:cubicBezTo>
                      <a:cubicBezTo>
                        <a:pt x="150" y="178"/>
                        <a:pt x="151" y="177"/>
                        <a:pt x="151" y="177"/>
                      </a:cubicBezTo>
                      <a:cubicBezTo>
                        <a:pt x="152" y="177"/>
                        <a:pt x="152" y="177"/>
                        <a:pt x="152" y="177"/>
                      </a:cubicBezTo>
                      <a:cubicBezTo>
                        <a:pt x="152" y="180"/>
                        <a:pt x="152" y="180"/>
                        <a:pt x="152" y="180"/>
                      </a:cubicBezTo>
                      <a:cubicBezTo>
                        <a:pt x="152" y="180"/>
                        <a:pt x="152" y="180"/>
                        <a:pt x="152" y="181"/>
                      </a:cubicBezTo>
                      <a:cubicBezTo>
                        <a:pt x="152" y="181"/>
                        <a:pt x="151" y="182"/>
                        <a:pt x="150" y="182"/>
                      </a:cubicBezTo>
                      <a:cubicBezTo>
                        <a:pt x="150" y="182"/>
                        <a:pt x="149" y="181"/>
                        <a:pt x="149" y="181"/>
                      </a:cubicBezTo>
                      <a:cubicBezTo>
                        <a:pt x="149" y="180"/>
                        <a:pt x="148" y="180"/>
                        <a:pt x="148" y="180"/>
                      </a:cubicBezTo>
                      <a:cubicBezTo>
                        <a:pt x="147" y="180"/>
                        <a:pt x="146" y="181"/>
                        <a:pt x="145" y="181"/>
                      </a:cubicBezTo>
                      <a:cubicBezTo>
                        <a:pt x="145" y="181"/>
                        <a:pt x="144" y="180"/>
                        <a:pt x="144" y="180"/>
                      </a:cubicBezTo>
                      <a:cubicBezTo>
                        <a:pt x="144" y="180"/>
                        <a:pt x="142" y="180"/>
                        <a:pt x="141" y="180"/>
                      </a:cubicBezTo>
                      <a:cubicBezTo>
                        <a:pt x="141" y="180"/>
                        <a:pt x="140" y="180"/>
                        <a:pt x="139" y="180"/>
                      </a:cubicBezTo>
                      <a:cubicBezTo>
                        <a:pt x="138" y="180"/>
                        <a:pt x="137" y="180"/>
                        <a:pt x="136" y="180"/>
                      </a:cubicBezTo>
                      <a:cubicBezTo>
                        <a:pt x="135" y="181"/>
                        <a:pt x="133" y="180"/>
                        <a:pt x="133" y="181"/>
                      </a:cubicBezTo>
                      <a:cubicBezTo>
                        <a:pt x="133" y="181"/>
                        <a:pt x="133" y="182"/>
                        <a:pt x="133" y="182"/>
                      </a:cubicBezTo>
                      <a:cubicBezTo>
                        <a:pt x="133" y="182"/>
                        <a:pt x="134" y="183"/>
                        <a:pt x="133" y="183"/>
                      </a:cubicBezTo>
                      <a:cubicBezTo>
                        <a:pt x="131" y="183"/>
                        <a:pt x="131" y="183"/>
                        <a:pt x="131" y="182"/>
                      </a:cubicBezTo>
                      <a:cubicBezTo>
                        <a:pt x="130" y="181"/>
                        <a:pt x="132" y="180"/>
                        <a:pt x="129" y="181"/>
                      </a:cubicBezTo>
                      <a:cubicBezTo>
                        <a:pt x="127" y="181"/>
                        <a:pt x="127" y="180"/>
                        <a:pt x="126" y="180"/>
                      </a:cubicBezTo>
                      <a:cubicBezTo>
                        <a:pt x="126" y="181"/>
                        <a:pt x="124" y="179"/>
                        <a:pt x="123" y="180"/>
                      </a:cubicBezTo>
                      <a:cubicBezTo>
                        <a:pt x="123" y="180"/>
                        <a:pt x="122" y="181"/>
                        <a:pt x="122" y="181"/>
                      </a:cubicBezTo>
                      <a:cubicBezTo>
                        <a:pt x="122" y="181"/>
                        <a:pt x="119" y="181"/>
                        <a:pt x="119" y="181"/>
                      </a:cubicBezTo>
                      <a:cubicBezTo>
                        <a:pt x="119" y="181"/>
                        <a:pt x="120" y="178"/>
                        <a:pt x="120" y="178"/>
                      </a:cubicBezTo>
                      <a:cubicBezTo>
                        <a:pt x="120" y="178"/>
                        <a:pt x="120" y="178"/>
                        <a:pt x="121" y="178"/>
                      </a:cubicBezTo>
                      <a:cubicBezTo>
                        <a:pt x="122" y="178"/>
                        <a:pt x="123" y="178"/>
                        <a:pt x="123" y="178"/>
                      </a:cubicBezTo>
                      <a:cubicBezTo>
                        <a:pt x="124" y="178"/>
                        <a:pt x="124" y="178"/>
                        <a:pt x="124" y="178"/>
                      </a:cubicBezTo>
                      <a:close/>
                      <a:moveTo>
                        <a:pt x="120" y="172"/>
                      </a:moveTo>
                      <a:cubicBezTo>
                        <a:pt x="120" y="172"/>
                        <a:pt x="120" y="172"/>
                        <a:pt x="120" y="172"/>
                      </a:cubicBezTo>
                      <a:cubicBezTo>
                        <a:pt x="120" y="172"/>
                        <a:pt x="116" y="170"/>
                        <a:pt x="116" y="170"/>
                      </a:cubicBezTo>
                      <a:cubicBezTo>
                        <a:pt x="115" y="170"/>
                        <a:pt x="114" y="170"/>
                        <a:pt x="113" y="170"/>
                      </a:cubicBezTo>
                      <a:cubicBezTo>
                        <a:pt x="113" y="170"/>
                        <a:pt x="111" y="169"/>
                        <a:pt x="112" y="168"/>
                      </a:cubicBezTo>
                      <a:cubicBezTo>
                        <a:pt x="112" y="168"/>
                        <a:pt x="113" y="167"/>
                        <a:pt x="114" y="168"/>
                      </a:cubicBezTo>
                      <a:cubicBezTo>
                        <a:pt x="115" y="169"/>
                        <a:pt x="116" y="169"/>
                        <a:pt x="116" y="170"/>
                      </a:cubicBezTo>
                      <a:cubicBezTo>
                        <a:pt x="117" y="170"/>
                        <a:pt x="119" y="171"/>
                        <a:pt x="119" y="171"/>
                      </a:cubicBezTo>
                      <a:cubicBezTo>
                        <a:pt x="120" y="171"/>
                        <a:pt x="120" y="172"/>
                        <a:pt x="120" y="171"/>
                      </a:cubicBezTo>
                      <a:cubicBezTo>
                        <a:pt x="121" y="171"/>
                        <a:pt x="121" y="169"/>
                        <a:pt x="121" y="169"/>
                      </a:cubicBezTo>
                      <a:cubicBezTo>
                        <a:pt x="121" y="168"/>
                        <a:pt x="120" y="168"/>
                        <a:pt x="120" y="168"/>
                      </a:cubicBezTo>
                      <a:cubicBezTo>
                        <a:pt x="121" y="168"/>
                        <a:pt x="123" y="167"/>
                        <a:pt x="123" y="167"/>
                      </a:cubicBezTo>
                      <a:cubicBezTo>
                        <a:pt x="124" y="168"/>
                        <a:pt x="125" y="168"/>
                        <a:pt x="126" y="168"/>
                      </a:cubicBezTo>
                      <a:cubicBezTo>
                        <a:pt x="126" y="168"/>
                        <a:pt x="125" y="168"/>
                        <a:pt x="129" y="168"/>
                      </a:cubicBezTo>
                      <a:cubicBezTo>
                        <a:pt x="132" y="168"/>
                        <a:pt x="131" y="168"/>
                        <a:pt x="133" y="168"/>
                      </a:cubicBezTo>
                      <a:cubicBezTo>
                        <a:pt x="134" y="168"/>
                        <a:pt x="136" y="168"/>
                        <a:pt x="136" y="168"/>
                      </a:cubicBezTo>
                      <a:cubicBezTo>
                        <a:pt x="136" y="169"/>
                        <a:pt x="138" y="170"/>
                        <a:pt x="138" y="170"/>
                      </a:cubicBezTo>
                      <a:cubicBezTo>
                        <a:pt x="138" y="171"/>
                        <a:pt x="139" y="171"/>
                        <a:pt x="138" y="172"/>
                      </a:cubicBezTo>
                      <a:cubicBezTo>
                        <a:pt x="136" y="173"/>
                        <a:pt x="136" y="173"/>
                        <a:pt x="134" y="173"/>
                      </a:cubicBezTo>
                      <a:cubicBezTo>
                        <a:pt x="133" y="173"/>
                        <a:pt x="134" y="173"/>
                        <a:pt x="132" y="174"/>
                      </a:cubicBezTo>
                      <a:cubicBezTo>
                        <a:pt x="129" y="174"/>
                        <a:pt x="127" y="174"/>
                        <a:pt x="127" y="174"/>
                      </a:cubicBezTo>
                      <a:cubicBezTo>
                        <a:pt x="127" y="174"/>
                        <a:pt x="128" y="174"/>
                        <a:pt x="125" y="174"/>
                      </a:cubicBezTo>
                      <a:cubicBezTo>
                        <a:pt x="123" y="173"/>
                        <a:pt x="122" y="174"/>
                        <a:pt x="121" y="173"/>
                      </a:cubicBezTo>
                      <a:cubicBezTo>
                        <a:pt x="121" y="173"/>
                        <a:pt x="120" y="172"/>
                        <a:pt x="120" y="172"/>
                      </a:cubicBezTo>
                      <a:close/>
                      <a:moveTo>
                        <a:pt x="50" y="94"/>
                      </a:moveTo>
                      <a:cubicBezTo>
                        <a:pt x="50" y="94"/>
                        <a:pt x="50" y="94"/>
                        <a:pt x="50" y="94"/>
                      </a:cubicBezTo>
                      <a:cubicBezTo>
                        <a:pt x="50" y="94"/>
                        <a:pt x="50" y="93"/>
                        <a:pt x="50" y="93"/>
                      </a:cubicBezTo>
                      <a:cubicBezTo>
                        <a:pt x="50" y="93"/>
                        <a:pt x="50" y="93"/>
                        <a:pt x="50" y="93"/>
                      </a:cubicBezTo>
                      <a:cubicBezTo>
                        <a:pt x="50" y="93"/>
                        <a:pt x="51" y="93"/>
                        <a:pt x="51" y="93"/>
                      </a:cubicBezTo>
                      <a:cubicBezTo>
                        <a:pt x="51" y="94"/>
                        <a:pt x="51" y="94"/>
                        <a:pt x="52" y="94"/>
                      </a:cubicBezTo>
                      <a:cubicBezTo>
                        <a:pt x="52" y="94"/>
                        <a:pt x="52" y="94"/>
                        <a:pt x="53" y="94"/>
                      </a:cubicBezTo>
                      <a:cubicBezTo>
                        <a:pt x="53" y="95"/>
                        <a:pt x="53" y="95"/>
                        <a:pt x="53" y="95"/>
                      </a:cubicBezTo>
                      <a:cubicBezTo>
                        <a:pt x="53" y="95"/>
                        <a:pt x="53" y="97"/>
                        <a:pt x="52" y="96"/>
                      </a:cubicBezTo>
                      <a:cubicBezTo>
                        <a:pt x="51" y="96"/>
                        <a:pt x="50" y="96"/>
                        <a:pt x="50" y="95"/>
                      </a:cubicBezTo>
                      <a:cubicBezTo>
                        <a:pt x="50" y="95"/>
                        <a:pt x="50" y="94"/>
                        <a:pt x="50" y="94"/>
                      </a:cubicBezTo>
                      <a:close/>
                      <a:moveTo>
                        <a:pt x="51" y="103"/>
                      </a:moveTo>
                      <a:cubicBezTo>
                        <a:pt x="51" y="103"/>
                        <a:pt x="51" y="103"/>
                        <a:pt x="51" y="103"/>
                      </a:cubicBezTo>
                      <a:cubicBezTo>
                        <a:pt x="51" y="103"/>
                        <a:pt x="50" y="103"/>
                        <a:pt x="50" y="103"/>
                      </a:cubicBezTo>
                      <a:cubicBezTo>
                        <a:pt x="50" y="103"/>
                        <a:pt x="48" y="102"/>
                        <a:pt x="47" y="102"/>
                      </a:cubicBezTo>
                      <a:cubicBezTo>
                        <a:pt x="47" y="101"/>
                        <a:pt x="47" y="101"/>
                        <a:pt x="48" y="101"/>
                      </a:cubicBezTo>
                      <a:cubicBezTo>
                        <a:pt x="48" y="100"/>
                        <a:pt x="48" y="99"/>
                        <a:pt x="48" y="99"/>
                      </a:cubicBezTo>
                      <a:cubicBezTo>
                        <a:pt x="48" y="99"/>
                        <a:pt x="49" y="98"/>
                        <a:pt x="49" y="98"/>
                      </a:cubicBezTo>
                      <a:cubicBezTo>
                        <a:pt x="50" y="98"/>
                        <a:pt x="50" y="98"/>
                        <a:pt x="50" y="98"/>
                      </a:cubicBezTo>
                      <a:cubicBezTo>
                        <a:pt x="50" y="98"/>
                        <a:pt x="50" y="97"/>
                        <a:pt x="50" y="97"/>
                      </a:cubicBezTo>
                      <a:cubicBezTo>
                        <a:pt x="50" y="96"/>
                        <a:pt x="51" y="96"/>
                        <a:pt x="51" y="96"/>
                      </a:cubicBezTo>
                      <a:cubicBezTo>
                        <a:pt x="51" y="96"/>
                        <a:pt x="53" y="98"/>
                        <a:pt x="53" y="99"/>
                      </a:cubicBezTo>
                      <a:cubicBezTo>
                        <a:pt x="53" y="99"/>
                        <a:pt x="50" y="99"/>
                        <a:pt x="50" y="99"/>
                      </a:cubicBezTo>
                      <a:cubicBezTo>
                        <a:pt x="50" y="99"/>
                        <a:pt x="50" y="99"/>
                        <a:pt x="51" y="101"/>
                      </a:cubicBezTo>
                      <a:cubicBezTo>
                        <a:pt x="52" y="102"/>
                        <a:pt x="52" y="101"/>
                        <a:pt x="52" y="101"/>
                      </a:cubicBezTo>
                      <a:cubicBezTo>
                        <a:pt x="52" y="102"/>
                        <a:pt x="52" y="102"/>
                        <a:pt x="54" y="102"/>
                      </a:cubicBezTo>
                      <a:cubicBezTo>
                        <a:pt x="55" y="103"/>
                        <a:pt x="54" y="103"/>
                        <a:pt x="55" y="104"/>
                      </a:cubicBezTo>
                      <a:cubicBezTo>
                        <a:pt x="55" y="104"/>
                        <a:pt x="54" y="105"/>
                        <a:pt x="54" y="105"/>
                      </a:cubicBezTo>
                      <a:cubicBezTo>
                        <a:pt x="53" y="106"/>
                        <a:pt x="53" y="105"/>
                        <a:pt x="53" y="105"/>
                      </a:cubicBezTo>
                      <a:cubicBezTo>
                        <a:pt x="53" y="105"/>
                        <a:pt x="52" y="103"/>
                        <a:pt x="51" y="103"/>
                      </a:cubicBezTo>
                      <a:close/>
                      <a:moveTo>
                        <a:pt x="55" y="117"/>
                      </a:moveTo>
                      <a:cubicBezTo>
                        <a:pt x="55" y="117"/>
                        <a:pt x="55" y="117"/>
                        <a:pt x="55" y="117"/>
                      </a:cubicBezTo>
                      <a:cubicBezTo>
                        <a:pt x="55" y="117"/>
                        <a:pt x="56" y="116"/>
                        <a:pt x="56" y="117"/>
                      </a:cubicBezTo>
                      <a:cubicBezTo>
                        <a:pt x="57" y="117"/>
                        <a:pt x="57" y="118"/>
                        <a:pt x="57" y="118"/>
                      </a:cubicBezTo>
                      <a:cubicBezTo>
                        <a:pt x="58" y="119"/>
                        <a:pt x="59" y="119"/>
                        <a:pt x="60" y="119"/>
                      </a:cubicBezTo>
                      <a:cubicBezTo>
                        <a:pt x="60" y="120"/>
                        <a:pt x="60" y="121"/>
                        <a:pt x="60" y="121"/>
                      </a:cubicBezTo>
                      <a:cubicBezTo>
                        <a:pt x="60" y="121"/>
                        <a:pt x="59" y="122"/>
                        <a:pt x="59" y="121"/>
                      </a:cubicBezTo>
                      <a:cubicBezTo>
                        <a:pt x="58" y="120"/>
                        <a:pt x="58" y="120"/>
                        <a:pt x="58" y="120"/>
                      </a:cubicBezTo>
                      <a:cubicBezTo>
                        <a:pt x="58" y="120"/>
                        <a:pt x="57" y="119"/>
                        <a:pt x="57" y="119"/>
                      </a:cubicBezTo>
                      <a:cubicBezTo>
                        <a:pt x="57" y="119"/>
                        <a:pt x="55" y="117"/>
                        <a:pt x="55" y="117"/>
                      </a:cubicBezTo>
                      <a:close/>
                      <a:moveTo>
                        <a:pt x="53" y="121"/>
                      </a:moveTo>
                      <a:cubicBezTo>
                        <a:pt x="53" y="121"/>
                        <a:pt x="53" y="121"/>
                        <a:pt x="53" y="121"/>
                      </a:cubicBezTo>
                      <a:cubicBezTo>
                        <a:pt x="53" y="121"/>
                        <a:pt x="53" y="120"/>
                        <a:pt x="53" y="120"/>
                      </a:cubicBezTo>
                      <a:cubicBezTo>
                        <a:pt x="53" y="120"/>
                        <a:pt x="54" y="120"/>
                        <a:pt x="54" y="121"/>
                      </a:cubicBezTo>
                      <a:cubicBezTo>
                        <a:pt x="54" y="121"/>
                        <a:pt x="55" y="122"/>
                        <a:pt x="55" y="122"/>
                      </a:cubicBezTo>
                      <a:cubicBezTo>
                        <a:pt x="55" y="123"/>
                        <a:pt x="54" y="123"/>
                        <a:pt x="54" y="123"/>
                      </a:cubicBezTo>
                      <a:cubicBezTo>
                        <a:pt x="54" y="124"/>
                        <a:pt x="55" y="124"/>
                        <a:pt x="54" y="124"/>
                      </a:cubicBezTo>
                      <a:cubicBezTo>
                        <a:pt x="53" y="124"/>
                        <a:pt x="53" y="124"/>
                        <a:pt x="53" y="124"/>
                      </a:cubicBezTo>
                      <a:cubicBezTo>
                        <a:pt x="53" y="124"/>
                        <a:pt x="53" y="123"/>
                        <a:pt x="53" y="123"/>
                      </a:cubicBezTo>
                      <a:cubicBezTo>
                        <a:pt x="53" y="122"/>
                        <a:pt x="53" y="121"/>
                        <a:pt x="53" y="121"/>
                      </a:cubicBezTo>
                      <a:close/>
                      <a:moveTo>
                        <a:pt x="49" y="121"/>
                      </a:moveTo>
                      <a:cubicBezTo>
                        <a:pt x="49" y="121"/>
                        <a:pt x="49" y="121"/>
                        <a:pt x="49" y="121"/>
                      </a:cubicBezTo>
                      <a:cubicBezTo>
                        <a:pt x="49" y="121"/>
                        <a:pt x="50" y="121"/>
                        <a:pt x="50" y="122"/>
                      </a:cubicBezTo>
                      <a:cubicBezTo>
                        <a:pt x="50" y="122"/>
                        <a:pt x="51" y="122"/>
                        <a:pt x="51" y="123"/>
                      </a:cubicBezTo>
                      <a:cubicBezTo>
                        <a:pt x="51" y="123"/>
                        <a:pt x="51" y="123"/>
                        <a:pt x="51" y="124"/>
                      </a:cubicBezTo>
                      <a:cubicBezTo>
                        <a:pt x="51" y="125"/>
                        <a:pt x="52" y="125"/>
                        <a:pt x="51" y="125"/>
                      </a:cubicBezTo>
                      <a:cubicBezTo>
                        <a:pt x="50" y="124"/>
                        <a:pt x="50" y="124"/>
                        <a:pt x="50" y="124"/>
                      </a:cubicBezTo>
                      <a:cubicBezTo>
                        <a:pt x="49" y="123"/>
                        <a:pt x="49" y="123"/>
                        <a:pt x="49" y="123"/>
                      </a:cubicBezTo>
                      <a:cubicBezTo>
                        <a:pt x="49" y="122"/>
                        <a:pt x="49" y="122"/>
                        <a:pt x="49" y="122"/>
                      </a:cubicBezTo>
                      <a:cubicBezTo>
                        <a:pt x="49" y="121"/>
                        <a:pt x="49" y="121"/>
                        <a:pt x="49" y="121"/>
                      </a:cubicBezTo>
                      <a:close/>
                      <a:moveTo>
                        <a:pt x="34" y="116"/>
                      </a:moveTo>
                      <a:cubicBezTo>
                        <a:pt x="34" y="116"/>
                        <a:pt x="34" y="116"/>
                        <a:pt x="34" y="116"/>
                      </a:cubicBezTo>
                      <a:cubicBezTo>
                        <a:pt x="34" y="116"/>
                        <a:pt x="35" y="116"/>
                        <a:pt x="35" y="116"/>
                      </a:cubicBezTo>
                      <a:cubicBezTo>
                        <a:pt x="36" y="117"/>
                        <a:pt x="35" y="117"/>
                        <a:pt x="36" y="118"/>
                      </a:cubicBezTo>
                      <a:cubicBezTo>
                        <a:pt x="36" y="118"/>
                        <a:pt x="35" y="119"/>
                        <a:pt x="35" y="119"/>
                      </a:cubicBezTo>
                      <a:cubicBezTo>
                        <a:pt x="34" y="118"/>
                        <a:pt x="34" y="118"/>
                        <a:pt x="34" y="118"/>
                      </a:cubicBezTo>
                      <a:cubicBezTo>
                        <a:pt x="34" y="116"/>
                        <a:pt x="34" y="116"/>
                        <a:pt x="34" y="116"/>
                      </a:cubicBezTo>
                      <a:close/>
                      <a:moveTo>
                        <a:pt x="34" y="112"/>
                      </a:moveTo>
                      <a:cubicBezTo>
                        <a:pt x="34" y="112"/>
                        <a:pt x="34" y="112"/>
                        <a:pt x="34" y="112"/>
                      </a:cubicBezTo>
                      <a:cubicBezTo>
                        <a:pt x="34" y="112"/>
                        <a:pt x="32" y="112"/>
                        <a:pt x="32" y="112"/>
                      </a:cubicBezTo>
                      <a:cubicBezTo>
                        <a:pt x="32" y="112"/>
                        <a:pt x="31" y="112"/>
                        <a:pt x="31" y="111"/>
                      </a:cubicBezTo>
                      <a:cubicBezTo>
                        <a:pt x="31" y="111"/>
                        <a:pt x="31" y="110"/>
                        <a:pt x="32" y="110"/>
                      </a:cubicBezTo>
                      <a:cubicBezTo>
                        <a:pt x="32" y="110"/>
                        <a:pt x="32" y="109"/>
                        <a:pt x="32" y="108"/>
                      </a:cubicBezTo>
                      <a:cubicBezTo>
                        <a:pt x="32" y="108"/>
                        <a:pt x="33" y="108"/>
                        <a:pt x="33" y="108"/>
                      </a:cubicBezTo>
                      <a:cubicBezTo>
                        <a:pt x="33" y="108"/>
                        <a:pt x="34" y="109"/>
                        <a:pt x="34" y="109"/>
                      </a:cubicBezTo>
                      <a:cubicBezTo>
                        <a:pt x="34" y="109"/>
                        <a:pt x="34" y="111"/>
                        <a:pt x="34" y="112"/>
                      </a:cubicBezTo>
                      <a:close/>
                      <a:moveTo>
                        <a:pt x="34" y="89"/>
                      </a:moveTo>
                      <a:cubicBezTo>
                        <a:pt x="34" y="89"/>
                        <a:pt x="34" y="89"/>
                        <a:pt x="34" y="89"/>
                      </a:cubicBezTo>
                      <a:cubicBezTo>
                        <a:pt x="34" y="89"/>
                        <a:pt x="36" y="89"/>
                        <a:pt x="36" y="89"/>
                      </a:cubicBezTo>
                      <a:cubicBezTo>
                        <a:pt x="36" y="89"/>
                        <a:pt x="36" y="90"/>
                        <a:pt x="36" y="91"/>
                      </a:cubicBezTo>
                      <a:cubicBezTo>
                        <a:pt x="37" y="91"/>
                        <a:pt x="37" y="92"/>
                        <a:pt x="37" y="92"/>
                      </a:cubicBezTo>
                      <a:cubicBezTo>
                        <a:pt x="38" y="92"/>
                        <a:pt x="38" y="92"/>
                        <a:pt x="38" y="92"/>
                      </a:cubicBezTo>
                      <a:cubicBezTo>
                        <a:pt x="38" y="92"/>
                        <a:pt x="39" y="91"/>
                        <a:pt x="39" y="92"/>
                      </a:cubicBezTo>
                      <a:cubicBezTo>
                        <a:pt x="40" y="92"/>
                        <a:pt x="41" y="91"/>
                        <a:pt x="41" y="91"/>
                      </a:cubicBezTo>
                      <a:cubicBezTo>
                        <a:pt x="41" y="91"/>
                        <a:pt x="42" y="92"/>
                        <a:pt x="42" y="92"/>
                      </a:cubicBezTo>
                      <a:cubicBezTo>
                        <a:pt x="42" y="93"/>
                        <a:pt x="41" y="94"/>
                        <a:pt x="41" y="94"/>
                      </a:cubicBezTo>
                      <a:cubicBezTo>
                        <a:pt x="40" y="94"/>
                        <a:pt x="39" y="93"/>
                        <a:pt x="39" y="93"/>
                      </a:cubicBezTo>
                      <a:cubicBezTo>
                        <a:pt x="39" y="93"/>
                        <a:pt x="38" y="92"/>
                        <a:pt x="38" y="93"/>
                      </a:cubicBezTo>
                      <a:cubicBezTo>
                        <a:pt x="38" y="93"/>
                        <a:pt x="38" y="94"/>
                        <a:pt x="38" y="95"/>
                      </a:cubicBezTo>
                      <a:cubicBezTo>
                        <a:pt x="39" y="95"/>
                        <a:pt x="39" y="95"/>
                        <a:pt x="39" y="96"/>
                      </a:cubicBezTo>
                      <a:cubicBezTo>
                        <a:pt x="38" y="96"/>
                        <a:pt x="38" y="97"/>
                        <a:pt x="38" y="97"/>
                      </a:cubicBezTo>
                      <a:cubicBezTo>
                        <a:pt x="38" y="98"/>
                        <a:pt x="39" y="99"/>
                        <a:pt x="39" y="99"/>
                      </a:cubicBezTo>
                      <a:cubicBezTo>
                        <a:pt x="39" y="99"/>
                        <a:pt x="39" y="99"/>
                        <a:pt x="39" y="100"/>
                      </a:cubicBezTo>
                      <a:cubicBezTo>
                        <a:pt x="39" y="100"/>
                        <a:pt x="40" y="101"/>
                        <a:pt x="40" y="101"/>
                      </a:cubicBezTo>
                      <a:cubicBezTo>
                        <a:pt x="40" y="102"/>
                        <a:pt x="40" y="103"/>
                        <a:pt x="40" y="103"/>
                      </a:cubicBezTo>
                      <a:cubicBezTo>
                        <a:pt x="41" y="104"/>
                        <a:pt x="41" y="104"/>
                        <a:pt x="41" y="104"/>
                      </a:cubicBezTo>
                      <a:cubicBezTo>
                        <a:pt x="40" y="106"/>
                        <a:pt x="40" y="106"/>
                        <a:pt x="40" y="106"/>
                      </a:cubicBezTo>
                      <a:cubicBezTo>
                        <a:pt x="40" y="106"/>
                        <a:pt x="41" y="107"/>
                        <a:pt x="41" y="107"/>
                      </a:cubicBezTo>
                      <a:cubicBezTo>
                        <a:pt x="41" y="108"/>
                        <a:pt x="43" y="109"/>
                        <a:pt x="43" y="110"/>
                      </a:cubicBezTo>
                      <a:cubicBezTo>
                        <a:pt x="43" y="110"/>
                        <a:pt x="43" y="112"/>
                        <a:pt x="42" y="112"/>
                      </a:cubicBezTo>
                      <a:cubicBezTo>
                        <a:pt x="42" y="112"/>
                        <a:pt x="41" y="113"/>
                        <a:pt x="41" y="112"/>
                      </a:cubicBezTo>
                      <a:cubicBezTo>
                        <a:pt x="40" y="111"/>
                        <a:pt x="39" y="109"/>
                        <a:pt x="39" y="109"/>
                      </a:cubicBezTo>
                      <a:cubicBezTo>
                        <a:pt x="39" y="109"/>
                        <a:pt x="39" y="109"/>
                        <a:pt x="39" y="109"/>
                      </a:cubicBezTo>
                      <a:cubicBezTo>
                        <a:pt x="39" y="110"/>
                        <a:pt x="38" y="111"/>
                        <a:pt x="38" y="111"/>
                      </a:cubicBezTo>
                      <a:cubicBezTo>
                        <a:pt x="38" y="112"/>
                        <a:pt x="40" y="113"/>
                        <a:pt x="40" y="113"/>
                      </a:cubicBezTo>
                      <a:cubicBezTo>
                        <a:pt x="40" y="113"/>
                        <a:pt x="39" y="111"/>
                        <a:pt x="40" y="113"/>
                      </a:cubicBezTo>
                      <a:cubicBezTo>
                        <a:pt x="41" y="115"/>
                        <a:pt x="42" y="116"/>
                        <a:pt x="42" y="116"/>
                      </a:cubicBezTo>
                      <a:cubicBezTo>
                        <a:pt x="42" y="116"/>
                        <a:pt x="43" y="117"/>
                        <a:pt x="44" y="117"/>
                      </a:cubicBezTo>
                      <a:cubicBezTo>
                        <a:pt x="44" y="118"/>
                        <a:pt x="44" y="118"/>
                        <a:pt x="45" y="119"/>
                      </a:cubicBezTo>
                      <a:cubicBezTo>
                        <a:pt x="45" y="119"/>
                        <a:pt x="46" y="120"/>
                        <a:pt x="45" y="120"/>
                      </a:cubicBezTo>
                      <a:cubicBezTo>
                        <a:pt x="44" y="121"/>
                        <a:pt x="45" y="121"/>
                        <a:pt x="44" y="121"/>
                      </a:cubicBezTo>
                      <a:cubicBezTo>
                        <a:pt x="44" y="120"/>
                        <a:pt x="43" y="120"/>
                        <a:pt x="43" y="119"/>
                      </a:cubicBezTo>
                      <a:cubicBezTo>
                        <a:pt x="43" y="118"/>
                        <a:pt x="42" y="117"/>
                        <a:pt x="42" y="116"/>
                      </a:cubicBezTo>
                      <a:cubicBezTo>
                        <a:pt x="41" y="116"/>
                        <a:pt x="40" y="115"/>
                        <a:pt x="40" y="115"/>
                      </a:cubicBezTo>
                      <a:cubicBezTo>
                        <a:pt x="39" y="115"/>
                        <a:pt x="39" y="114"/>
                        <a:pt x="39" y="114"/>
                      </a:cubicBezTo>
                      <a:cubicBezTo>
                        <a:pt x="39" y="114"/>
                        <a:pt x="38" y="114"/>
                        <a:pt x="38" y="114"/>
                      </a:cubicBezTo>
                      <a:cubicBezTo>
                        <a:pt x="38" y="114"/>
                        <a:pt x="36" y="114"/>
                        <a:pt x="36" y="114"/>
                      </a:cubicBezTo>
                      <a:cubicBezTo>
                        <a:pt x="36" y="113"/>
                        <a:pt x="36" y="113"/>
                        <a:pt x="37" y="112"/>
                      </a:cubicBezTo>
                      <a:cubicBezTo>
                        <a:pt x="37" y="112"/>
                        <a:pt x="38" y="112"/>
                        <a:pt x="38" y="112"/>
                      </a:cubicBezTo>
                      <a:cubicBezTo>
                        <a:pt x="38" y="112"/>
                        <a:pt x="37" y="111"/>
                        <a:pt x="37" y="111"/>
                      </a:cubicBezTo>
                      <a:cubicBezTo>
                        <a:pt x="37" y="111"/>
                        <a:pt x="37" y="110"/>
                        <a:pt x="37" y="110"/>
                      </a:cubicBezTo>
                      <a:cubicBezTo>
                        <a:pt x="36" y="110"/>
                        <a:pt x="36" y="111"/>
                        <a:pt x="36" y="110"/>
                      </a:cubicBezTo>
                      <a:cubicBezTo>
                        <a:pt x="36" y="109"/>
                        <a:pt x="36" y="109"/>
                        <a:pt x="36" y="108"/>
                      </a:cubicBezTo>
                      <a:cubicBezTo>
                        <a:pt x="36" y="108"/>
                        <a:pt x="36" y="106"/>
                        <a:pt x="36" y="106"/>
                      </a:cubicBezTo>
                      <a:cubicBezTo>
                        <a:pt x="37" y="107"/>
                        <a:pt x="37" y="107"/>
                        <a:pt x="37" y="107"/>
                      </a:cubicBezTo>
                      <a:cubicBezTo>
                        <a:pt x="38" y="105"/>
                        <a:pt x="38" y="105"/>
                        <a:pt x="38" y="105"/>
                      </a:cubicBezTo>
                      <a:cubicBezTo>
                        <a:pt x="38" y="105"/>
                        <a:pt x="38" y="105"/>
                        <a:pt x="37" y="105"/>
                      </a:cubicBezTo>
                      <a:cubicBezTo>
                        <a:pt x="36" y="105"/>
                        <a:pt x="36" y="103"/>
                        <a:pt x="36" y="103"/>
                      </a:cubicBezTo>
                      <a:cubicBezTo>
                        <a:pt x="36" y="103"/>
                        <a:pt x="36" y="102"/>
                        <a:pt x="36" y="102"/>
                      </a:cubicBezTo>
                      <a:cubicBezTo>
                        <a:pt x="36" y="102"/>
                        <a:pt x="35" y="102"/>
                        <a:pt x="35" y="101"/>
                      </a:cubicBezTo>
                      <a:cubicBezTo>
                        <a:pt x="34" y="100"/>
                        <a:pt x="34" y="99"/>
                        <a:pt x="34" y="99"/>
                      </a:cubicBezTo>
                      <a:cubicBezTo>
                        <a:pt x="34" y="99"/>
                        <a:pt x="35" y="99"/>
                        <a:pt x="34" y="98"/>
                      </a:cubicBezTo>
                      <a:cubicBezTo>
                        <a:pt x="34" y="97"/>
                        <a:pt x="34" y="97"/>
                        <a:pt x="33" y="97"/>
                      </a:cubicBezTo>
                      <a:cubicBezTo>
                        <a:pt x="33" y="96"/>
                        <a:pt x="33" y="95"/>
                        <a:pt x="34" y="95"/>
                      </a:cubicBezTo>
                      <a:cubicBezTo>
                        <a:pt x="34" y="95"/>
                        <a:pt x="34" y="95"/>
                        <a:pt x="35" y="95"/>
                      </a:cubicBezTo>
                      <a:cubicBezTo>
                        <a:pt x="35" y="96"/>
                        <a:pt x="36" y="96"/>
                        <a:pt x="36" y="96"/>
                      </a:cubicBezTo>
                      <a:cubicBezTo>
                        <a:pt x="36" y="95"/>
                        <a:pt x="37" y="94"/>
                        <a:pt x="36" y="94"/>
                      </a:cubicBezTo>
                      <a:cubicBezTo>
                        <a:pt x="36" y="93"/>
                        <a:pt x="35" y="92"/>
                        <a:pt x="35" y="92"/>
                      </a:cubicBezTo>
                      <a:cubicBezTo>
                        <a:pt x="34" y="91"/>
                        <a:pt x="34" y="91"/>
                        <a:pt x="34" y="91"/>
                      </a:cubicBezTo>
                      <a:cubicBezTo>
                        <a:pt x="34" y="91"/>
                        <a:pt x="34" y="91"/>
                        <a:pt x="34" y="90"/>
                      </a:cubicBezTo>
                      <a:cubicBezTo>
                        <a:pt x="34" y="90"/>
                        <a:pt x="34" y="89"/>
                        <a:pt x="34" y="89"/>
                      </a:cubicBezTo>
                      <a:close/>
                      <a:moveTo>
                        <a:pt x="33" y="89"/>
                      </a:moveTo>
                      <a:cubicBezTo>
                        <a:pt x="33" y="89"/>
                        <a:pt x="33" y="89"/>
                        <a:pt x="33" y="89"/>
                      </a:cubicBezTo>
                      <a:cubicBezTo>
                        <a:pt x="33" y="89"/>
                        <a:pt x="32" y="88"/>
                        <a:pt x="32" y="87"/>
                      </a:cubicBezTo>
                      <a:cubicBezTo>
                        <a:pt x="32" y="87"/>
                        <a:pt x="32" y="87"/>
                        <a:pt x="32" y="86"/>
                      </a:cubicBezTo>
                      <a:cubicBezTo>
                        <a:pt x="32" y="85"/>
                        <a:pt x="31" y="85"/>
                        <a:pt x="31" y="84"/>
                      </a:cubicBezTo>
                      <a:cubicBezTo>
                        <a:pt x="32" y="84"/>
                        <a:pt x="32" y="83"/>
                        <a:pt x="32" y="83"/>
                      </a:cubicBezTo>
                      <a:cubicBezTo>
                        <a:pt x="33" y="82"/>
                        <a:pt x="34" y="82"/>
                        <a:pt x="34" y="83"/>
                      </a:cubicBezTo>
                      <a:cubicBezTo>
                        <a:pt x="34" y="83"/>
                        <a:pt x="34" y="84"/>
                        <a:pt x="34" y="85"/>
                      </a:cubicBezTo>
                      <a:cubicBezTo>
                        <a:pt x="34" y="85"/>
                        <a:pt x="34" y="86"/>
                        <a:pt x="34" y="86"/>
                      </a:cubicBezTo>
                      <a:cubicBezTo>
                        <a:pt x="34" y="87"/>
                        <a:pt x="35" y="87"/>
                        <a:pt x="35" y="87"/>
                      </a:cubicBezTo>
                      <a:cubicBezTo>
                        <a:pt x="35" y="88"/>
                        <a:pt x="35" y="89"/>
                        <a:pt x="35" y="89"/>
                      </a:cubicBezTo>
                      <a:lnTo>
                        <a:pt x="33" y="89"/>
                      </a:lnTo>
                      <a:close/>
                    </a:path>
                  </a:pathLst>
                </a:custGeom>
                <a:solidFill>
                  <a:srgbClr val="E6EFF1"/>
                </a:solidFill>
                <a:ln w="12700" cap="rnd" cmpd="sng">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Lato Light"/>
                  </a:endParaRPr>
                </a:p>
              </p:txBody>
            </p:sp>
            <p:sp>
              <p:nvSpPr>
                <p:cNvPr id="16" name="Freeform 21">
                  <a:extLst>
                    <a:ext uri="{FF2B5EF4-FFF2-40B4-BE49-F238E27FC236}">
                      <a16:creationId xmlns:a16="http://schemas.microsoft.com/office/drawing/2014/main" id="{E842C18B-4DB8-EAF0-0BDD-DBA469B0033A}"/>
                    </a:ext>
                  </a:extLst>
                </p:cNvPr>
                <p:cNvSpPr>
                  <a:spLocks/>
                </p:cNvSpPr>
                <p:nvPr/>
              </p:nvSpPr>
              <p:spPr bwMode="auto">
                <a:xfrm>
                  <a:off x="4901790" y="4587636"/>
                  <a:ext cx="536234" cy="553445"/>
                </a:xfrm>
                <a:custGeom>
                  <a:avLst/>
                  <a:gdLst>
                    <a:gd name="T0" fmla="*/ 13 w 186"/>
                    <a:gd name="T1" fmla="*/ 14 h 198"/>
                    <a:gd name="T2" fmla="*/ 23 w 186"/>
                    <a:gd name="T3" fmla="*/ 6 h 198"/>
                    <a:gd name="T4" fmla="*/ 32 w 186"/>
                    <a:gd name="T5" fmla="*/ 3 h 198"/>
                    <a:gd name="T6" fmla="*/ 48 w 186"/>
                    <a:gd name="T7" fmla="*/ 1 h 198"/>
                    <a:gd name="T8" fmla="*/ 62 w 186"/>
                    <a:gd name="T9" fmla="*/ 9 h 198"/>
                    <a:gd name="T10" fmla="*/ 74 w 186"/>
                    <a:gd name="T11" fmla="*/ 20 h 198"/>
                    <a:gd name="T12" fmla="*/ 77 w 186"/>
                    <a:gd name="T13" fmla="*/ 32 h 198"/>
                    <a:gd name="T14" fmla="*/ 94 w 186"/>
                    <a:gd name="T15" fmla="*/ 40 h 198"/>
                    <a:gd name="T16" fmla="*/ 105 w 186"/>
                    <a:gd name="T17" fmla="*/ 44 h 198"/>
                    <a:gd name="T18" fmla="*/ 109 w 186"/>
                    <a:gd name="T19" fmla="*/ 54 h 198"/>
                    <a:gd name="T20" fmla="*/ 106 w 186"/>
                    <a:gd name="T21" fmla="*/ 63 h 198"/>
                    <a:gd name="T22" fmla="*/ 117 w 186"/>
                    <a:gd name="T23" fmla="*/ 69 h 198"/>
                    <a:gd name="T24" fmla="*/ 131 w 186"/>
                    <a:gd name="T25" fmla="*/ 70 h 198"/>
                    <a:gd name="T26" fmla="*/ 140 w 186"/>
                    <a:gd name="T27" fmla="*/ 68 h 198"/>
                    <a:gd name="T28" fmla="*/ 153 w 186"/>
                    <a:gd name="T29" fmla="*/ 65 h 198"/>
                    <a:gd name="T30" fmla="*/ 154 w 186"/>
                    <a:gd name="T31" fmla="*/ 67 h 198"/>
                    <a:gd name="T32" fmla="*/ 155 w 186"/>
                    <a:gd name="T33" fmla="*/ 77 h 198"/>
                    <a:gd name="T34" fmla="*/ 160 w 186"/>
                    <a:gd name="T35" fmla="*/ 84 h 198"/>
                    <a:gd name="T36" fmla="*/ 156 w 186"/>
                    <a:gd name="T37" fmla="*/ 96 h 198"/>
                    <a:gd name="T38" fmla="*/ 155 w 186"/>
                    <a:gd name="T39" fmla="*/ 112 h 198"/>
                    <a:gd name="T40" fmla="*/ 168 w 186"/>
                    <a:gd name="T41" fmla="*/ 126 h 198"/>
                    <a:gd name="T42" fmla="*/ 182 w 186"/>
                    <a:gd name="T43" fmla="*/ 136 h 198"/>
                    <a:gd name="T44" fmla="*/ 178 w 186"/>
                    <a:gd name="T45" fmla="*/ 151 h 198"/>
                    <a:gd name="T46" fmla="*/ 170 w 186"/>
                    <a:gd name="T47" fmla="*/ 159 h 198"/>
                    <a:gd name="T48" fmla="*/ 170 w 186"/>
                    <a:gd name="T49" fmla="*/ 175 h 198"/>
                    <a:gd name="T50" fmla="*/ 173 w 186"/>
                    <a:gd name="T51" fmla="*/ 185 h 198"/>
                    <a:gd name="T52" fmla="*/ 160 w 186"/>
                    <a:gd name="T53" fmla="*/ 190 h 198"/>
                    <a:gd name="T54" fmla="*/ 150 w 186"/>
                    <a:gd name="T55" fmla="*/ 193 h 198"/>
                    <a:gd name="T56" fmla="*/ 139 w 186"/>
                    <a:gd name="T57" fmla="*/ 197 h 198"/>
                    <a:gd name="T58" fmla="*/ 139 w 186"/>
                    <a:gd name="T59" fmla="*/ 186 h 198"/>
                    <a:gd name="T60" fmla="*/ 144 w 186"/>
                    <a:gd name="T61" fmla="*/ 175 h 198"/>
                    <a:gd name="T62" fmla="*/ 128 w 186"/>
                    <a:gd name="T63" fmla="*/ 172 h 198"/>
                    <a:gd name="T64" fmla="*/ 116 w 186"/>
                    <a:gd name="T65" fmla="*/ 160 h 198"/>
                    <a:gd name="T66" fmla="*/ 101 w 186"/>
                    <a:gd name="T67" fmla="*/ 151 h 198"/>
                    <a:gd name="T68" fmla="*/ 93 w 186"/>
                    <a:gd name="T69" fmla="*/ 157 h 198"/>
                    <a:gd name="T70" fmla="*/ 89 w 186"/>
                    <a:gd name="T71" fmla="*/ 173 h 198"/>
                    <a:gd name="T72" fmla="*/ 81 w 186"/>
                    <a:gd name="T73" fmla="*/ 172 h 198"/>
                    <a:gd name="T74" fmla="*/ 75 w 186"/>
                    <a:gd name="T75" fmla="*/ 168 h 198"/>
                    <a:gd name="T76" fmla="*/ 65 w 186"/>
                    <a:gd name="T77" fmla="*/ 162 h 198"/>
                    <a:gd name="T78" fmla="*/ 57 w 186"/>
                    <a:gd name="T79" fmla="*/ 164 h 198"/>
                    <a:gd name="T80" fmla="*/ 50 w 186"/>
                    <a:gd name="T81" fmla="*/ 161 h 198"/>
                    <a:gd name="T82" fmla="*/ 45 w 186"/>
                    <a:gd name="T83" fmla="*/ 157 h 198"/>
                    <a:gd name="T84" fmla="*/ 40 w 186"/>
                    <a:gd name="T85" fmla="*/ 152 h 198"/>
                    <a:gd name="T86" fmla="*/ 32 w 186"/>
                    <a:gd name="T87" fmla="*/ 148 h 198"/>
                    <a:gd name="T88" fmla="*/ 34 w 186"/>
                    <a:gd name="T89" fmla="*/ 144 h 198"/>
                    <a:gd name="T90" fmla="*/ 43 w 186"/>
                    <a:gd name="T91" fmla="*/ 140 h 198"/>
                    <a:gd name="T92" fmla="*/ 35 w 186"/>
                    <a:gd name="T93" fmla="*/ 127 h 198"/>
                    <a:gd name="T94" fmla="*/ 32 w 186"/>
                    <a:gd name="T95" fmla="*/ 120 h 198"/>
                    <a:gd name="T96" fmla="*/ 43 w 186"/>
                    <a:gd name="T97" fmla="*/ 118 h 198"/>
                    <a:gd name="T98" fmla="*/ 37 w 186"/>
                    <a:gd name="T99" fmla="*/ 111 h 198"/>
                    <a:gd name="T100" fmla="*/ 28 w 186"/>
                    <a:gd name="T101" fmla="*/ 106 h 198"/>
                    <a:gd name="T102" fmla="*/ 22 w 186"/>
                    <a:gd name="T103" fmla="*/ 98 h 198"/>
                    <a:gd name="T104" fmla="*/ 24 w 186"/>
                    <a:gd name="T105" fmla="*/ 87 h 198"/>
                    <a:gd name="T106" fmla="*/ 27 w 186"/>
                    <a:gd name="T107" fmla="*/ 73 h 198"/>
                    <a:gd name="T108" fmla="*/ 15 w 186"/>
                    <a:gd name="T109" fmla="*/ 74 h 198"/>
                    <a:gd name="T110" fmla="*/ 14 w 186"/>
                    <a:gd name="T111" fmla="*/ 63 h 198"/>
                    <a:gd name="T112" fmla="*/ 16 w 186"/>
                    <a:gd name="T113" fmla="*/ 57 h 198"/>
                    <a:gd name="T114" fmla="*/ 24 w 186"/>
                    <a:gd name="T115" fmla="*/ 53 h 198"/>
                    <a:gd name="T116" fmla="*/ 13 w 186"/>
                    <a:gd name="T117" fmla="*/ 51 h 198"/>
                    <a:gd name="T118" fmla="*/ 7 w 186"/>
                    <a:gd name="T119" fmla="*/ 43 h 198"/>
                    <a:gd name="T120" fmla="*/ 5 w 186"/>
                    <a:gd name="T121" fmla="*/ 40 h 198"/>
                    <a:gd name="T122" fmla="*/ 3 w 186"/>
                    <a:gd name="T123" fmla="*/ 31 h 198"/>
                    <a:gd name="T124" fmla="*/ 4 w 186"/>
                    <a:gd name="T125" fmla="*/ 20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86" h="198">
                      <a:moveTo>
                        <a:pt x="11" y="14"/>
                      </a:moveTo>
                      <a:cubicBezTo>
                        <a:pt x="11" y="14"/>
                        <a:pt x="11" y="14"/>
                        <a:pt x="11" y="14"/>
                      </a:cubicBezTo>
                      <a:cubicBezTo>
                        <a:pt x="11" y="14"/>
                        <a:pt x="11" y="14"/>
                        <a:pt x="11" y="14"/>
                      </a:cubicBezTo>
                      <a:cubicBezTo>
                        <a:pt x="12" y="14"/>
                        <a:pt x="12" y="14"/>
                        <a:pt x="13" y="14"/>
                      </a:cubicBezTo>
                      <a:cubicBezTo>
                        <a:pt x="15" y="14"/>
                        <a:pt x="16" y="14"/>
                        <a:pt x="16" y="14"/>
                      </a:cubicBezTo>
                      <a:cubicBezTo>
                        <a:pt x="17" y="11"/>
                        <a:pt x="17" y="11"/>
                        <a:pt x="17" y="11"/>
                      </a:cubicBezTo>
                      <a:cubicBezTo>
                        <a:pt x="19" y="10"/>
                        <a:pt x="19" y="10"/>
                        <a:pt x="19" y="10"/>
                      </a:cubicBezTo>
                      <a:cubicBezTo>
                        <a:pt x="19" y="10"/>
                        <a:pt x="22" y="6"/>
                        <a:pt x="23" y="6"/>
                      </a:cubicBezTo>
                      <a:cubicBezTo>
                        <a:pt x="25" y="6"/>
                        <a:pt x="23" y="4"/>
                        <a:pt x="23" y="4"/>
                      </a:cubicBezTo>
                      <a:cubicBezTo>
                        <a:pt x="23" y="4"/>
                        <a:pt x="28" y="2"/>
                        <a:pt x="30" y="2"/>
                      </a:cubicBezTo>
                      <a:cubicBezTo>
                        <a:pt x="30" y="2"/>
                        <a:pt x="30" y="2"/>
                        <a:pt x="31" y="2"/>
                      </a:cubicBezTo>
                      <a:cubicBezTo>
                        <a:pt x="32" y="2"/>
                        <a:pt x="32" y="3"/>
                        <a:pt x="32" y="3"/>
                      </a:cubicBezTo>
                      <a:cubicBezTo>
                        <a:pt x="36" y="1"/>
                        <a:pt x="36" y="1"/>
                        <a:pt x="36" y="1"/>
                      </a:cubicBezTo>
                      <a:cubicBezTo>
                        <a:pt x="36" y="1"/>
                        <a:pt x="42" y="0"/>
                        <a:pt x="43" y="0"/>
                      </a:cubicBezTo>
                      <a:cubicBezTo>
                        <a:pt x="44" y="0"/>
                        <a:pt x="46" y="1"/>
                        <a:pt x="46" y="1"/>
                      </a:cubicBezTo>
                      <a:cubicBezTo>
                        <a:pt x="48" y="1"/>
                        <a:pt x="48" y="1"/>
                        <a:pt x="48" y="1"/>
                      </a:cubicBezTo>
                      <a:cubicBezTo>
                        <a:pt x="48" y="1"/>
                        <a:pt x="49" y="2"/>
                        <a:pt x="50" y="2"/>
                      </a:cubicBezTo>
                      <a:cubicBezTo>
                        <a:pt x="52" y="3"/>
                        <a:pt x="53" y="6"/>
                        <a:pt x="54" y="6"/>
                      </a:cubicBezTo>
                      <a:cubicBezTo>
                        <a:pt x="56" y="7"/>
                        <a:pt x="58" y="7"/>
                        <a:pt x="59" y="7"/>
                      </a:cubicBezTo>
                      <a:cubicBezTo>
                        <a:pt x="60" y="8"/>
                        <a:pt x="62" y="9"/>
                        <a:pt x="62" y="9"/>
                      </a:cubicBezTo>
                      <a:cubicBezTo>
                        <a:pt x="62" y="9"/>
                        <a:pt x="67" y="14"/>
                        <a:pt x="68" y="14"/>
                      </a:cubicBezTo>
                      <a:cubicBezTo>
                        <a:pt x="69" y="14"/>
                        <a:pt x="69" y="14"/>
                        <a:pt x="70" y="16"/>
                      </a:cubicBezTo>
                      <a:cubicBezTo>
                        <a:pt x="71" y="17"/>
                        <a:pt x="74" y="16"/>
                        <a:pt x="74" y="16"/>
                      </a:cubicBezTo>
                      <a:cubicBezTo>
                        <a:pt x="74" y="16"/>
                        <a:pt x="75" y="19"/>
                        <a:pt x="74" y="20"/>
                      </a:cubicBezTo>
                      <a:cubicBezTo>
                        <a:pt x="74" y="21"/>
                        <a:pt x="74" y="24"/>
                        <a:pt x="74" y="24"/>
                      </a:cubicBezTo>
                      <a:cubicBezTo>
                        <a:pt x="74" y="24"/>
                        <a:pt x="74" y="25"/>
                        <a:pt x="74" y="26"/>
                      </a:cubicBezTo>
                      <a:cubicBezTo>
                        <a:pt x="75" y="28"/>
                        <a:pt x="76" y="28"/>
                        <a:pt x="76" y="30"/>
                      </a:cubicBezTo>
                      <a:cubicBezTo>
                        <a:pt x="77" y="31"/>
                        <a:pt x="76" y="31"/>
                        <a:pt x="77" y="32"/>
                      </a:cubicBezTo>
                      <a:cubicBezTo>
                        <a:pt x="78" y="33"/>
                        <a:pt x="79" y="35"/>
                        <a:pt x="80" y="35"/>
                      </a:cubicBezTo>
                      <a:cubicBezTo>
                        <a:pt x="81" y="35"/>
                        <a:pt x="82" y="35"/>
                        <a:pt x="85" y="36"/>
                      </a:cubicBezTo>
                      <a:cubicBezTo>
                        <a:pt x="88" y="38"/>
                        <a:pt x="89" y="38"/>
                        <a:pt x="90" y="39"/>
                      </a:cubicBezTo>
                      <a:cubicBezTo>
                        <a:pt x="92" y="40"/>
                        <a:pt x="91" y="39"/>
                        <a:pt x="94" y="40"/>
                      </a:cubicBezTo>
                      <a:cubicBezTo>
                        <a:pt x="98" y="41"/>
                        <a:pt x="97" y="40"/>
                        <a:pt x="98" y="41"/>
                      </a:cubicBezTo>
                      <a:cubicBezTo>
                        <a:pt x="99" y="41"/>
                        <a:pt x="98" y="40"/>
                        <a:pt x="100" y="41"/>
                      </a:cubicBezTo>
                      <a:cubicBezTo>
                        <a:pt x="103" y="41"/>
                        <a:pt x="105" y="42"/>
                        <a:pt x="105" y="42"/>
                      </a:cubicBezTo>
                      <a:cubicBezTo>
                        <a:pt x="105" y="44"/>
                        <a:pt x="105" y="44"/>
                        <a:pt x="105" y="44"/>
                      </a:cubicBezTo>
                      <a:cubicBezTo>
                        <a:pt x="103" y="48"/>
                        <a:pt x="103" y="48"/>
                        <a:pt x="103" y="48"/>
                      </a:cubicBezTo>
                      <a:cubicBezTo>
                        <a:pt x="103" y="51"/>
                        <a:pt x="103" y="51"/>
                        <a:pt x="103" y="51"/>
                      </a:cubicBezTo>
                      <a:cubicBezTo>
                        <a:pt x="103" y="51"/>
                        <a:pt x="101" y="51"/>
                        <a:pt x="103" y="52"/>
                      </a:cubicBezTo>
                      <a:cubicBezTo>
                        <a:pt x="105" y="53"/>
                        <a:pt x="109" y="54"/>
                        <a:pt x="109" y="54"/>
                      </a:cubicBezTo>
                      <a:cubicBezTo>
                        <a:pt x="112" y="56"/>
                        <a:pt x="112" y="56"/>
                        <a:pt x="112" y="56"/>
                      </a:cubicBezTo>
                      <a:cubicBezTo>
                        <a:pt x="112" y="56"/>
                        <a:pt x="110" y="59"/>
                        <a:pt x="109" y="60"/>
                      </a:cubicBezTo>
                      <a:cubicBezTo>
                        <a:pt x="108" y="60"/>
                        <a:pt x="105" y="60"/>
                        <a:pt x="105" y="60"/>
                      </a:cubicBezTo>
                      <a:cubicBezTo>
                        <a:pt x="105" y="60"/>
                        <a:pt x="104" y="63"/>
                        <a:pt x="106" y="63"/>
                      </a:cubicBezTo>
                      <a:cubicBezTo>
                        <a:pt x="107" y="64"/>
                        <a:pt x="109" y="64"/>
                        <a:pt x="110" y="64"/>
                      </a:cubicBezTo>
                      <a:cubicBezTo>
                        <a:pt x="111" y="64"/>
                        <a:pt x="113" y="65"/>
                        <a:pt x="113" y="65"/>
                      </a:cubicBezTo>
                      <a:cubicBezTo>
                        <a:pt x="113" y="65"/>
                        <a:pt x="114" y="65"/>
                        <a:pt x="115" y="66"/>
                      </a:cubicBezTo>
                      <a:cubicBezTo>
                        <a:pt x="115" y="68"/>
                        <a:pt x="116" y="69"/>
                        <a:pt x="117" y="69"/>
                      </a:cubicBezTo>
                      <a:cubicBezTo>
                        <a:pt x="118" y="69"/>
                        <a:pt x="120" y="69"/>
                        <a:pt x="121" y="69"/>
                      </a:cubicBezTo>
                      <a:cubicBezTo>
                        <a:pt x="122" y="69"/>
                        <a:pt x="122" y="68"/>
                        <a:pt x="123" y="68"/>
                      </a:cubicBezTo>
                      <a:cubicBezTo>
                        <a:pt x="124" y="69"/>
                        <a:pt x="130" y="68"/>
                        <a:pt x="130" y="68"/>
                      </a:cubicBezTo>
                      <a:cubicBezTo>
                        <a:pt x="130" y="68"/>
                        <a:pt x="130" y="68"/>
                        <a:pt x="131" y="70"/>
                      </a:cubicBezTo>
                      <a:cubicBezTo>
                        <a:pt x="133" y="73"/>
                        <a:pt x="136" y="74"/>
                        <a:pt x="136" y="74"/>
                      </a:cubicBezTo>
                      <a:cubicBezTo>
                        <a:pt x="136" y="74"/>
                        <a:pt x="137" y="75"/>
                        <a:pt x="137" y="74"/>
                      </a:cubicBezTo>
                      <a:cubicBezTo>
                        <a:pt x="137" y="73"/>
                        <a:pt x="138" y="72"/>
                        <a:pt x="138" y="72"/>
                      </a:cubicBezTo>
                      <a:cubicBezTo>
                        <a:pt x="138" y="72"/>
                        <a:pt x="140" y="69"/>
                        <a:pt x="140" y="68"/>
                      </a:cubicBezTo>
                      <a:cubicBezTo>
                        <a:pt x="141" y="67"/>
                        <a:pt x="142" y="64"/>
                        <a:pt x="143" y="64"/>
                      </a:cubicBezTo>
                      <a:cubicBezTo>
                        <a:pt x="144" y="63"/>
                        <a:pt x="147" y="61"/>
                        <a:pt x="147" y="61"/>
                      </a:cubicBezTo>
                      <a:cubicBezTo>
                        <a:pt x="147" y="61"/>
                        <a:pt x="147" y="60"/>
                        <a:pt x="149" y="61"/>
                      </a:cubicBezTo>
                      <a:cubicBezTo>
                        <a:pt x="150" y="63"/>
                        <a:pt x="153" y="65"/>
                        <a:pt x="153" y="65"/>
                      </a:cubicBezTo>
                      <a:cubicBezTo>
                        <a:pt x="158" y="65"/>
                        <a:pt x="158" y="65"/>
                        <a:pt x="158" y="65"/>
                      </a:cubicBezTo>
                      <a:cubicBezTo>
                        <a:pt x="158" y="65"/>
                        <a:pt x="161" y="66"/>
                        <a:pt x="161" y="67"/>
                      </a:cubicBezTo>
                      <a:cubicBezTo>
                        <a:pt x="161" y="68"/>
                        <a:pt x="160" y="68"/>
                        <a:pt x="158" y="69"/>
                      </a:cubicBezTo>
                      <a:cubicBezTo>
                        <a:pt x="157" y="69"/>
                        <a:pt x="154" y="66"/>
                        <a:pt x="154" y="67"/>
                      </a:cubicBezTo>
                      <a:cubicBezTo>
                        <a:pt x="153" y="68"/>
                        <a:pt x="153" y="70"/>
                        <a:pt x="153" y="70"/>
                      </a:cubicBezTo>
                      <a:cubicBezTo>
                        <a:pt x="149" y="72"/>
                        <a:pt x="149" y="72"/>
                        <a:pt x="149" y="72"/>
                      </a:cubicBezTo>
                      <a:cubicBezTo>
                        <a:pt x="150" y="74"/>
                        <a:pt x="150" y="74"/>
                        <a:pt x="150" y="74"/>
                      </a:cubicBezTo>
                      <a:cubicBezTo>
                        <a:pt x="150" y="74"/>
                        <a:pt x="155" y="76"/>
                        <a:pt x="155" y="77"/>
                      </a:cubicBezTo>
                      <a:cubicBezTo>
                        <a:pt x="155" y="78"/>
                        <a:pt x="155" y="80"/>
                        <a:pt x="155" y="80"/>
                      </a:cubicBezTo>
                      <a:cubicBezTo>
                        <a:pt x="158" y="81"/>
                        <a:pt x="158" y="81"/>
                        <a:pt x="158" y="81"/>
                      </a:cubicBezTo>
                      <a:cubicBezTo>
                        <a:pt x="160" y="80"/>
                        <a:pt x="160" y="80"/>
                        <a:pt x="160" y="80"/>
                      </a:cubicBezTo>
                      <a:cubicBezTo>
                        <a:pt x="160" y="84"/>
                        <a:pt x="160" y="84"/>
                        <a:pt x="160" y="84"/>
                      </a:cubicBezTo>
                      <a:cubicBezTo>
                        <a:pt x="160" y="88"/>
                        <a:pt x="160" y="88"/>
                        <a:pt x="160" y="88"/>
                      </a:cubicBezTo>
                      <a:cubicBezTo>
                        <a:pt x="160" y="91"/>
                        <a:pt x="160" y="91"/>
                        <a:pt x="160" y="91"/>
                      </a:cubicBezTo>
                      <a:cubicBezTo>
                        <a:pt x="160" y="91"/>
                        <a:pt x="161" y="94"/>
                        <a:pt x="160" y="94"/>
                      </a:cubicBezTo>
                      <a:cubicBezTo>
                        <a:pt x="159" y="94"/>
                        <a:pt x="156" y="96"/>
                        <a:pt x="156" y="96"/>
                      </a:cubicBezTo>
                      <a:cubicBezTo>
                        <a:pt x="154" y="99"/>
                        <a:pt x="154" y="99"/>
                        <a:pt x="154" y="99"/>
                      </a:cubicBezTo>
                      <a:cubicBezTo>
                        <a:pt x="154" y="99"/>
                        <a:pt x="154" y="103"/>
                        <a:pt x="154" y="104"/>
                      </a:cubicBezTo>
                      <a:cubicBezTo>
                        <a:pt x="155" y="106"/>
                        <a:pt x="154" y="109"/>
                        <a:pt x="154" y="109"/>
                      </a:cubicBezTo>
                      <a:cubicBezTo>
                        <a:pt x="154" y="109"/>
                        <a:pt x="154" y="111"/>
                        <a:pt x="155" y="112"/>
                      </a:cubicBezTo>
                      <a:cubicBezTo>
                        <a:pt x="156" y="113"/>
                        <a:pt x="157" y="115"/>
                        <a:pt x="157" y="115"/>
                      </a:cubicBezTo>
                      <a:cubicBezTo>
                        <a:pt x="157" y="115"/>
                        <a:pt x="158" y="116"/>
                        <a:pt x="159" y="118"/>
                      </a:cubicBezTo>
                      <a:cubicBezTo>
                        <a:pt x="160" y="120"/>
                        <a:pt x="164" y="125"/>
                        <a:pt x="164" y="125"/>
                      </a:cubicBezTo>
                      <a:cubicBezTo>
                        <a:pt x="164" y="125"/>
                        <a:pt x="167" y="126"/>
                        <a:pt x="168" y="126"/>
                      </a:cubicBezTo>
                      <a:cubicBezTo>
                        <a:pt x="168" y="126"/>
                        <a:pt x="172" y="128"/>
                        <a:pt x="172" y="128"/>
                      </a:cubicBezTo>
                      <a:cubicBezTo>
                        <a:pt x="172" y="128"/>
                        <a:pt x="174" y="128"/>
                        <a:pt x="174" y="129"/>
                      </a:cubicBezTo>
                      <a:cubicBezTo>
                        <a:pt x="174" y="129"/>
                        <a:pt x="178" y="135"/>
                        <a:pt x="178" y="135"/>
                      </a:cubicBezTo>
                      <a:cubicBezTo>
                        <a:pt x="182" y="136"/>
                        <a:pt x="182" y="136"/>
                        <a:pt x="182" y="136"/>
                      </a:cubicBezTo>
                      <a:cubicBezTo>
                        <a:pt x="186" y="136"/>
                        <a:pt x="186" y="136"/>
                        <a:pt x="186" y="136"/>
                      </a:cubicBezTo>
                      <a:cubicBezTo>
                        <a:pt x="186" y="136"/>
                        <a:pt x="185" y="141"/>
                        <a:pt x="184" y="142"/>
                      </a:cubicBezTo>
                      <a:cubicBezTo>
                        <a:pt x="183" y="143"/>
                        <a:pt x="180" y="147"/>
                        <a:pt x="180" y="147"/>
                      </a:cubicBezTo>
                      <a:cubicBezTo>
                        <a:pt x="180" y="147"/>
                        <a:pt x="178" y="149"/>
                        <a:pt x="178" y="151"/>
                      </a:cubicBezTo>
                      <a:cubicBezTo>
                        <a:pt x="179" y="152"/>
                        <a:pt x="179" y="155"/>
                        <a:pt x="179" y="155"/>
                      </a:cubicBezTo>
                      <a:cubicBezTo>
                        <a:pt x="179" y="155"/>
                        <a:pt x="177" y="157"/>
                        <a:pt x="176" y="157"/>
                      </a:cubicBezTo>
                      <a:cubicBezTo>
                        <a:pt x="175" y="157"/>
                        <a:pt x="173" y="157"/>
                        <a:pt x="172" y="158"/>
                      </a:cubicBezTo>
                      <a:cubicBezTo>
                        <a:pt x="171" y="158"/>
                        <a:pt x="170" y="159"/>
                        <a:pt x="170" y="159"/>
                      </a:cubicBezTo>
                      <a:cubicBezTo>
                        <a:pt x="169" y="160"/>
                        <a:pt x="167" y="162"/>
                        <a:pt x="167" y="162"/>
                      </a:cubicBezTo>
                      <a:cubicBezTo>
                        <a:pt x="169" y="165"/>
                        <a:pt x="169" y="165"/>
                        <a:pt x="169" y="165"/>
                      </a:cubicBezTo>
                      <a:cubicBezTo>
                        <a:pt x="170" y="170"/>
                        <a:pt x="170" y="170"/>
                        <a:pt x="170" y="170"/>
                      </a:cubicBezTo>
                      <a:cubicBezTo>
                        <a:pt x="170" y="175"/>
                        <a:pt x="170" y="175"/>
                        <a:pt x="170" y="175"/>
                      </a:cubicBezTo>
                      <a:cubicBezTo>
                        <a:pt x="170" y="175"/>
                        <a:pt x="173" y="176"/>
                        <a:pt x="173" y="177"/>
                      </a:cubicBezTo>
                      <a:cubicBezTo>
                        <a:pt x="174" y="177"/>
                        <a:pt x="175" y="180"/>
                        <a:pt x="175" y="180"/>
                      </a:cubicBezTo>
                      <a:cubicBezTo>
                        <a:pt x="174" y="182"/>
                        <a:pt x="174" y="182"/>
                        <a:pt x="174" y="182"/>
                      </a:cubicBezTo>
                      <a:cubicBezTo>
                        <a:pt x="173" y="185"/>
                        <a:pt x="173" y="185"/>
                        <a:pt x="173" y="185"/>
                      </a:cubicBezTo>
                      <a:cubicBezTo>
                        <a:pt x="173" y="185"/>
                        <a:pt x="172" y="187"/>
                        <a:pt x="171" y="188"/>
                      </a:cubicBezTo>
                      <a:cubicBezTo>
                        <a:pt x="169" y="188"/>
                        <a:pt x="166" y="188"/>
                        <a:pt x="166" y="188"/>
                      </a:cubicBezTo>
                      <a:cubicBezTo>
                        <a:pt x="166" y="188"/>
                        <a:pt x="166" y="187"/>
                        <a:pt x="164" y="188"/>
                      </a:cubicBezTo>
                      <a:cubicBezTo>
                        <a:pt x="162" y="188"/>
                        <a:pt x="160" y="190"/>
                        <a:pt x="160" y="190"/>
                      </a:cubicBezTo>
                      <a:cubicBezTo>
                        <a:pt x="160" y="190"/>
                        <a:pt x="160" y="190"/>
                        <a:pt x="159" y="191"/>
                      </a:cubicBezTo>
                      <a:cubicBezTo>
                        <a:pt x="157" y="191"/>
                        <a:pt x="156" y="191"/>
                        <a:pt x="155" y="191"/>
                      </a:cubicBezTo>
                      <a:cubicBezTo>
                        <a:pt x="154" y="191"/>
                        <a:pt x="152" y="190"/>
                        <a:pt x="152" y="190"/>
                      </a:cubicBezTo>
                      <a:cubicBezTo>
                        <a:pt x="150" y="193"/>
                        <a:pt x="150" y="193"/>
                        <a:pt x="150" y="193"/>
                      </a:cubicBezTo>
                      <a:cubicBezTo>
                        <a:pt x="150" y="193"/>
                        <a:pt x="148" y="194"/>
                        <a:pt x="147" y="194"/>
                      </a:cubicBezTo>
                      <a:cubicBezTo>
                        <a:pt x="147" y="194"/>
                        <a:pt x="144" y="198"/>
                        <a:pt x="144" y="198"/>
                      </a:cubicBezTo>
                      <a:cubicBezTo>
                        <a:pt x="144" y="198"/>
                        <a:pt x="144" y="198"/>
                        <a:pt x="143" y="198"/>
                      </a:cubicBezTo>
                      <a:cubicBezTo>
                        <a:pt x="141" y="198"/>
                        <a:pt x="139" y="197"/>
                        <a:pt x="139" y="197"/>
                      </a:cubicBezTo>
                      <a:cubicBezTo>
                        <a:pt x="136" y="194"/>
                        <a:pt x="136" y="194"/>
                        <a:pt x="136" y="194"/>
                      </a:cubicBezTo>
                      <a:cubicBezTo>
                        <a:pt x="136" y="194"/>
                        <a:pt x="137" y="194"/>
                        <a:pt x="139" y="192"/>
                      </a:cubicBezTo>
                      <a:cubicBezTo>
                        <a:pt x="140" y="191"/>
                        <a:pt x="140" y="191"/>
                        <a:pt x="140" y="190"/>
                      </a:cubicBezTo>
                      <a:cubicBezTo>
                        <a:pt x="139" y="188"/>
                        <a:pt x="138" y="186"/>
                        <a:pt x="139" y="186"/>
                      </a:cubicBezTo>
                      <a:cubicBezTo>
                        <a:pt x="140" y="185"/>
                        <a:pt x="141" y="186"/>
                        <a:pt x="142" y="184"/>
                      </a:cubicBezTo>
                      <a:cubicBezTo>
                        <a:pt x="142" y="183"/>
                        <a:pt x="142" y="182"/>
                        <a:pt x="142" y="180"/>
                      </a:cubicBezTo>
                      <a:cubicBezTo>
                        <a:pt x="142" y="179"/>
                        <a:pt x="142" y="177"/>
                        <a:pt x="143" y="177"/>
                      </a:cubicBezTo>
                      <a:cubicBezTo>
                        <a:pt x="144" y="176"/>
                        <a:pt x="144" y="175"/>
                        <a:pt x="144" y="175"/>
                      </a:cubicBezTo>
                      <a:cubicBezTo>
                        <a:pt x="139" y="174"/>
                        <a:pt x="139" y="174"/>
                        <a:pt x="139" y="174"/>
                      </a:cubicBezTo>
                      <a:cubicBezTo>
                        <a:pt x="136" y="175"/>
                        <a:pt x="136" y="175"/>
                        <a:pt x="136" y="175"/>
                      </a:cubicBezTo>
                      <a:cubicBezTo>
                        <a:pt x="136" y="175"/>
                        <a:pt x="136" y="173"/>
                        <a:pt x="134" y="173"/>
                      </a:cubicBezTo>
                      <a:cubicBezTo>
                        <a:pt x="132" y="172"/>
                        <a:pt x="128" y="172"/>
                        <a:pt x="128" y="172"/>
                      </a:cubicBezTo>
                      <a:cubicBezTo>
                        <a:pt x="127" y="168"/>
                        <a:pt x="127" y="168"/>
                        <a:pt x="127" y="168"/>
                      </a:cubicBezTo>
                      <a:cubicBezTo>
                        <a:pt x="119" y="166"/>
                        <a:pt x="119" y="166"/>
                        <a:pt x="119" y="166"/>
                      </a:cubicBezTo>
                      <a:cubicBezTo>
                        <a:pt x="119" y="166"/>
                        <a:pt x="118" y="162"/>
                        <a:pt x="117" y="161"/>
                      </a:cubicBezTo>
                      <a:cubicBezTo>
                        <a:pt x="116" y="160"/>
                        <a:pt x="116" y="160"/>
                        <a:pt x="116" y="160"/>
                      </a:cubicBezTo>
                      <a:cubicBezTo>
                        <a:pt x="111" y="156"/>
                        <a:pt x="111" y="156"/>
                        <a:pt x="111" y="156"/>
                      </a:cubicBezTo>
                      <a:cubicBezTo>
                        <a:pt x="108" y="156"/>
                        <a:pt x="108" y="156"/>
                        <a:pt x="108" y="156"/>
                      </a:cubicBezTo>
                      <a:cubicBezTo>
                        <a:pt x="108" y="156"/>
                        <a:pt x="107" y="156"/>
                        <a:pt x="105" y="155"/>
                      </a:cubicBezTo>
                      <a:cubicBezTo>
                        <a:pt x="102" y="154"/>
                        <a:pt x="101" y="151"/>
                        <a:pt x="101" y="151"/>
                      </a:cubicBezTo>
                      <a:cubicBezTo>
                        <a:pt x="101" y="151"/>
                        <a:pt x="101" y="149"/>
                        <a:pt x="99" y="150"/>
                      </a:cubicBezTo>
                      <a:cubicBezTo>
                        <a:pt x="97" y="152"/>
                        <a:pt x="95" y="152"/>
                        <a:pt x="94" y="153"/>
                      </a:cubicBezTo>
                      <a:cubicBezTo>
                        <a:pt x="94" y="153"/>
                        <a:pt x="93" y="153"/>
                        <a:pt x="92" y="154"/>
                      </a:cubicBezTo>
                      <a:cubicBezTo>
                        <a:pt x="92" y="155"/>
                        <a:pt x="91" y="155"/>
                        <a:pt x="93" y="157"/>
                      </a:cubicBezTo>
                      <a:cubicBezTo>
                        <a:pt x="94" y="158"/>
                        <a:pt x="95" y="159"/>
                        <a:pt x="95" y="159"/>
                      </a:cubicBezTo>
                      <a:cubicBezTo>
                        <a:pt x="94" y="164"/>
                        <a:pt x="94" y="164"/>
                        <a:pt x="94" y="164"/>
                      </a:cubicBezTo>
                      <a:cubicBezTo>
                        <a:pt x="88" y="170"/>
                        <a:pt x="88" y="170"/>
                        <a:pt x="88" y="170"/>
                      </a:cubicBezTo>
                      <a:cubicBezTo>
                        <a:pt x="89" y="173"/>
                        <a:pt x="89" y="173"/>
                        <a:pt x="89" y="173"/>
                      </a:cubicBezTo>
                      <a:cubicBezTo>
                        <a:pt x="89" y="173"/>
                        <a:pt x="91" y="173"/>
                        <a:pt x="88" y="174"/>
                      </a:cubicBezTo>
                      <a:cubicBezTo>
                        <a:pt x="86" y="175"/>
                        <a:pt x="86" y="176"/>
                        <a:pt x="85" y="176"/>
                      </a:cubicBezTo>
                      <a:cubicBezTo>
                        <a:pt x="85" y="175"/>
                        <a:pt x="84" y="174"/>
                        <a:pt x="82" y="173"/>
                      </a:cubicBezTo>
                      <a:cubicBezTo>
                        <a:pt x="81" y="172"/>
                        <a:pt x="81" y="172"/>
                        <a:pt x="81" y="172"/>
                      </a:cubicBezTo>
                      <a:cubicBezTo>
                        <a:pt x="81" y="172"/>
                        <a:pt x="81" y="172"/>
                        <a:pt x="80" y="171"/>
                      </a:cubicBezTo>
                      <a:cubicBezTo>
                        <a:pt x="80" y="171"/>
                        <a:pt x="80" y="171"/>
                        <a:pt x="80" y="171"/>
                      </a:cubicBezTo>
                      <a:cubicBezTo>
                        <a:pt x="80" y="171"/>
                        <a:pt x="80" y="170"/>
                        <a:pt x="78" y="170"/>
                      </a:cubicBezTo>
                      <a:cubicBezTo>
                        <a:pt x="77" y="170"/>
                        <a:pt x="75" y="168"/>
                        <a:pt x="75" y="168"/>
                      </a:cubicBezTo>
                      <a:cubicBezTo>
                        <a:pt x="72" y="168"/>
                        <a:pt x="72" y="168"/>
                        <a:pt x="72" y="168"/>
                      </a:cubicBezTo>
                      <a:cubicBezTo>
                        <a:pt x="72" y="168"/>
                        <a:pt x="69" y="165"/>
                        <a:pt x="69" y="165"/>
                      </a:cubicBezTo>
                      <a:cubicBezTo>
                        <a:pt x="68" y="165"/>
                        <a:pt x="65" y="164"/>
                        <a:pt x="65" y="164"/>
                      </a:cubicBezTo>
                      <a:cubicBezTo>
                        <a:pt x="65" y="162"/>
                        <a:pt x="65" y="162"/>
                        <a:pt x="65" y="162"/>
                      </a:cubicBezTo>
                      <a:cubicBezTo>
                        <a:pt x="65" y="162"/>
                        <a:pt x="64" y="162"/>
                        <a:pt x="64" y="162"/>
                      </a:cubicBezTo>
                      <a:cubicBezTo>
                        <a:pt x="63" y="162"/>
                        <a:pt x="62" y="163"/>
                        <a:pt x="62" y="163"/>
                      </a:cubicBezTo>
                      <a:cubicBezTo>
                        <a:pt x="59" y="164"/>
                        <a:pt x="59" y="164"/>
                        <a:pt x="59" y="164"/>
                      </a:cubicBezTo>
                      <a:cubicBezTo>
                        <a:pt x="59" y="164"/>
                        <a:pt x="57" y="164"/>
                        <a:pt x="57" y="164"/>
                      </a:cubicBezTo>
                      <a:cubicBezTo>
                        <a:pt x="56" y="163"/>
                        <a:pt x="55" y="161"/>
                        <a:pt x="55" y="161"/>
                      </a:cubicBezTo>
                      <a:cubicBezTo>
                        <a:pt x="55" y="161"/>
                        <a:pt x="55" y="161"/>
                        <a:pt x="54" y="161"/>
                      </a:cubicBezTo>
                      <a:cubicBezTo>
                        <a:pt x="53" y="162"/>
                        <a:pt x="55" y="163"/>
                        <a:pt x="53" y="162"/>
                      </a:cubicBezTo>
                      <a:cubicBezTo>
                        <a:pt x="50" y="161"/>
                        <a:pt x="50" y="161"/>
                        <a:pt x="50" y="161"/>
                      </a:cubicBezTo>
                      <a:cubicBezTo>
                        <a:pt x="48" y="159"/>
                        <a:pt x="48" y="159"/>
                        <a:pt x="48" y="159"/>
                      </a:cubicBezTo>
                      <a:cubicBezTo>
                        <a:pt x="47" y="159"/>
                        <a:pt x="47" y="159"/>
                        <a:pt x="47" y="159"/>
                      </a:cubicBezTo>
                      <a:cubicBezTo>
                        <a:pt x="46" y="159"/>
                        <a:pt x="46" y="159"/>
                        <a:pt x="46" y="159"/>
                      </a:cubicBezTo>
                      <a:cubicBezTo>
                        <a:pt x="46" y="159"/>
                        <a:pt x="45" y="157"/>
                        <a:pt x="45" y="157"/>
                      </a:cubicBezTo>
                      <a:cubicBezTo>
                        <a:pt x="45" y="157"/>
                        <a:pt x="45" y="155"/>
                        <a:pt x="45" y="155"/>
                      </a:cubicBezTo>
                      <a:cubicBezTo>
                        <a:pt x="44" y="155"/>
                        <a:pt x="41" y="154"/>
                        <a:pt x="41" y="154"/>
                      </a:cubicBezTo>
                      <a:cubicBezTo>
                        <a:pt x="40" y="152"/>
                        <a:pt x="40" y="152"/>
                        <a:pt x="40" y="152"/>
                      </a:cubicBezTo>
                      <a:cubicBezTo>
                        <a:pt x="40" y="152"/>
                        <a:pt x="40" y="152"/>
                        <a:pt x="40" y="152"/>
                      </a:cubicBezTo>
                      <a:cubicBezTo>
                        <a:pt x="39" y="152"/>
                        <a:pt x="37" y="151"/>
                        <a:pt x="37" y="151"/>
                      </a:cubicBezTo>
                      <a:cubicBezTo>
                        <a:pt x="36" y="150"/>
                        <a:pt x="36" y="150"/>
                        <a:pt x="36" y="150"/>
                      </a:cubicBezTo>
                      <a:cubicBezTo>
                        <a:pt x="33" y="150"/>
                        <a:pt x="33" y="150"/>
                        <a:pt x="33" y="150"/>
                      </a:cubicBezTo>
                      <a:cubicBezTo>
                        <a:pt x="32" y="148"/>
                        <a:pt x="32" y="148"/>
                        <a:pt x="32" y="148"/>
                      </a:cubicBezTo>
                      <a:cubicBezTo>
                        <a:pt x="32" y="148"/>
                        <a:pt x="31" y="147"/>
                        <a:pt x="31" y="147"/>
                      </a:cubicBezTo>
                      <a:cubicBezTo>
                        <a:pt x="32" y="147"/>
                        <a:pt x="32" y="145"/>
                        <a:pt x="32" y="145"/>
                      </a:cubicBezTo>
                      <a:cubicBezTo>
                        <a:pt x="31" y="145"/>
                        <a:pt x="31" y="145"/>
                        <a:pt x="31" y="145"/>
                      </a:cubicBezTo>
                      <a:cubicBezTo>
                        <a:pt x="32" y="144"/>
                        <a:pt x="34" y="144"/>
                        <a:pt x="34" y="144"/>
                      </a:cubicBezTo>
                      <a:cubicBezTo>
                        <a:pt x="36" y="141"/>
                        <a:pt x="36" y="141"/>
                        <a:pt x="36" y="141"/>
                      </a:cubicBezTo>
                      <a:cubicBezTo>
                        <a:pt x="36" y="141"/>
                        <a:pt x="36" y="141"/>
                        <a:pt x="37" y="141"/>
                      </a:cubicBezTo>
                      <a:cubicBezTo>
                        <a:pt x="39" y="142"/>
                        <a:pt x="40" y="142"/>
                        <a:pt x="41" y="142"/>
                      </a:cubicBezTo>
                      <a:cubicBezTo>
                        <a:pt x="42" y="142"/>
                        <a:pt x="43" y="144"/>
                        <a:pt x="43" y="140"/>
                      </a:cubicBezTo>
                      <a:cubicBezTo>
                        <a:pt x="43" y="137"/>
                        <a:pt x="43" y="136"/>
                        <a:pt x="43" y="136"/>
                      </a:cubicBezTo>
                      <a:cubicBezTo>
                        <a:pt x="38" y="132"/>
                        <a:pt x="38" y="132"/>
                        <a:pt x="38" y="132"/>
                      </a:cubicBezTo>
                      <a:cubicBezTo>
                        <a:pt x="38" y="132"/>
                        <a:pt x="38" y="131"/>
                        <a:pt x="37" y="129"/>
                      </a:cubicBezTo>
                      <a:cubicBezTo>
                        <a:pt x="36" y="128"/>
                        <a:pt x="35" y="127"/>
                        <a:pt x="35" y="127"/>
                      </a:cubicBezTo>
                      <a:cubicBezTo>
                        <a:pt x="34" y="127"/>
                        <a:pt x="32" y="125"/>
                        <a:pt x="32" y="125"/>
                      </a:cubicBezTo>
                      <a:cubicBezTo>
                        <a:pt x="31" y="124"/>
                        <a:pt x="30" y="123"/>
                        <a:pt x="30" y="123"/>
                      </a:cubicBezTo>
                      <a:cubicBezTo>
                        <a:pt x="30" y="123"/>
                        <a:pt x="30" y="121"/>
                        <a:pt x="30" y="120"/>
                      </a:cubicBezTo>
                      <a:cubicBezTo>
                        <a:pt x="31" y="120"/>
                        <a:pt x="31" y="120"/>
                        <a:pt x="32" y="120"/>
                      </a:cubicBezTo>
                      <a:cubicBezTo>
                        <a:pt x="33" y="121"/>
                        <a:pt x="34" y="121"/>
                        <a:pt x="35" y="121"/>
                      </a:cubicBezTo>
                      <a:cubicBezTo>
                        <a:pt x="36" y="121"/>
                        <a:pt x="37" y="121"/>
                        <a:pt x="38" y="121"/>
                      </a:cubicBezTo>
                      <a:cubicBezTo>
                        <a:pt x="38" y="121"/>
                        <a:pt x="41" y="120"/>
                        <a:pt x="41" y="120"/>
                      </a:cubicBezTo>
                      <a:cubicBezTo>
                        <a:pt x="42" y="120"/>
                        <a:pt x="42" y="118"/>
                        <a:pt x="43" y="118"/>
                      </a:cubicBezTo>
                      <a:cubicBezTo>
                        <a:pt x="43" y="118"/>
                        <a:pt x="44" y="117"/>
                        <a:pt x="43" y="116"/>
                      </a:cubicBezTo>
                      <a:cubicBezTo>
                        <a:pt x="43" y="116"/>
                        <a:pt x="41" y="115"/>
                        <a:pt x="41" y="115"/>
                      </a:cubicBezTo>
                      <a:cubicBezTo>
                        <a:pt x="40" y="115"/>
                        <a:pt x="39" y="114"/>
                        <a:pt x="39" y="113"/>
                      </a:cubicBezTo>
                      <a:cubicBezTo>
                        <a:pt x="38" y="113"/>
                        <a:pt x="37" y="112"/>
                        <a:pt x="37" y="111"/>
                      </a:cubicBezTo>
                      <a:cubicBezTo>
                        <a:pt x="36" y="111"/>
                        <a:pt x="36" y="112"/>
                        <a:pt x="35" y="112"/>
                      </a:cubicBezTo>
                      <a:cubicBezTo>
                        <a:pt x="34" y="111"/>
                        <a:pt x="33" y="110"/>
                        <a:pt x="32" y="109"/>
                      </a:cubicBezTo>
                      <a:cubicBezTo>
                        <a:pt x="32" y="108"/>
                        <a:pt x="32" y="108"/>
                        <a:pt x="31" y="107"/>
                      </a:cubicBezTo>
                      <a:cubicBezTo>
                        <a:pt x="30" y="107"/>
                        <a:pt x="29" y="106"/>
                        <a:pt x="28" y="106"/>
                      </a:cubicBezTo>
                      <a:cubicBezTo>
                        <a:pt x="27" y="106"/>
                        <a:pt x="27" y="107"/>
                        <a:pt x="25" y="106"/>
                      </a:cubicBezTo>
                      <a:cubicBezTo>
                        <a:pt x="23" y="106"/>
                        <a:pt x="21" y="105"/>
                        <a:pt x="21" y="104"/>
                      </a:cubicBezTo>
                      <a:cubicBezTo>
                        <a:pt x="22" y="103"/>
                        <a:pt x="21" y="103"/>
                        <a:pt x="22" y="102"/>
                      </a:cubicBezTo>
                      <a:cubicBezTo>
                        <a:pt x="22" y="101"/>
                        <a:pt x="22" y="99"/>
                        <a:pt x="22" y="98"/>
                      </a:cubicBezTo>
                      <a:cubicBezTo>
                        <a:pt x="22" y="97"/>
                        <a:pt x="21" y="98"/>
                        <a:pt x="21" y="95"/>
                      </a:cubicBezTo>
                      <a:cubicBezTo>
                        <a:pt x="20" y="92"/>
                        <a:pt x="22" y="93"/>
                        <a:pt x="22" y="93"/>
                      </a:cubicBezTo>
                      <a:cubicBezTo>
                        <a:pt x="22" y="93"/>
                        <a:pt x="23" y="91"/>
                        <a:pt x="23" y="90"/>
                      </a:cubicBezTo>
                      <a:cubicBezTo>
                        <a:pt x="23" y="90"/>
                        <a:pt x="24" y="87"/>
                        <a:pt x="24" y="87"/>
                      </a:cubicBezTo>
                      <a:cubicBezTo>
                        <a:pt x="27" y="83"/>
                        <a:pt x="27" y="83"/>
                        <a:pt x="27" y="83"/>
                      </a:cubicBezTo>
                      <a:cubicBezTo>
                        <a:pt x="27" y="80"/>
                        <a:pt x="27" y="80"/>
                        <a:pt x="27" y="80"/>
                      </a:cubicBezTo>
                      <a:cubicBezTo>
                        <a:pt x="27" y="76"/>
                        <a:pt x="27" y="76"/>
                        <a:pt x="27" y="76"/>
                      </a:cubicBezTo>
                      <a:cubicBezTo>
                        <a:pt x="27" y="73"/>
                        <a:pt x="27" y="73"/>
                        <a:pt x="27" y="73"/>
                      </a:cubicBezTo>
                      <a:cubicBezTo>
                        <a:pt x="24" y="72"/>
                        <a:pt x="24" y="72"/>
                        <a:pt x="24" y="72"/>
                      </a:cubicBezTo>
                      <a:cubicBezTo>
                        <a:pt x="18" y="71"/>
                        <a:pt x="18" y="71"/>
                        <a:pt x="18" y="71"/>
                      </a:cubicBezTo>
                      <a:cubicBezTo>
                        <a:pt x="18" y="71"/>
                        <a:pt x="18" y="73"/>
                        <a:pt x="17" y="73"/>
                      </a:cubicBezTo>
                      <a:cubicBezTo>
                        <a:pt x="17" y="73"/>
                        <a:pt x="16" y="74"/>
                        <a:pt x="15" y="74"/>
                      </a:cubicBezTo>
                      <a:cubicBezTo>
                        <a:pt x="14" y="73"/>
                        <a:pt x="14" y="73"/>
                        <a:pt x="14" y="73"/>
                      </a:cubicBezTo>
                      <a:cubicBezTo>
                        <a:pt x="16" y="71"/>
                        <a:pt x="16" y="71"/>
                        <a:pt x="16" y="71"/>
                      </a:cubicBezTo>
                      <a:cubicBezTo>
                        <a:pt x="16" y="67"/>
                        <a:pt x="16" y="67"/>
                        <a:pt x="16" y="67"/>
                      </a:cubicBezTo>
                      <a:cubicBezTo>
                        <a:pt x="16" y="67"/>
                        <a:pt x="15" y="65"/>
                        <a:pt x="14" y="63"/>
                      </a:cubicBezTo>
                      <a:cubicBezTo>
                        <a:pt x="13" y="62"/>
                        <a:pt x="12" y="61"/>
                        <a:pt x="12" y="61"/>
                      </a:cubicBezTo>
                      <a:cubicBezTo>
                        <a:pt x="15" y="59"/>
                        <a:pt x="15" y="59"/>
                        <a:pt x="15" y="59"/>
                      </a:cubicBezTo>
                      <a:cubicBezTo>
                        <a:pt x="16" y="58"/>
                        <a:pt x="16" y="58"/>
                        <a:pt x="16" y="58"/>
                      </a:cubicBezTo>
                      <a:cubicBezTo>
                        <a:pt x="16" y="57"/>
                        <a:pt x="16" y="57"/>
                        <a:pt x="16" y="57"/>
                      </a:cubicBezTo>
                      <a:cubicBezTo>
                        <a:pt x="16" y="57"/>
                        <a:pt x="18" y="59"/>
                        <a:pt x="20" y="59"/>
                      </a:cubicBezTo>
                      <a:cubicBezTo>
                        <a:pt x="21" y="59"/>
                        <a:pt x="20" y="59"/>
                        <a:pt x="22" y="58"/>
                      </a:cubicBezTo>
                      <a:cubicBezTo>
                        <a:pt x="24" y="58"/>
                        <a:pt x="27" y="55"/>
                        <a:pt x="27" y="55"/>
                      </a:cubicBezTo>
                      <a:cubicBezTo>
                        <a:pt x="27" y="55"/>
                        <a:pt x="25" y="53"/>
                        <a:pt x="24" y="53"/>
                      </a:cubicBezTo>
                      <a:cubicBezTo>
                        <a:pt x="23" y="54"/>
                        <a:pt x="24" y="54"/>
                        <a:pt x="21" y="54"/>
                      </a:cubicBezTo>
                      <a:cubicBezTo>
                        <a:pt x="18" y="53"/>
                        <a:pt x="17" y="52"/>
                        <a:pt x="17" y="52"/>
                      </a:cubicBezTo>
                      <a:cubicBezTo>
                        <a:pt x="17" y="52"/>
                        <a:pt x="16" y="52"/>
                        <a:pt x="15" y="52"/>
                      </a:cubicBezTo>
                      <a:cubicBezTo>
                        <a:pt x="14" y="52"/>
                        <a:pt x="14" y="52"/>
                        <a:pt x="13" y="51"/>
                      </a:cubicBezTo>
                      <a:cubicBezTo>
                        <a:pt x="11" y="49"/>
                        <a:pt x="9" y="47"/>
                        <a:pt x="9" y="47"/>
                      </a:cubicBezTo>
                      <a:cubicBezTo>
                        <a:pt x="9" y="47"/>
                        <a:pt x="7" y="48"/>
                        <a:pt x="7" y="47"/>
                      </a:cubicBezTo>
                      <a:cubicBezTo>
                        <a:pt x="7" y="46"/>
                        <a:pt x="8" y="45"/>
                        <a:pt x="8" y="45"/>
                      </a:cubicBezTo>
                      <a:cubicBezTo>
                        <a:pt x="7" y="43"/>
                        <a:pt x="7" y="43"/>
                        <a:pt x="7" y="43"/>
                      </a:cubicBezTo>
                      <a:cubicBezTo>
                        <a:pt x="7" y="43"/>
                        <a:pt x="9" y="43"/>
                        <a:pt x="10" y="42"/>
                      </a:cubicBezTo>
                      <a:cubicBezTo>
                        <a:pt x="11" y="42"/>
                        <a:pt x="11" y="39"/>
                        <a:pt x="10" y="39"/>
                      </a:cubicBezTo>
                      <a:cubicBezTo>
                        <a:pt x="9" y="39"/>
                        <a:pt x="8" y="38"/>
                        <a:pt x="7" y="39"/>
                      </a:cubicBezTo>
                      <a:cubicBezTo>
                        <a:pt x="6" y="39"/>
                        <a:pt x="5" y="40"/>
                        <a:pt x="5" y="40"/>
                      </a:cubicBezTo>
                      <a:cubicBezTo>
                        <a:pt x="4" y="40"/>
                        <a:pt x="2" y="39"/>
                        <a:pt x="2" y="38"/>
                      </a:cubicBezTo>
                      <a:cubicBezTo>
                        <a:pt x="2" y="37"/>
                        <a:pt x="1" y="37"/>
                        <a:pt x="3" y="36"/>
                      </a:cubicBezTo>
                      <a:cubicBezTo>
                        <a:pt x="4" y="36"/>
                        <a:pt x="5" y="34"/>
                        <a:pt x="5" y="34"/>
                      </a:cubicBezTo>
                      <a:cubicBezTo>
                        <a:pt x="3" y="31"/>
                        <a:pt x="3" y="31"/>
                        <a:pt x="3" y="31"/>
                      </a:cubicBezTo>
                      <a:cubicBezTo>
                        <a:pt x="4" y="25"/>
                        <a:pt x="4" y="25"/>
                        <a:pt x="4" y="25"/>
                      </a:cubicBezTo>
                      <a:cubicBezTo>
                        <a:pt x="0" y="24"/>
                        <a:pt x="0" y="24"/>
                        <a:pt x="0" y="24"/>
                      </a:cubicBezTo>
                      <a:cubicBezTo>
                        <a:pt x="0" y="22"/>
                        <a:pt x="0" y="22"/>
                        <a:pt x="0" y="22"/>
                      </a:cubicBezTo>
                      <a:cubicBezTo>
                        <a:pt x="4" y="20"/>
                        <a:pt x="4" y="20"/>
                        <a:pt x="4" y="20"/>
                      </a:cubicBezTo>
                      <a:cubicBezTo>
                        <a:pt x="8" y="14"/>
                        <a:pt x="8" y="14"/>
                        <a:pt x="8" y="14"/>
                      </a:cubicBezTo>
                      <a:cubicBezTo>
                        <a:pt x="9" y="15"/>
                        <a:pt x="9" y="15"/>
                        <a:pt x="9" y="15"/>
                      </a:cubicBezTo>
                      <a:cubicBezTo>
                        <a:pt x="9" y="15"/>
                        <a:pt x="10" y="15"/>
                        <a:pt x="11" y="14"/>
                      </a:cubicBezTo>
                      <a:close/>
                    </a:path>
                  </a:pathLst>
                </a:custGeom>
                <a:solidFill>
                  <a:srgbClr val="E6EFF1"/>
                </a:solidFill>
                <a:ln w="12700" cap="rnd" cmpd="sng">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Lato Light"/>
                  </a:endParaRPr>
                </a:p>
              </p:txBody>
            </p:sp>
            <p:sp>
              <p:nvSpPr>
                <p:cNvPr id="17" name="Freeform 25">
                  <a:extLst>
                    <a:ext uri="{FF2B5EF4-FFF2-40B4-BE49-F238E27FC236}">
                      <a16:creationId xmlns:a16="http://schemas.microsoft.com/office/drawing/2014/main" id="{1D5F248A-21DF-4DD1-6FD8-796CA72E837E}"/>
                    </a:ext>
                  </a:extLst>
                </p:cNvPr>
                <p:cNvSpPr>
                  <a:spLocks/>
                </p:cNvSpPr>
                <p:nvPr/>
              </p:nvSpPr>
              <p:spPr bwMode="auto">
                <a:xfrm>
                  <a:off x="3495913" y="4419314"/>
                  <a:ext cx="498725" cy="304328"/>
                </a:xfrm>
                <a:custGeom>
                  <a:avLst/>
                  <a:gdLst>
                    <a:gd name="T0" fmla="*/ 33 w 173"/>
                    <a:gd name="T1" fmla="*/ 82 h 109"/>
                    <a:gd name="T2" fmla="*/ 34 w 173"/>
                    <a:gd name="T3" fmla="*/ 96 h 109"/>
                    <a:gd name="T4" fmla="*/ 43 w 173"/>
                    <a:gd name="T5" fmla="*/ 106 h 109"/>
                    <a:gd name="T6" fmla="*/ 57 w 173"/>
                    <a:gd name="T7" fmla="*/ 101 h 109"/>
                    <a:gd name="T8" fmla="*/ 68 w 173"/>
                    <a:gd name="T9" fmla="*/ 103 h 109"/>
                    <a:gd name="T10" fmla="*/ 78 w 173"/>
                    <a:gd name="T11" fmla="*/ 97 h 109"/>
                    <a:gd name="T12" fmla="*/ 81 w 173"/>
                    <a:gd name="T13" fmla="*/ 85 h 109"/>
                    <a:gd name="T14" fmla="*/ 88 w 173"/>
                    <a:gd name="T15" fmla="*/ 77 h 109"/>
                    <a:gd name="T16" fmla="*/ 94 w 173"/>
                    <a:gd name="T17" fmla="*/ 85 h 109"/>
                    <a:gd name="T18" fmla="*/ 103 w 173"/>
                    <a:gd name="T19" fmla="*/ 92 h 109"/>
                    <a:gd name="T20" fmla="*/ 110 w 173"/>
                    <a:gd name="T21" fmla="*/ 96 h 109"/>
                    <a:gd name="T22" fmla="*/ 113 w 173"/>
                    <a:gd name="T23" fmla="*/ 108 h 109"/>
                    <a:gd name="T24" fmla="*/ 117 w 173"/>
                    <a:gd name="T25" fmla="*/ 101 h 109"/>
                    <a:gd name="T26" fmla="*/ 121 w 173"/>
                    <a:gd name="T27" fmla="*/ 89 h 109"/>
                    <a:gd name="T28" fmla="*/ 126 w 173"/>
                    <a:gd name="T29" fmla="*/ 80 h 109"/>
                    <a:gd name="T30" fmla="*/ 130 w 173"/>
                    <a:gd name="T31" fmla="*/ 72 h 109"/>
                    <a:gd name="T32" fmla="*/ 136 w 173"/>
                    <a:gd name="T33" fmla="*/ 81 h 109"/>
                    <a:gd name="T34" fmla="*/ 147 w 173"/>
                    <a:gd name="T35" fmla="*/ 78 h 109"/>
                    <a:gd name="T36" fmla="*/ 156 w 173"/>
                    <a:gd name="T37" fmla="*/ 84 h 109"/>
                    <a:gd name="T38" fmla="*/ 158 w 173"/>
                    <a:gd name="T39" fmla="*/ 79 h 109"/>
                    <a:gd name="T40" fmla="*/ 156 w 173"/>
                    <a:gd name="T41" fmla="*/ 71 h 109"/>
                    <a:gd name="T42" fmla="*/ 161 w 173"/>
                    <a:gd name="T43" fmla="*/ 64 h 109"/>
                    <a:gd name="T44" fmla="*/ 170 w 173"/>
                    <a:gd name="T45" fmla="*/ 67 h 109"/>
                    <a:gd name="T46" fmla="*/ 170 w 173"/>
                    <a:gd name="T47" fmla="*/ 58 h 109"/>
                    <a:gd name="T48" fmla="*/ 170 w 173"/>
                    <a:gd name="T49" fmla="*/ 45 h 109"/>
                    <a:gd name="T50" fmla="*/ 163 w 173"/>
                    <a:gd name="T51" fmla="*/ 46 h 109"/>
                    <a:gd name="T52" fmla="*/ 152 w 173"/>
                    <a:gd name="T53" fmla="*/ 48 h 109"/>
                    <a:gd name="T54" fmla="*/ 138 w 173"/>
                    <a:gd name="T55" fmla="*/ 40 h 109"/>
                    <a:gd name="T56" fmla="*/ 133 w 173"/>
                    <a:gd name="T57" fmla="*/ 40 h 109"/>
                    <a:gd name="T58" fmla="*/ 133 w 173"/>
                    <a:gd name="T59" fmla="*/ 35 h 109"/>
                    <a:gd name="T60" fmla="*/ 137 w 173"/>
                    <a:gd name="T61" fmla="*/ 24 h 109"/>
                    <a:gd name="T62" fmla="*/ 136 w 173"/>
                    <a:gd name="T63" fmla="*/ 15 h 109"/>
                    <a:gd name="T64" fmla="*/ 125 w 173"/>
                    <a:gd name="T65" fmla="*/ 8 h 109"/>
                    <a:gd name="T66" fmla="*/ 110 w 173"/>
                    <a:gd name="T67" fmla="*/ 7 h 109"/>
                    <a:gd name="T68" fmla="*/ 102 w 173"/>
                    <a:gd name="T69" fmla="*/ 6 h 109"/>
                    <a:gd name="T70" fmla="*/ 103 w 173"/>
                    <a:gd name="T71" fmla="*/ 1 h 109"/>
                    <a:gd name="T72" fmla="*/ 95 w 173"/>
                    <a:gd name="T73" fmla="*/ 2 h 109"/>
                    <a:gd name="T74" fmla="*/ 100 w 173"/>
                    <a:gd name="T75" fmla="*/ 8 h 109"/>
                    <a:gd name="T76" fmla="*/ 92 w 173"/>
                    <a:gd name="T77" fmla="*/ 12 h 109"/>
                    <a:gd name="T78" fmla="*/ 76 w 173"/>
                    <a:gd name="T79" fmla="*/ 13 h 109"/>
                    <a:gd name="T80" fmla="*/ 65 w 173"/>
                    <a:gd name="T81" fmla="*/ 13 h 109"/>
                    <a:gd name="T82" fmla="*/ 59 w 173"/>
                    <a:gd name="T83" fmla="*/ 14 h 109"/>
                    <a:gd name="T84" fmla="*/ 56 w 173"/>
                    <a:gd name="T85" fmla="*/ 20 h 109"/>
                    <a:gd name="T86" fmla="*/ 46 w 173"/>
                    <a:gd name="T87" fmla="*/ 16 h 109"/>
                    <a:gd name="T88" fmla="*/ 39 w 173"/>
                    <a:gd name="T89" fmla="*/ 20 h 109"/>
                    <a:gd name="T90" fmla="*/ 42 w 173"/>
                    <a:gd name="T91" fmla="*/ 23 h 109"/>
                    <a:gd name="T92" fmla="*/ 37 w 173"/>
                    <a:gd name="T93" fmla="*/ 33 h 109"/>
                    <a:gd name="T94" fmla="*/ 29 w 173"/>
                    <a:gd name="T95" fmla="*/ 41 h 109"/>
                    <a:gd name="T96" fmla="*/ 19 w 173"/>
                    <a:gd name="T97" fmla="*/ 47 h 109"/>
                    <a:gd name="T98" fmla="*/ 19 w 173"/>
                    <a:gd name="T99" fmla="*/ 56 h 109"/>
                    <a:gd name="T100" fmla="*/ 7 w 173"/>
                    <a:gd name="T101" fmla="*/ 67 h 109"/>
                    <a:gd name="T102" fmla="*/ 7 w 173"/>
                    <a:gd name="T103" fmla="*/ 77 h 109"/>
                    <a:gd name="T104" fmla="*/ 0 w 173"/>
                    <a:gd name="T105" fmla="*/ 87 h 109"/>
                    <a:gd name="T106" fmla="*/ 10 w 173"/>
                    <a:gd name="T107" fmla="*/ 87 h 109"/>
                    <a:gd name="T108" fmla="*/ 12 w 173"/>
                    <a:gd name="T109" fmla="*/ 77 h 109"/>
                    <a:gd name="T110" fmla="*/ 31 w 173"/>
                    <a:gd name="T111" fmla="*/ 75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73" h="109">
                      <a:moveTo>
                        <a:pt x="31" y="75"/>
                      </a:moveTo>
                      <a:cubicBezTo>
                        <a:pt x="33" y="76"/>
                        <a:pt x="33" y="76"/>
                        <a:pt x="33" y="76"/>
                      </a:cubicBezTo>
                      <a:cubicBezTo>
                        <a:pt x="33" y="78"/>
                        <a:pt x="33" y="78"/>
                        <a:pt x="33" y="78"/>
                      </a:cubicBezTo>
                      <a:cubicBezTo>
                        <a:pt x="33" y="78"/>
                        <a:pt x="33" y="77"/>
                        <a:pt x="32" y="79"/>
                      </a:cubicBezTo>
                      <a:cubicBezTo>
                        <a:pt x="31" y="80"/>
                        <a:pt x="31" y="80"/>
                        <a:pt x="31" y="80"/>
                      </a:cubicBezTo>
                      <a:cubicBezTo>
                        <a:pt x="32" y="80"/>
                        <a:pt x="33" y="81"/>
                        <a:pt x="33" y="81"/>
                      </a:cubicBezTo>
                      <a:cubicBezTo>
                        <a:pt x="33" y="81"/>
                        <a:pt x="34" y="81"/>
                        <a:pt x="33" y="82"/>
                      </a:cubicBezTo>
                      <a:cubicBezTo>
                        <a:pt x="33" y="84"/>
                        <a:pt x="33" y="85"/>
                        <a:pt x="33" y="85"/>
                      </a:cubicBezTo>
                      <a:cubicBezTo>
                        <a:pt x="33" y="85"/>
                        <a:pt x="33" y="86"/>
                        <a:pt x="33" y="87"/>
                      </a:cubicBezTo>
                      <a:cubicBezTo>
                        <a:pt x="32" y="87"/>
                        <a:pt x="31" y="90"/>
                        <a:pt x="31" y="90"/>
                      </a:cubicBezTo>
                      <a:cubicBezTo>
                        <a:pt x="31" y="90"/>
                        <a:pt x="31" y="90"/>
                        <a:pt x="31" y="91"/>
                      </a:cubicBezTo>
                      <a:cubicBezTo>
                        <a:pt x="32" y="91"/>
                        <a:pt x="35" y="91"/>
                        <a:pt x="35" y="91"/>
                      </a:cubicBezTo>
                      <a:cubicBezTo>
                        <a:pt x="35" y="91"/>
                        <a:pt x="35" y="93"/>
                        <a:pt x="35" y="94"/>
                      </a:cubicBezTo>
                      <a:cubicBezTo>
                        <a:pt x="34" y="94"/>
                        <a:pt x="33" y="96"/>
                        <a:pt x="34" y="96"/>
                      </a:cubicBezTo>
                      <a:cubicBezTo>
                        <a:pt x="35" y="96"/>
                        <a:pt x="36" y="97"/>
                        <a:pt x="36" y="97"/>
                      </a:cubicBezTo>
                      <a:cubicBezTo>
                        <a:pt x="36" y="97"/>
                        <a:pt x="37" y="98"/>
                        <a:pt x="37" y="98"/>
                      </a:cubicBezTo>
                      <a:cubicBezTo>
                        <a:pt x="38" y="98"/>
                        <a:pt x="39" y="99"/>
                        <a:pt x="39" y="99"/>
                      </a:cubicBezTo>
                      <a:cubicBezTo>
                        <a:pt x="39" y="99"/>
                        <a:pt x="41" y="101"/>
                        <a:pt x="41" y="101"/>
                      </a:cubicBezTo>
                      <a:cubicBezTo>
                        <a:pt x="41" y="102"/>
                        <a:pt x="40" y="103"/>
                        <a:pt x="40" y="103"/>
                      </a:cubicBezTo>
                      <a:cubicBezTo>
                        <a:pt x="40" y="103"/>
                        <a:pt x="42" y="105"/>
                        <a:pt x="42" y="105"/>
                      </a:cubicBezTo>
                      <a:cubicBezTo>
                        <a:pt x="42" y="105"/>
                        <a:pt x="42" y="106"/>
                        <a:pt x="43" y="106"/>
                      </a:cubicBezTo>
                      <a:cubicBezTo>
                        <a:pt x="44" y="106"/>
                        <a:pt x="45" y="105"/>
                        <a:pt x="45" y="105"/>
                      </a:cubicBezTo>
                      <a:cubicBezTo>
                        <a:pt x="45" y="105"/>
                        <a:pt x="47" y="104"/>
                        <a:pt x="47" y="104"/>
                      </a:cubicBezTo>
                      <a:cubicBezTo>
                        <a:pt x="47" y="104"/>
                        <a:pt x="48" y="103"/>
                        <a:pt x="49" y="103"/>
                      </a:cubicBezTo>
                      <a:cubicBezTo>
                        <a:pt x="50" y="103"/>
                        <a:pt x="51" y="104"/>
                        <a:pt x="52" y="104"/>
                      </a:cubicBezTo>
                      <a:cubicBezTo>
                        <a:pt x="53" y="104"/>
                        <a:pt x="56" y="104"/>
                        <a:pt x="56" y="104"/>
                      </a:cubicBezTo>
                      <a:cubicBezTo>
                        <a:pt x="56" y="102"/>
                        <a:pt x="56" y="102"/>
                        <a:pt x="56" y="102"/>
                      </a:cubicBezTo>
                      <a:cubicBezTo>
                        <a:pt x="56" y="102"/>
                        <a:pt x="56" y="101"/>
                        <a:pt x="57" y="101"/>
                      </a:cubicBezTo>
                      <a:cubicBezTo>
                        <a:pt x="58" y="101"/>
                        <a:pt x="59" y="101"/>
                        <a:pt x="59" y="101"/>
                      </a:cubicBezTo>
                      <a:cubicBezTo>
                        <a:pt x="59" y="101"/>
                        <a:pt x="58" y="100"/>
                        <a:pt x="59" y="100"/>
                      </a:cubicBezTo>
                      <a:cubicBezTo>
                        <a:pt x="59" y="100"/>
                        <a:pt x="61" y="100"/>
                        <a:pt x="62" y="101"/>
                      </a:cubicBezTo>
                      <a:cubicBezTo>
                        <a:pt x="62" y="101"/>
                        <a:pt x="64" y="100"/>
                        <a:pt x="64" y="101"/>
                      </a:cubicBezTo>
                      <a:cubicBezTo>
                        <a:pt x="64" y="101"/>
                        <a:pt x="65" y="102"/>
                        <a:pt x="65" y="102"/>
                      </a:cubicBezTo>
                      <a:cubicBezTo>
                        <a:pt x="65" y="102"/>
                        <a:pt x="66" y="104"/>
                        <a:pt x="66" y="103"/>
                      </a:cubicBezTo>
                      <a:cubicBezTo>
                        <a:pt x="67" y="103"/>
                        <a:pt x="67" y="103"/>
                        <a:pt x="68" y="103"/>
                      </a:cubicBezTo>
                      <a:cubicBezTo>
                        <a:pt x="68" y="104"/>
                        <a:pt x="70" y="104"/>
                        <a:pt x="71" y="104"/>
                      </a:cubicBezTo>
                      <a:cubicBezTo>
                        <a:pt x="71" y="103"/>
                        <a:pt x="71" y="103"/>
                        <a:pt x="71" y="103"/>
                      </a:cubicBezTo>
                      <a:cubicBezTo>
                        <a:pt x="71" y="102"/>
                        <a:pt x="70" y="101"/>
                        <a:pt x="72" y="101"/>
                      </a:cubicBezTo>
                      <a:cubicBezTo>
                        <a:pt x="73" y="101"/>
                        <a:pt x="73" y="100"/>
                        <a:pt x="74" y="100"/>
                      </a:cubicBezTo>
                      <a:cubicBezTo>
                        <a:pt x="75" y="100"/>
                        <a:pt x="76" y="100"/>
                        <a:pt x="76" y="100"/>
                      </a:cubicBezTo>
                      <a:cubicBezTo>
                        <a:pt x="76" y="100"/>
                        <a:pt x="76" y="100"/>
                        <a:pt x="77" y="99"/>
                      </a:cubicBezTo>
                      <a:cubicBezTo>
                        <a:pt x="78" y="98"/>
                        <a:pt x="78" y="97"/>
                        <a:pt x="78" y="97"/>
                      </a:cubicBezTo>
                      <a:cubicBezTo>
                        <a:pt x="78" y="96"/>
                        <a:pt x="78" y="95"/>
                        <a:pt x="78" y="95"/>
                      </a:cubicBezTo>
                      <a:cubicBezTo>
                        <a:pt x="79" y="94"/>
                        <a:pt x="79" y="94"/>
                        <a:pt x="79" y="94"/>
                      </a:cubicBezTo>
                      <a:cubicBezTo>
                        <a:pt x="80" y="93"/>
                        <a:pt x="80" y="93"/>
                        <a:pt x="80" y="93"/>
                      </a:cubicBezTo>
                      <a:cubicBezTo>
                        <a:pt x="80" y="93"/>
                        <a:pt x="80" y="93"/>
                        <a:pt x="81" y="91"/>
                      </a:cubicBezTo>
                      <a:cubicBezTo>
                        <a:pt x="81" y="90"/>
                        <a:pt x="81" y="90"/>
                        <a:pt x="81" y="90"/>
                      </a:cubicBezTo>
                      <a:cubicBezTo>
                        <a:pt x="82" y="88"/>
                        <a:pt x="82" y="88"/>
                        <a:pt x="82" y="88"/>
                      </a:cubicBezTo>
                      <a:cubicBezTo>
                        <a:pt x="81" y="85"/>
                        <a:pt x="81" y="85"/>
                        <a:pt x="81" y="85"/>
                      </a:cubicBezTo>
                      <a:cubicBezTo>
                        <a:pt x="80" y="84"/>
                        <a:pt x="80" y="84"/>
                        <a:pt x="80" y="84"/>
                      </a:cubicBezTo>
                      <a:cubicBezTo>
                        <a:pt x="81" y="83"/>
                        <a:pt x="81" y="83"/>
                        <a:pt x="81" y="83"/>
                      </a:cubicBezTo>
                      <a:cubicBezTo>
                        <a:pt x="81" y="83"/>
                        <a:pt x="82" y="82"/>
                        <a:pt x="83" y="82"/>
                      </a:cubicBezTo>
                      <a:cubicBezTo>
                        <a:pt x="84" y="82"/>
                        <a:pt x="84" y="82"/>
                        <a:pt x="84" y="81"/>
                      </a:cubicBezTo>
                      <a:cubicBezTo>
                        <a:pt x="85" y="81"/>
                        <a:pt x="87" y="79"/>
                        <a:pt x="87" y="79"/>
                      </a:cubicBezTo>
                      <a:cubicBezTo>
                        <a:pt x="87" y="79"/>
                        <a:pt x="87" y="79"/>
                        <a:pt x="88" y="79"/>
                      </a:cubicBezTo>
                      <a:cubicBezTo>
                        <a:pt x="88" y="78"/>
                        <a:pt x="88" y="77"/>
                        <a:pt x="88" y="77"/>
                      </a:cubicBezTo>
                      <a:cubicBezTo>
                        <a:pt x="88" y="77"/>
                        <a:pt x="88" y="76"/>
                        <a:pt x="89" y="76"/>
                      </a:cubicBezTo>
                      <a:cubicBezTo>
                        <a:pt x="90" y="75"/>
                        <a:pt x="94" y="74"/>
                        <a:pt x="94" y="74"/>
                      </a:cubicBezTo>
                      <a:cubicBezTo>
                        <a:pt x="94" y="74"/>
                        <a:pt x="93" y="76"/>
                        <a:pt x="93" y="77"/>
                      </a:cubicBezTo>
                      <a:cubicBezTo>
                        <a:pt x="93" y="78"/>
                        <a:pt x="94" y="80"/>
                        <a:pt x="94" y="80"/>
                      </a:cubicBezTo>
                      <a:cubicBezTo>
                        <a:pt x="94" y="80"/>
                        <a:pt x="93" y="82"/>
                        <a:pt x="93" y="82"/>
                      </a:cubicBezTo>
                      <a:cubicBezTo>
                        <a:pt x="93" y="83"/>
                        <a:pt x="93" y="84"/>
                        <a:pt x="93" y="84"/>
                      </a:cubicBezTo>
                      <a:cubicBezTo>
                        <a:pt x="94" y="85"/>
                        <a:pt x="94" y="85"/>
                        <a:pt x="94" y="85"/>
                      </a:cubicBezTo>
                      <a:cubicBezTo>
                        <a:pt x="94" y="85"/>
                        <a:pt x="94" y="86"/>
                        <a:pt x="94" y="86"/>
                      </a:cubicBezTo>
                      <a:cubicBezTo>
                        <a:pt x="95" y="86"/>
                        <a:pt x="96" y="88"/>
                        <a:pt x="96" y="88"/>
                      </a:cubicBezTo>
                      <a:cubicBezTo>
                        <a:pt x="97" y="88"/>
                        <a:pt x="97" y="88"/>
                        <a:pt x="97" y="88"/>
                      </a:cubicBezTo>
                      <a:cubicBezTo>
                        <a:pt x="97" y="88"/>
                        <a:pt x="98" y="89"/>
                        <a:pt x="98" y="90"/>
                      </a:cubicBezTo>
                      <a:cubicBezTo>
                        <a:pt x="98" y="90"/>
                        <a:pt x="99" y="91"/>
                        <a:pt x="100" y="92"/>
                      </a:cubicBezTo>
                      <a:cubicBezTo>
                        <a:pt x="100" y="92"/>
                        <a:pt x="101" y="92"/>
                        <a:pt x="101" y="92"/>
                      </a:cubicBezTo>
                      <a:cubicBezTo>
                        <a:pt x="102" y="92"/>
                        <a:pt x="103" y="92"/>
                        <a:pt x="103" y="92"/>
                      </a:cubicBezTo>
                      <a:cubicBezTo>
                        <a:pt x="103" y="93"/>
                        <a:pt x="105" y="93"/>
                        <a:pt x="106" y="93"/>
                      </a:cubicBezTo>
                      <a:cubicBezTo>
                        <a:pt x="106" y="94"/>
                        <a:pt x="108" y="93"/>
                        <a:pt x="108" y="93"/>
                      </a:cubicBezTo>
                      <a:cubicBezTo>
                        <a:pt x="109" y="94"/>
                        <a:pt x="109" y="94"/>
                        <a:pt x="109" y="94"/>
                      </a:cubicBezTo>
                      <a:cubicBezTo>
                        <a:pt x="110" y="94"/>
                        <a:pt x="110" y="94"/>
                        <a:pt x="110" y="94"/>
                      </a:cubicBezTo>
                      <a:cubicBezTo>
                        <a:pt x="110" y="94"/>
                        <a:pt x="111" y="94"/>
                        <a:pt x="111" y="95"/>
                      </a:cubicBezTo>
                      <a:cubicBezTo>
                        <a:pt x="110" y="96"/>
                        <a:pt x="110" y="96"/>
                        <a:pt x="110" y="96"/>
                      </a:cubicBezTo>
                      <a:cubicBezTo>
                        <a:pt x="110" y="96"/>
                        <a:pt x="110" y="96"/>
                        <a:pt x="110" y="96"/>
                      </a:cubicBezTo>
                      <a:cubicBezTo>
                        <a:pt x="109" y="97"/>
                        <a:pt x="108" y="99"/>
                        <a:pt x="108" y="99"/>
                      </a:cubicBezTo>
                      <a:cubicBezTo>
                        <a:pt x="111" y="101"/>
                        <a:pt x="111" y="101"/>
                        <a:pt x="111" y="101"/>
                      </a:cubicBezTo>
                      <a:cubicBezTo>
                        <a:pt x="111" y="101"/>
                        <a:pt x="112" y="101"/>
                        <a:pt x="112" y="102"/>
                      </a:cubicBezTo>
                      <a:cubicBezTo>
                        <a:pt x="113" y="103"/>
                        <a:pt x="113" y="104"/>
                        <a:pt x="113" y="104"/>
                      </a:cubicBezTo>
                      <a:cubicBezTo>
                        <a:pt x="113" y="104"/>
                        <a:pt x="113" y="104"/>
                        <a:pt x="113" y="104"/>
                      </a:cubicBezTo>
                      <a:cubicBezTo>
                        <a:pt x="113" y="105"/>
                        <a:pt x="113" y="107"/>
                        <a:pt x="113" y="107"/>
                      </a:cubicBezTo>
                      <a:cubicBezTo>
                        <a:pt x="113" y="107"/>
                        <a:pt x="111" y="108"/>
                        <a:pt x="113" y="108"/>
                      </a:cubicBezTo>
                      <a:cubicBezTo>
                        <a:pt x="115" y="108"/>
                        <a:pt x="115" y="108"/>
                        <a:pt x="115" y="108"/>
                      </a:cubicBezTo>
                      <a:cubicBezTo>
                        <a:pt x="116" y="108"/>
                        <a:pt x="117" y="109"/>
                        <a:pt x="117" y="109"/>
                      </a:cubicBezTo>
                      <a:cubicBezTo>
                        <a:pt x="118" y="108"/>
                        <a:pt x="118" y="108"/>
                        <a:pt x="118" y="108"/>
                      </a:cubicBezTo>
                      <a:cubicBezTo>
                        <a:pt x="118" y="108"/>
                        <a:pt x="117" y="106"/>
                        <a:pt x="119" y="105"/>
                      </a:cubicBezTo>
                      <a:cubicBezTo>
                        <a:pt x="120" y="104"/>
                        <a:pt x="120" y="104"/>
                        <a:pt x="120" y="104"/>
                      </a:cubicBezTo>
                      <a:cubicBezTo>
                        <a:pt x="120" y="104"/>
                        <a:pt x="117" y="103"/>
                        <a:pt x="117" y="102"/>
                      </a:cubicBezTo>
                      <a:cubicBezTo>
                        <a:pt x="117" y="102"/>
                        <a:pt x="116" y="102"/>
                        <a:pt x="117" y="101"/>
                      </a:cubicBezTo>
                      <a:cubicBezTo>
                        <a:pt x="117" y="100"/>
                        <a:pt x="116" y="100"/>
                        <a:pt x="117" y="99"/>
                      </a:cubicBezTo>
                      <a:cubicBezTo>
                        <a:pt x="117" y="99"/>
                        <a:pt x="118" y="99"/>
                        <a:pt x="118" y="98"/>
                      </a:cubicBezTo>
                      <a:cubicBezTo>
                        <a:pt x="118" y="98"/>
                        <a:pt x="117" y="96"/>
                        <a:pt x="117" y="96"/>
                      </a:cubicBezTo>
                      <a:cubicBezTo>
                        <a:pt x="119" y="95"/>
                        <a:pt x="119" y="95"/>
                        <a:pt x="119" y="95"/>
                      </a:cubicBezTo>
                      <a:cubicBezTo>
                        <a:pt x="119" y="95"/>
                        <a:pt x="119" y="94"/>
                        <a:pt x="119" y="94"/>
                      </a:cubicBezTo>
                      <a:cubicBezTo>
                        <a:pt x="119" y="93"/>
                        <a:pt x="119" y="91"/>
                        <a:pt x="119" y="91"/>
                      </a:cubicBezTo>
                      <a:cubicBezTo>
                        <a:pt x="120" y="91"/>
                        <a:pt x="121" y="89"/>
                        <a:pt x="121" y="89"/>
                      </a:cubicBezTo>
                      <a:cubicBezTo>
                        <a:pt x="121" y="89"/>
                        <a:pt x="123" y="89"/>
                        <a:pt x="123" y="89"/>
                      </a:cubicBezTo>
                      <a:cubicBezTo>
                        <a:pt x="123" y="88"/>
                        <a:pt x="124" y="87"/>
                        <a:pt x="124" y="87"/>
                      </a:cubicBezTo>
                      <a:cubicBezTo>
                        <a:pt x="124" y="87"/>
                        <a:pt x="124" y="87"/>
                        <a:pt x="125" y="86"/>
                      </a:cubicBezTo>
                      <a:cubicBezTo>
                        <a:pt x="125" y="85"/>
                        <a:pt x="125" y="84"/>
                        <a:pt x="125" y="84"/>
                      </a:cubicBezTo>
                      <a:cubicBezTo>
                        <a:pt x="125" y="83"/>
                        <a:pt x="126" y="82"/>
                        <a:pt x="126" y="82"/>
                      </a:cubicBezTo>
                      <a:cubicBezTo>
                        <a:pt x="126" y="81"/>
                        <a:pt x="126" y="81"/>
                        <a:pt x="126" y="81"/>
                      </a:cubicBezTo>
                      <a:cubicBezTo>
                        <a:pt x="126" y="81"/>
                        <a:pt x="126" y="80"/>
                        <a:pt x="126" y="80"/>
                      </a:cubicBezTo>
                      <a:cubicBezTo>
                        <a:pt x="126" y="79"/>
                        <a:pt x="126" y="78"/>
                        <a:pt x="126" y="78"/>
                      </a:cubicBezTo>
                      <a:cubicBezTo>
                        <a:pt x="126" y="76"/>
                        <a:pt x="126" y="76"/>
                        <a:pt x="126" y="76"/>
                      </a:cubicBezTo>
                      <a:cubicBezTo>
                        <a:pt x="125" y="74"/>
                        <a:pt x="125" y="74"/>
                        <a:pt x="125" y="74"/>
                      </a:cubicBezTo>
                      <a:cubicBezTo>
                        <a:pt x="125" y="73"/>
                        <a:pt x="125" y="73"/>
                        <a:pt x="125" y="73"/>
                      </a:cubicBezTo>
                      <a:cubicBezTo>
                        <a:pt x="127" y="71"/>
                        <a:pt x="127" y="71"/>
                        <a:pt x="127" y="71"/>
                      </a:cubicBezTo>
                      <a:cubicBezTo>
                        <a:pt x="127" y="71"/>
                        <a:pt x="128" y="70"/>
                        <a:pt x="128" y="71"/>
                      </a:cubicBezTo>
                      <a:cubicBezTo>
                        <a:pt x="129" y="71"/>
                        <a:pt x="130" y="72"/>
                        <a:pt x="130" y="72"/>
                      </a:cubicBezTo>
                      <a:cubicBezTo>
                        <a:pt x="131" y="72"/>
                        <a:pt x="131" y="72"/>
                        <a:pt x="131" y="72"/>
                      </a:cubicBezTo>
                      <a:cubicBezTo>
                        <a:pt x="133" y="71"/>
                        <a:pt x="133" y="71"/>
                        <a:pt x="133" y="71"/>
                      </a:cubicBezTo>
                      <a:cubicBezTo>
                        <a:pt x="133" y="71"/>
                        <a:pt x="134" y="71"/>
                        <a:pt x="134" y="72"/>
                      </a:cubicBezTo>
                      <a:cubicBezTo>
                        <a:pt x="133" y="72"/>
                        <a:pt x="132" y="73"/>
                        <a:pt x="133" y="74"/>
                      </a:cubicBezTo>
                      <a:cubicBezTo>
                        <a:pt x="133" y="74"/>
                        <a:pt x="134" y="75"/>
                        <a:pt x="134" y="76"/>
                      </a:cubicBezTo>
                      <a:cubicBezTo>
                        <a:pt x="134" y="77"/>
                        <a:pt x="134" y="77"/>
                        <a:pt x="134" y="79"/>
                      </a:cubicBezTo>
                      <a:cubicBezTo>
                        <a:pt x="134" y="80"/>
                        <a:pt x="136" y="80"/>
                        <a:pt x="136" y="81"/>
                      </a:cubicBezTo>
                      <a:cubicBezTo>
                        <a:pt x="137" y="81"/>
                        <a:pt x="135" y="82"/>
                        <a:pt x="138" y="82"/>
                      </a:cubicBezTo>
                      <a:cubicBezTo>
                        <a:pt x="140" y="82"/>
                        <a:pt x="142" y="83"/>
                        <a:pt x="142" y="82"/>
                      </a:cubicBezTo>
                      <a:cubicBezTo>
                        <a:pt x="143" y="82"/>
                        <a:pt x="143" y="82"/>
                        <a:pt x="143" y="81"/>
                      </a:cubicBezTo>
                      <a:cubicBezTo>
                        <a:pt x="142" y="80"/>
                        <a:pt x="143" y="79"/>
                        <a:pt x="143" y="79"/>
                      </a:cubicBezTo>
                      <a:cubicBezTo>
                        <a:pt x="143" y="79"/>
                        <a:pt x="144" y="79"/>
                        <a:pt x="144" y="79"/>
                      </a:cubicBezTo>
                      <a:cubicBezTo>
                        <a:pt x="145" y="79"/>
                        <a:pt x="145" y="80"/>
                        <a:pt x="146" y="79"/>
                      </a:cubicBezTo>
                      <a:cubicBezTo>
                        <a:pt x="146" y="79"/>
                        <a:pt x="147" y="78"/>
                        <a:pt x="147" y="78"/>
                      </a:cubicBezTo>
                      <a:cubicBezTo>
                        <a:pt x="149" y="78"/>
                        <a:pt x="149" y="78"/>
                        <a:pt x="149" y="78"/>
                      </a:cubicBezTo>
                      <a:cubicBezTo>
                        <a:pt x="149" y="78"/>
                        <a:pt x="148" y="77"/>
                        <a:pt x="150" y="77"/>
                      </a:cubicBezTo>
                      <a:cubicBezTo>
                        <a:pt x="151" y="77"/>
                        <a:pt x="153" y="77"/>
                        <a:pt x="153" y="77"/>
                      </a:cubicBezTo>
                      <a:cubicBezTo>
                        <a:pt x="153" y="77"/>
                        <a:pt x="153" y="78"/>
                        <a:pt x="153" y="79"/>
                      </a:cubicBezTo>
                      <a:cubicBezTo>
                        <a:pt x="154" y="80"/>
                        <a:pt x="154" y="80"/>
                        <a:pt x="154" y="80"/>
                      </a:cubicBezTo>
                      <a:cubicBezTo>
                        <a:pt x="154" y="80"/>
                        <a:pt x="153" y="80"/>
                        <a:pt x="154" y="82"/>
                      </a:cubicBezTo>
                      <a:cubicBezTo>
                        <a:pt x="155" y="83"/>
                        <a:pt x="156" y="83"/>
                        <a:pt x="156" y="84"/>
                      </a:cubicBezTo>
                      <a:cubicBezTo>
                        <a:pt x="157" y="84"/>
                        <a:pt x="156" y="86"/>
                        <a:pt x="156" y="86"/>
                      </a:cubicBezTo>
                      <a:cubicBezTo>
                        <a:pt x="156" y="86"/>
                        <a:pt x="158" y="86"/>
                        <a:pt x="158" y="86"/>
                      </a:cubicBezTo>
                      <a:cubicBezTo>
                        <a:pt x="158" y="85"/>
                        <a:pt x="158" y="85"/>
                        <a:pt x="159" y="85"/>
                      </a:cubicBezTo>
                      <a:cubicBezTo>
                        <a:pt x="159" y="85"/>
                        <a:pt x="159" y="85"/>
                        <a:pt x="159" y="85"/>
                      </a:cubicBezTo>
                      <a:cubicBezTo>
                        <a:pt x="159" y="85"/>
                        <a:pt x="160" y="84"/>
                        <a:pt x="160" y="83"/>
                      </a:cubicBezTo>
                      <a:cubicBezTo>
                        <a:pt x="160" y="83"/>
                        <a:pt x="160" y="80"/>
                        <a:pt x="159" y="80"/>
                      </a:cubicBezTo>
                      <a:cubicBezTo>
                        <a:pt x="159" y="80"/>
                        <a:pt x="158" y="80"/>
                        <a:pt x="158" y="79"/>
                      </a:cubicBezTo>
                      <a:cubicBezTo>
                        <a:pt x="157" y="78"/>
                        <a:pt x="157" y="78"/>
                        <a:pt x="158" y="78"/>
                      </a:cubicBezTo>
                      <a:cubicBezTo>
                        <a:pt x="158" y="78"/>
                        <a:pt x="159" y="77"/>
                        <a:pt x="159" y="77"/>
                      </a:cubicBezTo>
                      <a:cubicBezTo>
                        <a:pt x="159" y="77"/>
                        <a:pt x="160" y="76"/>
                        <a:pt x="159" y="76"/>
                      </a:cubicBezTo>
                      <a:cubicBezTo>
                        <a:pt x="159" y="75"/>
                        <a:pt x="158" y="74"/>
                        <a:pt x="158" y="74"/>
                      </a:cubicBezTo>
                      <a:cubicBezTo>
                        <a:pt x="158" y="74"/>
                        <a:pt x="157" y="75"/>
                        <a:pt x="156" y="74"/>
                      </a:cubicBezTo>
                      <a:cubicBezTo>
                        <a:pt x="156" y="74"/>
                        <a:pt x="156" y="74"/>
                        <a:pt x="156" y="73"/>
                      </a:cubicBezTo>
                      <a:cubicBezTo>
                        <a:pt x="156" y="73"/>
                        <a:pt x="156" y="71"/>
                        <a:pt x="156" y="71"/>
                      </a:cubicBezTo>
                      <a:cubicBezTo>
                        <a:pt x="155" y="71"/>
                        <a:pt x="155" y="71"/>
                        <a:pt x="155" y="71"/>
                      </a:cubicBezTo>
                      <a:cubicBezTo>
                        <a:pt x="156" y="69"/>
                        <a:pt x="156" y="69"/>
                        <a:pt x="156" y="69"/>
                      </a:cubicBezTo>
                      <a:cubicBezTo>
                        <a:pt x="156" y="68"/>
                        <a:pt x="156" y="68"/>
                        <a:pt x="156" y="68"/>
                      </a:cubicBezTo>
                      <a:cubicBezTo>
                        <a:pt x="156" y="68"/>
                        <a:pt x="156" y="67"/>
                        <a:pt x="157" y="67"/>
                      </a:cubicBezTo>
                      <a:cubicBezTo>
                        <a:pt x="157" y="66"/>
                        <a:pt x="157" y="66"/>
                        <a:pt x="157" y="65"/>
                      </a:cubicBezTo>
                      <a:cubicBezTo>
                        <a:pt x="158" y="65"/>
                        <a:pt x="158" y="64"/>
                        <a:pt x="158" y="64"/>
                      </a:cubicBezTo>
                      <a:cubicBezTo>
                        <a:pt x="159" y="64"/>
                        <a:pt x="160" y="64"/>
                        <a:pt x="161" y="64"/>
                      </a:cubicBezTo>
                      <a:cubicBezTo>
                        <a:pt x="161" y="64"/>
                        <a:pt x="161" y="63"/>
                        <a:pt x="162" y="63"/>
                      </a:cubicBezTo>
                      <a:cubicBezTo>
                        <a:pt x="162" y="63"/>
                        <a:pt x="163" y="64"/>
                        <a:pt x="163" y="64"/>
                      </a:cubicBezTo>
                      <a:cubicBezTo>
                        <a:pt x="163" y="64"/>
                        <a:pt x="163" y="64"/>
                        <a:pt x="163" y="65"/>
                      </a:cubicBezTo>
                      <a:cubicBezTo>
                        <a:pt x="163" y="65"/>
                        <a:pt x="166" y="67"/>
                        <a:pt x="166" y="67"/>
                      </a:cubicBezTo>
                      <a:cubicBezTo>
                        <a:pt x="166" y="67"/>
                        <a:pt x="166" y="67"/>
                        <a:pt x="167" y="67"/>
                      </a:cubicBezTo>
                      <a:cubicBezTo>
                        <a:pt x="167" y="67"/>
                        <a:pt x="166" y="67"/>
                        <a:pt x="167" y="67"/>
                      </a:cubicBezTo>
                      <a:cubicBezTo>
                        <a:pt x="167" y="68"/>
                        <a:pt x="170" y="67"/>
                        <a:pt x="170" y="67"/>
                      </a:cubicBezTo>
                      <a:cubicBezTo>
                        <a:pt x="171" y="67"/>
                        <a:pt x="171" y="67"/>
                        <a:pt x="171" y="67"/>
                      </a:cubicBezTo>
                      <a:cubicBezTo>
                        <a:pt x="171" y="67"/>
                        <a:pt x="171" y="67"/>
                        <a:pt x="171" y="66"/>
                      </a:cubicBezTo>
                      <a:cubicBezTo>
                        <a:pt x="172" y="66"/>
                        <a:pt x="172" y="65"/>
                        <a:pt x="172" y="64"/>
                      </a:cubicBezTo>
                      <a:cubicBezTo>
                        <a:pt x="172" y="64"/>
                        <a:pt x="173" y="64"/>
                        <a:pt x="172" y="63"/>
                      </a:cubicBezTo>
                      <a:cubicBezTo>
                        <a:pt x="170" y="62"/>
                        <a:pt x="169" y="62"/>
                        <a:pt x="169" y="62"/>
                      </a:cubicBezTo>
                      <a:cubicBezTo>
                        <a:pt x="169" y="62"/>
                        <a:pt x="167" y="60"/>
                        <a:pt x="168" y="60"/>
                      </a:cubicBezTo>
                      <a:cubicBezTo>
                        <a:pt x="169" y="59"/>
                        <a:pt x="170" y="58"/>
                        <a:pt x="170" y="58"/>
                      </a:cubicBezTo>
                      <a:cubicBezTo>
                        <a:pt x="169" y="56"/>
                        <a:pt x="169" y="56"/>
                        <a:pt x="169" y="56"/>
                      </a:cubicBezTo>
                      <a:cubicBezTo>
                        <a:pt x="170" y="55"/>
                        <a:pt x="170" y="55"/>
                        <a:pt x="170" y="55"/>
                      </a:cubicBezTo>
                      <a:cubicBezTo>
                        <a:pt x="169" y="53"/>
                        <a:pt x="169" y="53"/>
                        <a:pt x="169" y="53"/>
                      </a:cubicBezTo>
                      <a:cubicBezTo>
                        <a:pt x="169" y="53"/>
                        <a:pt x="170" y="52"/>
                        <a:pt x="170" y="52"/>
                      </a:cubicBezTo>
                      <a:cubicBezTo>
                        <a:pt x="170" y="51"/>
                        <a:pt x="171" y="48"/>
                        <a:pt x="171" y="48"/>
                      </a:cubicBezTo>
                      <a:cubicBezTo>
                        <a:pt x="171" y="48"/>
                        <a:pt x="171" y="47"/>
                        <a:pt x="171" y="46"/>
                      </a:cubicBezTo>
                      <a:cubicBezTo>
                        <a:pt x="171" y="46"/>
                        <a:pt x="170" y="45"/>
                        <a:pt x="170" y="45"/>
                      </a:cubicBezTo>
                      <a:cubicBezTo>
                        <a:pt x="169" y="44"/>
                        <a:pt x="169" y="44"/>
                        <a:pt x="169" y="44"/>
                      </a:cubicBezTo>
                      <a:cubicBezTo>
                        <a:pt x="169" y="44"/>
                        <a:pt x="168" y="42"/>
                        <a:pt x="168" y="42"/>
                      </a:cubicBezTo>
                      <a:cubicBezTo>
                        <a:pt x="167" y="43"/>
                        <a:pt x="166" y="43"/>
                        <a:pt x="166" y="43"/>
                      </a:cubicBezTo>
                      <a:cubicBezTo>
                        <a:pt x="166" y="43"/>
                        <a:pt x="166" y="45"/>
                        <a:pt x="166" y="45"/>
                      </a:cubicBezTo>
                      <a:cubicBezTo>
                        <a:pt x="165" y="46"/>
                        <a:pt x="164" y="46"/>
                        <a:pt x="164" y="46"/>
                      </a:cubicBezTo>
                      <a:cubicBezTo>
                        <a:pt x="164" y="46"/>
                        <a:pt x="164" y="46"/>
                        <a:pt x="164" y="46"/>
                      </a:cubicBezTo>
                      <a:cubicBezTo>
                        <a:pt x="163" y="46"/>
                        <a:pt x="163" y="46"/>
                        <a:pt x="163" y="46"/>
                      </a:cubicBezTo>
                      <a:cubicBezTo>
                        <a:pt x="162" y="48"/>
                        <a:pt x="162" y="48"/>
                        <a:pt x="162" y="48"/>
                      </a:cubicBezTo>
                      <a:cubicBezTo>
                        <a:pt x="161" y="49"/>
                        <a:pt x="161" y="49"/>
                        <a:pt x="161" y="49"/>
                      </a:cubicBezTo>
                      <a:cubicBezTo>
                        <a:pt x="161" y="49"/>
                        <a:pt x="159" y="50"/>
                        <a:pt x="158" y="50"/>
                      </a:cubicBezTo>
                      <a:cubicBezTo>
                        <a:pt x="158" y="50"/>
                        <a:pt x="156" y="50"/>
                        <a:pt x="156" y="50"/>
                      </a:cubicBezTo>
                      <a:cubicBezTo>
                        <a:pt x="155" y="49"/>
                        <a:pt x="155" y="49"/>
                        <a:pt x="155" y="49"/>
                      </a:cubicBezTo>
                      <a:cubicBezTo>
                        <a:pt x="152" y="48"/>
                        <a:pt x="152" y="48"/>
                        <a:pt x="152" y="48"/>
                      </a:cubicBezTo>
                      <a:cubicBezTo>
                        <a:pt x="152" y="48"/>
                        <a:pt x="152" y="48"/>
                        <a:pt x="152" y="48"/>
                      </a:cubicBezTo>
                      <a:cubicBezTo>
                        <a:pt x="150" y="47"/>
                        <a:pt x="150" y="47"/>
                        <a:pt x="150" y="47"/>
                      </a:cubicBezTo>
                      <a:cubicBezTo>
                        <a:pt x="149" y="46"/>
                        <a:pt x="149" y="46"/>
                        <a:pt x="149" y="46"/>
                      </a:cubicBezTo>
                      <a:cubicBezTo>
                        <a:pt x="149" y="44"/>
                        <a:pt x="149" y="44"/>
                        <a:pt x="149" y="44"/>
                      </a:cubicBezTo>
                      <a:cubicBezTo>
                        <a:pt x="147" y="42"/>
                        <a:pt x="147" y="42"/>
                        <a:pt x="147" y="42"/>
                      </a:cubicBezTo>
                      <a:cubicBezTo>
                        <a:pt x="143" y="41"/>
                        <a:pt x="143" y="41"/>
                        <a:pt x="143" y="41"/>
                      </a:cubicBezTo>
                      <a:cubicBezTo>
                        <a:pt x="140" y="40"/>
                        <a:pt x="140" y="40"/>
                        <a:pt x="140" y="40"/>
                      </a:cubicBezTo>
                      <a:cubicBezTo>
                        <a:pt x="138" y="40"/>
                        <a:pt x="138" y="40"/>
                        <a:pt x="138" y="40"/>
                      </a:cubicBezTo>
                      <a:cubicBezTo>
                        <a:pt x="138" y="40"/>
                        <a:pt x="134" y="40"/>
                        <a:pt x="134" y="40"/>
                      </a:cubicBezTo>
                      <a:cubicBezTo>
                        <a:pt x="134" y="40"/>
                        <a:pt x="133" y="40"/>
                        <a:pt x="133" y="40"/>
                      </a:cubicBezTo>
                      <a:cubicBezTo>
                        <a:pt x="133" y="40"/>
                        <a:pt x="133" y="40"/>
                        <a:pt x="133" y="40"/>
                      </a:cubicBezTo>
                      <a:cubicBezTo>
                        <a:pt x="133" y="40"/>
                        <a:pt x="133" y="40"/>
                        <a:pt x="133" y="40"/>
                      </a:cubicBezTo>
                      <a:cubicBezTo>
                        <a:pt x="133" y="40"/>
                        <a:pt x="133" y="40"/>
                        <a:pt x="133" y="40"/>
                      </a:cubicBezTo>
                      <a:cubicBezTo>
                        <a:pt x="133" y="40"/>
                        <a:pt x="133" y="40"/>
                        <a:pt x="133" y="40"/>
                      </a:cubicBezTo>
                      <a:cubicBezTo>
                        <a:pt x="133" y="40"/>
                        <a:pt x="133" y="40"/>
                        <a:pt x="133" y="40"/>
                      </a:cubicBezTo>
                      <a:cubicBezTo>
                        <a:pt x="132" y="40"/>
                        <a:pt x="132" y="40"/>
                        <a:pt x="132" y="40"/>
                      </a:cubicBezTo>
                      <a:cubicBezTo>
                        <a:pt x="133" y="38"/>
                        <a:pt x="133" y="38"/>
                        <a:pt x="133" y="38"/>
                      </a:cubicBezTo>
                      <a:cubicBezTo>
                        <a:pt x="134" y="38"/>
                        <a:pt x="134" y="38"/>
                        <a:pt x="134" y="38"/>
                      </a:cubicBezTo>
                      <a:cubicBezTo>
                        <a:pt x="134" y="37"/>
                        <a:pt x="134" y="37"/>
                        <a:pt x="134" y="37"/>
                      </a:cubicBezTo>
                      <a:cubicBezTo>
                        <a:pt x="134" y="37"/>
                        <a:pt x="133" y="36"/>
                        <a:pt x="133" y="36"/>
                      </a:cubicBezTo>
                      <a:cubicBezTo>
                        <a:pt x="133" y="36"/>
                        <a:pt x="133" y="35"/>
                        <a:pt x="133" y="35"/>
                      </a:cubicBezTo>
                      <a:cubicBezTo>
                        <a:pt x="133" y="35"/>
                        <a:pt x="133" y="35"/>
                        <a:pt x="133" y="35"/>
                      </a:cubicBezTo>
                      <a:cubicBezTo>
                        <a:pt x="133" y="35"/>
                        <a:pt x="133" y="34"/>
                        <a:pt x="133" y="34"/>
                      </a:cubicBezTo>
                      <a:cubicBezTo>
                        <a:pt x="133" y="34"/>
                        <a:pt x="133" y="34"/>
                        <a:pt x="133" y="34"/>
                      </a:cubicBezTo>
                      <a:cubicBezTo>
                        <a:pt x="133" y="33"/>
                        <a:pt x="133" y="33"/>
                        <a:pt x="133" y="33"/>
                      </a:cubicBezTo>
                      <a:cubicBezTo>
                        <a:pt x="134" y="30"/>
                        <a:pt x="134" y="30"/>
                        <a:pt x="134" y="30"/>
                      </a:cubicBezTo>
                      <a:cubicBezTo>
                        <a:pt x="136" y="28"/>
                        <a:pt x="136" y="28"/>
                        <a:pt x="136" y="28"/>
                      </a:cubicBezTo>
                      <a:cubicBezTo>
                        <a:pt x="136" y="28"/>
                        <a:pt x="136" y="26"/>
                        <a:pt x="137" y="26"/>
                      </a:cubicBezTo>
                      <a:cubicBezTo>
                        <a:pt x="137" y="25"/>
                        <a:pt x="137" y="24"/>
                        <a:pt x="137" y="24"/>
                      </a:cubicBezTo>
                      <a:cubicBezTo>
                        <a:pt x="139" y="23"/>
                        <a:pt x="139" y="23"/>
                        <a:pt x="139" y="23"/>
                      </a:cubicBezTo>
                      <a:cubicBezTo>
                        <a:pt x="139" y="23"/>
                        <a:pt x="140" y="22"/>
                        <a:pt x="140" y="22"/>
                      </a:cubicBezTo>
                      <a:cubicBezTo>
                        <a:pt x="140" y="21"/>
                        <a:pt x="139" y="20"/>
                        <a:pt x="139" y="20"/>
                      </a:cubicBezTo>
                      <a:cubicBezTo>
                        <a:pt x="139" y="19"/>
                        <a:pt x="140" y="18"/>
                        <a:pt x="140" y="18"/>
                      </a:cubicBezTo>
                      <a:cubicBezTo>
                        <a:pt x="139" y="18"/>
                        <a:pt x="139" y="17"/>
                        <a:pt x="138" y="17"/>
                      </a:cubicBezTo>
                      <a:cubicBezTo>
                        <a:pt x="138" y="17"/>
                        <a:pt x="137" y="17"/>
                        <a:pt x="137" y="16"/>
                      </a:cubicBezTo>
                      <a:cubicBezTo>
                        <a:pt x="137" y="16"/>
                        <a:pt x="136" y="15"/>
                        <a:pt x="136" y="15"/>
                      </a:cubicBezTo>
                      <a:cubicBezTo>
                        <a:pt x="136" y="15"/>
                        <a:pt x="136" y="13"/>
                        <a:pt x="135" y="13"/>
                      </a:cubicBezTo>
                      <a:cubicBezTo>
                        <a:pt x="135" y="13"/>
                        <a:pt x="134" y="13"/>
                        <a:pt x="133" y="12"/>
                      </a:cubicBezTo>
                      <a:cubicBezTo>
                        <a:pt x="132" y="12"/>
                        <a:pt x="131" y="11"/>
                        <a:pt x="131" y="11"/>
                      </a:cubicBezTo>
                      <a:cubicBezTo>
                        <a:pt x="130" y="11"/>
                        <a:pt x="128" y="9"/>
                        <a:pt x="128" y="9"/>
                      </a:cubicBezTo>
                      <a:cubicBezTo>
                        <a:pt x="128" y="9"/>
                        <a:pt x="128" y="9"/>
                        <a:pt x="127" y="9"/>
                      </a:cubicBezTo>
                      <a:cubicBezTo>
                        <a:pt x="127" y="9"/>
                        <a:pt x="126" y="8"/>
                        <a:pt x="126" y="8"/>
                      </a:cubicBezTo>
                      <a:cubicBezTo>
                        <a:pt x="125" y="8"/>
                        <a:pt x="125" y="8"/>
                        <a:pt x="125" y="8"/>
                      </a:cubicBezTo>
                      <a:cubicBezTo>
                        <a:pt x="125" y="8"/>
                        <a:pt x="125" y="8"/>
                        <a:pt x="125" y="8"/>
                      </a:cubicBezTo>
                      <a:cubicBezTo>
                        <a:pt x="124" y="8"/>
                        <a:pt x="124" y="8"/>
                        <a:pt x="123" y="7"/>
                      </a:cubicBezTo>
                      <a:cubicBezTo>
                        <a:pt x="121" y="7"/>
                        <a:pt x="122" y="7"/>
                        <a:pt x="120" y="7"/>
                      </a:cubicBezTo>
                      <a:cubicBezTo>
                        <a:pt x="119" y="7"/>
                        <a:pt x="118" y="7"/>
                        <a:pt x="118" y="7"/>
                      </a:cubicBezTo>
                      <a:cubicBezTo>
                        <a:pt x="118" y="7"/>
                        <a:pt x="117" y="6"/>
                        <a:pt x="115" y="6"/>
                      </a:cubicBezTo>
                      <a:cubicBezTo>
                        <a:pt x="114" y="7"/>
                        <a:pt x="112" y="8"/>
                        <a:pt x="111" y="8"/>
                      </a:cubicBezTo>
                      <a:cubicBezTo>
                        <a:pt x="111" y="8"/>
                        <a:pt x="110" y="7"/>
                        <a:pt x="110" y="7"/>
                      </a:cubicBezTo>
                      <a:cubicBezTo>
                        <a:pt x="110" y="7"/>
                        <a:pt x="110" y="6"/>
                        <a:pt x="110" y="6"/>
                      </a:cubicBezTo>
                      <a:cubicBezTo>
                        <a:pt x="110" y="6"/>
                        <a:pt x="109" y="5"/>
                        <a:pt x="108" y="4"/>
                      </a:cubicBezTo>
                      <a:cubicBezTo>
                        <a:pt x="108" y="4"/>
                        <a:pt x="107" y="4"/>
                        <a:pt x="107" y="4"/>
                      </a:cubicBezTo>
                      <a:cubicBezTo>
                        <a:pt x="107" y="4"/>
                        <a:pt x="107" y="4"/>
                        <a:pt x="107" y="5"/>
                      </a:cubicBezTo>
                      <a:cubicBezTo>
                        <a:pt x="107" y="6"/>
                        <a:pt x="109" y="6"/>
                        <a:pt x="107" y="6"/>
                      </a:cubicBezTo>
                      <a:cubicBezTo>
                        <a:pt x="106" y="5"/>
                        <a:pt x="105" y="5"/>
                        <a:pt x="105" y="5"/>
                      </a:cubicBezTo>
                      <a:cubicBezTo>
                        <a:pt x="102" y="6"/>
                        <a:pt x="102" y="6"/>
                        <a:pt x="102" y="6"/>
                      </a:cubicBezTo>
                      <a:cubicBezTo>
                        <a:pt x="103" y="5"/>
                        <a:pt x="103" y="5"/>
                        <a:pt x="103" y="5"/>
                      </a:cubicBezTo>
                      <a:cubicBezTo>
                        <a:pt x="103" y="5"/>
                        <a:pt x="104" y="5"/>
                        <a:pt x="104" y="5"/>
                      </a:cubicBezTo>
                      <a:cubicBezTo>
                        <a:pt x="104" y="4"/>
                        <a:pt x="104" y="4"/>
                        <a:pt x="104" y="4"/>
                      </a:cubicBezTo>
                      <a:cubicBezTo>
                        <a:pt x="104" y="4"/>
                        <a:pt x="104" y="3"/>
                        <a:pt x="104" y="3"/>
                      </a:cubicBezTo>
                      <a:cubicBezTo>
                        <a:pt x="105" y="3"/>
                        <a:pt x="106" y="2"/>
                        <a:pt x="105" y="2"/>
                      </a:cubicBezTo>
                      <a:cubicBezTo>
                        <a:pt x="104" y="2"/>
                        <a:pt x="103" y="2"/>
                        <a:pt x="103" y="2"/>
                      </a:cubicBezTo>
                      <a:cubicBezTo>
                        <a:pt x="103" y="1"/>
                        <a:pt x="103" y="1"/>
                        <a:pt x="103" y="1"/>
                      </a:cubicBezTo>
                      <a:cubicBezTo>
                        <a:pt x="103" y="1"/>
                        <a:pt x="102" y="0"/>
                        <a:pt x="102" y="0"/>
                      </a:cubicBezTo>
                      <a:cubicBezTo>
                        <a:pt x="102" y="1"/>
                        <a:pt x="102" y="2"/>
                        <a:pt x="102" y="2"/>
                      </a:cubicBezTo>
                      <a:cubicBezTo>
                        <a:pt x="101" y="2"/>
                        <a:pt x="101" y="2"/>
                        <a:pt x="101" y="1"/>
                      </a:cubicBezTo>
                      <a:cubicBezTo>
                        <a:pt x="101" y="0"/>
                        <a:pt x="101" y="0"/>
                        <a:pt x="101" y="0"/>
                      </a:cubicBezTo>
                      <a:cubicBezTo>
                        <a:pt x="100" y="0"/>
                        <a:pt x="99" y="0"/>
                        <a:pt x="99" y="0"/>
                      </a:cubicBezTo>
                      <a:cubicBezTo>
                        <a:pt x="99" y="0"/>
                        <a:pt x="100" y="1"/>
                        <a:pt x="98" y="1"/>
                      </a:cubicBezTo>
                      <a:cubicBezTo>
                        <a:pt x="97" y="1"/>
                        <a:pt x="96" y="2"/>
                        <a:pt x="95" y="2"/>
                      </a:cubicBezTo>
                      <a:cubicBezTo>
                        <a:pt x="94" y="3"/>
                        <a:pt x="94" y="4"/>
                        <a:pt x="94" y="4"/>
                      </a:cubicBezTo>
                      <a:cubicBezTo>
                        <a:pt x="94" y="5"/>
                        <a:pt x="92" y="5"/>
                        <a:pt x="92" y="6"/>
                      </a:cubicBezTo>
                      <a:cubicBezTo>
                        <a:pt x="93" y="6"/>
                        <a:pt x="92" y="6"/>
                        <a:pt x="94" y="7"/>
                      </a:cubicBezTo>
                      <a:cubicBezTo>
                        <a:pt x="95" y="7"/>
                        <a:pt x="95" y="7"/>
                        <a:pt x="96" y="7"/>
                      </a:cubicBezTo>
                      <a:cubicBezTo>
                        <a:pt x="97" y="8"/>
                        <a:pt x="98" y="7"/>
                        <a:pt x="98" y="7"/>
                      </a:cubicBezTo>
                      <a:cubicBezTo>
                        <a:pt x="98" y="7"/>
                        <a:pt x="98" y="7"/>
                        <a:pt x="99" y="8"/>
                      </a:cubicBezTo>
                      <a:cubicBezTo>
                        <a:pt x="99" y="8"/>
                        <a:pt x="100" y="7"/>
                        <a:pt x="100" y="8"/>
                      </a:cubicBezTo>
                      <a:cubicBezTo>
                        <a:pt x="100" y="9"/>
                        <a:pt x="101" y="10"/>
                        <a:pt x="100" y="10"/>
                      </a:cubicBezTo>
                      <a:cubicBezTo>
                        <a:pt x="99" y="10"/>
                        <a:pt x="98" y="11"/>
                        <a:pt x="98" y="10"/>
                      </a:cubicBezTo>
                      <a:cubicBezTo>
                        <a:pt x="98" y="10"/>
                        <a:pt x="98" y="9"/>
                        <a:pt x="97" y="9"/>
                      </a:cubicBezTo>
                      <a:cubicBezTo>
                        <a:pt x="97" y="9"/>
                        <a:pt x="96" y="9"/>
                        <a:pt x="96" y="9"/>
                      </a:cubicBezTo>
                      <a:cubicBezTo>
                        <a:pt x="95" y="11"/>
                        <a:pt x="95" y="11"/>
                        <a:pt x="95" y="11"/>
                      </a:cubicBezTo>
                      <a:cubicBezTo>
                        <a:pt x="95" y="11"/>
                        <a:pt x="95" y="12"/>
                        <a:pt x="94" y="12"/>
                      </a:cubicBezTo>
                      <a:cubicBezTo>
                        <a:pt x="93" y="12"/>
                        <a:pt x="94" y="12"/>
                        <a:pt x="92" y="12"/>
                      </a:cubicBezTo>
                      <a:cubicBezTo>
                        <a:pt x="90" y="12"/>
                        <a:pt x="90" y="11"/>
                        <a:pt x="89" y="11"/>
                      </a:cubicBezTo>
                      <a:cubicBezTo>
                        <a:pt x="89" y="11"/>
                        <a:pt x="89" y="11"/>
                        <a:pt x="88" y="11"/>
                      </a:cubicBezTo>
                      <a:cubicBezTo>
                        <a:pt x="88" y="11"/>
                        <a:pt x="86" y="9"/>
                        <a:pt x="85" y="11"/>
                      </a:cubicBezTo>
                      <a:cubicBezTo>
                        <a:pt x="84" y="12"/>
                        <a:pt x="83" y="13"/>
                        <a:pt x="83" y="13"/>
                      </a:cubicBezTo>
                      <a:cubicBezTo>
                        <a:pt x="80" y="13"/>
                        <a:pt x="80" y="13"/>
                        <a:pt x="80" y="13"/>
                      </a:cubicBezTo>
                      <a:cubicBezTo>
                        <a:pt x="80" y="13"/>
                        <a:pt x="79" y="13"/>
                        <a:pt x="78" y="13"/>
                      </a:cubicBezTo>
                      <a:cubicBezTo>
                        <a:pt x="77" y="13"/>
                        <a:pt x="76" y="13"/>
                        <a:pt x="76" y="13"/>
                      </a:cubicBezTo>
                      <a:cubicBezTo>
                        <a:pt x="75" y="14"/>
                        <a:pt x="74" y="11"/>
                        <a:pt x="74" y="11"/>
                      </a:cubicBezTo>
                      <a:cubicBezTo>
                        <a:pt x="74" y="11"/>
                        <a:pt x="75" y="9"/>
                        <a:pt x="72" y="11"/>
                      </a:cubicBezTo>
                      <a:cubicBezTo>
                        <a:pt x="69" y="13"/>
                        <a:pt x="68" y="13"/>
                        <a:pt x="68" y="13"/>
                      </a:cubicBezTo>
                      <a:cubicBezTo>
                        <a:pt x="67" y="13"/>
                        <a:pt x="66" y="14"/>
                        <a:pt x="66" y="14"/>
                      </a:cubicBezTo>
                      <a:cubicBezTo>
                        <a:pt x="65" y="13"/>
                        <a:pt x="65" y="13"/>
                        <a:pt x="65" y="13"/>
                      </a:cubicBezTo>
                      <a:cubicBezTo>
                        <a:pt x="65" y="13"/>
                        <a:pt x="65" y="13"/>
                        <a:pt x="65" y="13"/>
                      </a:cubicBezTo>
                      <a:cubicBezTo>
                        <a:pt x="65" y="13"/>
                        <a:pt x="65" y="13"/>
                        <a:pt x="65" y="13"/>
                      </a:cubicBezTo>
                      <a:cubicBezTo>
                        <a:pt x="66" y="13"/>
                        <a:pt x="66" y="12"/>
                        <a:pt x="66" y="12"/>
                      </a:cubicBezTo>
                      <a:cubicBezTo>
                        <a:pt x="65" y="11"/>
                        <a:pt x="65" y="11"/>
                        <a:pt x="65" y="11"/>
                      </a:cubicBezTo>
                      <a:cubicBezTo>
                        <a:pt x="62" y="12"/>
                        <a:pt x="62" y="12"/>
                        <a:pt x="62" y="12"/>
                      </a:cubicBezTo>
                      <a:cubicBezTo>
                        <a:pt x="62" y="12"/>
                        <a:pt x="63" y="12"/>
                        <a:pt x="62" y="12"/>
                      </a:cubicBezTo>
                      <a:cubicBezTo>
                        <a:pt x="62" y="12"/>
                        <a:pt x="60" y="12"/>
                        <a:pt x="60" y="12"/>
                      </a:cubicBezTo>
                      <a:cubicBezTo>
                        <a:pt x="60" y="14"/>
                        <a:pt x="60" y="14"/>
                        <a:pt x="60" y="14"/>
                      </a:cubicBezTo>
                      <a:cubicBezTo>
                        <a:pt x="60" y="14"/>
                        <a:pt x="59" y="14"/>
                        <a:pt x="59" y="14"/>
                      </a:cubicBezTo>
                      <a:cubicBezTo>
                        <a:pt x="59" y="14"/>
                        <a:pt x="59" y="15"/>
                        <a:pt x="59" y="15"/>
                      </a:cubicBezTo>
                      <a:cubicBezTo>
                        <a:pt x="59" y="15"/>
                        <a:pt x="59" y="16"/>
                        <a:pt x="59" y="16"/>
                      </a:cubicBezTo>
                      <a:cubicBezTo>
                        <a:pt x="59" y="16"/>
                        <a:pt x="58" y="16"/>
                        <a:pt x="58" y="16"/>
                      </a:cubicBezTo>
                      <a:cubicBezTo>
                        <a:pt x="58" y="16"/>
                        <a:pt x="57" y="16"/>
                        <a:pt x="57" y="16"/>
                      </a:cubicBezTo>
                      <a:cubicBezTo>
                        <a:pt x="57" y="16"/>
                        <a:pt x="56" y="18"/>
                        <a:pt x="56" y="18"/>
                      </a:cubicBezTo>
                      <a:cubicBezTo>
                        <a:pt x="56" y="18"/>
                        <a:pt x="56" y="19"/>
                        <a:pt x="56" y="19"/>
                      </a:cubicBezTo>
                      <a:cubicBezTo>
                        <a:pt x="56" y="19"/>
                        <a:pt x="56" y="19"/>
                        <a:pt x="56" y="20"/>
                      </a:cubicBezTo>
                      <a:cubicBezTo>
                        <a:pt x="55" y="20"/>
                        <a:pt x="54" y="20"/>
                        <a:pt x="54" y="20"/>
                      </a:cubicBezTo>
                      <a:cubicBezTo>
                        <a:pt x="54" y="20"/>
                        <a:pt x="53" y="20"/>
                        <a:pt x="52" y="20"/>
                      </a:cubicBezTo>
                      <a:cubicBezTo>
                        <a:pt x="52" y="20"/>
                        <a:pt x="51" y="20"/>
                        <a:pt x="51" y="20"/>
                      </a:cubicBezTo>
                      <a:cubicBezTo>
                        <a:pt x="50" y="20"/>
                        <a:pt x="50" y="21"/>
                        <a:pt x="50" y="21"/>
                      </a:cubicBezTo>
                      <a:cubicBezTo>
                        <a:pt x="50" y="21"/>
                        <a:pt x="48" y="20"/>
                        <a:pt x="48" y="20"/>
                      </a:cubicBezTo>
                      <a:cubicBezTo>
                        <a:pt x="47" y="20"/>
                        <a:pt x="47" y="19"/>
                        <a:pt x="47" y="18"/>
                      </a:cubicBezTo>
                      <a:cubicBezTo>
                        <a:pt x="47" y="18"/>
                        <a:pt x="46" y="16"/>
                        <a:pt x="46" y="16"/>
                      </a:cubicBezTo>
                      <a:cubicBezTo>
                        <a:pt x="45" y="17"/>
                        <a:pt x="45" y="17"/>
                        <a:pt x="45" y="17"/>
                      </a:cubicBezTo>
                      <a:cubicBezTo>
                        <a:pt x="42" y="17"/>
                        <a:pt x="42" y="17"/>
                        <a:pt x="42" y="17"/>
                      </a:cubicBezTo>
                      <a:cubicBezTo>
                        <a:pt x="40" y="16"/>
                        <a:pt x="40" y="16"/>
                        <a:pt x="40" y="16"/>
                      </a:cubicBezTo>
                      <a:cubicBezTo>
                        <a:pt x="40" y="18"/>
                        <a:pt x="40" y="18"/>
                        <a:pt x="40" y="18"/>
                      </a:cubicBezTo>
                      <a:cubicBezTo>
                        <a:pt x="40" y="18"/>
                        <a:pt x="41" y="19"/>
                        <a:pt x="41" y="19"/>
                      </a:cubicBezTo>
                      <a:cubicBezTo>
                        <a:pt x="41" y="19"/>
                        <a:pt x="40" y="19"/>
                        <a:pt x="40" y="19"/>
                      </a:cubicBezTo>
                      <a:cubicBezTo>
                        <a:pt x="39" y="20"/>
                        <a:pt x="39" y="20"/>
                        <a:pt x="39" y="20"/>
                      </a:cubicBezTo>
                      <a:cubicBezTo>
                        <a:pt x="38" y="20"/>
                        <a:pt x="38" y="20"/>
                        <a:pt x="38" y="20"/>
                      </a:cubicBezTo>
                      <a:cubicBezTo>
                        <a:pt x="38" y="20"/>
                        <a:pt x="37" y="22"/>
                        <a:pt x="37" y="22"/>
                      </a:cubicBezTo>
                      <a:cubicBezTo>
                        <a:pt x="37" y="23"/>
                        <a:pt x="36" y="23"/>
                        <a:pt x="36" y="23"/>
                      </a:cubicBezTo>
                      <a:cubicBezTo>
                        <a:pt x="36" y="23"/>
                        <a:pt x="35" y="23"/>
                        <a:pt x="36" y="24"/>
                      </a:cubicBezTo>
                      <a:cubicBezTo>
                        <a:pt x="37" y="24"/>
                        <a:pt x="38" y="24"/>
                        <a:pt x="38" y="24"/>
                      </a:cubicBezTo>
                      <a:cubicBezTo>
                        <a:pt x="39" y="24"/>
                        <a:pt x="40" y="24"/>
                        <a:pt x="40" y="24"/>
                      </a:cubicBezTo>
                      <a:cubicBezTo>
                        <a:pt x="40" y="24"/>
                        <a:pt x="42" y="23"/>
                        <a:pt x="42" y="23"/>
                      </a:cubicBezTo>
                      <a:cubicBezTo>
                        <a:pt x="42" y="24"/>
                        <a:pt x="42" y="24"/>
                        <a:pt x="42" y="24"/>
                      </a:cubicBezTo>
                      <a:cubicBezTo>
                        <a:pt x="42" y="26"/>
                        <a:pt x="42" y="26"/>
                        <a:pt x="42" y="26"/>
                      </a:cubicBezTo>
                      <a:cubicBezTo>
                        <a:pt x="41" y="26"/>
                        <a:pt x="41" y="26"/>
                        <a:pt x="41" y="26"/>
                      </a:cubicBezTo>
                      <a:cubicBezTo>
                        <a:pt x="41" y="26"/>
                        <a:pt x="41" y="27"/>
                        <a:pt x="41" y="27"/>
                      </a:cubicBezTo>
                      <a:cubicBezTo>
                        <a:pt x="40" y="28"/>
                        <a:pt x="39" y="28"/>
                        <a:pt x="39" y="28"/>
                      </a:cubicBezTo>
                      <a:cubicBezTo>
                        <a:pt x="38" y="29"/>
                        <a:pt x="38" y="29"/>
                        <a:pt x="38" y="30"/>
                      </a:cubicBezTo>
                      <a:cubicBezTo>
                        <a:pt x="38" y="31"/>
                        <a:pt x="37" y="33"/>
                        <a:pt x="37" y="33"/>
                      </a:cubicBezTo>
                      <a:cubicBezTo>
                        <a:pt x="35" y="34"/>
                        <a:pt x="35" y="34"/>
                        <a:pt x="35" y="34"/>
                      </a:cubicBezTo>
                      <a:cubicBezTo>
                        <a:pt x="33" y="36"/>
                        <a:pt x="33" y="36"/>
                        <a:pt x="33" y="36"/>
                      </a:cubicBezTo>
                      <a:cubicBezTo>
                        <a:pt x="32" y="36"/>
                        <a:pt x="32" y="36"/>
                        <a:pt x="32" y="36"/>
                      </a:cubicBezTo>
                      <a:cubicBezTo>
                        <a:pt x="31" y="37"/>
                        <a:pt x="31" y="37"/>
                        <a:pt x="31" y="37"/>
                      </a:cubicBezTo>
                      <a:cubicBezTo>
                        <a:pt x="31" y="38"/>
                        <a:pt x="31" y="38"/>
                        <a:pt x="31" y="38"/>
                      </a:cubicBezTo>
                      <a:cubicBezTo>
                        <a:pt x="29" y="39"/>
                        <a:pt x="29" y="39"/>
                        <a:pt x="29" y="39"/>
                      </a:cubicBezTo>
                      <a:cubicBezTo>
                        <a:pt x="29" y="41"/>
                        <a:pt x="29" y="41"/>
                        <a:pt x="29" y="41"/>
                      </a:cubicBezTo>
                      <a:cubicBezTo>
                        <a:pt x="28" y="42"/>
                        <a:pt x="28" y="42"/>
                        <a:pt x="28" y="42"/>
                      </a:cubicBezTo>
                      <a:cubicBezTo>
                        <a:pt x="27" y="42"/>
                        <a:pt x="27" y="42"/>
                        <a:pt x="27" y="42"/>
                      </a:cubicBezTo>
                      <a:cubicBezTo>
                        <a:pt x="26" y="44"/>
                        <a:pt x="26" y="44"/>
                        <a:pt x="26" y="44"/>
                      </a:cubicBezTo>
                      <a:cubicBezTo>
                        <a:pt x="26" y="44"/>
                        <a:pt x="25" y="45"/>
                        <a:pt x="25" y="45"/>
                      </a:cubicBezTo>
                      <a:cubicBezTo>
                        <a:pt x="24" y="45"/>
                        <a:pt x="23" y="46"/>
                        <a:pt x="23" y="46"/>
                      </a:cubicBezTo>
                      <a:cubicBezTo>
                        <a:pt x="21" y="46"/>
                        <a:pt x="21" y="46"/>
                        <a:pt x="21" y="46"/>
                      </a:cubicBezTo>
                      <a:cubicBezTo>
                        <a:pt x="21" y="46"/>
                        <a:pt x="20" y="46"/>
                        <a:pt x="19" y="47"/>
                      </a:cubicBezTo>
                      <a:cubicBezTo>
                        <a:pt x="19" y="48"/>
                        <a:pt x="19" y="48"/>
                        <a:pt x="19" y="48"/>
                      </a:cubicBezTo>
                      <a:cubicBezTo>
                        <a:pt x="19" y="49"/>
                        <a:pt x="20" y="50"/>
                        <a:pt x="20" y="50"/>
                      </a:cubicBezTo>
                      <a:cubicBezTo>
                        <a:pt x="20" y="52"/>
                        <a:pt x="20" y="52"/>
                        <a:pt x="20" y="52"/>
                      </a:cubicBezTo>
                      <a:cubicBezTo>
                        <a:pt x="20" y="52"/>
                        <a:pt x="19" y="52"/>
                        <a:pt x="19" y="53"/>
                      </a:cubicBezTo>
                      <a:cubicBezTo>
                        <a:pt x="19" y="53"/>
                        <a:pt x="19" y="54"/>
                        <a:pt x="19" y="54"/>
                      </a:cubicBezTo>
                      <a:cubicBezTo>
                        <a:pt x="19" y="54"/>
                        <a:pt x="19" y="55"/>
                        <a:pt x="19" y="55"/>
                      </a:cubicBezTo>
                      <a:cubicBezTo>
                        <a:pt x="19" y="55"/>
                        <a:pt x="19" y="56"/>
                        <a:pt x="19" y="56"/>
                      </a:cubicBezTo>
                      <a:cubicBezTo>
                        <a:pt x="19" y="56"/>
                        <a:pt x="19" y="57"/>
                        <a:pt x="18" y="58"/>
                      </a:cubicBezTo>
                      <a:cubicBezTo>
                        <a:pt x="18" y="58"/>
                        <a:pt x="17" y="59"/>
                        <a:pt x="17" y="59"/>
                      </a:cubicBezTo>
                      <a:cubicBezTo>
                        <a:pt x="17" y="59"/>
                        <a:pt x="15" y="59"/>
                        <a:pt x="15" y="59"/>
                      </a:cubicBezTo>
                      <a:cubicBezTo>
                        <a:pt x="15" y="60"/>
                        <a:pt x="13" y="60"/>
                        <a:pt x="13" y="60"/>
                      </a:cubicBezTo>
                      <a:cubicBezTo>
                        <a:pt x="11" y="62"/>
                        <a:pt x="11" y="62"/>
                        <a:pt x="11" y="62"/>
                      </a:cubicBezTo>
                      <a:cubicBezTo>
                        <a:pt x="7" y="66"/>
                        <a:pt x="7" y="66"/>
                        <a:pt x="7" y="66"/>
                      </a:cubicBezTo>
                      <a:cubicBezTo>
                        <a:pt x="7" y="66"/>
                        <a:pt x="7" y="67"/>
                        <a:pt x="7" y="67"/>
                      </a:cubicBezTo>
                      <a:cubicBezTo>
                        <a:pt x="7" y="67"/>
                        <a:pt x="7" y="69"/>
                        <a:pt x="7" y="69"/>
                      </a:cubicBezTo>
                      <a:cubicBezTo>
                        <a:pt x="7" y="70"/>
                        <a:pt x="6" y="71"/>
                        <a:pt x="6" y="71"/>
                      </a:cubicBezTo>
                      <a:cubicBezTo>
                        <a:pt x="5" y="72"/>
                        <a:pt x="5" y="72"/>
                        <a:pt x="5" y="72"/>
                      </a:cubicBezTo>
                      <a:cubicBezTo>
                        <a:pt x="5" y="74"/>
                        <a:pt x="5" y="74"/>
                        <a:pt x="5" y="74"/>
                      </a:cubicBezTo>
                      <a:cubicBezTo>
                        <a:pt x="5" y="75"/>
                        <a:pt x="5" y="75"/>
                        <a:pt x="5" y="75"/>
                      </a:cubicBezTo>
                      <a:cubicBezTo>
                        <a:pt x="6" y="76"/>
                        <a:pt x="6" y="76"/>
                        <a:pt x="6" y="76"/>
                      </a:cubicBezTo>
                      <a:cubicBezTo>
                        <a:pt x="7" y="77"/>
                        <a:pt x="7" y="77"/>
                        <a:pt x="7" y="77"/>
                      </a:cubicBezTo>
                      <a:cubicBezTo>
                        <a:pt x="7" y="80"/>
                        <a:pt x="7" y="80"/>
                        <a:pt x="7" y="80"/>
                      </a:cubicBezTo>
                      <a:cubicBezTo>
                        <a:pt x="6" y="82"/>
                        <a:pt x="6" y="82"/>
                        <a:pt x="6" y="82"/>
                      </a:cubicBezTo>
                      <a:cubicBezTo>
                        <a:pt x="6" y="84"/>
                        <a:pt x="6" y="84"/>
                        <a:pt x="6" y="84"/>
                      </a:cubicBezTo>
                      <a:cubicBezTo>
                        <a:pt x="4" y="84"/>
                        <a:pt x="4" y="84"/>
                        <a:pt x="4" y="84"/>
                      </a:cubicBezTo>
                      <a:cubicBezTo>
                        <a:pt x="4" y="84"/>
                        <a:pt x="3" y="85"/>
                        <a:pt x="2" y="85"/>
                      </a:cubicBezTo>
                      <a:cubicBezTo>
                        <a:pt x="2" y="85"/>
                        <a:pt x="1" y="86"/>
                        <a:pt x="1" y="86"/>
                      </a:cubicBezTo>
                      <a:cubicBezTo>
                        <a:pt x="0" y="87"/>
                        <a:pt x="0" y="87"/>
                        <a:pt x="0" y="87"/>
                      </a:cubicBezTo>
                      <a:cubicBezTo>
                        <a:pt x="1" y="88"/>
                        <a:pt x="1" y="88"/>
                        <a:pt x="1" y="88"/>
                      </a:cubicBezTo>
                      <a:cubicBezTo>
                        <a:pt x="1" y="90"/>
                        <a:pt x="1" y="90"/>
                        <a:pt x="1" y="90"/>
                      </a:cubicBezTo>
                      <a:cubicBezTo>
                        <a:pt x="2" y="90"/>
                        <a:pt x="2" y="90"/>
                        <a:pt x="2" y="90"/>
                      </a:cubicBezTo>
                      <a:cubicBezTo>
                        <a:pt x="4" y="89"/>
                        <a:pt x="4" y="89"/>
                        <a:pt x="4" y="89"/>
                      </a:cubicBezTo>
                      <a:cubicBezTo>
                        <a:pt x="6" y="90"/>
                        <a:pt x="6" y="90"/>
                        <a:pt x="6" y="90"/>
                      </a:cubicBezTo>
                      <a:cubicBezTo>
                        <a:pt x="9" y="89"/>
                        <a:pt x="9" y="89"/>
                        <a:pt x="9" y="89"/>
                      </a:cubicBezTo>
                      <a:cubicBezTo>
                        <a:pt x="9" y="89"/>
                        <a:pt x="9" y="88"/>
                        <a:pt x="10" y="87"/>
                      </a:cubicBezTo>
                      <a:cubicBezTo>
                        <a:pt x="11" y="86"/>
                        <a:pt x="12" y="86"/>
                        <a:pt x="12" y="86"/>
                      </a:cubicBezTo>
                      <a:cubicBezTo>
                        <a:pt x="13" y="84"/>
                        <a:pt x="13" y="84"/>
                        <a:pt x="13" y="84"/>
                      </a:cubicBezTo>
                      <a:cubicBezTo>
                        <a:pt x="12" y="84"/>
                        <a:pt x="12" y="84"/>
                        <a:pt x="12" y="84"/>
                      </a:cubicBezTo>
                      <a:cubicBezTo>
                        <a:pt x="12" y="82"/>
                        <a:pt x="12" y="82"/>
                        <a:pt x="12" y="82"/>
                      </a:cubicBezTo>
                      <a:cubicBezTo>
                        <a:pt x="10" y="81"/>
                        <a:pt x="10" y="81"/>
                        <a:pt x="10" y="81"/>
                      </a:cubicBezTo>
                      <a:cubicBezTo>
                        <a:pt x="10" y="81"/>
                        <a:pt x="10" y="80"/>
                        <a:pt x="10" y="80"/>
                      </a:cubicBezTo>
                      <a:cubicBezTo>
                        <a:pt x="11" y="79"/>
                        <a:pt x="12" y="77"/>
                        <a:pt x="12" y="77"/>
                      </a:cubicBezTo>
                      <a:cubicBezTo>
                        <a:pt x="15" y="76"/>
                        <a:pt x="15" y="76"/>
                        <a:pt x="15" y="76"/>
                      </a:cubicBezTo>
                      <a:cubicBezTo>
                        <a:pt x="18" y="75"/>
                        <a:pt x="18" y="75"/>
                        <a:pt x="18" y="75"/>
                      </a:cubicBezTo>
                      <a:cubicBezTo>
                        <a:pt x="19" y="74"/>
                        <a:pt x="19" y="74"/>
                        <a:pt x="19" y="74"/>
                      </a:cubicBezTo>
                      <a:cubicBezTo>
                        <a:pt x="21" y="73"/>
                        <a:pt x="21" y="73"/>
                        <a:pt x="21" y="73"/>
                      </a:cubicBezTo>
                      <a:cubicBezTo>
                        <a:pt x="21" y="73"/>
                        <a:pt x="24" y="73"/>
                        <a:pt x="24" y="73"/>
                      </a:cubicBezTo>
                      <a:cubicBezTo>
                        <a:pt x="24" y="73"/>
                        <a:pt x="28" y="73"/>
                        <a:pt x="28" y="73"/>
                      </a:cubicBezTo>
                      <a:lnTo>
                        <a:pt x="31" y="75"/>
                      </a:lnTo>
                      <a:close/>
                    </a:path>
                  </a:pathLst>
                </a:custGeom>
                <a:solidFill>
                  <a:srgbClr val="E6EFF1"/>
                </a:solidFill>
                <a:ln w="12700" cap="rnd" cmpd="sng">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Lato Light"/>
                  </a:endParaRPr>
                </a:p>
              </p:txBody>
            </p:sp>
            <p:sp>
              <p:nvSpPr>
                <p:cNvPr id="18" name="Freeform 51">
                  <a:extLst>
                    <a:ext uri="{FF2B5EF4-FFF2-40B4-BE49-F238E27FC236}">
                      <a16:creationId xmlns:a16="http://schemas.microsoft.com/office/drawing/2014/main" id="{8A31F59B-7593-0F0E-29C5-88AB105F405F}"/>
                    </a:ext>
                  </a:extLst>
                </p:cNvPr>
                <p:cNvSpPr>
                  <a:spLocks/>
                </p:cNvSpPr>
                <p:nvPr/>
              </p:nvSpPr>
              <p:spPr bwMode="auto">
                <a:xfrm>
                  <a:off x="4850390" y="2737433"/>
                  <a:ext cx="625143" cy="374349"/>
                </a:xfrm>
                <a:custGeom>
                  <a:avLst/>
                  <a:gdLst>
                    <a:gd name="T0" fmla="*/ 31 w 217"/>
                    <a:gd name="T1" fmla="*/ 35 h 134"/>
                    <a:gd name="T2" fmla="*/ 42 w 217"/>
                    <a:gd name="T3" fmla="*/ 43 h 134"/>
                    <a:gd name="T4" fmla="*/ 55 w 217"/>
                    <a:gd name="T5" fmla="*/ 53 h 134"/>
                    <a:gd name="T6" fmla="*/ 66 w 217"/>
                    <a:gd name="T7" fmla="*/ 68 h 134"/>
                    <a:gd name="T8" fmla="*/ 83 w 217"/>
                    <a:gd name="T9" fmla="*/ 64 h 134"/>
                    <a:gd name="T10" fmla="*/ 87 w 217"/>
                    <a:gd name="T11" fmla="*/ 37 h 134"/>
                    <a:gd name="T12" fmla="*/ 83 w 217"/>
                    <a:gd name="T13" fmla="*/ 16 h 134"/>
                    <a:gd name="T14" fmla="*/ 99 w 217"/>
                    <a:gd name="T15" fmla="*/ 3 h 134"/>
                    <a:gd name="T16" fmla="*/ 112 w 217"/>
                    <a:gd name="T17" fmla="*/ 2 h 134"/>
                    <a:gd name="T18" fmla="*/ 125 w 217"/>
                    <a:gd name="T19" fmla="*/ 5 h 134"/>
                    <a:gd name="T20" fmla="*/ 142 w 217"/>
                    <a:gd name="T21" fmla="*/ 17 h 134"/>
                    <a:gd name="T22" fmla="*/ 152 w 217"/>
                    <a:gd name="T23" fmla="*/ 17 h 134"/>
                    <a:gd name="T24" fmla="*/ 159 w 217"/>
                    <a:gd name="T25" fmla="*/ 11 h 134"/>
                    <a:gd name="T26" fmla="*/ 177 w 217"/>
                    <a:gd name="T27" fmla="*/ 11 h 134"/>
                    <a:gd name="T28" fmla="*/ 184 w 217"/>
                    <a:gd name="T29" fmla="*/ 18 h 134"/>
                    <a:gd name="T30" fmla="*/ 192 w 217"/>
                    <a:gd name="T31" fmla="*/ 31 h 134"/>
                    <a:gd name="T32" fmla="*/ 192 w 217"/>
                    <a:gd name="T33" fmla="*/ 46 h 134"/>
                    <a:gd name="T34" fmla="*/ 198 w 217"/>
                    <a:gd name="T35" fmla="*/ 49 h 134"/>
                    <a:gd name="T36" fmla="*/ 206 w 217"/>
                    <a:gd name="T37" fmla="*/ 58 h 134"/>
                    <a:gd name="T38" fmla="*/ 212 w 217"/>
                    <a:gd name="T39" fmla="*/ 66 h 134"/>
                    <a:gd name="T40" fmla="*/ 216 w 217"/>
                    <a:gd name="T41" fmla="*/ 78 h 134"/>
                    <a:gd name="T42" fmla="*/ 211 w 217"/>
                    <a:gd name="T43" fmla="*/ 83 h 134"/>
                    <a:gd name="T44" fmla="*/ 207 w 217"/>
                    <a:gd name="T45" fmla="*/ 100 h 134"/>
                    <a:gd name="T46" fmla="*/ 192 w 217"/>
                    <a:gd name="T47" fmla="*/ 103 h 134"/>
                    <a:gd name="T48" fmla="*/ 185 w 217"/>
                    <a:gd name="T49" fmla="*/ 112 h 134"/>
                    <a:gd name="T50" fmla="*/ 177 w 217"/>
                    <a:gd name="T51" fmla="*/ 115 h 134"/>
                    <a:gd name="T52" fmla="*/ 165 w 217"/>
                    <a:gd name="T53" fmla="*/ 114 h 134"/>
                    <a:gd name="T54" fmla="*/ 157 w 217"/>
                    <a:gd name="T55" fmla="*/ 105 h 134"/>
                    <a:gd name="T56" fmla="*/ 146 w 217"/>
                    <a:gd name="T57" fmla="*/ 101 h 134"/>
                    <a:gd name="T58" fmla="*/ 139 w 217"/>
                    <a:gd name="T59" fmla="*/ 97 h 134"/>
                    <a:gd name="T60" fmla="*/ 124 w 217"/>
                    <a:gd name="T61" fmla="*/ 97 h 134"/>
                    <a:gd name="T62" fmla="*/ 117 w 217"/>
                    <a:gd name="T63" fmla="*/ 87 h 134"/>
                    <a:gd name="T64" fmla="*/ 108 w 217"/>
                    <a:gd name="T65" fmla="*/ 99 h 134"/>
                    <a:gd name="T66" fmla="*/ 94 w 217"/>
                    <a:gd name="T67" fmla="*/ 100 h 134"/>
                    <a:gd name="T68" fmla="*/ 80 w 217"/>
                    <a:gd name="T69" fmla="*/ 100 h 134"/>
                    <a:gd name="T70" fmla="*/ 67 w 217"/>
                    <a:gd name="T71" fmla="*/ 107 h 134"/>
                    <a:gd name="T72" fmla="*/ 55 w 217"/>
                    <a:gd name="T73" fmla="*/ 104 h 134"/>
                    <a:gd name="T74" fmla="*/ 34 w 217"/>
                    <a:gd name="T75" fmla="*/ 106 h 134"/>
                    <a:gd name="T76" fmla="*/ 21 w 217"/>
                    <a:gd name="T77" fmla="*/ 113 h 134"/>
                    <a:gd name="T78" fmla="*/ 14 w 217"/>
                    <a:gd name="T79" fmla="*/ 122 h 134"/>
                    <a:gd name="T80" fmla="*/ 9 w 217"/>
                    <a:gd name="T81" fmla="*/ 131 h 134"/>
                    <a:gd name="T82" fmla="*/ 5 w 217"/>
                    <a:gd name="T83" fmla="*/ 128 h 134"/>
                    <a:gd name="T84" fmla="*/ 3 w 217"/>
                    <a:gd name="T85" fmla="*/ 108 h 134"/>
                    <a:gd name="T86" fmla="*/ 7 w 217"/>
                    <a:gd name="T87" fmla="*/ 83 h 134"/>
                    <a:gd name="T88" fmla="*/ 8 w 217"/>
                    <a:gd name="T89" fmla="*/ 60 h 134"/>
                    <a:gd name="T90" fmla="*/ 19 w 217"/>
                    <a:gd name="T91" fmla="*/ 45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17" h="134">
                      <a:moveTo>
                        <a:pt x="19" y="45"/>
                      </a:moveTo>
                      <a:cubicBezTo>
                        <a:pt x="24" y="40"/>
                        <a:pt x="24" y="40"/>
                        <a:pt x="24" y="40"/>
                      </a:cubicBezTo>
                      <a:cubicBezTo>
                        <a:pt x="24" y="40"/>
                        <a:pt x="30" y="35"/>
                        <a:pt x="31" y="35"/>
                      </a:cubicBezTo>
                      <a:cubicBezTo>
                        <a:pt x="33" y="34"/>
                        <a:pt x="36" y="32"/>
                        <a:pt x="36" y="33"/>
                      </a:cubicBezTo>
                      <a:cubicBezTo>
                        <a:pt x="36" y="34"/>
                        <a:pt x="37" y="41"/>
                        <a:pt x="37" y="41"/>
                      </a:cubicBezTo>
                      <a:cubicBezTo>
                        <a:pt x="42" y="43"/>
                        <a:pt x="42" y="43"/>
                        <a:pt x="42" y="43"/>
                      </a:cubicBezTo>
                      <a:cubicBezTo>
                        <a:pt x="46" y="46"/>
                        <a:pt x="46" y="46"/>
                        <a:pt x="46" y="46"/>
                      </a:cubicBezTo>
                      <a:cubicBezTo>
                        <a:pt x="54" y="50"/>
                        <a:pt x="54" y="50"/>
                        <a:pt x="54" y="50"/>
                      </a:cubicBezTo>
                      <a:cubicBezTo>
                        <a:pt x="55" y="53"/>
                        <a:pt x="55" y="53"/>
                        <a:pt x="55" y="53"/>
                      </a:cubicBezTo>
                      <a:cubicBezTo>
                        <a:pt x="55" y="53"/>
                        <a:pt x="54" y="55"/>
                        <a:pt x="56" y="58"/>
                      </a:cubicBezTo>
                      <a:cubicBezTo>
                        <a:pt x="59" y="61"/>
                        <a:pt x="60" y="61"/>
                        <a:pt x="61" y="64"/>
                      </a:cubicBezTo>
                      <a:cubicBezTo>
                        <a:pt x="62" y="66"/>
                        <a:pt x="66" y="68"/>
                        <a:pt x="66" y="68"/>
                      </a:cubicBezTo>
                      <a:cubicBezTo>
                        <a:pt x="71" y="69"/>
                        <a:pt x="71" y="69"/>
                        <a:pt x="71" y="69"/>
                      </a:cubicBezTo>
                      <a:cubicBezTo>
                        <a:pt x="71" y="69"/>
                        <a:pt x="76" y="71"/>
                        <a:pt x="77" y="70"/>
                      </a:cubicBezTo>
                      <a:cubicBezTo>
                        <a:pt x="78" y="69"/>
                        <a:pt x="83" y="65"/>
                        <a:pt x="83" y="64"/>
                      </a:cubicBezTo>
                      <a:cubicBezTo>
                        <a:pt x="84" y="63"/>
                        <a:pt x="87" y="59"/>
                        <a:pt x="88" y="58"/>
                      </a:cubicBezTo>
                      <a:cubicBezTo>
                        <a:pt x="89" y="57"/>
                        <a:pt x="92" y="50"/>
                        <a:pt x="92" y="49"/>
                      </a:cubicBezTo>
                      <a:cubicBezTo>
                        <a:pt x="92" y="47"/>
                        <a:pt x="88" y="39"/>
                        <a:pt x="87" y="37"/>
                      </a:cubicBezTo>
                      <a:cubicBezTo>
                        <a:pt x="87" y="35"/>
                        <a:pt x="86" y="29"/>
                        <a:pt x="86" y="29"/>
                      </a:cubicBezTo>
                      <a:cubicBezTo>
                        <a:pt x="82" y="21"/>
                        <a:pt x="82" y="21"/>
                        <a:pt x="82" y="21"/>
                      </a:cubicBezTo>
                      <a:cubicBezTo>
                        <a:pt x="82" y="21"/>
                        <a:pt x="82" y="16"/>
                        <a:pt x="83" y="16"/>
                      </a:cubicBezTo>
                      <a:cubicBezTo>
                        <a:pt x="84" y="15"/>
                        <a:pt x="89" y="11"/>
                        <a:pt x="89" y="11"/>
                      </a:cubicBezTo>
                      <a:cubicBezTo>
                        <a:pt x="94" y="6"/>
                        <a:pt x="94" y="6"/>
                        <a:pt x="94" y="6"/>
                      </a:cubicBezTo>
                      <a:cubicBezTo>
                        <a:pt x="99" y="3"/>
                        <a:pt x="99" y="3"/>
                        <a:pt x="99" y="3"/>
                      </a:cubicBezTo>
                      <a:cubicBezTo>
                        <a:pt x="103" y="0"/>
                        <a:pt x="103" y="0"/>
                        <a:pt x="103" y="0"/>
                      </a:cubicBezTo>
                      <a:cubicBezTo>
                        <a:pt x="108" y="2"/>
                        <a:pt x="108" y="2"/>
                        <a:pt x="108" y="2"/>
                      </a:cubicBezTo>
                      <a:cubicBezTo>
                        <a:pt x="112" y="2"/>
                        <a:pt x="112" y="2"/>
                        <a:pt x="112" y="2"/>
                      </a:cubicBezTo>
                      <a:cubicBezTo>
                        <a:pt x="116" y="4"/>
                        <a:pt x="116" y="4"/>
                        <a:pt x="116" y="4"/>
                      </a:cubicBezTo>
                      <a:cubicBezTo>
                        <a:pt x="121" y="4"/>
                        <a:pt x="121" y="4"/>
                        <a:pt x="121" y="4"/>
                      </a:cubicBezTo>
                      <a:cubicBezTo>
                        <a:pt x="125" y="5"/>
                        <a:pt x="125" y="5"/>
                        <a:pt x="125" y="5"/>
                      </a:cubicBezTo>
                      <a:cubicBezTo>
                        <a:pt x="130" y="7"/>
                        <a:pt x="130" y="7"/>
                        <a:pt x="130" y="7"/>
                      </a:cubicBezTo>
                      <a:cubicBezTo>
                        <a:pt x="139" y="13"/>
                        <a:pt x="139" y="13"/>
                        <a:pt x="139" y="13"/>
                      </a:cubicBezTo>
                      <a:cubicBezTo>
                        <a:pt x="142" y="17"/>
                        <a:pt x="142" y="17"/>
                        <a:pt x="142" y="17"/>
                      </a:cubicBezTo>
                      <a:cubicBezTo>
                        <a:pt x="145" y="18"/>
                        <a:pt x="145" y="18"/>
                        <a:pt x="145" y="18"/>
                      </a:cubicBezTo>
                      <a:cubicBezTo>
                        <a:pt x="145" y="18"/>
                        <a:pt x="147" y="20"/>
                        <a:pt x="149" y="19"/>
                      </a:cubicBezTo>
                      <a:cubicBezTo>
                        <a:pt x="150" y="19"/>
                        <a:pt x="151" y="18"/>
                        <a:pt x="152" y="17"/>
                      </a:cubicBezTo>
                      <a:cubicBezTo>
                        <a:pt x="154" y="16"/>
                        <a:pt x="155" y="14"/>
                        <a:pt x="155" y="14"/>
                      </a:cubicBezTo>
                      <a:cubicBezTo>
                        <a:pt x="157" y="14"/>
                        <a:pt x="157" y="14"/>
                        <a:pt x="157" y="14"/>
                      </a:cubicBezTo>
                      <a:cubicBezTo>
                        <a:pt x="159" y="11"/>
                        <a:pt x="159" y="11"/>
                        <a:pt x="159" y="11"/>
                      </a:cubicBezTo>
                      <a:cubicBezTo>
                        <a:pt x="167" y="13"/>
                        <a:pt x="167" y="13"/>
                        <a:pt x="167" y="13"/>
                      </a:cubicBezTo>
                      <a:cubicBezTo>
                        <a:pt x="171" y="13"/>
                        <a:pt x="171" y="13"/>
                        <a:pt x="171" y="13"/>
                      </a:cubicBezTo>
                      <a:cubicBezTo>
                        <a:pt x="177" y="11"/>
                        <a:pt x="177" y="11"/>
                        <a:pt x="177" y="11"/>
                      </a:cubicBezTo>
                      <a:cubicBezTo>
                        <a:pt x="180" y="14"/>
                        <a:pt x="180" y="14"/>
                        <a:pt x="180" y="14"/>
                      </a:cubicBezTo>
                      <a:cubicBezTo>
                        <a:pt x="180" y="17"/>
                        <a:pt x="180" y="17"/>
                        <a:pt x="180" y="17"/>
                      </a:cubicBezTo>
                      <a:cubicBezTo>
                        <a:pt x="184" y="18"/>
                        <a:pt x="184" y="18"/>
                        <a:pt x="184" y="18"/>
                      </a:cubicBezTo>
                      <a:cubicBezTo>
                        <a:pt x="184" y="18"/>
                        <a:pt x="187" y="20"/>
                        <a:pt x="188" y="20"/>
                      </a:cubicBezTo>
                      <a:cubicBezTo>
                        <a:pt x="189" y="20"/>
                        <a:pt x="191" y="21"/>
                        <a:pt x="191" y="21"/>
                      </a:cubicBezTo>
                      <a:cubicBezTo>
                        <a:pt x="192" y="31"/>
                        <a:pt x="192" y="31"/>
                        <a:pt x="192" y="31"/>
                      </a:cubicBezTo>
                      <a:cubicBezTo>
                        <a:pt x="190" y="34"/>
                        <a:pt x="190" y="34"/>
                        <a:pt x="190" y="34"/>
                      </a:cubicBezTo>
                      <a:cubicBezTo>
                        <a:pt x="192" y="42"/>
                        <a:pt x="192" y="42"/>
                        <a:pt x="192" y="42"/>
                      </a:cubicBezTo>
                      <a:cubicBezTo>
                        <a:pt x="192" y="46"/>
                        <a:pt x="192" y="46"/>
                        <a:pt x="192" y="46"/>
                      </a:cubicBezTo>
                      <a:cubicBezTo>
                        <a:pt x="196" y="43"/>
                        <a:pt x="196" y="43"/>
                        <a:pt x="196" y="43"/>
                      </a:cubicBezTo>
                      <a:cubicBezTo>
                        <a:pt x="200" y="46"/>
                        <a:pt x="200" y="46"/>
                        <a:pt x="200" y="46"/>
                      </a:cubicBezTo>
                      <a:cubicBezTo>
                        <a:pt x="198" y="49"/>
                        <a:pt x="198" y="49"/>
                        <a:pt x="198" y="49"/>
                      </a:cubicBezTo>
                      <a:cubicBezTo>
                        <a:pt x="203" y="53"/>
                        <a:pt x="203" y="53"/>
                        <a:pt x="203" y="53"/>
                      </a:cubicBezTo>
                      <a:cubicBezTo>
                        <a:pt x="207" y="55"/>
                        <a:pt x="207" y="55"/>
                        <a:pt x="207" y="55"/>
                      </a:cubicBezTo>
                      <a:cubicBezTo>
                        <a:pt x="206" y="58"/>
                        <a:pt x="206" y="58"/>
                        <a:pt x="206" y="58"/>
                      </a:cubicBezTo>
                      <a:cubicBezTo>
                        <a:pt x="206" y="58"/>
                        <a:pt x="207" y="59"/>
                        <a:pt x="208" y="59"/>
                      </a:cubicBezTo>
                      <a:cubicBezTo>
                        <a:pt x="209" y="60"/>
                        <a:pt x="211" y="61"/>
                        <a:pt x="211" y="61"/>
                      </a:cubicBezTo>
                      <a:cubicBezTo>
                        <a:pt x="211" y="61"/>
                        <a:pt x="212" y="64"/>
                        <a:pt x="212" y="66"/>
                      </a:cubicBezTo>
                      <a:cubicBezTo>
                        <a:pt x="213" y="67"/>
                        <a:pt x="217" y="70"/>
                        <a:pt x="217" y="70"/>
                      </a:cubicBezTo>
                      <a:cubicBezTo>
                        <a:pt x="216" y="75"/>
                        <a:pt x="216" y="75"/>
                        <a:pt x="216" y="75"/>
                      </a:cubicBezTo>
                      <a:cubicBezTo>
                        <a:pt x="216" y="75"/>
                        <a:pt x="216" y="77"/>
                        <a:pt x="216" y="78"/>
                      </a:cubicBezTo>
                      <a:cubicBezTo>
                        <a:pt x="216" y="79"/>
                        <a:pt x="216" y="80"/>
                        <a:pt x="216" y="81"/>
                      </a:cubicBezTo>
                      <a:cubicBezTo>
                        <a:pt x="216" y="80"/>
                        <a:pt x="216" y="80"/>
                        <a:pt x="216" y="80"/>
                      </a:cubicBezTo>
                      <a:cubicBezTo>
                        <a:pt x="211" y="83"/>
                        <a:pt x="211" y="83"/>
                        <a:pt x="211" y="83"/>
                      </a:cubicBezTo>
                      <a:cubicBezTo>
                        <a:pt x="210" y="90"/>
                        <a:pt x="210" y="90"/>
                        <a:pt x="210" y="90"/>
                      </a:cubicBezTo>
                      <a:cubicBezTo>
                        <a:pt x="205" y="95"/>
                        <a:pt x="205" y="95"/>
                        <a:pt x="205" y="95"/>
                      </a:cubicBezTo>
                      <a:cubicBezTo>
                        <a:pt x="207" y="100"/>
                        <a:pt x="207" y="100"/>
                        <a:pt x="207" y="100"/>
                      </a:cubicBezTo>
                      <a:cubicBezTo>
                        <a:pt x="205" y="103"/>
                        <a:pt x="205" y="103"/>
                        <a:pt x="205" y="103"/>
                      </a:cubicBezTo>
                      <a:cubicBezTo>
                        <a:pt x="197" y="103"/>
                        <a:pt x="197" y="103"/>
                        <a:pt x="197" y="103"/>
                      </a:cubicBezTo>
                      <a:cubicBezTo>
                        <a:pt x="197" y="103"/>
                        <a:pt x="196" y="103"/>
                        <a:pt x="192" y="103"/>
                      </a:cubicBezTo>
                      <a:cubicBezTo>
                        <a:pt x="188" y="103"/>
                        <a:pt x="189" y="103"/>
                        <a:pt x="189" y="103"/>
                      </a:cubicBezTo>
                      <a:cubicBezTo>
                        <a:pt x="186" y="106"/>
                        <a:pt x="186" y="106"/>
                        <a:pt x="186" y="106"/>
                      </a:cubicBezTo>
                      <a:cubicBezTo>
                        <a:pt x="185" y="112"/>
                        <a:pt x="185" y="112"/>
                        <a:pt x="185" y="112"/>
                      </a:cubicBezTo>
                      <a:cubicBezTo>
                        <a:pt x="185" y="112"/>
                        <a:pt x="183" y="112"/>
                        <a:pt x="179" y="113"/>
                      </a:cubicBezTo>
                      <a:cubicBezTo>
                        <a:pt x="177" y="114"/>
                        <a:pt x="177" y="115"/>
                        <a:pt x="177" y="115"/>
                      </a:cubicBezTo>
                      <a:cubicBezTo>
                        <a:pt x="177" y="115"/>
                        <a:pt x="177" y="115"/>
                        <a:pt x="177" y="115"/>
                      </a:cubicBezTo>
                      <a:cubicBezTo>
                        <a:pt x="174" y="115"/>
                        <a:pt x="174" y="115"/>
                        <a:pt x="174" y="115"/>
                      </a:cubicBezTo>
                      <a:cubicBezTo>
                        <a:pt x="169" y="114"/>
                        <a:pt x="169" y="114"/>
                        <a:pt x="169" y="114"/>
                      </a:cubicBezTo>
                      <a:cubicBezTo>
                        <a:pt x="165" y="114"/>
                        <a:pt x="165" y="114"/>
                        <a:pt x="165" y="114"/>
                      </a:cubicBezTo>
                      <a:cubicBezTo>
                        <a:pt x="163" y="110"/>
                        <a:pt x="163" y="110"/>
                        <a:pt x="163" y="110"/>
                      </a:cubicBezTo>
                      <a:cubicBezTo>
                        <a:pt x="160" y="109"/>
                        <a:pt x="160" y="109"/>
                        <a:pt x="160" y="109"/>
                      </a:cubicBezTo>
                      <a:cubicBezTo>
                        <a:pt x="157" y="105"/>
                        <a:pt x="157" y="105"/>
                        <a:pt x="157" y="105"/>
                      </a:cubicBezTo>
                      <a:cubicBezTo>
                        <a:pt x="153" y="104"/>
                        <a:pt x="153" y="104"/>
                        <a:pt x="153" y="104"/>
                      </a:cubicBezTo>
                      <a:cubicBezTo>
                        <a:pt x="151" y="101"/>
                        <a:pt x="151" y="101"/>
                        <a:pt x="151" y="101"/>
                      </a:cubicBezTo>
                      <a:cubicBezTo>
                        <a:pt x="146" y="101"/>
                        <a:pt x="146" y="101"/>
                        <a:pt x="146" y="101"/>
                      </a:cubicBezTo>
                      <a:cubicBezTo>
                        <a:pt x="143" y="99"/>
                        <a:pt x="143" y="99"/>
                        <a:pt x="143" y="99"/>
                      </a:cubicBezTo>
                      <a:cubicBezTo>
                        <a:pt x="142" y="97"/>
                        <a:pt x="142" y="97"/>
                        <a:pt x="142" y="97"/>
                      </a:cubicBezTo>
                      <a:cubicBezTo>
                        <a:pt x="139" y="97"/>
                        <a:pt x="139" y="97"/>
                        <a:pt x="139" y="97"/>
                      </a:cubicBezTo>
                      <a:cubicBezTo>
                        <a:pt x="135" y="98"/>
                        <a:pt x="135" y="98"/>
                        <a:pt x="135" y="98"/>
                      </a:cubicBezTo>
                      <a:cubicBezTo>
                        <a:pt x="128" y="100"/>
                        <a:pt x="128" y="100"/>
                        <a:pt x="128" y="100"/>
                      </a:cubicBezTo>
                      <a:cubicBezTo>
                        <a:pt x="124" y="97"/>
                        <a:pt x="124" y="97"/>
                        <a:pt x="124" y="97"/>
                      </a:cubicBezTo>
                      <a:cubicBezTo>
                        <a:pt x="123" y="96"/>
                        <a:pt x="123" y="96"/>
                        <a:pt x="123" y="96"/>
                      </a:cubicBezTo>
                      <a:cubicBezTo>
                        <a:pt x="119" y="93"/>
                        <a:pt x="119" y="93"/>
                        <a:pt x="119" y="93"/>
                      </a:cubicBezTo>
                      <a:cubicBezTo>
                        <a:pt x="117" y="87"/>
                        <a:pt x="117" y="87"/>
                        <a:pt x="117" y="87"/>
                      </a:cubicBezTo>
                      <a:cubicBezTo>
                        <a:pt x="117" y="87"/>
                        <a:pt x="113" y="90"/>
                        <a:pt x="112" y="90"/>
                      </a:cubicBezTo>
                      <a:cubicBezTo>
                        <a:pt x="112" y="90"/>
                        <a:pt x="109" y="95"/>
                        <a:pt x="109" y="95"/>
                      </a:cubicBezTo>
                      <a:cubicBezTo>
                        <a:pt x="108" y="99"/>
                        <a:pt x="108" y="99"/>
                        <a:pt x="108" y="99"/>
                      </a:cubicBezTo>
                      <a:cubicBezTo>
                        <a:pt x="102" y="97"/>
                        <a:pt x="102" y="97"/>
                        <a:pt x="102" y="97"/>
                      </a:cubicBezTo>
                      <a:cubicBezTo>
                        <a:pt x="102" y="97"/>
                        <a:pt x="99" y="101"/>
                        <a:pt x="99" y="102"/>
                      </a:cubicBezTo>
                      <a:cubicBezTo>
                        <a:pt x="98" y="102"/>
                        <a:pt x="94" y="100"/>
                        <a:pt x="94" y="100"/>
                      </a:cubicBezTo>
                      <a:cubicBezTo>
                        <a:pt x="88" y="100"/>
                        <a:pt x="88" y="100"/>
                        <a:pt x="88" y="100"/>
                      </a:cubicBezTo>
                      <a:cubicBezTo>
                        <a:pt x="88" y="100"/>
                        <a:pt x="82" y="100"/>
                        <a:pt x="81" y="99"/>
                      </a:cubicBezTo>
                      <a:cubicBezTo>
                        <a:pt x="80" y="99"/>
                        <a:pt x="80" y="100"/>
                        <a:pt x="80" y="100"/>
                      </a:cubicBezTo>
                      <a:cubicBezTo>
                        <a:pt x="75" y="101"/>
                        <a:pt x="75" y="101"/>
                        <a:pt x="75" y="101"/>
                      </a:cubicBezTo>
                      <a:cubicBezTo>
                        <a:pt x="69" y="102"/>
                        <a:pt x="69" y="102"/>
                        <a:pt x="69" y="102"/>
                      </a:cubicBezTo>
                      <a:cubicBezTo>
                        <a:pt x="69" y="102"/>
                        <a:pt x="68" y="106"/>
                        <a:pt x="67" y="107"/>
                      </a:cubicBezTo>
                      <a:cubicBezTo>
                        <a:pt x="66" y="107"/>
                        <a:pt x="63" y="104"/>
                        <a:pt x="62" y="103"/>
                      </a:cubicBezTo>
                      <a:cubicBezTo>
                        <a:pt x="62" y="102"/>
                        <a:pt x="59" y="101"/>
                        <a:pt x="59" y="101"/>
                      </a:cubicBezTo>
                      <a:cubicBezTo>
                        <a:pt x="55" y="104"/>
                        <a:pt x="55" y="104"/>
                        <a:pt x="55" y="104"/>
                      </a:cubicBezTo>
                      <a:cubicBezTo>
                        <a:pt x="55" y="104"/>
                        <a:pt x="48" y="105"/>
                        <a:pt x="47" y="105"/>
                      </a:cubicBezTo>
                      <a:cubicBezTo>
                        <a:pt x="46" y="105"/>
                        <a:pt x="41" y="107"/>
                        <a:pt x="41" y="107"/>
                      </a:cubicBezTo>
                      <a:cubicBezTo>
                        <a:pt x="34" y="106"/>
                        <a:pt x="34" y="106"/>
                        <a:pt x="34" y="106"/>
                      </a:cubicBezTo>
                      <a:cubicBezTo>
                        <a:pt x="31" y="109"/>
                        <a:pt x="31" y="109"/>
                        <a:pt x="31" y="109"/>
                      </a:cubicBezTo>
                      <a:cubicBezTo>
                        <a:pt x="25" y="113"/>
                        <a:pt x="25" y="113"/>
                        <a:pt x="25" y="113"/>
                      </a:cubicBezTo>
                      <a:cubicBezTo>
                        <a:pt x="21" y="113"/>
                        <a:pt x="21" y="113"/>
                        <a:pt x="21" y="113"/>
                      </a:cubicBezTo>
                      <a:cubicBezTo>
                        <a:pt x="19" y="118"/>
                        <a:pt x="19" y="118"/>
                        <a:pt x="19" y="118"/>
                      </a:cubicBezTo>
                      <a:cubicBezTo>
                        <a:pt x="15" y="120"/>
                        <a:pt x="15" y="120"/>
                        <a:pt x="15" y="120"/>
                      </a:cubicBezTo>
                      <a:cubicBezTo>
                        <a:pt x="14" y="122"/>
                        <a:pt x="14" y="122"/>
                        <a:pt x="14" y="122"/>
                      </a:cubicBezTo>
                      <a:cubicBezTo>
                        <a:pt x="13" y="128"/>
                        <a:pt x="13" y="128"/>
                        <a:pt x="13" y="128"/>
                      </a:cubicBezTo>
                      <a:cubicBezTo>
                        <a:pt x="13" y="128"/>
                        <a:pt x="10" y="129"/>
                        <a:pt x="8" y="129"/>
                      </a:cubicBezTo>
                      <a:cubicBezTo>
                        <a:pt x="7" y="130"/>
                        <a:pt x="9" y="131"/>
                        <a:pt x="9" y="131"/>
                      </a:cubicBezTo>
                      <a:cubicBezTo>
                        <a:pt x="8" y="134"/>
                        <a:pt x="8" y="134"/>
                        <a:pt x="8" y="134"/>
                      </a:cubicBezTo>
                      <a:cubicBezTo>
                        <a:pt x="8" y="134"/>
                        <a:pt x="7" y="133"/>
                        <a:pt x="7" y="133"/>
                      </a:cubicBezTo>
                      <a:cubicBezTo>
                        <a:pt x="7" y="133"/>
                        <a:pt x="6" y="130"/>
                        <a:pt x="5" y="128"/>
                      </a:cubicBezTo>
                      <a:cubicBezTo>
                        <a:pt x="3" y="126"/>
                        <a:pt x="1" y="117"/>
                        <a:pt x="1" y="117"/>
                      </a:cubicBezTo>
                      <a:cubicBezTo>
                        <a:pt x="3" y="113"/>
                        <a:pt x="3" y="113"/>
                        <a:pt x="3" y="113"/>
                      </a:cubicBezTo>
                      <a:cubicBezTo>
                        <a:pt x="3" y="113"/>
                        <a:pt x="3" y="109"/>
                        <a:pt x="3" y="108"/>
                      </a:cubicBezTo>
                      <a:cubicBezTo>
                        <a:pt x="2" y="106"/>
                        <a:pt x="1" y="97"/>
                        <a:pt x="1" y="97"/>
                      </a:cubicBezTo>
                      <a:cubicBezTo>
                        <a:pt x="1" y="97"/>
                        <a:pt x="0" y="93"/>
                        <a:pt x="0" y="92"/>
                      </a:cubicBezTo>
                      <a:cubicBezTo>
                        <a:pt x="0" y="91"/>
                        <a:pt x="7" y="83"/>
                        <a:pt x="7" y="83"/>
                      </a:cubicBezTo>
                      <a:cubicBezTo>
                        <a:pt x="7" y="82"/>
                        <a:pt x="8" y="74"/>
                        <a:pt x="8" y="74"/>
                      </a:cubicBezTo>
                      <a:cubicBezTo>
                        <a:pt x="6" y="68"/>
                        <a:pt x="6" y="68"/>
                        <a:pt x="6" y="68"/>
                      </a:cubicBezTo>
                      <a:cubicBezTo>
                        <a:pt x="8" y="60"/>
                        <a:pt x="8" y="60"/>
                        <a:pt x="8" y="60"/>
                      </a:cubicBezTo>
                      <a:cubicBezTo>
                        <a:pt x="10" y="51"/>
                        <a:pt x="10" y="51"/>
                        <a:pt x="10" y="51"/>
                      </a:cubicBezTo>
                      <a:cubicBezTo>
                        <a:pt x="10" y="51"/>
                        <a:pt x="11" y="47"/>
                        <a:pt x="12" y="47"/>
                      </a:cubicBezTo>
                      <a:cubicBezTo>
                        <a:pt x="13" y="46"/>
                        <a:pt x="19" y="45"/>
                        <a:pt x="19" y="45"/>
                      </a:cubicBezTo>
                      <a:close/>
                    </a:path>
                  </a:pathLst>
                </a:custGeom>
                <a:solidFill>
                  <a:srgbClr val="E6EFF1"/>
                </a:solidFill>
                <a:ln w="12700" cap="rnd" cmpd="sng">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Lato Light"/>
                  </a:endParaRPr>
                </a:p>
              </p:txBody>
            </p:sp>
            <p:sp>
              <p:nvSpPr>
                <p:cNvPr id="19" name="Freeform 61">
                  <a:extLst>
                    <a:ext uri="{FF2B5EF4-FFF2-40B4-BE49-F238E27FC236}">
                      <a16:creationId xmlns:a16="http://schemas.microsoft.com/office/drawing/2014/main" id="{862322AD-6741-80C0-E53A-0B9DBE5E37A3}"/>
                    </a:ext>
                  </a:extLst>
                </p:cNvPr>
                <p:cNvSpPr>
                  <a:spLocks noEditPoints="1"/>
                </p:cNvSpPr>
                <p:nvPr/>
              </p:nvSpPr>
              <p:spPr bwMode="auto">
                <a:xfrm>
                  <a:off x="4573937" y="4759999"/>
                  <a:ext cx="454271" cy="389162"/>
                </a:xfrm>
                <a:custGeom>
                  <a:avLst/>
                  <a:gdLst>
                    <a:gd name="T0" fmla="*/ 132 w 158"/>
                    <a:gd name="T1" fmla="*/ 9 h 139"/>
                    <a:gd name="T2" fmla="*/ 138 w 158"/>
                    <a:gd name="T3" fmla="*/ 25 h 139"/>
                    <a:gd name="T4" fmla="*/ 135 w 158"/>
                    <a:gd name="T5" fmla="*/ 42 h 139"/>
                    <a:gd name="T6" fmla="*/ 151 w 158"/>
                    <a:gd name="T7" fmla="*/ 49 h 139"/>
                    <a:gd name="T8" fmla="*/ 152 w 158"/>
                    <a:gd name="T9" fmla="*/ 59 h 139"/>
                    <a:gd name="T10" fmla="*/ 149 w 158"/>
                    <a:gd name="T11" fmla="*/ 65 h 139"/>
                    <a:gd name="T12" fmla="*/ 151 w 158"/>
                    <a:gd name="T13" fmla="*/ 79 h 139"/>
                    <a:gd name="T14" fmla="*/ 141 w 158"/>
                    <a:gd name="T15" fmla="*/ 85 h 139"/>
                    <a:gd name="T16" fmla="*/ 135 w 158"/>
                    <a:gd name="T17" fmla="*/ 87 h 139"/>
                    <a:gd name="T18" fmla="*/ 140 w 158"/>
                    <a:gd name="T19" fmla="*/ 93 h 139"/>
                    <a:gd name="T20" fmla="*/ 138 w 158"/>
                    <a:gd name="T21" fmla="*/ 97 h 139"/>
                    <a:gd name="T22" fmla="*/ 129 w 158"/>
                    <a:gd name="T23" fmla="*/ 103 h 139"/>
                    <a:gd name="T24" fmla="*/ 121 w 158"/>
                    <a:gd name="T25" fmla="*/ 115 h 139"/>
                    <a:gd name="T26" fmla="*/ 125 w 158"/>
                    <a:gd name="T27" fmla="*/ 129 h 139"/>
                    <a:gd name="T28" fmla="*/ 126 w 158"/>
                    <a:gd name="T29" fmla="*/ 137 h 139"/>
                    <a:gd name="T30" fmla="*/ 118 w 158"/>
                    <a:gd name="T31" fmla="*/ 139 h 139"/>
                    <a:gd name="T32" fmla="*/ 114 w 158"/>
                    <a:gd name="T33" fmla="*/ 138 h 139"/>
                    <a:gd name="T34" fmla="*/ 113 w 158"/>
                    <a:gd name="T35" fmla="*/ 137 h 139"/>
                    <a:gd name="T36" fmla="*/ 113 w 158"/>
                    <a:gd name="T37" fmla="*/ 137 h 139"/>
                    <a:gd name="T38" fmla="*/ 113 w 158"/>
                    <a:gd name="T39" fmla="*/ 137 h 139"/>
                    <a:gd name="T40" fmla="*/ 112 w 158"/>
                    <a:gd name="T41" fmla="*/ 137 h 139"/>
                    <a:gd name="T42" fmla="*/ 99 w 158"/>
                    <a:gd name="T43" fmla="*/ 129 h 139"/>
                    <a:gd name="T44" fmla="*/ 87 w 158"/>
                    <a:gd name="T45" fmla="*/ 116 h 139"/>
                    <a:gd name="T46" fmla="*/ 68 w 158"/>
                    <a:gd name="T47" fmla="*/ 100 h 139"/>
                    <a:gd name="T48" fmla="*/ 56 w 158"/>
                    <a:gd name="T49" fmla="*/ 89 h 139"/>
                    <a:gd name="T50" fmla="*/ 43 w 158"/>
                    <a:gd name="T51" fmla="*/ 79 h 139"/>
                    <a:gd name="T52" fmla="*/ 31 w 158"/>
                    <a:gd name="T53" fmla="*/ 68 h 139"/>
                    <a:gd name="T54" fmla="*/ 23 w 158"/>
                    <a:gd name="T55" fmla="*/ 54 h 139"/>
                    <a:gd name="T56" fmla="*/ 14 w 158"/>
                    <a:gd name="T57" fmla="*/ 43 h 139"/>
                    <a:gd name="T58" fmla="*/ 5 w 158"/>
                    <a:gd name="T59" fmla="*/ 36 h 139"/>
                    <a:gd name="T60" fmla="*/ 1 w 158"/>
                    <a:gd name="T61" fmla="*/ 20 h 139"/>
                    <a:gd name="T62" fmla="*/ 2 w 158"/>
                    <a:gd name="T63" fmla="*/ 10 h 139"/>
                    <a:gd name="T64" fmla="*/ 8 w 158"/>
                    <a:gd name="T65" fmla="*/ 7 h 139"/>
                    <a:gd name="T66" fmla="*/ 23 w 158"/>
                    <a:gd name="T67" fmla="*/ 13 h 139"/>
                    <a:gd name="T68" fmla="*/ 35 w 158"/>
                    <a:gd name="T69" fmla="*/ 4 h 139"/>
                    <a:gd name="T70" fmla="*/ 48 w 158"/>
                    <a:gd name="T71" fmla="*/ 2 h 139"/>
                    <a:gd name="T72" fmla="*/ 61 w 158"/>
                    <a:gd name="T73" fmla="*/ 4 h 139"/>
                    <a:gd name="T74" fmla="*/ 80 w 158"/>
                    <a:gd name="T75" fmla="*/ 6 h 139"/>
                    <a:gd name="T76" fmla="*/ 90 w 158"/>
                    <a:gd name="T77" fmla="*/ 3 h 139"/>
                    <a:gd name="T78" fmla="*/ 97 w 158"/>
                    <a:gd name="T79" fmla="*/ 2 h 139"/>
                    <a:gd name="T80" fmla="*/ 98 w 158"/>
                    <a:gd name="T81" fmla="*/ 2 h 139"/>
                    <a:gd name="T82" fmla="*/ 98 w 158"/>
                    <a:gd name="T83" fmla="*/ 2 h 139"/>
                    <a:gd name="T84" fmla="*/ 99 w 158"/>
                    <a:gd name="T85" fmla="*/ 2 h 139"/>
                    <a:gd name="T86" fmla="*/ 99 w 158"/>
                    <a:gd name="T87" fmla="*/ 2 h 139"/>
                    <a:gd name="T88" fmla="*/ 99 w 158"/>
                    <a:gd name="T89" fmla="*/ 2 h 139"/>
                    <a:gd name="T90" fmla="*/ 100 w 158"/>
                    <a:gd name="T91" fmla="*/ 1 h 139"/>
                    <a:gd name="T92" fmla="*/ 100 w 158"/>
                    <a:gd name="T93" fmla="*/ 1 h 139"/>
                    <a:gd name="T94" fmla="*/ 100 w 158"/>
                    <a:gd name="T95" fmla="*/ 1 h 139"/>
                    <a:gd name="T96" fmla="*/ 100 w 158"/>
                    <a:gd name="T97" fmla="*/ 1 h 139"/>
                    <a:gd name="T98" fmla="*/ 100 w 158"/>
                    <a:gd name="T99" fmla="*/ 1 h 139"/>
                    <a:gd name="T100" fmla="*/ 103 w 158"/>
                    <a:gd name="T101" fmla="*/ 4 h 139"/>
                    <a:gd name="T102" fmla="*/ 117 w 158"/>
                    <a:gd name="T103" fmla="*/ 8 h 139"/>
                    <a:gd name="T104" fmla="*/ 130 w 158"/>
                    <a:gd name="T105" fmla="*/ 12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58" h="139">
                      <a:moveTo>
                        <a:pt x="145" y="83"/>
                      </a:moveTo>
                      <a:cubicBezTo>
                        <a:pt x="146" y="83"/>
                        <a:pt x="146" y="83"/>
                        <a:pt x="146" y="83"/>
                      </a:cubicBezTo>
                      <a:cubicBezTo>
                        <a:pt x="146" y="83"/>
                        <a:pt x="146" y="83"/>
                        <a:pt x="146" y="83"/>
                      </a:cubicBezTo>
                      <a:cubicBezTo>
                        <a:pt x="145" y="83"/>
                        <a:pt x="145" y="83"/>
                        <a:pt x="145" y="83"/>
                      </a:cubicBezTo>
                      <a:close/>
                      <a:moveTo>
                        <a:pt x="132" y="9"/>
                      </a:moveTo>
                      <a:cubicBezTo>
                        <a:pt x="132" y="9"/>
                        <a:pt x="132" y="9"/>
                        <a:pt x="132" y="9"/>
                      </a:cubicBezTo>
                      <a:cubicBezTo>
                        <a:pt x="138" y="10"/>
                        <a:pt x="138" y="10"/>
                        <a:pt x="138" y="10"/>
                      </a:cubicBezTo>
                      <a:cubicBezTo>
                        <a:pt x="141" y="11"/>
                        <a:pt x="141" y="11"/>
                        <a:pt x="141" y="11"/>
                      </a:cubicBezTo>
                      <a:cubicBezTo>
                        <a:pt x="141" y="14"/>
                        <a:pt x="141" y="14"/>
                        <a:pt x="141" y="14"/>
                      </a:cubicBezTo>
                      <a:cubicBezTo>
                        <a:pt x="141" y="18"/>
                        <a:pt x="141" y="18"/>
                        <a:pt x="141" y="18"/>
                      </a:cubicBezTo>
                      <a:cubicBezTo>
                        <a:pt x="141" y="21"/>
                        <a:pt x="141" y="21"/>
                        <a:pt x="141" y="21"/>
                      </a:cubicBezTo>
                      <a:cubicBezTo>
                        <a:pt x="138" y="25"/>
                        <a:pt x="138" y="25"/>
                        <a:pt x="138" y="25"/>
                      </a:cubicBezTo>
                      <a:cubicBezTo>
                        <a:pt x="138" y="25"/>
                        <a:pt x="137" y="28"/>
                        <a:pt x="137" y="28"/>
                      </a:cubicBezTo>
                      <a:cubicBezTo>
                        <a:pt x="137" y="29"/>
                        <a:pt x="136" y="31"/>
                        <a:pt x="136" y="31"/>
                      </a:cubicBezTo>
                      <a:cubicBezTo>
                        <a:pt x="136" y="31"/>
                        <a:pt x="134" y="30"/>
                        <a:pt x="135" y="33"/>
                      </a:cubicBezTo>
                      <a:cubicBezTo>
                        <a:pt x="135" y="36"/>
                        <a:pt x="136" y="35"/>
                        <a:pt x="136" y="36"/>
                      </a:cubicBezTo>
                      <a:cubicBezTo>
                        <a:pt x="136" y="37"/>
                        <a:pt x="136" y="39"/>
                        <a:pt x="136" y="40"/>
                      </a:cubicBezTo>
                      <a:cubicBezTo>
                        <a:pt x="135" y="41"/>
                        <a:pt x="136" y="41"/>
                        <a:pt x="135" y="42"/>
                      </a:cubicBezTo>
                      <a:cubicBezTo>
                        <a:pt x="135" y="43"/>
                        <a:pt x="137" y="44"/>
                        <a:pt x="139" y="44"/>
                      </a:cubicBezTo>
                      <a:cubicBezTo>
                        <a:pt x="141" y="45"/>
                        <a:pt x="141" y="44"/>
                        <a:pt x="142" y="44"/>
                      </a:cubicBezTo>
                      <a:cubicBezTo>
                        <a:pt x="143" y="44"/>
                        <a:pt x="144" y="45"/>
                        <a:pt x="145" y="45"/>
                      </a:cubicBezTo>
                      <a:cubicBezTo>
                        <a:pt x="146" y="46"/>
                        <a:pt x="146" y="46"/>
                        <a:pt x="146" y="47"/>
                      </a:cubicBezTo>
                      <a:cubicBezTo>
                        <a:pt x="147" y="48"/>
                        <a:pt x="148" y="49"/>
                        <a:pt x="149" y="50"/>
                      </a:cubicBezTo>
                      <a:cubicBezTo>
                        <a:pt x="150" y="50"/>
                        <a:pt x="150" y="49"/>
                        <a:pt x="151" y="49"/>
                      </a:cubicBezTo>
                      <a:cubicBezTo>
                        <a:pt x="151" y="50"/>
                        <a:pt x="152" y="51"/>
                        <a:pt x="153" y="51"/>
                      </a:cubicBezTo>
                      <a:cubicBezTo>
                        <a:pt x="153" y="52"/>
                        <a:pt x="154" y="53"/>
                        <a:pt x="155" y="53"/>
                      </a:cubicBezTo>
                      <a:cubicBezTo>
                        <a:pt x="155" y="53"/>
                        <a:pt x="157" y="54"/>
                        <a:pt x="157" y="54"/>
                      </a:cubicBezTo>
                      <a:cubicBezTo>
                        <a:pt x="158" y="55"/>
                        <a:pt x="157" y="56"/>
                        <a:pt x="157" y="56"/>
                      </a:cubicBezTo>
                      <a:cubicBezTo>
                        <a:pt x="156" y="56"/>
                        <a:pt x="156" y="58"/>
                        <a:pt x="155" y="58"/>
                      </a:cubicBezTo>
                      <a:cubicBezTo>
                        <a:pt x="155" y="58"/>
                        <a:pt x="152" y="59"/>
                        <a:pt x="152" y="59"/>
                      </a:cubicBezTo>
                      <a:cubicBezTo>
                        <a:pt x="151" y="59"/>
                        <a:pt x="150" y="59"/>
                        <a:pt x="149" y="59"/>
                      </a:cubicBezTo>
                      <a:cubicBezTo>
                        <a:pt x="148" y="59"/>
                        <a:pt x="147" y="59"/>
                        <a:pt x="146" y="58"/>
                      </a:cubicBezTo>
                      <a:cubicBezTo>
                        <a:pt x="145" y="58"/>
                        <a:pt x="145" y="58"/>
                        <a:pt x="144" y="58"/>
                      </a:cubicBezTo>
                      <a:cubicBezTo>
                        <a:pt x="144" y="59"/>
                        <a:pt x="144" y="61"/>
                        <a:pt x="144" y="61"/>
                      </a:cubicBezTo>
                      <a:cubicBezTo>
                        <a:pt x="144" y="61"/>
                        <a:pt x="145" y="62"/>
                        <a:pt x="146" y="63"/>
                      </a:cubicBezTo>
                      <a:cubicBezTo>
                        <a:pt x="146" y="63"/>
                        <a:pt x="148" y="65"/>
                        <a:pt x="149" y="65"/>
                      </a:cubicBezTo>
                      <a:cubicBezTo>
                        <a:pt x="149" y="65"/>
                        <a:pt x="150" y="66"/>
                        <a:pt x="151" y="67"/>
                      </a:cubicBezTo>
                      <a:cubicBezTo>
                        <a:pt x="152" y="69"/>
                        <a:pt x="152" y="70"/>
                        <a:pt x="152" y="70"/>
                      </a:cubicBezTo>
                      <a:cubicBezTo>
                        <a:pt x="157" y="74"/>
                        <a:pt x="157" y="74"/>
                        <a:pt x="157" y="74"/>
                      </a:cubicBezTo>
                      <a:cubicBezTo>
                        <a:pt x="157" y="74"/>
                        <a:pt x="157" y="75"/>
                        <a:pt x="157" y="78"/>
                      </a:cubicBezTo>
                      <a:cubicBezTo>
                        <a:pt x="157" y="82"/>
                        <a:pt x="156" y="80"/>
                        <a:pt x="155" y="80"/>
                      </a:cubicBezTo>
                      <a:cubicBezTo>
                        <a:pt x="154" y="80"/>
                        <a:pt x="153" y="80"/>
                        <a:pt x="151" y="79"/>
                      </a:cubicBezTo>
                      <a:cubicBezTo>
                        <a:pt x="150" y="79"/>
                        <a:pt x="150" y="79"/>
                        <a:pt x="150" y="79"/>
                      </a:cubicBezTo>
                      <a:cubicBezTo>
                        <a:pt x="148" y="82"/>
                        <a:pt x="148" y="82"/>
                        <a:pt x="148" y="82"/>
                      </a:cubicBezTo>
                      <a:cubicBezTo>
                        <a:pt x="148" y="82"/>
                        <a:pt x="146" y="82"/>
                        <a:pt x="145" y="83"/>
                      </a:cubicBezTo>
                      <a:cubicBezTo>
                        <a:pt x="144" y="83"/>
                        <a:pt x="144" y="83"/>
                        <a:pt x="144" y="83"/>
                      </a:cubicBezTo>
                      <a:cubicBezTo>
                        <a:pt x="144" y="83"/>
                        <a:pt x="142" y="84"/>
                        <a:pt x="142" y="84"/>
                      </a:cubicBezTo>
                      <a:cubicBezTo>
                        <a:pt x="142" y="84"/>
                        <a:pt x="141" y="85"/>
                        <a:pt x="141" y="85"/>
                      </a:cubicBezTo>
                      <a:cubicBezTo>
                        <a:pt x="140" y="85"/>
                        <a:pt x="140" y="85"/>
                        <a:pt x="140" y="85"/>
                      </a:cubicBezTo>
                      <a:cubicBezTo>
                        <a:pt x="139" y="84"/>
                        <a:pt x="139" y="84"/>
                        <a:pt x="139" y="84"/>
                      </a:cubicBezTo>
                      <a:cubicBezTo>
                        <a:pt x="138" y="83"/>
                        <a:pt x="138" y="83"/>
                        <a:pt x="138" y="83"/>
                      </a:cubicBezTo>
                      <a:cubicBezTo>
                        <a:pt x="136" y="85"/>
                        <a:pt x="136" y="85"/>
                        <a:pt x="136" y="85"/>
                      </a:cubicBezTo>
                      <a:cubicBezTo>
                        <a:pt x="135" y="86"/>
                        <a:pt x="135" y="86"/>
                        <a:pt x="135" y="86"/>
                      </a:cubicBezTo>
                      <a:cubicBezTo>
                        <a:pt x="135" y="86"/>
                        <a:pt x="135" y="87"/>
                        <a:pt x="135" y="87"/>
                      </a:cubicBezTo>
                      <a:cubicBezTo>
                        <a:pt x="135" y="87"/>
                        <a:pt x="137" y="87"/>
                        <a:pt x="137" y="87"/>
                      </a:cubicBezTo>
                      <a:cubicBezTo>
                        <a:pt x="137" y="89"/>
                        <a:pt x="137" y="89"/>
                        <a:pt x="137" y="89"/>
                      </a:cubicBezTo>
                      <a:cubicBezTo>
                        <a:pt x="137" y="89"/>
                        <a:pt x="137" y="89"/>
                        <a:pt x="138" y="89"/>
                      </a:cubicBezTo>
                      <a:cubicBezTo>
                        <a:pt x="138" y="89"/>
                        <a:pt x="139" y="90"/>
                        <a:pt x="139" y="90"/>
                      </a:cubicBezTo>
                      <a:cubicBezTo>
                        <a:pt x="140" y="91"/>
                        <a:pt x="140" y="91"/>
                        <a:pt x="140" y="91"/>
                      </a:cubicBezTo>
                      <a:cubicBezTo>
                        <a:pt x="140" y="93"/>
                        <a:pt x="140" y="93"/>
                        <a:pt x="140" y="93"/>
                      </a:cubicBezTo>
                      <a:cubicBezTo>
                        <a:pt x="142" y="94"/>
                        <a:pt x="142" y="94"/>
                        <a:pt x="142" y="94"/>
                      </a:cubicBezTo>
                      <a:cubicBezTo>
                        <a:pt x="142" y="96"/>
                        <a:pt x="142" y="96"/>
                        <a:pt x="142" y="96"/>
                      </a:cubicBezTo>
                      <a:cubicBezTo>
                        <a:pt x="141" y="97"/>
                        <a:pt x="141" y="97"/>
                        <a:pt x="141" y="97"/>
                      </a:cubicBezTo>
                      <a:cubicBezTo>
                        <a:pt x="140" y="98"/>
                        <a:pt x="140" y="98"/>
                        <a:pt x="140" y="98"/>
                      </a:cubicBezTo>
                      <a:cubicBezTo>
                        <a:pt x="138" y="98"/>
                        <a:pt x="138" y="98"/>
                        <a:pt x="138" y="98"/>
                      </a:cubicBezTo>
                      <a:cubicBezTo>
                        <a:pt x="138" y="97"/>
                        <a:pt x="138" y="97"/>
                        <a:pt x="138" y="97"/>
                      </a:cubicBezTo>
                      <a:cubicBezTo>
                        <a:pt x="137" y="95"/>
                        <a:pt x="137" y="95"/>
                        <a:pt x="137" y="95"/>
                      </a:cubicBezTo>
                      <a:cubicBezTo>
                        <a:pt x="136" y="94"/>
                        <a:pt x="136" y="94"/>
                        <a:pt x="136" y="94"/>
                      </a:cubicBezTo>
                      <a:cubicBezTo>
                        <a:pt x="133" y="95"/>
                        <a:pt x="133" y="95"/>
                        <a:pt x="133" y="95"/>
                      </a:cubicBezTo>
                      <a:cubicBezTo>
                        <a:pt x="133" y="97"/>
                        <a:pt x="133" y="97"/>
                        <a:pt x="133" y="97"/>
                      </a:cubicBezTo>
                      <a:cubicBezTo>
                        <a:pt x="128" y="101"/>
                        <a:pt x="128" y="101"/>
                        <a:pt x="128" y="101"/>
                      </a:cubicBezTo>
                      <a:cubicBezTo>
                        <a:pt x="129" y="103"/>
                        <a:pt x="129" y="103"/>
                        <a:pt x="129" y="103"/>
                      </a:cubicBezTo>
                      <a:cubicBezTo>
                        <a:pt x="127" y="105"/>
                        <a:pt x="127" y="105"/>
                        <a:pt x="127" y="105"/>
                      </a:cubicBezTo>
                      <a:cubicBezTo>
                        <a:pt x="127" y="108"/>
                        <a:pt x="127" y="108"/>
                        <a:pt x="127" y="108"/>
                      </a:cubicBezTo>
                      <a:cubicBezTo>
                        <a:pt x="128" y="111"/>
                        <a:pt x="128" y="111"/>
                        <a:pt x="128" y="111"/>
                      </a:cubicBezTo>
                      <a:cubicBezTo>
                        <a:pt x="128" y="113"/>
                        <a:pt x="128" y="113"/>
                        <a:pt x="128" y="113"/>
                      </a:cubicBezTo>
                      <a:cubicBezTo>
                        <a:pt x="124" y="114"/>
                        <a:pt x="124" y="114"/>
                        <a:pt x="124" y="114"/>
                      </a:cubicBezTo>
                      <a:cubicBezTo>
                        <a:pt x="121" y="115"/>
                        <a:pt x="121" y="115"/>
                        <a:pt x="121" y="115"/>
                      </a:cubicBezTo>
                      <a:cubicBezTo>
                        <a:pt x="121" y="118"/>
                        <a:pt x="121" y="118"/>
                        <a:pt x="121" y="118"/>
                      </a:cubicBezTo>
                      <a:cubicBezTo>
                        <a:pt x="121" y="119"/>
                        <a:pt x="121" y="119"/>
                        <a:pt x="121" y="119"/>
                      </a:cubicBezTo>
                      <a:cubicBezTo>
                        <a:pt x="124" y="123"/>
                        <a:pt x="124" y="123"/>
                        <a:pt x="124" y="123"/>
                      </a:cubicBezTo>
                      <a:cubicBezTo>
                        <a:pt x="123" y="124"/>
                        <a:pt x="123" y="124"/>
                        <a:pt x="123" y="124"/>
                      </a:cubicBezTo>
                      <a:cubicBezTo>
                        <a:pt x="122" y="125"/>
                        <a:pt x="122" y="125"/>
                        <a:pt x="122" y="125"/>
                      </a:cubicBezTo>
                      <a:cubicBezTo>
                        <a:pt x="125" y="129"/>
                        <a:pt x="125" y="129"/>
                        <a:pt x="125" y="129"/>
                      </a:cubicBezTo>
                      <a:cubicBezTo>
                        <a:pt x="126" y="130"/>
                        <a:pt x="126" y="130"/>
                        <a:pt x="126" y="130"/>
                      </a:cubicBezTo>
                      <a:cubicBezTo>
                        <a:pt x="128" y="130"/>
                        <a:pt x="128" y="130"/>
                        <a:pt x="128" y="130"/>
                      </a:cubicBezTo>
                      <a:cubicBezTo>
                        <a:pt x="128" y="132"/>
                        <a:pt x="128" y="132"/>
                        <a:pt x="128" y="132"/>
                      </a:cubicBezTo>
                      <a:cubicBezTo>
                        <a:pt x="128" y="133"/>
                        <a:pt x="128" y="133"/>
                        <a:pt x="128" y="133"/>
                      </a:cubicBezTo>
                      <a:cubicBezTo>
                        <a:pt x="128" y="135"/>
                        <a:pt x="128" y="135"/>
                        <a:pt x="128" y="135"/>
                      </a:cubicBezTo>
                      <a:cubicBezTo>
                        <a:pt x="126" y="137"/>
                        <a:pt x="126" y="137"/>
                        <a:pt x="126" y="137"/>
                      </a:cubicBezTo>
                      <a:cubicBezTo>
                        <a:pt x="127" y="139"/>
                        <a:pt x="127" y="139"/>
                        <a:pt x="127" y="139"/>
                      </a:cubicBezTo>
                      <a:cubicBezTo>
                        <a:pt x="125" y="138"/>
                        <a:pt x="125" y="138"/>
                        <a:pt x="125" y="138"/>
                      </a:cubicBezTo>
                      <a:cubicBezTo>
                        <a:pt x="124" y="139"/>
                        <a:pt x="124" y="139"/>
                        <a:pt x="124" y="139"/>
                      </a:cubicBezTo>
                      <a:cubicBezTo>
                        <a:pt x="124" y="139"/>
                        <a:pt x="124" y="139"/>
                        <a:pt x="124" y="139"/>
                      </a:cubicBezTo>
                      <a:cubicBezTo>
                        <a:pt x="121" y="138"/>
                        <a:pt x="121" y="138"/>
                        <a:pt x="121" y="138"/>
                      </a:cubicBezTo>
                      <a:cubicBezTo>
                        <a:pt x="121" y="138"/>
                        <a:pt x="119" y="139"/>
                        <a:pt x="118" y="139"/>
                      </a:cubicBezTo>
                      <a:cubicBezTo>
                        <a:pt x="118" y="139"/>
                        <a:pt x="117" y="139"/>
                        <a:pt x="117" y="139"/>
                      </a:cubicBezTo>
                      <a:cubicBezTo>
                        <a:pt x="117" y="139"/>
                        <a:pt x="115" y="138"/>
                        <a:pt x="114" y="138"/>
                      </a:cubicBezTo>
                      <a:cubicBezTo>
                        <a:pt x="114" y="138"/>
                        <a:pt x="114" y="138"/>
                        <a:pt x="114" y="138"/>
                      </a:cubicBezTo>
                      <a:cubicBezTo>
                        <a:pt x="114" y="138"/>
                        <a:pt x="114" y="138"/>
                        <a:pt x="114" y="138"/>
                      </a:cubicBezTo>
                      <a:cubicBezTo>
                        <a:pt x="114" y="138"/>
                        <a:pt x="114" y="138"/>
                        <a:pt x="114" y="138"/>
                      </a:cubicBezTo>
                      <a:cubicBezTo>
                        <a:pt x="114" y="138"/>
                        <a:pt x="114" y="138"/>
                        <a:pt x="114" y="138"/>
                      </a:cubicBezTo>
                      <a:cubicBezTo>
                        <a:pt x="114" y="138"/>
                        <a:pt x="114" y="138"/>
                        <a:pt x="114" y="138"/>
                      </a:cubicBezTo>
                      <a:cubicBezTo>
                        <a:pt x="114" y="137"/>
                        <a:pt x="114" y="137"/>
                        <a:pt x="114" y="137"/>
                      </a:cubicBezTo>
                      <a:cubicBezTo>
                        <a:pt x="114" y="137"/>
                        <a:pt x="114" y="137"/>
                        <a:pt x="114" y="137"/>
                      </a:cubicBezTo>
                      <a:cubicBezTo>
                        <a:pt x="114" y="137"/>
                        <a:pt x="114" y="137"/>
                        <a:pt x="114" y="137"/>
                      </a:cubicBezTo>
                      <a:cubicBezTo>
                        <a:pt x="114" y="137"/>
                        <a:pt x="114" y="137"/>
                        <a:pt x="114" y="137"/>
                      </a:cubicBezTo>
                      <a:cubicBezTo>
                        <a:pt x="113" y="137"/>
                        <a:pt x="113" y="137"/>
                        <a:pt x="113" y="137"/>
                      </a:cubicBezTo>
                      <a:cubicBezTo>
                        <a:pt x="113" y="137"/>
                        <a:pt x="113" y="137"/>
                        <a:pt x="113" y="137"/>
                      </a:cubicBezTo>
                      <a:cubicBezTo>
                        <a:pt x="113" y="137"/>
                        <a:pt x="113" y="137"/>
                        <a:pt x="113" y="137"/>
                      </a:cubicBezTo>
                      <a:cubicBezTo>
                        <a:pt x="113" y="137"/>
                        <a:pt x="113" y="137"/>
                        <a:pt x="113" y="137"/>
                      </a:cubicBezTo>
                      <a:cubicBezTo>
                        <a:pt x="113" y="137"/>
                        <a:pt x="113" y="137"/>
                        <a:pt x="113" y="137"/>
                      </a:cubicBezTo>
                      <a:cubicBezTo>
                        <a:pt x="113" y="137"/>
                        <a:pt x="113" y="137"/>
                        <a:pt x="113" y="137"/>
                      </a:cubicBezTo>
                      <a:cubicBezTo>
                        <a:pt x="113" y="137"/>
                        <a:pt x="113" y="137"/>
                        <a:pt x="113" y="137"/>
                      </a:cubicBezTo>
                      <a:cubicBezTo>
                        <a:pt x="113" y="137"/>
                        <a:pt x="113" y="137"/>
                        <a:pt x="113" y="137"/>
                      </a:cubicBezTo>
                      <a:cubicBezTo>
                        <a:pt x="113" y="137"/>
                        <a:pt x="113" y="137"/>
                        <a:pt x="113" y="137"/>
                      </a:cubicBezTo>
                      <a:cubicBezTo>
                        <a:pt x="113" y="137"/>
                        <a:pt x="113" y="137"/>
                        <a:pt x="113" y="137"/>
                      </a:cubicBezTo>
                      <a:cubicBezTo>
                        <a:pt x="113" y="137"/>
                        <a:pt x="113" y="137"/>
                        <a:pt x="113" y="137"/>
                      </a:cubicBezTo>
                      <a:cubicBezTo>
                        <a:pt x="113" y="137"/>
                        <a:pt x="113" y="137"/>
                        <a:pt x="113" y="137"/>
                      </a:cubicBezTo>
                      <a:cubicBezTo>
                        <a:pt x="113" y="137"/>
                        <a:pt x="113" y="137"/>
                        <a:pt x="113" y="137"/>
                      </a:cubicBezTo>
                      <a:cubicBezTo>
                        <a:pt x="112" y="137"/>
                        <a:pt x="112" y="137"/>
                        <a:pt x="112" y="137"/>
                      </a:cubicBezTo>
                      <a:cubicBezTo>
                        <a:pt x="112" y="137"/>
                        <a:pt x="112" y="137"/>
                        <a:pt x="112" y="137"/>
                      </a:cubicBezTo>
                      <a:cubicBezTo>
                        <a:pt x="112" y="137"/>
                        <a:pt x="112" y="137"/>
                        <a:pt x="112" y="137"/>
                      </a:cubicBezTo>
                      <a:cubicBezTo>
                        <a:pt x="112" y="137"/>
                        <a:pt x="112" y="137"/>
                        <a:pt x="112" y="137"/>
                      </a:cubicBezTo>
                      <a:cubicBezTo>
                        <a:pt x="112" y="137"/>
                        <a:pt x="112" y="137"/>
                        <a:pt x="112" y="137"/>
                      </a:cubicBezTo>
                      <a:cubicBezTo>
                        <a:pt x="112" y="137"/>
                        <a:pt x="112" y="137"/>
                        <a:pt x="112" y="137"/>
                      </a:cubicBezTo>
                      <a:cubicBezTo>
                        <a:pt x="112" y="137"/>
                        <a:pt x="112" y="137"/>
                        <a:pt x="112" y="137"/>
                      </a:cubicBezTo>
                      <a:cubicBezTo>
                        <a:pt x="112" y="137"/>
                        <a:pt x="112" y="137"/>
                        <a:pt x="112" y="137"/>
                      </a:cubicBezTo>
                      <a:cubicBezTo>
                        <a:pt x="112" y="137"/>
                        <a:pt x="112" y="137"/>
                        <a:pt x="112" y="137"/>
                      </a:cubicBezTo>
                      <a:cubicBezTo>
                        <a:pt x="106" y="134"/>
                        <a:pt x="106" y="134"/>
                        <a:pt x="106" y="134"/>
                      </a:cubicBezTo>
                      <a:cubicBezTo>
                        <a:pt x="101" y="131"/>
                        <a:pt x="101" y="131"/>
                        <a:pt x="101" y="131"/>
                      </a:cubicBezTo>
                      <a:cubicBezTo>
                        <a:pt x="99" y="129"/>
                        <a:pt x="99" y="129"/>
                        <a:pt x="99" y="129"/>
                      </a:cubicBezTo>
                      <a:cubicBezTo>
                        <a:pt x="98" y="125"/>
                        <a:pt x="98" y="125"/>
                        <a:pt x="98" y="125"/>
                      </a:cubicBezTo>
                      <a:cubicBezTo>
                        <a:pt x="93" y="124"/>
                        <a:pt x="93" y="124"/>
                        <a:pt x="93" y="124"/>
                      </a:cubicBezTo>
                      <a:cubicBezTo>
                        <a:pt x="93" y="121"/>
                        <a:pt x="87" y="126"/>
                        <a:pt x="89" y="120"/>
                      </a:cubicBezTo>
                      <a:cubicBezTo>
                        <a:pt x="89" y="120"/>
                        <a:pt x="89" y="119"/>
                        <a:pt x="89" y="119"/>
                      </a:cubicBezTo>
                      <a:cubicBezTo>
                        <a:pt x="89" y="119"/>
                        <a:pt x="89" y="119"/>
                        <a:pt x="89" y="119"/>
                      </a:cubicBezTo>
                      <a:cubicBezTo>
                        <a:pt x="89" y="118"/>
                        <a:pt x="87" y="116"/>
                        <a:pt x="87" y="116"/>
                      </a:cubicBezTo>
                      <a:cubicBezTo>
                        <a:pt x="81" y="113"/>
                        <a:pt x="80" y="110"/>
                        <a:pt x="77" y="109"/>
                      </a:cubicBezTo>
                      <a:cubicBezTo>
                        <a:pt x="76" y="109"/>
                        <a:pt x="76" y="109"/>
                        <a:pt x="76" y="109"/>
                      </a:cubicBezTo>
                      <a:cubicBezTo>
                        <a:pt x="72" y="105"/>
                        <a:pt x="72" y="105"/>
                        <a:pt x="72" y="105"/>
                      </a:cubicBezTo>
                      <a:cubicBezTo>
                        <a:pt x="70" y="104"/>
                        <a:pt x="70" y="104"/>
                        <a:pt x="70" y="104"/>
                      </a:cubicBezTo>
                      <a:cubicBezTo>
                        <a:pt x="68" y="102"/>
                        <a:pt x="68" y="102"/>
                        <a:pt x="68" y="102"/>
                      </a:cubicBezTo>
                      <a:cubicBezTo>
                        <a:pt x="68" y="100"/>
                        <a:pt x="68" y="100"/>
                        <a:pt x="68" y="100"/>
                      </a:cubicBezTo>
                      <a:cubicBezTo>
                        <a:pt x="67" y="96"/>
                        <a:pt x="67" y="96"/>
                        <a:pt x="67" y="96"/>
                      </a:cubicBezTo>
                      <a:cubicBezTo>
                        <a:pt x="67" y="96"/>
                        <a:pt x="67" y="96"/>
                        <a:pt x="67" y="96"/>
                      </a:cubicBezTo>
                      <a:cubicBezTo>
                        <a:pt x="67" y="96"/>
                        <a:pt x="63" y="95"/>
                        <a:pt x="61" y="94"/>
                      </a:cubicBezTo>
                      <a:cubicBezTo>
                        <a:pt x="59" y="93"/>
                        <a:pt x="59" y="93"/>
                        <a:pt x="59" y="93"/>
                      </a:cubicBezTo>
                      <a:cubicBezTo>
                        <a:pt x="57" y="90"/>
                        <a:pt x="57" y="90"/>
                        <a:pt x="57" y="90"/>
                      </a:cubicBezTo>
                      <a:cubicBezTo>
                        <a:pt x="56" y="89"/>
                        <a:pt x="56" y="89"/>
                        <a:pt x="56" y="89"/>
                      </a:cubicBezTo>
                      <a:cubicBezTo>
                        <a:pt x="53" y="86"/>
                        <a:pt x="53" y="86"/>
                        <a:pt x="53" y="86"/>
                      </a:cubicBezTo>
                      <a:cubicBezTo>
                        <a:pt x="52" y="86"/>
                        <a:pt x="52" y="86"/>
                        <a:pt x="52" y="86"/>
                      </a:cubicBezTo>
                      <a:cubicBezTo>
                        <a:pt x="47" y="84"/>
                        <a:pt x="47" y="84"/>
                        <a:pt x="47" y="84"/>
                      </a:cubicBezTo>
                      <a:cubicBezTo>
                        <a:pt x="46" y="82"/>
                        <a:pt x="46" y="82"/>
                        <a:pt x="46" y="82"/>
                      </a:cubicBezTo>
                      <a:cubicBezTo>
                        <a:pt x="44" y="81"/>
                        <a:pt x="44" y="81"/>
                        <a:pt x="44" y="81"/>
                      </a:cubicBezTo>
                      <a:cubicBezTo>
                        <a:pt x="43" y="79"/>
                        <a:pt x="43" y="79"/>
                        <a:pt x="43" y="79"/>
                      </a:cubicBezTo>
                      <a:cubicBezTo>
                        <a:pt x="40" y="78"/>
                        <a:pt x="40" y="78"/>
                        <a:pt x="40" y="78"/>
                      </a:cubicBezTo>
                      <a:cubicBezTo>
                        <a:pt x="39" y="76"/>
                        <a:pt x="39" y="76"/>
                        <a:pt x="39" y="76"/>
                      </a:cubicBezTo>
                      <a:cubicBezTo>
                        <a:pt x="38" y="75"/>
                        <a:pt x="38" y="75"/>
                        <a:pt x="38" y="75"/>
                      </a:cubicBezTo>
                      <a:cubicBezTo>
                        <a:pt x="35" y="71"/>
                        <a:pt x="35" y="71"/>
                        <a:pt x="35" y="71"/>
                      </a:cubicBezTo>
                      <a:cubicBezTo>
                        <a:pt x="32" y="69"/>
                        <a:pt x="32" y="69"/>
                        <a:pt x="32" y="69"/>
                      </a:cubicBezTo>
                      <a:cubicBezTo>
                        <a:pt x="31" y="68"/>
                        <a:pt x="31" y="68"/>
                        <a:pt x="31" y="68"/>
                      </a:cubicBezTo>
                      <a:cubicBezTo>
                        <a:pt x="30" y="67"/>
                        <a:pt x="30" y="67"/>
                        <a:pt x="30" y="67"/>
                      </a:cubicBezTo>
                      <a:cubicBezTo>
                        <a:pt x="28" y="64"/>
                        <a:pt x="28" y="64"/>
                        <a:pt x="28" y="64"/>
                      </a:cubicBezTo>
                      <a:cubicBezTo>
                        <a:pt x="25" y="61"/>
                        <a:pt x="25" y="61"/>
                        <a:pt x="25" y="61"/>
                      </a:cubicBezTo>
                      <a:cubicBezTo>
                        <a:pt x="23" y="59"/>
                        <a:pt x="23" y="59"/>
                        <a:pt x="23" y="59"/>
                      </a:cubicBezTo>
                      <a:cubicBezTo>
                        <a:pt x="21" y="56"/>
                        <a:pt x="21" y="56"/>
                        <a:pt x="21" y="56"/>
                      </a:cubicBezTo>
                      <a:cubicBezTo>
                        <a:pt x="23" y="54"/>
                        <a:pt x="23" y="54"/>
                        <a:pt x="23" y="54"/>
                      </a:cubicBezTo>
                      <a:cubicBezTo>
                        <a:pt x="22" y="53"/>
                        <a:pt x="21" y="53"/>
                        <a:pt x="21" y="52"/>
                      </a:cubicBezTo>
                      <a:cubicBezTo>
                        <a:pt x="20" y="52"/>
                        <a:pt x="18" y="51"/>
                        <a:pt x="19" y="50"/>
                      </a:cubicBezTo>
                      <a:cubicBezTo>
                        <a:pt x="19" y="49"/>
                        <a:pt x="18" y="48"/>
                        <a:pt x="18" y="46"/>
                      </a:cubicBezTo>
                      <a:cubicBezTo>
                        <a:pt x="18" y="45"/>
                        <a:pt x="18" y="44"/>
                        <a:pt x="17" y="44"/>
                      </a:cubicBezTo>
                      <a:cubicBezTo>
                        <a:pt x="16" y="43"/>
                        <a:pt x="16" y="43"/>
                        <a:pt x="16" y="43"/>
                      </a:cubicBezTo>
                      <a:cubicBezTo>
                        <a:pt x="15" y="43"/>
                        <a:pt x="14" y="43"/>
                        <a:pt x="14" y="43"/>
                      </a:cubicBezTo>
                      <a:cubicBezTo>
                        <a:pt x="13" y="43"/>
                        <a:pt x="13" y="43"/>
                        <a:pt x="13" y="43"/>
                      </a:cubicBezTo>
                      <a:cubicBezTo>
                        <a:pt x="13" y="43"/>
                        <a:pt x="14" y="41"/>
                        <a:pt x="14" y="39"/>
                      </a:cubicBezTo>
                      <a:cubicBezTo>
                        <a:pt x="10" y="38"/>
                        <a:pt x="10" y="38"/>
                        <a:pt x="10" y="38"/>
                      </a:cubicBezTo>
                      <a:cubicBezTo>
                        <a:pt x="10" y="38"/>
                        <a:pt x="10" y="35"/>
                        <a:pt x="8" y="34"/>
                      </a:cubicBezTo>
                      <a:cubicBezTo>
                        <a:pt x="6" y="34"/>
                        <a:pt x="6" y="34"/>
                        <a:pt x="6" y="34"/>
                      </a:cubicBezTo>
                      <a:cubicBezTo>
                        <a:pt x="5" y="35"/>
                        <a:pt x="5" y="36"/>
                        <a:pt x="5" y="36"/>
                      </a:cubicBezTo>
                      <a:cubicBezTo>
                        <a:pt x="1" y="32"/>
                        <a:pt x="1" y="32"/>
                        <a:pt x="1" y="32"/>
                      </a:cubicBezTo>
                      <a:cubicBezTo>
                        <a:pt x="1" y="32"/>
                        <a:pt x="1" y="31"/>
                        <a:pt x="2" y="29"/>
                      </a:cubicBezTo>
                      <a:cubicBezTo>
                        <a:pt x="4" y="27"/>
                        <a:pt x="2" y="26"/>
                        <a:pt x="2" y="26"/>
                      </a:cubicBezTo>
                      <a:cubicBezTo>
                        <a:pt x="1" y="23"/>
                        <a:pt x="1" y="23"/>
                        <a:pt x="1" y="23"/>
                      </a:cubicBezTo>
                      <a:cubicBezTo>
                        <a:pt x="2" y="21"/>
                        <a:pt x="2" y="21"/>
                        <a:pt x="2" y="21"/>
                      </a:cubicBezTo>
                      <a:cubicBezTo>
                        <a:pt x="1" y="20"/>
                        <a:pt x="1" y="20"/>
                        <a:pt x="1" y="20"/>
                      </a:cubicBezTo>
                      <a:cubicBezTo>
                        <a:pt x="0" y="19"/>
                        <a:pt x="0" y="19"/>
                        <a:pt x="0" y="19"/>
                      </a:cubicBezTo>
                      <a:cubicBezTo>
                        <a:pt x="0" y="19"/>
                        <a:pt x="0" y="19"/>
                        <a:pt x="0" y="19"/>
                      </a:cubicBezTo>
                      <a:cubicBezTo>
                        <a:pt x="0" y="19"/>
                        <a:pt x="0" y="19"/>
                        <a:pt x="0" y="19"/>
                      </a:cubicBezTo>
                      <a:cubicBezTo>
                        <a:pt x="2" y="15"/>
                        <a:pt x="2" y="15"/>
                        <a:pt x="2" y="15"/>
                      </a:cubicBezTo>
                      <a:cubicBezTo>
                        <a:pt x="2" y="15"/>
                        <a:pt x="1" y="13"/>
                        <a:pt x="1" y="11"/>
                      </a:cubicBezTo>
                      <a:cubicBezTo>
                        <a:pt x="1" y="11"/>
                        <a:pt x="2" y="10"/>
                        <a:pt x="2" y="10"/>
                      </a:cubicBezTo>
                      <a:cubicBezTo>
                        <a:pt x="2" y="10"/>
                        <a:pt x="2" y="10"/>
                        <a:pt x="2" y="10"/>
                      </a:cubicBezTo>
                      <a:cubicBezTo>
                        <a:pt x="2" y="9"/>
                        <a:pt x="2" y="9"/>
                        <a:pt x="2" y="9"/>
                      </a:cubicBezTo>
                      <a:cubicBezTo>
                        <a:pt x="2" y="9"/>
                        <a:pt x="2" y="9"/>
                        <a:pt x="2" y="9"/>
                      </a:cubicBezTo>
                      <a:cubicBezTo>
                        <a:pt x="3" y="9"/>
                        <a:pt x="3" y="9"/>
                        <a:pt x="3" y="9"/>
                      </a:cubicBezTo>
                      <a:cubicBezTo>
                        <a:pt x="3" y="9"/>
                        <a:pt x="3" y="9"/>
                        <a:pt x="3" y="9"/>
                      </a:cubicBezTo>
                      <a:cubicBezTo>
                        <a:pt x="3" y="8"/>
                        <a:pt x="8" y="7"/>
                        <a:pt x="8" y="7"/>
                      </a:cubicBezTo>
                      <a:cubicBezTo>
                        <a:pt x="10" y="6"/>
                        <a:pt x="10" y="6"/>
                        <a:pt x="10" y="6"/>
                      </a:cubicBezTo>
                      <a:cubicBezTo>
                        <a:pt x="14" y="11"/>
                        <a:pt x="14" y="11"/>
                        <a:pt x="14" y="11"/>
                      </a:cubicBezTo>
                      <a:cubicBezTo>
                        <a:pt x="18" y="15"/>
                        <a:pt x="18" y="15"/>
                        <a:pt x="18" y="15"/>
                      </a:cubicBezTo>
                      <a:cubicBezTo>
                        <a:pt x="21" y="17"/>
                        <a:pt x="21" y="17"/>
                        <a:pt x="21" y="17"/>
                      </a:cubicBezTo>
                      <a:cubicBezTo>
                        <a:pt x="21" y="17"/>
                        <a:pt x="22" y="16"/>
                        <a:pt x="23" y="16"/>
                      </a:cubicBezTo>
                      <a:cubicBezTo>
                        <a:pt x="23" y="15"/>
                        <a:pt x="23" y="13"/>
                        <a:pt x="23" y="13"/>
                      </a:cubicBezTo>
                      <a:cubicBezTo>
                        <a:pt x="25" y="11"/>
                        <a:pt x="25" y="11"/>
                        <a:pt x="25" y="11"/>
                      </a:cubicBezTo>
                      <a:cubicBezTo>
                        <a:pt x="26" y="9"/>
                        <a:pt x="26" y="9"/>
                        <a:pt x="26" y="9"/>
                      </a:cubicBezTo>
                      <a:cubicBezTo>
                        <a:pt x="26" y="7"/>
                        <a:pt x="26" y="7"/>
                        <a:pt x="26" y="7"/>
                      </a:cubicBezTo>
                      <a:cubicBezTo>
                        <a:pt x="28" y="6"/>
                        <a:pt x="28" y="6"/>
                        <a:pt x="28" y="6"/>
                      </a:cubicBezTo>
                      <a:cubicBezTo>
                        <a:pt x="31" y="5"/>
                        <a:pt x="31" y="5"/>
                        <a:pt x="31" y="5"/>
                      </a:cubicBezTo>
                      <a:cubicBezTo>
                        <a:pt x="35" y="4"/>
                        <a:pt x="35" y="4"/>
                        <a:pt x="35" y="4"/>
                      </a:cubicBezTo>
                      <a:cubicBezTo>
                        <a:pt x="35" y="4"/>
                        <a:pt x="38" y="5"/>
                        <a:pt x="39" y="5"/>
                      </a:cubicBezTo>
                      <a:cubicBezTo>
                        <a:pt x="39" y="5"/>
                        <a:pt x="40" y="5"/>
                        <a:pt x="40" y="5"/>
                      </a:cubicBezTo>
                      <a:cubicBezTo>
                        <a:pt x="42" y="2"/>
                        <a:pt x="42" y="2"/>
                        <a:pt x="42" y="2"/>
                      </a:cubicBezTo>
                      <a:cubicBezTo>
                        <a:pt x="42" y="2"/>
                        <a:pt x="42" y="2"/>
                        <a:pt x="42" y="2"/>
                      </a:cubicBezTo>
                      <a:cubicBezTo>
                        <a:pt x="43" y="0"/>
                        <a:pt x="43" y="0"/>
                        <a:pt x="43" y="0"/>
                      </a:cubicBezTo>
                      <a:cubicBezTo>
                        <a:pt x="48" y="2"/>
                        <a:pt x="48" y="2"/>
                        <a:pt x="48" y="2"/>
                      </a:cubicBezTo>
                      <a:cubicBezTo>
                        <a:pt x="50" y="4"/>
                        <a:pt x="50" y="4"/>
                        <a:pt x="50" y="4"/>
                      </a:cubicBezTo>
                      <a:cubicBezTo>
                        <a:pt x="55" y="5"/>
                        <a:pt x="55" y="5"/>
                        <a:pt x="55" y="5"/>
                      </a:cubicBezTo>
                      <a:cubicBezTo>
                        <a:pt x="55" y="5"/>
                        <a:pt x="55" y="5"/>
                        <a:pt x="55" y="5"/>
                      </a:cubicBezTo>
                      <a:cubicBezTo>
                        <a:pt x="57" y="5"/>
                        <a:pt x="57" y="5"/>
                        <a:pt x="57" y="5"/>
                      </a:cubicBezTo>
                      <a:cubicBezTo>
                        <a:pt x="57" y="4"/>
                        <a:pt x="57" y="4"/>
                        <a:pt x="57" y="4"/>
                      </a:cubicBezTo>
                      <a:cubicBezTo>
                        <a:pt x="61" y="4"/>
                        <a:pt x="61" y="4"/>
                        <a:pt x="61" y="4"/>
                      </a:cubicBezTo>
                      <a:cubicBezTo>
                        <a:pt x="66" y="5"/>
                        <a:pt x="66" y="5"/>
                        <a:pt x="66" y="5"/>
                      </a:cubicBezTo>
                      <a:cubicBezTo>
                        <a:pt x="69" y="5"/>
                        <a:pt x="69" y="5"/>
                        <a:pt x="69" y="5"/>
                      </a:cubicBezTo>
                      <a:cubicBezTo>
                        <a:pt x="74" y="5"/>
                        <a:pt x="74" y="5"/>
                        <a:pt x="74" y="5"/>
                      </a:cubicBezTo>
                      <a:cubicBezTo>
                        <a:pt x="77" y="6"/>
                        <a:pt x="77" y="6"/>
                        <a:pt x="77" y="6"/>
                      </a:cubicBezTo>
                      <a:cubicBezTo>
                        <a:pt x="79" y="7"/>
                        <a:pt x="79" y="7"/>
                        <a:pt x="79" y="7"/>
                      </a:cubicBezTo>
                      <a:cubicBezTo>
                        <a:pt x="79" y="7"/>
                        <a:pt x="79" y="7"/>
                        <a:pt x="80" y="6"/>
                      </a:cubicBezTo>
                      <a:cubicBezTo>
                        <a:pt x="80" y="6"/>
                        <a:pt x="83" y="6"/>
                        <a:pt x="83" y="6"/>
                      </a:cubicBezTo>
                      <a:cubicBezTo>
                        <a:pt x="84" y="3"/>
                        <a:pt x="84" y="3"/>
                        <a:pt x="84" y="3"/>
                      </a:cubicBezTo>
                      <a:cubicBezTo>
                        <a:pt x="85" y="5"/>
                        <a:pt x="85" y="5"/>
                        <a:pt x="85" y="5"/>
                      </a:cubicBezTo>
                      <a:cubicBezTo>
                        <a:pt x="86" y="5"/>
                        <a:pt x="88" y="5"/>
                        <a:pt x="88" y="5"/>
                      </a:cubicBezTo>
                      <a:cubicBezTo>
                        <a:pt x="89" y="2"/>
                        <a:pt x="89" y="2"/>
                        <a:pt x="89" y="2"/>
                      </a:cubicBezTo>
                      <a:cubicBezTo>
                        <a:pt x="90" y="3"/>
                        <a:pt x="90" y="3"/>
                        <a:pt x="90" y="3"/>
                      </a:cubicBezTo>
                      <a:cubicBezTo>
                        <a:pt x="91" y="3"/>
                        <a:pt x="91" y="3"/>
                        <a:pt x="92" y="3"/>
                      </a:cubicBezTo>
                      <a:cubicBezTo>
                        <a:pt x="93" y="3"/>
                        <a:pt x="94" y="2"/>
                        <a:pt x="94" y="2"/>
                      </a:cubicBezTo>
                      <a:cubicBezTo>
                        <a:pt x="94" y="2"/>
                        <a:pt x="95" y="3"/>
                        <a:pt x="95" y="3"/>
                      </a:cubicBezTo>
                      <a:cubicBezTo>
                        <a:pt x="95" y="3"/>
                        <a:pt x="96" y="2"/>
                        <a:pt x="97" y="2"/>
                      </a:cubicBezTo>
                      <a:cubicBezTo>
                        <a:pt x="97" y="2"/>
                        <a:pt x="97" y="2"/>
                        <a:pt x="97" y="2"/>
                      </a:cubicBezTo>
                      <a:cubicBezTo>
                        <a:pt x="97" y="2"/>
                        <a:pt x="97" y="2"/>
                        <a:pt x="97" y="2"/>
                      </a:cubicBezTo>
                      <a:cubicBezTo>
                        <a:pt x="98" y="2"/>
                        <a:pt x="98" y="2"/>
                        <a:pt x="98" y="2"/>
                      </a:cubicBezTo>
                      <a:cubicBezTo>
                        <a:pt x="98" y="2"/>
                        <a:pt x="98" y="2"/>
                        <a:pt x="98" y="2"/>
                      </a:cubicBezTo>
                      <a:cubicBezTo>
                        <a:pt x="98" y="2"/>
                        <a:pt x="98" y="2"/>
                        <a:pt x="98" y="2"/>
                      </a:cubicBezTo>
                      <a:cubicBezTo>
                        <a:pt x="98" y="2"/>
                        <a:pt x="98" y="2"/>
                        <a:pt x="98" y="2"/>
                      </a:cubicBezTo>
                      <a:cubicBezTo>
                        <a:pt x="98" y="2"/>
                        <a:pt x="98" y="2"/>
                        <a:pt x="98" y="2"/>
                      </a:cubicBezTo>
                      <a:cubicBezTo>
                        <a:pt x="98" y="2"/>
                        <a:pt x="98" y="2"/>
                        <a:pt x="98" y="2"/>
                      </a:cubicBezTo>
                      <a:cubicBezTo>
                        <a:pt x="98" y="2"/>
                        <a:pt x="98" y="2"/>
                        <a:pt x="98" y="2"/>
                      </a:cubicBezTo>
                      <a:cubicBezTo>
                        <a:pt x="98" y="2"/>
                        <a:pt x="98" y="2"/>
                        <a:pt x="98" y="2"/>
                      </a:cubicBezTo>
                      <a:cubicBezTo>
                        <a:pt x="98" y="2"/>
                        <a:pt x="98" y="2"/>
                        <a:pt x="98" y="2"/>
                      </a:cubicBezTo>
                      <a:cubicBezTo>
                        <a:pt x="98" y="2"/>
                        <a:pt x="98" y="2"/>
                        <a:pt x="98" y="2"/>
                      </a:cubicBezTo>
                      <a:cubicBezTo>
                        <a:pt x="98" y="2"/>
                        <a:pt x="98" y="2"/>
                        <a:pt x="98" y="2"/>
                      </a:cubicBezTo>
                      <a:cubicBezTo>
                        <a:pt x="98" y="2"/>
                        <a:pt x="98" y="2"/>
                        <a:pt x="98" y="2"/>
                      </a:cubicBezTo>
                      <a:cubicBezTo>
                        <a:pt x="98" y="2"/>
                        <a:pt x="98" y="2"/>
                        <a:pt x="98" y="2"/>
                      </a:cubicBezTo>
                      <a:cubicBezTo>
                        <a:pt x="98" y="2"/>
                        <a:pt x="98" y="2"/>
                        <a:pt x="98" y="2"/>
                      </a:cubicBezTo>
                      <a:cubicBezTo>
                        <a:pt x="99" y="2"/>
                        <a:pt x="99" y="2"/>
                        <a:pt x="99" y="2"/>
                      </a:cubicBezTo>
                      <a:cubicBezTo>
                        <a:pt x="99" y="2"/>
                        <a:pt x="99" y="2"/>
                        <a:pt x="99" y="2"/>
                      </a:cubicBezTo>
                      <a:cubicBezTo>
                        <a:pt x="99" y="2"/>
                        <a:pt x="99" y="2"/>
                        <a:pt x="99" y="2"/>
                      </a:cubicBezTo>
                      <a:cubicBezTo>
                        <a:pt x="99" y="2"/>
                        <a:pt x="99" y="2"/>
                        <a:pt x="99" y="2"/>
                      </a:cubicBezTo>
                      <a:cubicBezTo>
                        <a:pt x="99" y="2"/>
                        <a:pt x="99" y="2"/>
                        <a:pt x="99" y="2"/>
                      </a:cubicBezTo>
                      <a:cubicBezTo>
                        <a:pt x="99" y="2"/>
                        <a:pt x="99" y="2"/>
                        <a:pt x="99" y="2"/>
                      </a:cubicBezTo>
                      <a:cubicBezTo>
                        <a:pt x="99" y="2"/>
                        <a:pt x="99" y="2"/>
                        <a:pt x="99" y="2"/>
                      </a:cubicBezTo>
                      <a:cubicBezTo>
                        <a:pt x="99" y="2"/>
                        <a:pt x="99" y="2"/>
                        <a:pt x="99" y="2"/>
                      </a:cubicBezTo>
                      <a:cubicBezTo>
                        <a:pt x="99" y="2"/>
                        <a:pt x="99" y="2"/>
                        <a:pt x="99" y="2"/>
                      </a:cubicBezTo>
                      <a:cubicBezTo>
                        <a:pt x="99" y="2"/>
                        <a:pt x="99" y="2"/>
                        <a:pt x="99" y="2"/>
                      </a:cubicBezTo>
                      <a:cubicBezTo>
                        <a:pt x="99" y="2"/>
                        <a:pt x="99" y="2"/>
                        <a:pt x="99" y="2"/>
                      </a:cubicBezTo>
                      <a:cubicBezTo>
                        <a:pt x="99" y="2"/>
                        <a:pt x="99" y="2"/>
                        <a:pt x="99" y="2"/>
                      </a:cubicBezTo>
                      <a:cubicBezTo>
                        <a:pt x="99" y="2"/>
                        <a:pt x="99" y="2"/>
                        <a:pt x="99" y="2"/>
                      </a:cubicBezTo>
                      <a:cubicBezTo>
                        <a:pt x="99" y="2"/>
                        <a:pt x="99" y="2"/>
                        <a:pt x="99" y="2"/>
                      </a:cubicBezTo>
                      <a:cubicBezTo>
                        <a:pt x="99" y="2"/>
                        <a:pt x="99" y="2"/>
                        <a:pt x="99" y="2"/>
                      </a:cubicBezTo>
                      <a:cubicBezTo>
                        <a:pt x="99" y="2"/>
                        <a:pt x="99" y="2"/>
                        <a:pt x="99" y="2"/>
                      </a:cubicBezTo>
                      <a:cubicBezTo>
                        <a:pt x="99" y="1"/>
                        <a:pt x="99" y="1"/>
                        <a:pt x="99" y="1"/>
                      </a:cubicBezTo>
                      <a:cubicBezTo>
                        <a:pt x="99" y="1"/>
                        <a:pt x="99" y="1"/>
                        <a:pt x="99" y="1"/>
                      </a:cubicBezTo>
                      <a:cubicBezTo>
                        <a:pt x="99" y="1"/>
                        <a:pt x="99" y="1"/>
                        <a:pt x="99" y="1"/>
                      </a:cubicBezTo>
                      <a:cubicBezTo>
                        <a:pt x="99" y="1"/>
                        <a:pt x="99" y="1"/>
                        <a:pt x="99" y="1"/>
                      </a:cubicBezTo>
                      <a:cubicBezTo>
                        <a:pt x="99" y="1"/>
                        <a:pt x="99" y="1"/>
                        <a:pt x="99" y="1"/>
                      </a:cubicBezTo>
                      <a:cubicBezTo>
                        <a:pt x="100" y="1"/>
                        <a:pt x="100" y="1"/>
                        <a:pt x="100" y="1"/>
                      </a:cubicBezTo>
                      <a:cubicBezTo>
                        <a:pt x="100" y="1"/>
                        <a:pt x="100" y="1"/>
                        <a:pt x="100" y="1"/>
                      </a:cubicBezTo>
                      <a:cubicBezTo>
                        <a:pt x="100" y="1"/>
                        <a:pt x="100" y="1"/>
                        <a:pt x="100" y="1"/>
                      </a:cubicBezTo>
                      <a:cubicBezTo>
                        <a:pt x="100" y="1"/>
                        <a:pt x="100" y="1"/>
                        <a:pt x="100" y="1"/>
                      </a:cubicBezTo>
                      <a:cubicBezTo>
                        <a:pt x="100" y="1"/>
                        <a:pt x="100" y="1"/>
                        <a:pt x="100" y="1"/>
                      </a:cubicBezTo>
                      <a:cubicBezTo>
                        <a:pt x="100" y="1"/>
                        <a:pt x="100" y="1"/>
                        <a:pt x="100" y="1"/>
                      </a:cubicBezTo>
                      <a:cubicBezTo>
                        <a:pt x="100" y="1"/>
                        <a:pt x="100" y="1"/>
                        <a:pt x="100" y="1"/>
                      </a:cubicBezTo>
                      <a:cubicBezTo>
                        <a:pt x="100" y="1"/>
                        <a:pt x="100" y="1"/>
                        <a:pt x="100" y="1"/>
                      </a:cubicBezTo>
                      <a:cubicBezTo>
                        <a:pt x="100" y="1"/>
                        <a:pt x="100" y="1"/>
                        <a:pt x="100" y="1"/>
                      </a:cubicBezTo>
                      <a:cubicBezTo>
                        <a:pt x="100" y="1"/>
                        <a:pt x="100" y="1"/>
                        <a:pt x="100" y="1"/>
                      </a:cubicBezTo>
                      <a:cubicBezTo>
                        <a:pt x="100" y="1"/>
                        <a:pt x="100" y="1"/>
                        <a:pt x="100" y="1"/>
                      </a:cubicBezTo>
                      <a:cubicBezTo>
                        <a:pt x="100" y="1"/>
                        <a:pt x="100" y="1"/>
                        <a:pt x="100" y="1"/>
                      </a:cubicBezTo>
                      <a:cubicBezTo>
                        <a:pt x="100" y="1"/>
                        <a:pt x="100" y="1"/>
                        <a:pt x="100" y="1"/>
                      </a:cubicBezTo>
                      <a:cubicBezTo>
                        <a:pt x="100" y="1"/>
                        <a:pt x="100" y="1"/>
                        <a:pt x="100" y="1"/>
                      </a:cubicBezTo>
                      <a:cubicBezTo>
                        <a:pt x="100" y="1"/>
                        <a:pt x="100" y="1"/>
                        <a:pt x="100" y="1"/>
                      </a:cubicBezTo>
                      <a:cubicBezTo>
                        <a:pt x="100" y="1"/>
                        <a:pt x="100" y="1"/>
                        <a:pt x="100" y="1"/>
                      </a:cubicBezTo>
                      <a:cubicBezTo>
                        <a:pt x="100" y="1"/>
                        <a:pt x="100" y="1"/>
                        <a:pt x="100" y="1"/>
                      </a:cubicBezTo>
                      <a:cubicBezTo>
                        <a:pt x="100" y="1"/>
                        <a:pt x="100" y="1"/>
                        <a:pt x="100" y="1"/>
                      </a:cubicBezTo>
                      <a:cubicBezTo>
                        <a:pt x="100" y="1"/>
                        <a:pt x="100" y="1"/>
                        <a:pt x="100" y="1"/>
                      </a:cubicBezTo>
                      <a:cubicBezTo>
                        <a:pt x="100" y="1"/>
                        <a:pt x="100" y="1"/>
                        <a:pt x="100" y="1"/>
                      </a:cubicBezTo>
                      <a:cubicBezTo>
                        <a:pt x="100" y="1"/>
                        <a:pt x="100" y="1"/>
                        <a:pt x="100" y="1"/>
                      </a:cubicBezTo>
                      <a:cubicBezTo>
                        <a:pt x="100" y="1"/>
                        <a:pt x="100" y="1"/>
                        <a:pt x="100" y="1"/>
                      </a:cubicBezTo>
                      <a:cubicBezTo>
                        <a:pt x="100" y="1"/>
                        <a:pt x="100" y="1"/>
                        <a:pt x="100" y="1"/>
                      </a:cubicBezTo>
                      <a:cubicBezTo>
                        <a:pt x="100" y="1"/>
                        <a:pt x="100" y="1"/>
                        <a:pt x="100" y="1"/>
                      </a:cubicBezTo>
                      <a:cubicBezTo>
                        <a:pt x="100" y="1"/>
                        <a:pt x="100" y="1"/>
                        <a:pt x="100" y="1"/>
                      </a:cubicBezTo>
                      <a:cubicBezTo>
                        <a:pt x="100" y="1"/>
                        <a:pt x="100" y="1"/>
                        <a:pt x="100" y="1"/>
                      </a:cubicBezTo>
                      <a:cubicBezTo>
                        <a:pt x="100" y="1"/>
                        <a:pt x="100" y="1"/>
                        <a:pt x="100" y="1"/>
                      </a:cubicBezTo>
                      <a:cubicBezTo>
                        <a:pt x="100" y="1"/>
                        <a:pt x="100" y="1"/>
                        <a:pt x="100" y="1"/>
                      </a:cubicBezTo>
                      <a:cubicBezTo>
                        <a:pt x="100" y="1"/>
                        <a:pt x="100" y="1"/>
                        <a:pt x="100" y="1"/>
                      </a:cubicBezTo>
                      <a:cubicBezTo>
                        <a:pt x="100" y="1"/>
                        <a:pt x="101" y="3"/>
                        <a:pt x="103" y="4"/>
                      </a:cubicBezTo>
                      <a:cubicBezTo>
                        <a:pt x="103" y="4"/>
                        <a:pt x="103" y="4"/>
                        <a:pt x="103" y="4"/>
                      </a:cubicBezTo>
                      <a:cubicBezTo>
                        <a:pt x="105" y="4"/>
                        <a:pt x="105" y="4"/>
                        <a:pt x="105" y="4"/>
                      </a:cubicBezTo>
                      <a:cubicBezTo>
                        <a:pt x="105" y="4"/>
                        <a:pt x="105" y="4"/>
                        <a:pt x="105" y="4"/>
                      </a:cubicBezTo>
                      <a:cubicBezTo>
                        <a:pt x="105" y="4"/>
                        <a:pt x="106" y="3"/>
                        <a:pt x="107" y="3"/>
                      </a:cubicBezTo>
                      <a:cubicBezTo>
                        <a:pt x="109" y="3"/>
                        <a:pt x="110" y="3"/>
                        <a:pt x="111" y="3"/>
                      </a:cubicBezTo>
                      <a:cubicBezTo>
                        <a:pt x="113" y="3"/>
                        <a:pt x="114" y="5"/>
                        <a:pt x="114" y="5"/>
                      </a:cubicBezTo>
                      <a:cubicBezTo>
                        <a:pt x="117" y="8"/>
                        <a:pt x="117" y="8"/>
                        <a:pt x="117" y="8"/>
                      </a:cubicBezTo>
                      <a:cubicBezTo>
                        <a:pt x="117" y="8"/>
                        <a:pt x="118" y="10"/>
                        <a:pt x="118" y="11"/>
                      </a:cubicBezTo>
                      <a:cubicBezTo>
                        <a:pt x="119" y="12"/>
                        <a:pt x="119" y="13"/>
                        <a:pt x="119" y="13"/>
                      </a:cubicBezTo>
                      <a:cubicBezTo>
                        <a:pt x="119" y="13"/>
                        <a:pt x="119" y="13"/>
                        <a:pt x="119" y="13"/>
                      </a:cubicBezTo>
                      <a:cubicBezTo>
                        <a:pt x="120" y="13"/>
                        <a:pt x="127" y="16"/>
                        <a:pt x="128" y="16"/>
                      </a:cubicBezTo>
                      <a:cubicBezTo>
                        <a:pt x="128" y="16"/>
                        <a:pt x="129" y="16"/>
                        <a:pt x="129" y="16"/>
                      </a:cubicBezTo>
                      <a:cubicBezTo>
                        <a:pt x="129" y="14"/>
                        <a:pt x="128" y="13"/>
                        <a:pt x="130" y="12"/>
                      </a:cubicBezTo>
                      <a:cubicBezTo>
                        <a:pt x="131" y="12"/>
                        <a:pt x="132" y="14"/>
                        <a:pt x="132" y="12"/>
                      </a:cubicBezTo>
                      <a:cubicBezTo>
                        <a:pt x="132" y="10"/>
                        <a:pt x="133" y="11"/>
                        <a:pt x="132" y="9"/>
                      </a:cubicBezTo>
                      <a:close/>
                    </a:path>
                  </a:pathLst>
                </a:custGeom>
                <a:solidFill>
                  <a:srgbClr val="E6EFF1"/>
                </a:solidFill>
                <a:ln w="12700" cap="rnd" cmpd="sng">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Lato Light"/>
                  </a:endParaRPr>
                </a:p>
              </p:txBody>
            </p:sp>
            <p:sp>
              <p:nvSpPr>
                <p:cNvPr id="20" name="Freeform 63">
                  <a:extLst>
                    <a:ext uri="{FF2B5EF4-FFF2-40B4-BE49-F238E27FC236}">
                      <a16:creationId xmlns:a16="http://schemas.microsoft.com/office/drawing/2014/main" id="{51B43069-AAF2-5338-BFD5-9A6BF70C60FE}"/>
                    </a:ext>
                  </a:extLst>
                </p:cNvPr>
                <p:cNvSpPr>
                  <a:spLocks noEditPoints="1"/>
                </p:cNvSpPr>
                <p:nvPr/>
              </p:nvSpPr>
              <p:spPr bwMode="auto">
                <a:xfrm>
                  <a:off x="3743192" y="2924609"/>
                  <a:ext cx="407037" cy="467263"/>
                </a:xfrm>
                <a:custGeom>
                  <a:avLst/>
                  <a:gdLst>
                    <a:gd name="T0" fmla="*/ 71 w 141"/>
                    <a:gd name="T1" fmla="*/ 5 h 167"/>
                    <a:gd name="T2" fmla="*/ 67 w 141"/>
                    <a:gd name="T3" fmla="*/ 47 h 167"/>
                    <a:gd name="T4" fmla="*/ 87 w 141"/>
                    <a:gd name="T5" fmla="*/ 73 h 167"/>
                    <a:gd name="T6" fmla="*/ 76 w 141"/>
                    <a:gd name="T7" fmla="*/ 89 h 167"/>
                    <a:gd name="T8" fmla="*/ 66 w 141"/>
                    <a:gd name="T9" fmla="*/ 95 h 167"/>
                    <a:gd name="T10" fmla="*/ 60 w 141"/>
                    <a:gd name="T11" fmla="*/ 106 h 167"/>
                    <a:gd name="T12" fmla="*/ 51 w 141"/>
                    <a:gd name="T13" fmla="*/ 115 h 167"/>
                    <a:gd name="T14" fmla="*/ 47 w 141"/>
                    <a:gd name="T15" fmla="*/ 129 h 167"/>
                    <a:gd name="T16" fmla="*/ 44 w 141"/>
                    <a:gd name="T17" fmla="*/ 146 h 167"/>
                    <a:gd name="T18" fmla="*/ 36 w 141"/>
                    <a:gd name="T19" fmla="*/ 157 h 167"/>
                    <a:gd name="T20" fmla="*/ 17 w 141"/>
                    <a:gd name="T21" fmla="*/ 140 h 167"/>
                    <a:gd name="T22" fmla="*/ 4 w 141"/>
                    <a:gd name="T23" fmla="*/ 120 h 167"/>
                    <a:gd name="T24" fmla="*/ 8 w 141"/>
                    <a:gd name="T25" fmla="*/ 95 h 167"/>
                    <a:gd name="T26" fmla="*/ 6 w 141"/>
                    <a:gd name="T27" fmla="*/ 60 h 167"/>
                    <a:gd name="T28" fmla="*/ 18 w 141"/>
                    <a:gd name="T29" fmla="*/ 62 h 167"/>
                    <a:gd name="T30" fmla="*/ 24 w 141"/>
                    <a:gd name="T31" fmla="*/ 44 h 167"/>
                    <a:gd name="T32" fmla="*/ 25 w 141"/>
                    <a:gd name="T33" fmla="*/ 54 h 167"/>
                    <a:gd name="T34" fmla="*/ 33 w 141"/>
                    <a:gd name="T35" fmla="*/ 60 h 167"/>
                    <a:gd name="T36" fmla="*/ 36 w 141"/>
                    <a:gd name="T37" fmla="*/ 56 h 167"/>
                    <a:gd name="T38" fmla="*/ 47 w 141"/>
                    <a:gd name="T39" fmla="*/ 40 h 167"/>
                    <a:gd name="T40" fmla="*/ 34 w 141"/>
                    <a:gd name="T41" fmla="*/ 40 h 167"/>
                    <a:gd name="T42" fmla="*/ 18 w 141"/>
                    <a:gd name="T43" fmla="*/ 46 h 167"/>
                    <a:gd name="T44" fmla="*/ 17 w 141"/>
                    <a:gd name="T45" fmla="*/ 59 h 167"/>
                    <a:gd name="T46" fmla="*/ 5 w 141"/>
                    <a:gd name="T47" fmla="*/ 51 h 167"/>
                    <a:gd name="T48" fmla="*/ 24 w 141"/>
                    <a:gd name="T49" fmla="*/ 33 h 167"/>
                    <a:gd name="T50" fmla="*/ 11 w 141"/>
                    <a:gd name="T51" fmla="*/ 144 h 167"/>
                    <a:gd name="T52" fmla="*/ 68 w 141"/>
                    <a:gd name="T53" fmla="*/ 112 h 167"/>
                    <a:gd name="T54" fmla="*/ 68 w 141"/>
                    <a:gd name="T55" fmla="*/ 112 h 167"/>
                    <a:gd name="T56" fmla="*/ 107 w 141"/>
                    <a:gd name="T57" fmla="*/ 153 h 167"/>
                    <a:gd name="T58" fmla="*/ 105 w 141"/>
                    <a:gd name="T59" fmla="*/ 151 h 167"/>
                    <a:gd name="T60" fmla="*/ 128 w 141"/>
                    <a:gd name="T61" fmla="*/ 143 h 167"/>
                    <a:gd name="T62" fmla="*/ 124 w 141"/>
                    <a:gd name="T63" fmla="*/ 138 h 167"/>
                    <a:gd name="T64" fmla="*/ 132 w 141"/>
                    <a:gd name="T65" fmla="*/ 124 h 167"/>
                    <a:gd name="T66" fmla="*/ 139 w 141"/>
                    <a:gd name="T67" fmla="*/ 110 h 167"/>
                    <a:gd name="T68" fmla="*/ 133 w 141"/>
                    <a:gd name="T69" fmla="*/ 87 h 167"/>
                    <a:gd name="T70" fmla="*/ 119 w 141"/>
                    <a:gd name="T71" fmla="*/ 97 h 167"/>
                    <a:gd name="T72" fmla="*/ 111 w 141"/>
                    <a:gd name="T73" fmla="*/ 108 h 167"/>
                    <a:gd name="T74" fmla="*/ 113 w 141"/>
                    <a:gd name="T75" fmla="*/ 95 h 167"/>
                    <a:gd name="T76" fmla="*/ 105 w 141"/>
                    <a:gd name="T77" fmla="*/ 99 h 167"/>
                    <a:gd name="T78" fmla="*/ 88 w 141"/>
                    <a:gd name="T79" fmla="*/ 108 h 167"/>
                    <a:gd name="T80" fmla="*/ 96 w 141"/>
                    <a:gd name="T81" fmla="*/ 127 h 167"/>
                    <a:gd name="T82" fmla="*/ 112 w 141"/>
                    <a:gd name="T83" fmla="*/ 136 h 167"/>
                    <a:gd name="T84" fmla="*/ 125 w 141"/>
                    <a:gd name="T85" fmla="*/ 147 h 167"/>
                    <a:gd name="T86" fmla="*/ 132 w 141"/>
                    <a:gd name="T87" fmla="*/ 149 h 167"/>
                    <a:gd name="T88" fmla="*/ 128 w 141"/>
                    <a:gd name="T89" fmla="*/ 147 h 167"/>
                    <a:gd name="T90" fmla="*/ 111 w 141"/>
                    <a:gd name="T91" fmla="*/ 154 h 167"/>
                    <a:gd name="T92" fmla="*/ 93 w 141"/>
                    <a:gd name="T93" fmla="*/ 154 h 167"/>
                    <a:gd name="T94" fmla="*/ 106 w 141"/>
                    <a:gd name="T95" fmla="*/ 167 h 167"/>
                    <a:gd name="T96" fmla="*/ 77 w 141"/>
                    <a:gd name="T97" fmla="*/ 121 h 167"/>
                    <a:gd name="T98" fmla="*/ 52 w 141"/>
                    <a:gd name="T99" fmla="*/ 119 h 167"/>
                    <a:gd name="T100" fmla="*/ 61 w 141"/>
                    <a:gd name="T101" fmla="*/ 139 h 167"/>
                    <a:gd name="T102" fmla="*/ 83 w 141"/>
                    <a:gd name="T103" fmla="*/ 143 h 167"/>
                    <a:gd name="T104" fmla="*/ 84 w 141"/>
                    <a:gd name="T105" fmla="*/ 120 h 167"/>
                    <a:gd name="T106" fmla="*/ 74 w 141"/>
                    <a:gd name="T107" fmla="*/ 115 h 167"/>
                    <a:gd name="T108" fmla="*/ 78 w 141"/>
                    <a:gd name="T109" fmla="*/ 99 h 167"/>
                    <a:gd name="T110" fmla="*/ 75 w 141"/>
                    <a:gd name="T111" fmla="*/ 107 h 167"/>
                    <a:gd name="T112" fmla="*/ 89 w 141"/>
                    <a:gd name="T113" fmla="*/ 142 h 167"/>
                    <a:gd name="T114" fmla="*/ 80 w 141"/>
                    <a:gd name="T115" fmla="*/ 157 h 167"/>
                    <a:gd name="T116" fmla="*/ 66 w 141"/>
                    <a:gd name="T117" fmla="*/ 150 h 167"/>
                    <a:gd name="T118" fmla="*/ 67 w 141"/>
                    <a:gd name="T119" fmla="*/ 150 h 167"/>
                    <a:gd name="T120" fmla="*/ 61 w 141"/>
                    <a:gd name="T121" fmla="*/ 155 h 167"/>
                    <a:gd name="T122" fmla="*/ 83 w 141"/>
                    <a:gd name="T123" fmla="*/ 25 h 167"/>
                    <a:gd name="T124" fmla="*/ 85 w 141"/>
                    <a:gd name="T125" fmla="*/ 23 h 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41" h="167">
                      <a:moveTo>
                        <a:pt x="38" y="33"/>
                      </a:moveTo>
                      <a:cubicBezTo>
                        <a:pt x="44" y="30"/>
                        <a:pt x="44" y="30"/>
                        <a:pt x="44" y="30"/>
                      </a:cubicBezTo>
                      <a:cubicBezTo>
                        <a:pt x="47" y="24"/>
                        <a:pt x="47" y="24"/>
                        <a:pt x="47" y="24"/>
                      </a:cubicBezTo>
                      <a:cubicBezTo>
                        <a:pt x="51" y="17"/>
                        <a:pt x="51" y="17"/>
                        <a:pt x="51" y="17"/>
                      </a:cubicBezTo>
                      <a:cubicBezTo>
                        <a:pt x="53" y="14"/>
                        <a:pt x="53" y="14"/>
                        <a:pt x="53" y="14"/>
                      </a:cubicBezTo>
                      <a:cubicBezTo>
                        <a:pt x="55" y="9"/>
                        <a:pt x="55" y="9"/>
                        <a:pt x="55" y="9"/>
                      </a:cubicBezTo>
                      <a:cubicBezTo>
                        <a:pt x="61" y="7"/>
                        <a:pt x="61" y="7"/>
                        <a:pt x="61" y="7"/>
                      </a:cubicBezTo>
                      <a:cubicBezTo>
                        <a:pt x="61" y="7"/>
                        <a:pt x="65" y="6"/>
                        <a:pt x="66" y="6"/>
                      </a:cubicBezTo>
                      <a:cubicBezTo>
                        <a:pt x="67" y="5"/>
                        <a:pt x="73" y="0"/>
                        <a:pt x="73" y="0"/>
                      </a:cubicBezTo>
                      <a:cubicBezTo>
                        <a:pt x="74" y="0"/>
                        <a:pt x="74" y="0"/>
                        <a:pt x="74" y="0"/>
                      </a:cubicBezTo>
                      <a:cubicBezTo>
                        <a:pt x="71" y="5"/>
                        <a:pt x="71" y="5"/>
                        <a:pt x="71" y="5"/>
                      </a:cubicBezTo>
                      <a:cubicBezTo>
                        <a:pt x="71" y="8"/>
                        <a:pt x="71" y="8"/>
                        <a:pt x="71" y="8"/>
                      </a:cubicBezTo>
                      <a:cubicBezTo>
                        <a:pt x="71" y="10"/>
                        <a:pt x="71" y="10"/>
                        <a:pt x="71" y="10"/>
                      </a:cubicBezTo>
                      <a:cubicBezTo>
                        <a:pt x="72" y="14"/>
                        <a:pt x="72" y="14"/>
                        <a:pt x="72" y="14"/>
                      </a:cubicBezTo>
                      <a:cubicBezTo>
                        <a:pt x="73" y="15"/>
                        <a:pt x="73" y="15"/>
                        <a:pt x="73" y="15"/>
                      </a:cubicBezTo>
                      <a:cubicBezTo>
                        <a:pt x="73" y="19"/>
                        <a:pt x="73" y="19"/>
                        <a:pt x="73" y="19"/>
                      </a:cubicBezTo>
                      <a:cubicBezTo>
                        <a:pt x="73" y="23"/>
                        <a:pt x="73" y="23"/>
                        <a:pt x="73" y="23"/>
                      </a:cubicBezTo>
                      <a:cubicBezTo>
                        <a:pt x="73" y="23"/>
                        <a:pt x="76" y="25"/>
                        <a:pt x="75" y="26"/>
                      </a:cubicBezTo>
                      <a:cubicBezTo>
                        <a:pt x="73" y="27"/>
                        <a:pt x="71" y="30"/>
                        <a:pt x="71" y="30"/>
                      </a:cubicBezTo>
                      <a:cubicBezTo>
                        <a:pt x="70" y="36"/>
                        <a:pt x="70" y="36"/>
                        <a:pt x="70" y="36"/>
                      </a:cubicBezTo>
                      <a:cubicBezTo>
                        <a:pt x="66" y="41"/>
                        <a:pt x="66" y="41"/>
                        <a:pt x="66" y="41"/>
                      </a:cubicBezTo>
                      <a:cubicBezTo>
                        <a:pt x="67" y="47"/>
                        <a:pt x="67" y="47"/>
                        <a:pt x="67" y="47"/>
                      </a:cubicBezTo>
                      <a:cubicBezTo>
                        <a:pt x="68" y="52"/>
                        <a:pt x="68" y="52"/>
                        <a:pt x="68" y="52"/>
                      </a:cubicBezTo>
                      <a:cubicBezTo>
                        <a:pt x="67" y="56"/>
                        <a:pt x="67" y="56"/>
                        <a:pt x="67" y="56"/>
                      </a:cubicBezTo>
                      <a:cubicBezTo>
                        <a:pt x="70" y="59"/>
                        <a:pt x="70" y="59"/>
                        <a:pt x="70" y="59"/>
                      </a:cubicBezTo>
                      <a:cubicBezTo>
                        <a:pt x="69" y="61"/>
                        <a:pt x="69" y="61"/>
                        <a:pt x="69" y="61"/>
                      </a:cubicBezTo>
                      <a:cubicBezTo>
                        <a:pt x="70" y="64"/>
                        <a:pt x="70" y="64"/>
                        <a:pt x="70" y="64"/>
                      </a:cubicBezTo>
                      <a:cubicBezTo>
                        <a:pt x="73" y="66"/>
                        <a:pt x="73" y="66"/>
                        <a:pt x="73" y="66"/>
                      </a:cubicBezTo>
                      <a:cubicBezTo>
                        <a:pt x="73" y="66"/>
                        <a:pt x="75" y="66"/>
                        <a:pt x="76" y="66"/>
                      </a:cubicBezTo>
                      <a:cubicBezTo>
                        <a:pt x="77" y="66"/>
                        <a:pt x="80" y="65"/>
                        <a:pt x="81" y="65"/>
                      </a:cubicBezTo>
                      <a:cubicBezTo>
                        <a:pt x="82" y="65"/>
                        <a:pt x="84" y="66"/>
                        <a:pt x="84" y="66"/>
                      </a:cubicBezTo>
                      <a:cubicBezTo>
                        <a:pt x="87" y="70"/>
                        <a:pt x="87" y="70"/>
                        <a:pt x="87" y="70"/>
                      </a:cubicBezTo>
                      <a:cubicBezTo>
                        <a:pt x="87" y="73"/>
                        <a:pt x="87" y="73"/>
                        <a:pt x="87" y="73"/>
                      </a:cubicBezTo>
                      <a:cubicBezTo>
                        <a:pt x="87" y="73"/>
                        <a:pt x="86" y="75"/>
                        <a:pt x="86" y="76"/>
                      </a:cubicBezTo>
                      <a:cubicBezTo>
                        <a:pt x="85" y="77"/>
                        <a:pt x="84" y="79"/>
                        <a:pt x="84" y="79"/>
                      </a:cubicBezTo>
                      <a:cubicBezTo>
                        <a:pt x="82" y="81"/>
                        <a:pt x="82" y="81"/>
                        <a:pt x="82" y="81"/>
                      </a:cubicBezTo>
                      <a:cubicBezTo>
                        <a:pt x="81" y="84"/>
                        <a:pt x="81" y="84"/>
                        <a:pt x="81" y="84"/>
                      </a:cubicBezTo>
                      <a:cubicBezTo>
                        <a:pt x="80" y="86"/>
                        <a:pt x="80" y="86"/>
                        <a:pt x="80" y="86"/>
                      </a:cubicBezTo>
                      <a:cubicBezTo>
                        <a:pt x="80" y="86"/>
                        <a:pt x="80" y="86"/>
                        <a:pt x="80" y="86"/>
                      </a:cubicBezTo>
                      <a:cubicBezTo>
                        <a:pt x="78" y="84"/>
                        <a:pt x="78" y="84"/>
                        <a:pt x="78" y="84"/>
                      </a:cubicBezTo>
                      <a:cubicBezTo>
                        <a:pt x="78" y="84"/>
                        <a:pt x="78" y="81"/>
                        <a:pt x="77" y="82"/>
                      </a:cubicBezTo>
                      <a:cubicBezTo>
                        <a:pt x="76" y="82"/>
                        <a:pt x="75" y="84"/>
                        <a:pt x="75" y="84"/>
                      </a:cubicBezTo>
                      <a:cubicBezTo>
                        <a:pt x="76" y="86"/>
                        <a:pt x="76" y="86"/>
                        <a:pt x="76" y="86"/>
                      </a:cubicBezTo>
                      <a:cubicBezTo>
                        <a:pt x="76" y="86"/>
                        <a:pt x="77" y="89"/>
                        <a:pt x="76" y="89"/>
                      </a:cubicBezTo>
                      <a:cubicBezTo>
                        <a:pt x="75" y="89"/>
                        <a:pt x="74" y="89"/>
                        <a:pt x="74" y="89"/>
                      </a:cubicBezTo>
                      <a:cubicBezTo>
                        <a:pt x="73" y="85"/>
                        <a:pt x="73" y="85"/>
                        <a:pt x="73" y="85"/>
                      </a:cubicBezTo>
                      <a:cubicBezTo>
                        <a:pt x="70" y="84"/>
                        <a:pt x="70" y="84"/>
                        <a:pt x="70" y="84"/>
                      </a:cubicBezTo>
                      <a:cubicBezTo>
                        <a:pt x="72" y="80"/>
                        <a:pt x="72" y="80"/>
                        <a:pt x="72" y="80"/>
                      </a:cubicBezTo>
                      <a:cubicBezTo>
                        <a:pt x="70" y="79"/>
                        <a:pt x="70" y="79"/>
                        <a:pt x="70" y="79"/>
                      </a:cubicBezTo>
                      <a:cubicBezTo>
                        <a:pt x="70" y="79"/>
                        <a:pt x="69" y="79"/>
                        <a:pt x="68" y="80"/>
                      </a:cubicBezTo>
                      <a:cubicBezTo>
                        <a:pt x="68" y="81"/>
                        <a:pt x="67" y="85"/>
                        <a:pt x="67" y="85"/>
                      </a:cubicBezTo>
                      <a:cubicBezTo>
                        <a:pt x="66" y="89"/>
                        <a:pt x="66" y="89"/>
                        <a:pt x="66" y="89"/>
                      </a:cubicBezTo>
                      <a:cubicBezTo>
                        <a:pt x="66" y="89"/>
                        <a:pt x="67" y="90"/>
                        <a:pt x="67" y="91"/>
                      </a:cubicBezTo>
                      <a:cubicBezTo>
                        <a:pt x="67" y="92"/>
                        <a:pt x="66" y="93"/>
                        <a:pt x="66" y="93"/>
                      </a:cubicBezTo>
                      <a:cubicBezTo>
                        <a:pt x="66" y="93"/>
                        <a:pt x="66" y="94"/>
                        <a:pt x="66" y="95"/>
                      </a:cubicBezTo>
                      <a:cubicBezTo>
                        <a:pt x="66" y="95"/>
                        <a:pt x="67" y="97"/>
                        <a:pt x="67" y="98"/>
                      </a:cubicBezTo>
                      <a:cubicBezTo>
                        <a:pt x="67" y="98"/>
                        <a:pt x="67" y="99"/>
                        <a:pt x="66" y="99"/>
                      </a:cubicBezTo>
                      <a:cubicBezTo>
                        <a:pt x="66" y="100"/>
                        <a:pt x="66" y="100"/>
                        <a:pt x="66" y="101"/>
                      </a:cubicBezTo>
                      <a:cubicBezTo>
                        <a:pt x="65" y="101"/>
                        <a:pt x="64" y="102"/>
                        <a:pt x="64" y="102"/>
                      </a:cubicBezTo>
                      <a:cubicBezTo>
                        <a:pt x="64" y="102"/>
                        <a:pt x="62" y="103"/>
                        <a:pt x="62" y="103"/>
                      </a:cubicBezTo>
                      <a:cubicBezTo>
                        <a:pt x="62" y="103"/>
                        <a:pt x="61" y="102"/>
                        <a:pt x="60" y="102"/>
                      </a:cubicBezTo>
                      <a:cubicBezTo>
                        <a:pt x="59" y="102"/>
                        <a:pt x="59" y="101"/>
                        <a:pt x="58" y="102"/>
                      </a:cubicBezTo>
                      <a:cubicBezTo>
                        <a:pt x="57" y="103"/>
                        <a:pt x="57" y="103"/>
                        <a:pt x="57" y="103"/>
                      </a:cubicBezTo>
                      <a:cubicBezTo>
                        <a:pt x="58" y="104"/>
                        <a:pt x="58" y="104"/>
                        <a:pt x="58" y="104"/>
                      </a:cubicBezTo>
                      <a:cubicBezTo>
                        <a:pt x="60" y="104"/>
                        <a:pt x="60" y="104"/>
                        <a:pt x="60" y="104"/>
                      </a:cubicBezTo>
                      <a:cubicBezTo>
                        <a:pt x="60" y="106"/>
                        <a:pt x="60" y="106"/>
                        <a:pt x="60" y="106"/>
                      </a:cubicBezTo>
                      <a:cubicBezTo>
                        <a:pt x="60" y="106"/>
                        <a:pt x="61" y="106"/>
                        <a:pt x="61" y="107"/>
                      </a:cubicBezTo>
                      <a:cubicBezTo>
                        <a:pt x="60" y="108"/>
                        <a:pt x="59" y="109"/>
                        <a:pt x="59" y="109"/>
                      </a:cubicBezTo>
                      <a:cubicBezTo>
                        <a:pt x="57" y="111"/>
                        <a:pt x="57" y="111"/>
                        <a:pt x="57" y="111"/>
                      </a:cubicBezTo>
                      <a:cubicBezTo>
                        <a:pt x="55" y="112"/>
                        <a:pt x="55" y="112"/>
                        <a:pt x="55" y="112"/>
                      </a:cubicBezTo>
                      <a:cubicBezTo>
                        <a:pt x="55" y="112"/>
                        <a:pt x="53" y="111"/>
                        <a:pt x="53" y="112"/>
                      </a:cubicBezTo>
                      <a:cubicBezTo>
                        <a:pt x="52" y="112"/>
                        <a:pt x="51" y="112"/>
                        <a:pt x="51" y="112"/>
                      </a:cubicBezTo>
                      <a:cubicBezTo>
                        <a:pt x="51" y="113"/>
                        <a:pt x="53" y="115"/>
                        <a:pt x="53" y="115"/>
                      </a:cubicBezTo>
                      <a:cubicBezTo>
                        <a:pt x="49" y="111"/>
                        <a:pt x="49" y="111"/>
                        <a:pt x="49" y="111"/>
                      </a:cubicBezTo>
                      <a:cubicBezTo>
                        <a:pt x="47" y="111"/>
                        <a:pt x="47" y="111"/>
                        <a:pt x="47" y="111"/>
                      </a:cubicBezTo>
                      <a:cubicBezTo>
                        <a:pt x="50" y="113"/>
                        <a:pt x="50" y="113"/>
                        <a:pt x="50" y="113"/>
                      </a:cubicBezTo>
                      <a:cubicBezTo>
                        <a:pt x="51" y="115"/>
                        <a:pt x="51" y="115"/>
                        <a:pt x="51" y="115"/>
                      </a:cubicBezTo>
                      <a:cubicBezTo>
                        <a:pt x="53" y="116"/>
                        <a:pt x="53" y="116"/>
                        <a:pt x="53" y="116"/>
                      </a:cubicBezTo>
                      <a:cubicBezTo>
                        <a:pt x="52" y="117"/>
                        <a:pt x="52" y="117"/>
                        <a:pt x="52" y="117"/>
                      </a:cubicBezTo>
                      <a:cubicBezTo>
                        <a:pt x="51" y="118"/>
                        <a:pt x="51" y="118"/>
                        <a:pt x="51" y="118"/>
                      </a:cubicBezTo>
                      <a:cubicBezTo>
                        <a:pt x="49" y="120"/>
                        <a:pt x="49" y="120"/>
                        <a:pt x="49" y="120"/>
                      </a:cubicBezTo>
                      <a:cubicBezTo>
                        <a:pt x="49" y="120"/>
                        <a:pt x="48" y="121"/>
                        <a:pt x="47" y="121"/>
                      </a:cubicBezTo>
                      <a:cubicBezTo>
                        <a:pt x="47" y="121"/>
                        <a:pt x="44" y="121"/>
                        <a:pt x="44" y="121"/>
                      </a:cubicBezTo>
                      <a:cubicBezTo>
                        <a:pt x="45" y="122"/>
                        <a:pt x="45" y="122"/>
                        <a:pt x="45" y="122"/>
                      </a:cubicBezTo>
                      <a:cubicBezTo>
                        <a:pt x="47" y="123"/>
                        <a:pt x="47" y="123"/>
                        <a:pt x="47" y="123"/>
                      </a:cubicBezTo>
                      <a:cubicBezTo>
                        <a:pt x="47" y="123"/>
                        <a:pt x="48" y="122"/>
                        <a:pt x="48" y="123"/>
                      </a:cubicBezTo>
                      <a:cubicBezTo>
                        <a:pt x="47" y="123"/>
                        <a:pt x="47" y="123"/>
                        <a:pt x="47" y="124"/>
                      </a:cubicBezTo>
                      <a:cubicBezTo>
                        <a:pt x="47" y="126"/>
                        <a:pt x="47" y="129"/>
                        <a:pt x="47" y="129"/>
                      </a:cubicBezTo>
                      <a:cubicBezTo>
                        <a:pt x="49" y="132"/>
                        <a:pt x="49" y="132"/>
                        <a:pt x="49" y="132"/>
                      </a:cubicBezTo>
                      <a:cubicBezTo>
                        <a:pt x="50" y="133"/>
                        <a:pt x="50" y="133"/>
                        <a:pt x="50" y="133"/>
                      </a:cubicBezTo>
                      <a:cubicBezTo>
                        <a:pt x="50" y="133"/>
                        <a:pt x="50" y="133"/>
                        <a:pt x="50" y="134"/>
                      </a:cubicBezTo>
                      <a:cubicBezTo>
                        <a:pt x="50" y="134"/>
                        <a:pt x="50" y="135"/>
                        <a:pt x="50" y="135"/>
                      </a:cubicBezTo>
                      <a:cubicBezTo>
                        <a:pt x="50" y="137"/>
                        <a:pt x="50" y="137"/>
                        <a:pt x="50" y="137"/>
                      </a:cubicBezTo>
                      <a:cubicBezTo>
                        <a:pt x="50" y="137"/>
                        <a:pt x="49" y="138"/>
                        <a:pt x="48" y="138"/>
                      </a:cubicBezTo>
                      <a:cubicBezTo>
                        <a:pt x="48" y="138"/>
                        <a:pt x="44" y="139"/>
                        <a:pt x="44" y="139"/>
                      </a:cubicBezTo>
                      <a:cubicBezTo>
                        <a:pt x="43" y="141"/>
                        <a:pt x="43" y="141"/>
                        <a:pt x="43" y="141"/>
                      </a:cubicBezTo>
                      <a:cubicBezTo>
                        <a:pt x="45" y="142"/>
                        <a:pt x="45" y="142"/>
                        <a:pt x="45" y="142"/>
                      </a:cubicBezTo>
                      <a:cubicBezTo>
                        <a:pt x="45" y="142"/>
                        <a:pt x="45" y="144"/>
                        <a:pt x="45" y="144"/>
                      </a:cubicBezTo>
                      <a:cubicBezTo>
                        <a:pt x="45" y="145"/>
                        <a:pt x="44" y="146"/>
                        <a:pt x="44" y="146"/>
                      </a:cubicBezTo>
                      <a:cubicBezTo>
                        <a:pt x="46" y="146"/>
                        <a:pt x="46" y="146"/>
                        <a:pt x="46" y="146"/>
                      </a:cubicBezTo>
                      <a:cubicBezTo>
                        <a:pt x="49" y="147"/>
                        <a:pt x="49" y="147"/>
                        <a:pt x="49" y="147"/>
                      </a:cubicBezTo>
                      <a:cubicBezTo>
                        <a:pt x="53" y="152"/>
                        <a:pt x="53" y="152"/>
                        <a:pt x="53" y="152"/>
                      </a:cubicBezTo>
                      <a:cubicBezTo>
                        <a:pt x="52" y="156"/>
                        <a:pt x="52" y="156"/>
                        <a:pt x="52" y="156"/>
                      </a:cubicBezTo>
                      <a:cubicBezTo>
                        <a:pt x="50" y="158"/>
                        <a:pt x="50" y="158"/>
                        <a:pt x="50" y="158"/>
                      </a:cubicBezTo>
                      <a:cubicBezTo>
                        <a:pt x="48" y="154"/>
                        <a:pt x="48" y="154"/>
                        <a:pt x="48" y="154"/>
                      </a:cubicBezTo>
                      <a:cubicBezTo>
                        <a:pt x="48" y="154"/>
                        <a:pt x="47" y="154"/>
                        <a:pt x="47" y="155"/>
                      </a:cubicBezTo>
                      <a:cubicBezTo>
                        <a:pt x="46" y="155"/>
                        <a:pt x="43" y="157"/>
                        <a:pt x="43" y="157"/>
                      </a:cubicBezTo>
                      <a:cubicBezTo>
                        <a:pt x="43" y="157"/>
                        <a:pt x="41" y="158"/>
                        <a:pt x="40" y="158"/>
                      </a:cubicBezTo>
                      <a:cubicBezTo>
                        <a:pt x="40" y="158"/>
                        <a:pt x="39" y="158"/>
                        <a:pt x="39" y="158"/>
                      </a:cubicBezTo>
                      <a:cubicBezTo>
                        <a:pt x="36" y="157"/>
                        <a:pt x="36" y="157"/>
                        <a:pt x="36" y="157"/>
                      </a:cubicBezTo>
                      <a:cubicBezTo>
                        <a:pt x="32" y="155"/>
                        <a:pt x="32" y="155"/>
                        <a:pt x="32" y="155"/>
                      </a:cubicBezTo>
                      <a:cubicBezTo>
                        <a:pt x="32" y="155"/>
                        <a:pt x="30" y="154"/>
                        <a:pt x="29" y="154"/>
                      </a:cubicBezTo>
                      <a:cubicBezTo>
                        <a:pt x="28" y="154"/>
                        <a:pt x="23" y="152"/>
                        <a:pt x="23" y="152"/>
                      </a:cubicBezTo>
                      <a:cubicBezTo>
                        <a:pt x="21" y="153"/>
                        <a:pt x="21" y="153"/>
                        <a:pt x="21" y="153"/>
                      </a:cubicBezTo>
                      <a:cubicBezTo>
                        <a:pt x="18" y="153"/>
                        <a:pt x="18" y="153"/>
                        <a:pt x="18" y="153"/>
                      </a:cubicBezTo>
                      <a:cubicBezTo>
                        <a:pt x="16" y="152"/>
                        <a:pt x="16" y="152"/>
                        <a:pt x="16" y="152"/>
                      </a:cubicBezTo>
                      <a:cubicBezTo>
                        <a:pt x="14" y="149"/>
                        <a:pt x="14" y="149"/>
                        <a:pt x="14" y="149"/>
                      </a:cubicBezTo>
                      <a:cubicBezTo>
                        <a:pt x="14" y="149"/>
                        <a:pt x="13" y="147"/>
                        <a:pt x="13" y="147"/>
                      </a:cubicBezTo>
                      <a:cubicBezTo>
                        <a:pt x="13" y="147"/>
                        <a:pt x="16" y="145"/>
                        <a:pt x="16" y="145"/>
                      </a:cubicBezTo>
                      <a:cubicBezTo>
                        <a:pt x="17" y="145"/>
                        <a:pt x="17" y="144"/>
                        <a:pt x="17" y="144"/>
                      </a:cubicBezTo>
                      <a:cubicBezTo>
                        <a:pt x="17" y="140"/>
                        <a:pt x="17" y="140"/>
                        <a:pt x="17" y="140"/>
                      </a:cubicBezTo>
                      <a:cubicBezTo>
                        <a:pt x="17" y="140"/>
                        <a:pt x="17" y="138"/>
                        <a:pt x="17" y="138"/>
                      </a:cubicBezTo>
                      <a:cubicBezTo>
                        <a:pt x="17" y="137"/>
                        <a:pt x="18" y="136"/>
                        <a:pt x="18" y="136"/>
                      </a:cubicBezTo>
                      <a:cubicBezTo>
                        <a:pt x="18" y="136"/>
                        <a:pt x="18" y="133"/>
                        <a:pt x="17" y="132"/>
                      </a:cubicBezTo>
                      <a:cubicBezTo>
                        <a:pt x="17" y="130"/>
                        <a:pt x="17" y="128"/>
                        <a:pt x="17" y="128"/>
                      </a:cubicBezTo>
                      <a:cubicBezTo>
                        <a:pt x="15" y="125"/>
                        <a:pt x="15" y="125"/>
                        <a:pt x="15" y="125"/>
                      </a:cubicBezTo>
                      <a:cubicBezTo>
                        <a:pt x="15" y="125"/>
                        <a:pt x="14" y="125"/>
                        <a:pt x="12" y="124"/>
                      </a:cubicBezTo>
                      <a:cubicBezTo>
                        <a:pt x="10" y="123"/>
                        <a:pt x="7" y="122"/>
                        <a:pt x="7" y="122"/>
                      </a:cubicBezTo>
                      <a:cubicBezTo>
                        <a:pt x="7" y="119"/>
                        <a:pt x="7" y="119"/>
                        <a:pt x="7" y="119"/>
                      </a:cubicBezTo>
                      <a:cubicBezTo>
                        <a:pt x="6" y="118"/>
                        <a:pt x="6" y="118"/>
                        <a:pt x="6" y="118"/>
                      </a:cubicBezTo>
                      <a:cubicBezTo>
                        <a:pt x="6" y="118"/>
                        <a:pt x="4" y="118"/>
                        <a:pt x="4" y="119"/>
                      </a:cubicBezTo>
                      <a:cubicBezTo>
                        <a:pt x="4" y="119"/>
                        <a:pt x="4" y="120"/>
                        <a:pt x="4" y="120"/>
                      </a:cubicBezTo>
                      <a:cubicBezTo>
                        <a:pt x="2" y="119"/>
                        <a:pt x="2" y="119"/>
                        <a:pt x="2" y="119"/>
                      </a:cubicBezTo>
                      <a:cubicBezTo>
                        <a:pt x="2" y="119"/>
                        <a:pt x="0" y="116"/>
                        <a:pt x="0" y="115"/>
                      </a:cubicBezTo>
                      <a:cubicBezTo>
                        <a:pt x="1" y="115"/>
                        <a:pt x="2" y="114"/>
                        <a:pt x="2" y="113"/>
                      </a:cubicBezTo>
                      <a:cubicBezTo>
                        <a:pt x="3" y="112"/>
                        <a:pt x="4" y="110"/>
                        <a:pt x="4" y="109"/>
                      </a:cubicBezTo>
                      <a:cubicBezTo>
                        <a:pt x="4" y="109"/>
                        <a:pt x="4" y="105"/>
                        <a:pt x="4" y="105"/>
                      </a:cubicBezTo>
                      <a:cubicBezTo>
                        <a:pt x="4" y="105"/>
                        <a:pt x="3" y="104"/>
                        <a:pt x="4" y="104"/>
                      </a:cubicBezTo>
                      <a:cubicBezTo>
                        <a:pt x="5" y="104"/>
                        <a:pt x="4" y="104"/>
                        <a:pt x="5" y="104"/>
                      </a:cubicBezTo>
                      <a:cubicBezTo>
                        <a:pt x="6" y="103"/>
                        <a:pt x="9" y="101"/>
                        <a:pt x="9" y="101"/>
                      </a:cubicBezTo>
                      <a:cubicBezTo>
                        <a:pt x="9" y="99"/>
                        <a:pt x="9" y="99"/>
                        <a:pt x="9" y="99"/>
                      </a:cubicBezTo>
                      <a:cubicBezTo>
                        <a:pt x="9" y="99"/>
                        <a:pt x="8" y="97"/>
                        <a:pt x="8" y="96"/>
                      </a:cubicBezTo>
                      <a:cubicBezTo>
                        <a:pt x="8" y="96"/>
                        <a:pt x="8" y="96"/>
                        <a:pt x="8" y="95"/>
                      </a:cubicBezTo>
                      <a:cubicBezTo>
                        <a:pt x="8" y="93"/>
                        <a:pt x="4" y="89"/>
                        <a:pt x="4" y="89"/>
                      </a:cubicBezTo>
                      <a:cubicBezTo>
                        <a:pt x="2" y="89"/>
                        <a:pt x="2" y="89"/>
                        <a:pt x="2" y="89"/>
                      </a:cubicBezTo>
                      <a:cubicBezTo>
                        <a:pt x="2" y="89"/>
                        <a:pt x="2" y="88"/>
                        <a:pt x="2" y="87"/>
                      </a:cubicBezTo>
                      <a:cubicBezTo>
                        <a:pt x="2" y="87"/>
                        <a:pt x="2" y="84"/>
                        <a:pt x="2" y="84"/>
                      </a:cubicBezTo>
                      <a:cubicBezTo>
                        <a:pt x="3" y="80"/>
                        <a:pt x="3" y="80"/>
                        <a:pt x="3" y="80"/>
                      </a:cubicBezTo>
                      <a:cubicBezTo>
                        <a:pt x="2" y="73"/>
                        <a:pt x="2" y="73"/>
                        <a:pt x="2" y="73"/>
                      </a:cubicBezTo>
                      <a:cubicBezTo>
                        <a:pt x="2" y="68"/>
                        <a:pt x="2" y="68"/>
                        <a:pt x="2" y="68"/>
                      </a:cubicBezTo>
                      <a:cubicBezTo>
                        <a:pt x="2" y="68"/>
                        <a:pt x="2" y="64"/>
                        <a:pt x="2" y="63"/>
                      </a:cubicBezTo>
                      <a:cubicBezTo>
                        <a:pt x="2" y="63"/>
                        <a:pt x="4" y="59"/>
                        <a:pt x="4" y="59"/>
                      </a:cubicBezTo>
                      <a:cubicBezTo>
                        <a:pt x="5" y="57"/>
                        <a:pt x="5" y="57"/>
                        <a:pt x="5" y="57"/>
                      </a:cubicBezTo>
                      <a:cubicBezTo>
                        <a:pt x="6" y="60"/>
                        <a:pt x="6" y="60"/>
                        <a:pt x="6" y="60"/>
                      </a:cubicBezTo>
                      <a:cubicBezTo>
                        <a:pt x="6" y="60"/>
                        <a:pt x="5" y="61"/>
                        <a:pt x="6" y="62"/>
                      </a:cubicBezTo>
                      <a:cubicBezTo>
                        <a:pt x="7" y="62"/>
                        <a:pt x="8" y="62"/>
                        <a:pt x="9" y="62"/>
                      </a:cubicBezTo>
                      <a:cubicBezTo>
                        <a:pt x="9" y="62"/>
                        <a:pt x="10" y="63"/>
                        <a:pt x="10" y="63"/>
                      </a:cubicBezTo>
                      <a:cubicBezTo>
                        <a:pt x="13" y="65"/>
                        <a:pt x="13" y="65"/>
                        <a:pt x="13" y="65"/>
                      </a:cubicBezTo>
                      <a:cubicBezTo>
                        <a:pt x="15" y="67"/>
                        <a:pt x="15" y="67"/>
                        <a:pt x="15" y="67"/>
                      </a:cubicBezTo>
                      <a:cubicBezTo>
                        <a:pt x="17" y="68"/>
                        <a:pt x="17" y="68"/>
                        <a:pt x="17" y="68"/>
                      </a:cubicBezTo>
                      <a:cubicBezTo>
                        <a:pt x="19" y="68"/>
                        <a:pt x="19" y="68"/>
                        <a:pt x="19" y="68"/>
                      </a:cubicBezTo>
                      <a:cubicBezTo>
                        <a:pt x="20" y="67"/>
                        <a:pt x="20" y="67"/>
                        <a:pt x="20" y="67"/>
                      </a:cubicBezTo>
                      <a:cubicBezTo>
                        <a:pt x="20" y="67"/>
                        <a:pt x="20" y="66"/>
                        <a:pt x="20" y="66"/>
                      </a:cubicBezTo>
                      <a:cubicBezTo>
                        <a:pt x="20" y="66"/>
                        <a:pt x="19" y="64"/>
                        <a:pt x="19" y="64"/>
                      </a:cubicBezTo>
                      <a:cubicBezTo>
                        <a:pt x="19" y="63"/>
                        <a:pt x="18" y="62"/>
                        <a:pt x="18" y="62"/>
                      </a:cubicBezTo>
                      <a:cubicBezTo>
                        <a:pt x="21" y="60"/>
                        <a:pt x="21" y="60"/>
                        <a:pt x="21" y="60"/>
                      </a:cubicBezTo>
                      <a:cubicBezTo>
                        <a:pt x="22" y="58"/>
                        <a:pt x="22" y="58"/>
                        <a:pt x="22" y="58"/>
                      </a:cubicBezTo>
                      <a:cubicBezTo>
                        <a:pt x="22" y="58"/>
                        <a:pt x="22" y="57"/>
                        <a:pt x="21" y="57"/>
                      </a:cubicBezTo>
                      <a:cubicBezTo>
                        <a:pt x="20" y="57"/>
                        <a:pt x="18" y="57"/>
                        <a:pt x="18" y="57"/>
                      </a:cubicBezTo>
                      <a:cubicBezTo>
                        <a:pt x="18" y="57"/>
                        <a:pt x="17" y="56"/>
                        <a:pt x="17" y="56"/>
                      </a:cubicBezTo>
                      <a:cubicBezTo>
                        <a:pt x="17" y="56"/>
                        <a:pt x="16" y="54"/>
                        <a:pt x="16" y="54"/>
                      </a:cubicBezTo>
                      <a:cubicBezTo>
                        <a:pt x="16" y="54"/>
                        <a:pt x="16" y="52"/>
                        <a:pt x="17" y="52"/>
                      </a:cubicBezTo>
                      <a:cubicBezTo>
                        <a:pt x="17" y="51"/>
                        <a:pt x="18" y="48"/>
                        <a:pt x="18" y="48"/>
                      </a:cubicBezTo>
                      <a:cubicBezTo>
                        <a:pt x="18" y="48"/>
                        <a:pt x="17" y="46"/>
                        <a:pt x="19" y="46"/>
                      </a:cubicBezTo>
                      <a:cubicBezTo>
                        <a:pt x="21" y="46"/>
                        <a:pt x="22" y="46"/>
                        <a:pt x="22" y="46"/>
                      </a:cubicBezTo>
                      <a:cubicBezTo>
                        <a:pt x="22" y="46"/>
                        <a:pt x="23" y="44"/>
                        <a:pt x="24" y="44"/>
                      </a:cubicBezTo>
                      <a:cubicBezTo>
                        <a:pt x="24" y="44"/>
                        <a:pt x="25" y="43"/>
                        <a:pt x="25" y="44"/>
                      </a:cubicBezTo>
                      <a:cubicBezTo>
                        <a:pt x="26" y="44"/>
                        <a:pt x="25" y="47"/>
                        <a:pt x="25" y="47"/>
                      </a:cubicBezTo>
                      <a:cubicBezTo>
                        <a:pt x="23" y="49"/>
                        <a:pt x="23" y="49"/>
                        <a:pt x="23" y="49"/>
                      </a:cubicBezTo>
                      <a:cubicBezTo>
                        <a:pt x="23" y="49"/>
                        <a:pt x="24" y="50"/>
                        <a:pt x="24" y="51"/>
                      </a:cubicBezTo>
                      <a:cubicBezTo>
                        <a:pt x="24" y="52"/>
                        <a:pt x="24" y="53"/>
                        <a:pt x="24" y="53"/>
                      </a:cubicBezTo>
                      <a:cubicBezTo>
                        <a:pt x="22" y="56"/>
                        <a:pt x="22" y="56"/>
                        <a:pt x="22" y="56"/>
                      </a:cubicBezTo>
                      <a:cubicBezTo>
                        <a:pt x="22" y="56"/>
                        <a:pt x="23" y="56"/>
                        <a:pt x="23" y="56"/>
                      </a:cubicBezTo>
                      <a:cubicBezTo>
                        <a:pt x="23" y="57"/>
                        <a:pt x="23" y="58"/>
                        <a:pt x="23" y="58"/>
                      </a:cubicBezTo>
                      <a:cubicBezTo>
                        <a:pt x="26" y="57"/>
                        <a:pt x="26" y="57"/>
                        <a:pt x="26" y="57"/>
                      </a:cubicBezTo>
                      <a:cubicBezTo>
                        <a:pt x="26" y="57"/>
                        <a:pt x="25" y="56"/>
                        <a:pt x="25" y="56"/>
                      </a:cubicBezTo>
                      <a:cubicBezTo>
                        <a:pt x="25" y="56"/>
                        <a:pt x="24" y="55"/>
                        <a:pt x="25" y="54"/>
                      </a:cubicBezTo>
                      <a:cubicBezTo>
                        <a:pt x="26" y="53"/>
                        <a:pt x="26" y="52"/>
                        <a:pt x="27" y="52"/>
                      </a:cubicBezTo>
                      <a:cubicBezTo>
                        <a:pt x="27" y="51"/>
                        <a:pt x="27" y="51"/>
                        <a:pt x="29" y="51"/>
                      </a:cubicBezTo>
                      <a:cubicBezTo>
                        <a:pt x="30" y="51"/>
                        <a:pt x="32" y="53"/>
                        <a:pt x="32" y="53"/>
                      </a:cubicBezTo>
                      <a:cubicBezTo>
                        <a:pt x="32" y="53"/>
                        <a:pt x="33" y="54"/>
                        <a:pt x="32" y="54"/>
                      </a:cubicBezTo>
                      <a:cubicBezTo>
                        <a:pt x="32" y="55"/>
                        <a:pt x="31" y="56"/>
                        <a:pt x="31" y="56"/>
                      </a:cubicBezTo>
                      <a:cubicBezTo>
                        <a:pt x="33" y="59"/>
                        <a:pt x="33" y="59"/>
                        <a:pt x="33" y="59"/>
                      </a:cubicBezTo>
                      <a:cubicBezTo>
                        <a:pt x="33" y="59"/>
                        <a:pt x="32" y="59"/>
                        <a:pt x="31" y="60"/>
                      </a:cubicBezTo>
                      <a:cubicBezTo>
                        <a:pt x="31" y="60"/>
                        <a:pt x="31" y="61"/>
                        <a:pt x="31" y="61"/>
                      </a:cubicBezTo>
                      <a:cubicBezTo>
                        <a:pt x="31" y="62"/>
                        <a:pt x="28" y="63"/>
                        <a:pt x="31" y="63"/>
                      </a:cubicBezTo>
                      <a:cubicBezTo>
                        <a:pt x="33" y="63"/>
                        <a:pt x="33" y="63"/>
                        <a:pt x="33" y="62"/>
                      </a:cubicBezTo>
                      <a:cubicBezTo>
                        <a:pt x="33" y="62"/>
                        <a:pt x="33" y="60"/>
                        <a:pt x="33" y="60"/>
                      </a:cubicBezTo>
                      <a:cubicBezTo>
                        <a:pt x="33" y="60"/>
                        <a:pt x="34" y="60"/>
                        <a:pt x="34" y="60"/>
                      </a:cubicBezTo>
                      <a:cubicBezTo>
                        <a:pt x="35" y="60"/>
                        <a:pt x="36" y="60"/>
                        <a:pt x="36" y="60"/>
                      </a:cubicBezTo>
                      <a:cubicBezTo>
                        <a:pt x="37" y="61"/>
                        <a:pt x="37" y="61"/>
                        <a:pt x="37" y="61"/>
                      </a:cubicBezTo>
                      <a:cubicBezTo>
                        <a:pt x="37" y="61"/>
                        <a:pt x="37" y="62"/>
                        <a:pt x="37" y="63"/>
                      </a:cubicBezTo>
                      <a:cubicBezTo>
                        <a:pt x="37" y="63"/>
                        <a:pt x="37" y="64"/>
                        <a:pt x="37" y="64"/>
                      </a:cubicBezTo>
                      <a:cubicBezTo>
                        <a:pt x="37" y="64"/>
                        <a:pt x="39" y="66"/>
                        <a:pt x="39" y="65"/>
                      </a:cubicBezTo>
                      <a:cubicBezTo>
                        <a:pt x="39" y="64"/>
                        <a:pt x="40" y="65"/>
                        <a:pt x="39" y="63"/>
                      </a:cubicBezTo>
                      <a:cubicBezTo>
                        <a:pt x="38" y="62"/>
                        <a:pt x="38" y="60"/>
                        <a:pt x="38" y="60"/>
                      </a:cubicBezTo>
                      <a:cubicBezTo>
                        <a:pt x="38" y="60"/>
                        <a:pt x="38" y="60"/>
                        <a:pt x="38" y="59"/>
                      </a:cubicBezTo>
                      <a:cubicBezTo>
                        <a:pt x="38" y="59"/>
                        <a:pt x="38" y="58"/>
                        <a:pt x="38" y="58"/>
                      </a:cubicBezTo>
                      <a:cubicBezTo>
                        <a:pt x="37" y="57"/>
                        <a:pt x="36" y="57"/>
                        <a:pt x="36" y="56"/>
                      </a:cubicBezTo>
                      <a:cubicBezTo>
                        <a:pt x="36" y="56"/>
                        <a:pt x="33" y="53"/>
                        <a:pt x="33" y="53"/>
                      </a:cubicBezTo>
                      <a:cubicBezTo>
                        <a:pt x="33" y="53"/>
                        <a:pt x="33" y="52"/>
                        <a:pt x="33" y="51"/>
                      </a:cubicBezTo>
                      <a:cubicBezTo>
                        <a:pt x="33" y="49"/>
                        <a:pt x="33" y="48"/>
                        <a:pt x="33" y="47"/>
                      </a:cubicBezTo>
                      <a:cubicBezTo>
                        <a:pt x="33" y="47"/>
                        <a:pt x="34" y="45"/>
                        <a:pt x="34" y="45"/>
                      </a:cubicBezTo>
                      <a:cubicBezTo>
                        <a:pt x="34" y="45"/>
                        <a:pt x="34" y="43"/>
                        <a:pt x="35" y="42"/>
                      </a:cubicBezTo>
                      <a:cubicBezTo>
                        <a:pt x="36" y="42"/>
                        <a:pt x="35" y="41"/>
                        <a:pt x="36" y="41"/>
                      </a:cubicBezTo>
                      <a:cubicBezTo>
                        <a:pt x="38" y="40"/>
                        <a:pt x="37" y="40"/>
                        <a:pt x="39" y="40"/>
                      </a:cubicBezTo>
                      <a:cubicBezTo>
                        <a:pt x="40" y="40"/>
                        <a:pt x="42" y="41"/>
                        <a:pt x="43" y="41"/>
                      </a:cubicBezTo>
                      <a:cubicBezTo>
                        <a:pt x="43" y="41"/>
                        <a:pt x="46" y="42"/>
                        <a:pt x="46" y="42"/>
                      </a:cubicBezTo>
                      <a:cubicBezTo>
                        <a:pt x="46" y="42"/>
                        <a:pt x="46" y="41"/>
                        <a:pt x="46" y="41"/>
                      </a:cubicBezTo>
                      <a:cubicBezTo>
                        <a:pt x="47" y="41"/>
                        <a:pt x="47" y="39"/>
                        <a:pt x="47" y="40"/>
                      </a:cubicBezTo>
                      <a:cubicBezTo>
                        <a:pt x="48" y="40"/>
                        <a:pt x="48" y="41"/>
                        <a:pt x="49" y="40"/>
                      </a:cubicBezTo>
                      <a:cubicBezTo>
                        <a:pt x="50" y="39"/>
                        <a:pt x="50" y="38"/>
                        <a:pt x="50" y="38"/>
                      </a:cubicBezTo>
                      <a:cubicBezTo>
                        <a:pt x="50" y="38"/>
                        <a:pt x="51" y="38"/>
                        <a:pt x="52" y="37"/>
                      </a:cubicBezTo>
                      <a:cubicBezTo>
                        <a:pt x="52" y="37"/>
                        <a:pt x="51" y="36"/>
                        <a:pt x="50" y="36"/>
                      </a:cubicBezTo>
                      <a:cubicBezTo>
                        <a:pt x="50" y="36"/>
                        <a:pt x="48" y="36"/>
                        <a:pt x="47" y="37"/>
                      </a:cubicBezTo>
                      <a:cubicBezTo>
                        <a:pt x="46" y="37"/>
                        <a:pt x="47" y="37"/>
                        <a:pt x="45" y="37"/>
                      </a:cubicBezTo>
                      <a:cubicBezTo>
                        <a:pt x="44" y="38"/>
                        <a:pt x="44" y="38"/>
                        <a:pt x="42" y="38"/>
                      </a:cubicBezTo>
                      <a:cubicBezTo>
                        <a:pt x="40" y="38"/>
                        <a:pt x="40" y="38"/>
                        <a:pt x="39" y="39"/>
                      </a:cubicBezTo>
                      <a:cubicBezTo>
                        <a:pt x="38" y="40"/>
                        <a:pt x="37" y="40"/>
                        <a:pt x="37" y="40"/>
                      </a:cubicBezTo>
                      <a:cubicBezTo>
                        <a:pt x="36" y="40"/>
                        <a:pt x="36" y="40"/>
                        <a:pt x="36" y="40"/>
                      </a:cubicBezTo>
                      <a:cubicBezTo>
                        <a:pt x="36" y="40"/>
                        <a:pt x="35" y="40"/>
                        <a:pt x="34" y="40"/>
                      </a:cubicBezTo>
                      <a:cubicBezTo>
                        <a:pt x="34" y="40"/>
                        <a:pt x="33" y="39"/>
                        <a:pt x="33" y="39"/>
                      </a:cubicBezTo>
                      <a:cubicBezTo>
                        <a:pt x="33" y="39"/>
                        <a:pt x="33" y="39"/>
                        <a:pt x="32" y="39"/>
                      </a:cubicBezTo>
                      <a:cubicBezTo>
                        <a:pt x="31" y="39"/>
                        <a:pt x="30" y="40"/>
                        <a:pt x="30" y="40"/>
                      </a:cubicBezTo>
                      <a:cubicBezTo>
                        <a:pt x="28" y="40"/>
                        <a:pt x="28" y="40"/>
                        <a:pt x="28" y="40"/>
                      </a:cubicBezTo>
                      <a:cubicBezTo>
                        <a:pt x="28" y="40"/>
                        <a:pt x="27" y="40"/>
                        <a:pt x="26" y="40"/>
                      </a:cubicBezTo>
                      <a:cubicBezTo>
                        <a:pt x="26" y="41"/>
                        <a:pt x="24" y="41"/>
                        <a:pt x="24" y="41"/>
                      </a:cubicBezTo>
                      <a:cubicBezTo>
                        <a:pt x="24" y="41"/>
                        <a:pt x="24" y="41"/>
                        <a:pt x="23" y="41"/>
                      </a:cubicBezTo>
                      <a:cubicBezTo>
                        <a:pt x="23" y="42"/>
                        <a:pt x="24" y="42"/>
                        <a:pt x="23" y="43"/>
                      </a:cubicBezTo>
                      <a:cubicBezTo>
                        <a:pt x="22" y="43"/>
                        <a:pt x="20" y="43"/>
                        <a:pt x="20" y="43"/>
                      </a:cubicBezTo>
                      <a:cubicBezTo>
                        <a:pt x="19" y="44"/>
                        <a:pt x="19" y="44"/>
                        <a:pt x="19" y="44"/>
                      </a:cubicBezTo>
                      <a:cubicBezTo>
                        <a:pt x="18" y="46"/>
                        <a:pt x="18" y="46"/>
                        <a:pt x="18" y="46"/>
                      </a:cubicBezTo>
                      <a:cubicBezTo>
                        <a:pt x="17" y="46"/>
                        <a:pt x="17" y="46"/>
                        <a:pt x="17" y="46"/>
                      </a:cubicBezTo>
                      <a:cubicBezTo>
                        <a:pt x="16" y="49"/>
                        <a:pt x="16" y="49"/>
                        <a:pt x="16" y="49"/>
                      </a:cubicBezTo>
                      <a:cubicBezTo>
                        <a:pt x="16" y="50"/>
                        <a:pt x="16" y="50"/>
                        <a:pt x="16" y="50"/>
                      </a:cubicBezTo>
                      <a:cubicBezTo>
                        <a:pt x="14" y="52"/>
                        <a:pt x="14" y="52"/>
                        <a:pt x="14" y="52"/>
                      </a:cubicBezTo>
                      <a:cubicBezTo>
                        <a:pt x="13" y="53"/>
                        <a:pt x="13" y="53"/>
                        <a:pt x="13" y="53"/>
                      </a:cubicBezTo>
                      <a:cubicBezTo>
                        <a:pt x="13" y="53"/>
                        <a:pt x="13" y="53"/>
                        <a:pt x="14" y="54"/>
                      </a:cubicBezTo>
                      <a:cubicBezTo>
                        <a:pt x="14" y="54"/>
                        <a:pt x="14" y="55"/>
                        <a:pt x="14" y="55"/>
                      </a:cubicBezTo>
                      <a:cubicBezTo>
                        <a:pt x="13" y="56"/>
                        <a:pt x="13" y="56"/>
                        <a:pt x="13" y="56"/>
                      </a:cubicBezTo>
                      <a:cubicBezTo>
                        <a:pt x="14" y="58"/>
                        <a:pt x="14" y="58"/>
                        <a:pt x="14" y="58"/>
                      </a:cubicBezTo>
                      <a:cubicBezTo>
                        <a:pt x="16" y="57"/>
                        <a:pt x="16" y="57"/>
                        <a:pt x="16" y="57"/>
                      </a:cubicBezTo>
                      <a:cubicBezTo>
                        <a:pt x="17" y="59"/>
                        <a:pt x="17" y="59"/>
                        <a:pt x="17" y="59"/>
                      </a:cubicBezTo>
                      <a:cubicBezTo>
                        <a:pt x="16" y="61"/>
                        <a:pt x="16" y="61"/>
                        <a:pt x="16" y="61"/>
                      </a:cubicBezTo>
                      <a:cubicBezTo>
                        <a:pt x="16" y="61"/>
                        <a:pt x="15" y="62"/>
                        <a:pt x="14" y="62"/>
                      </a:cubicBezTo>
                      <a:cubicBezTo>
                        <a:pt x="14" y="62"/>
                        <a:pt x="13" y="61"/>
                        <a:pt x="13" y="61"/>
                      </a:cubicBezTo>
                      <a:cubicBezTo>
                        <a:pt x="12" y="59"/>
                        <a:pt x="12" y="59"/>
                        <a:pt x="12" y="59"/>
                      </a:cubicBezTo>
                      <a:cubicBezTo>
                        <a:pt x="12" y="58"/>
                        <a:pt x="12" y="58"/>
                        <a:pt x="12" y="58"/>
                      </a:cubicBezTo>
                      <a:cubicBezTo>
                        <a:pt x="12" y="57"/>
                        <a:pt x="12" y="57"/>
                        <a:pt x="12" y="57"/>
                      </a:cubicBezTo>
                      <a:cubicBezTo>
                        <a:pt x="9" y="58"/>
                        <a:pt x="9" y="58"/>
                        <a:pt x="9" y="58"/>
                      </a:cubicBezTo>
                      <a:cubicBezTo>
                        <a:pt x="9" y="57"/>
                        <a:pt x="9" y="57"/>
                        <a:pt x="9" y="57"/>
                      </a:cubicBezTo>
                      <a:cubicBezTo>
                        <a:pt x="9" y="57"/>
                        <a:pt x="8" y="56"/>
                        <a:pt x="8" y="56"/>
                      </a:cubicBezTo>
                      <a:cubicBezTo>
                        <a:pt x="8" y="55"/>
                        <a:pt x="7" y="54"/>
                        <a:pt x="7" y="54"/>
                      </a:cubicBezTo>
                      <a:cubicBezTo>
                        <a:pt x="5" y="51"/>
                        <a:pt x="5" y="51"/>
                        <a:pt x="5" y="51"/>
                      </a:cubicBezTo>
                      <a:cubicBezTo>
                        <a:pt x="5" y="51"/>
                        <a:pt x="5" y="51"/>
                        <a:pt x="6" y="51"/>
                      </a:cubicBezTo>
                      <a:cubicBezTo>
                        <a:pt x="6" y="50"/>
                        <a:pt x="6" y="50"/>
                        <a:pt x="7" y="49"/>
                      </a:cubicBezTo>
                      <a:cubicBezTo>
                        <a:pt x="7" y="48"/>
                        <a:pt x="9" y="46"/>
                        <a:pt x="9" y="46"/>
                      </a:cubicBezTo>
                      <a:cubicBezTo>
                        <a:pt x="10" y="43"/>
                        <a:pt x="10" y="43"/>
                        <a:pt x="10" y="43"/>
                      </a:cubicBezTo>
                      <a:cubicBezTo>
                        <a:pt x="12" y="41"/>
                        <a:pt x="12" y="41"/>
                        <a:pt x="12" y="41"/>
                      </a:cubicBezTo>
                      <a:cubicBezTo>
                        <a:pt x="13" y="39"/>
                        <a:pt x="13" y="39"/>
                        <a:pt x="13" y="39"/>
                      </a:cubicBezTo>
                      <a:cubicBezTo>
                        <a:pt x="15" y="36"/>
                        <a:pt x="15" y="36"/>
                        <a:pt x="15" y="36"/>
                      </a:cubicBezTo>
                      <a:cubicBezTo>
                        <a:pt x="17" y="34"/>
                        <a:pt x="17" y="34"/>
                        <a:pt x="17" y="34"/>
                      </a:cubicBezTo>
                      <a:cubicBezTo>
                        <a:pt x="20" y="34"/>
                        <a:pt x="20" y="34"/>
                        <a:pt x="20" y="34"/>
                      </a:cubicBezTo>
                      <a:cubicBezTo>
                        <a:pt x="20" y="34"/>
                        <a:pt x="22" y="35"/>
                        <a:pt x="22" y="35"/>
                      </a:cubicBezTo>
                      <a:cubicBezTo>
                        <a:pt x="23" y="34"/>
                        <a:pt x="24" y="33"/>
                        <a:pt x="24" y="33"/>
                      </a:cubicBezTo>
                      <a:cubicBezTo>
                        <a:pt x="28" y="32"/>
                        <a:pt x="28" y="32"/>
                        <a:pt x="28" y="32"/>
                      </a:cubicBezTo>
                      <a:cubicBezTo>
                        <a:pt x="29" y="32"/>
                        <a:pt x="29" y="32"/>
                        <a:pt x="29" y="32"/>
                      </a:cubicBezTo>
                      <a:cubicBezTo>
                        <a:pt x="32" y="33"/>
                        <a:pt x="32" y="33"/>
                        <a:pt x="32" y="33"/>
                      </a:cubicBezTo>
                      <a:cubicBezTo>
                        <a:pt x="34" y="33"/>
                        <a:pt x="34" y="33"/>
                        <a:pt x="34" y="33"/>
                      </a:cubicBezTo>
                      <a:cubicBezTo>
                        <a:pt x="38" y="33"/>
                        <a:pt x="38" y="33"/>
                        <a:pt x="38" y="33"/>
                      </a:cubicBezTo>
                      <a:close/>
                      <a:moveTo>
                        <a:pt x="16" y="139"/>
                      </a:moveTo>
                      <a:cubicBezTo>
                        <a:pt x="16" y="139"/>
                        <a:pt x="16" y="139"/>
                        <a:pt x="16" y="139"/>
                      </a:cubicBezTo>
                      <a:cubicBezTo>
                        <a:pt x="16" y="139"/>
                        <a:pt x="14" y="138"/>
                        <a:pt x="14" y="138"/>
                      </a:cubicBezTo>
                      <a:cubicBezTo>
                        <a:pt x="14" y="139"/>
                        <a:pt x="13" y="140"/>
                        <a:pt x="13" y="140"/>
                      </a:cubicBezTo>
                      <a:cubicBezTo>
                        <a:pt x="12" y="143"/>
                        <a:pt x="12" y="143"/>
                        <a:pt x="12" y="143"/>
                      </a:cubicBezTo>
                      <a:cubicBezTo>
                        <a:pt x="11" y="144"/>
                        <a:pt x="11" y="144"/>
                        <a:pt x="11" y="144"/>
                      </a:cubicBezTo>
                      <a:cubicBezTo>
                        <a:pt x="11" y="146"/>
                        <a:pt x="11" y="146"/>
                        <a:pt x="11" y="146"/>
                      </a:cubicBezTo>
                      <a:cubicBezTo>
                        <a:pt x="8" y="147"/>
                        <a:pt x="8" y="147"/>
                        <a:pt x="8" y="147"/>
                      </a:cubicBezTo>
                      <a:cubicBezTo>
                        <a:pt x="8" y="147"/>
                        <a:pt x="8" y="148"/>
                        <a:pt x="9" y="148"/>
                      </a:cubicBezTo>
                      <a:cubicBezTo>
                        <a:pt x="10" y="148"/>
                        <a:pt x="11" y="148"/>
                        <a:pt x="11" y="148"/>
                      </a:cubicBezTo>
                      <a:cubicBezTo>
                        <a:pt x="11" y="147"/>
                        <a:pt x="12" y="146"/>
                        <a:pt x="12" y="146"/>
                      </a:cubicBezTo>
                      <a:cubicBezTo>
                        <a:pt x="12" y="146"/>
                        <a:pt x="13" y="145"/>
                        <a:pt x="13" y="145"/>
                      </a:cubicBezTo>
                      <a:cubicBezTo>
                        <a:pt x="14" y="145"/>
                        <a:pt x="16" y="145"/>
                        <a:pt x="16" y="144"/>
                      </a:cubicBezTo>
                      <a:cubicBezTo>
                        <a:pt x="16" y="143"/>
                        <a:pt x="16" y="142"/>
                        <a:pt x="16" y="142"/>
                      </a:cubicBezTo>
                      <a:cubicBezTo>
                        <a:pt x="16" y="141"/>
                        <a:pt x="16" y="141"/>
                        <a:pt x="16" y="141"/>
                      </a:cubicBezTo>
                      <a:cubicBezTo>
                        <a:pt x="16" y="139"/>
                        <a:pt x="16" y="139"/>
                        <a:pt x="16" y="139"/>
                      </a:cubicBezTo>
                      <a:close/>
                      <a:moveTo>
                        <a:pt x="68" y="112"/>
                      </a:moveTo>
                      <a:cubicBezTo>
                        <a:pt x="68" y="112"/>
                        <a:pt x="68" y="112"/>
                        <a:pt x="68" y="112"/>
                      </a:cubicBezTo>
                      <a:cubicBezTo>
                        <a:pt x="68" y="112"/>
                        <a:pt x="68" y="112"/>
                        <a:pt x="68" y="112"/>
                      </a:cubicBezTo>
                      <a:cubicBezTo>
                        <a:pt x="68" y="112"/>
                        <a:pt x="69" y="111"/>
                        <a:pt x="69" y="111"/>
                      </a:cubicBezTo>
                      <a:cubicBezTo>
                        <a:pt x="69" y="110"/>
                        <a:pt x="68" y="109"/>
                        <a:pt x="68" y="109"/>
                      </a:cubicBezTo>
                      <a:cubicBezTo>
                        <a:pt x="68" y="108"/>
                        <a:pt x="69" y="108"/>
                        <a:pt x="69" y="108"/>
                      </a:cubicBezTo>
                      <a:cubicBezTo>
                        <a:pt x="69" y="108"/>
                        <a:pt x="69" y="107"/>
                        <a:pt x="69" y="107"/>
                      </a:cubicBezTo>
                      <a:cubicBezTo>
                        <a:pt x="69" y="107"/>
                        <a:pt x="68" y="107"/>
                        <a:pt x="68" y="107"/>
                      </a:cubicBezTo>
                      <a:cubicBezTo>
                        <a:pt x="67" y="107"/>
                        <a:pt x="67" y="108"/>
                        <a:pt x="67" y="108"/>
                      </a:cubicBezTo>
                      <a:cubicBezTo>
                        <a:pt x="67" y="108"/>
                        <a:pt x="67" y="109"/>
                        <a:pt x="67" y="109"/>
                      </a:cubicBezTo>
                      <a:cubicBezTo>
                        <a:pt x="67" y="109"/>
                        <a:pt x="67" y="110"/>
                        <a:pt x="67" y="110"/>
                      </a:cubicBezTo>
                      <a:cubicBezTo>
                        <a:pt x="67" y="110"/>
                        <a:pt x="68" y="112"/>
                        <a:pt x="68" y="112"/>
                      </a:cubicBezTo>
                      <a:close/>
                      <a:moveTo>
                        <a:pt x="95" y="139"/>
                      </a:moveTo>
                      <a:cubicBezTo>
                        <a:pt x="95" y="139"/>
                        <a:pt x="95" y="139"/>
                        <a:pt x="95" y="139"/>
                      </a:cubicBezTo>
                      <a:cubicBezTo>
                        <a:pt x="96" y="138"/>
                        <a:pt x="96" y="138"/>
                        <a:pt x="96" y="138"/>
                      </a:cubicBezTo>
                      <a:cubicBezTo>
                        <a:pt x="97" y="139"/>
                        <a:pt x="97" y="139"/>
                        <a:pt x="97" y="139"/>
                      </a:cubicBezTo>
                      <a:cubicBezTo>
                        <a:pt x="97" y="139"/>
                        <a:pt x="96" y="140"/>
                        <a:pt x="96" y="140"/>
                      </a:cubicBezTo>
                      <a:cubicBezTo>
                        <a:pt x="96" y="140"/>
                        <a:pt x="95" y="139"/>
                        <a:pt x="95" y="139"/>
                      </a:cubicBezTo>
                      <a:cubicBezTo>
                        <a:pt x="95" y="139"/>
                        <a:pt x="95" y="139"/>
                        <a:pt x="95" y="139"/>
                      </a:cubicBezTo>
                      <a:close/>
                      <a:moveTo>
                        <a:pt x="106" y="152"/>
                      </a:moveTo>
                      <a:cubicBezTo>
                        <a:pt x="106" y="152"/>
                        <a:pt x="106" y="152"/>
                        <a:pt x="106" y="152"/>
                      </a:cubicBezTo>
                      <a:cubicBezTo>
                        <a:pt x="107" y="152"/>
                        <a:pt x="107" y="152"/>
                        <a:pt x="107" y="152"/>
                      </a:cubicBezTo>
                      <a:cubicBezTo>
                        <a:pt x="107" y="153"/>
                        <a:pt x="107" y="153"/>
                        <a:pt x="107" y="153"/>
                      </a:cubicBezTo>
                      <a:cubicBezTo>
                        <a:pt x="106" y="154"/>
                        <a:pt x="106" y="154"/>
                        <a:pt x="106" y="154"/>
                      </a:cubicBezTo>
                      <a:cubicBezTo>
                        <a:pt x="106" y="153"/>
                        <a:pt x="106" y="153"/>
                        <a:pt x="106" y="153"/>
                      </a:cubicBezTo>
                      <a:cubicBezTo>
                        <a:pt x="106" y="152"/>
                        <a:pt x="106" y="152"/>
                        <a:pt x="106" y="152"/>
                      </a:cubicBezTo>
                      <a:close/>
                      <a:moveTo>
                        <a:pt x="103" y="150"/>
                      </a:moveTo>
                      <a:cubicBezTo>
                        <a:pt x="103" y="150"/>
                        <a:pt x="103" y="150"/>
                        <a:pt x="103" y="150"/>
                      </a:cubicBezTo>
                      <a:cubicBezTo>
                        <a:pt x="102" y="149"/>
                        <a:pt x="102" y="149"/>
                        <a:pt x="102" y="149"/>
                      </a:cubicBezTo>
                      <a:cubicBezTo>
                        <a:pt x="104" y="149"/>
                        <a:pt x="104" y="149"/>
                        <a:pt x="104" y="149"/>
                      </a:cubicBezTo>
                      <a:cubicBezTo>
                        <a:pt x="104" y="149"/>
                        <a:pt x="104" y="149"/>
                        <a:pt x="105" y="149"/>
                      </a:cubicBezTo>
                      <a:cubicBezTo>
                        <a:pt x="105" y="149"/>
                        <a:pt x="106" y="150"/>
                        <a:pt x="106" y="150"/>
                      </a:cubicBezTo>
                      <a:cubicBezTo>
                        <a:pt x="106" y="150"/>
                        <a:pt x="106" y="150"/>
                        <a:pt x="106" y="150"/>
                      </a:cubicBezTo>
                      <a:cubicBezTo>
                        <a:pt x="105" y="150"/>
                        <a:pt x="105" y="151"/>
                        <a:pt x="105" y="151"/>
                      </a:cubicBezTo>
                      <a:cubicBezTo>
                        <a:pt x="104" y="151"/>
                        <a:pt x="103" y="150"/>
                        <a:pt x="103" y="150"/>
                      </a:cubicBezTo>
                      <a:close/>
                      <a:moveTo>
                        <a:pt x="108" y="150"/>
                      </a:moveTo>
                      <a:cubicBezTo>
                        <a:pt x="108" y="150"/>
                        <a:pt x="108" y="150"/>
                        <a:pt x="108" y="150"/>
                      </a:cubicBezTo>
                      <a:cubicBezTo>
                        <a:pt x="107" y="148"/>
                        <a:pt x="107" y="148"/>
                        <a:pt x="107" y="148"/>
                      </a:cubicBezTo>
                      <a:cubicBezTo>
                        <a:pt x="108" y="147"/>
                        <a:pt x="108" y="147"/>
                        <a:pt x="108" y="147"/>
                      </a:cubicBezTo>
                      <a:cubicBezTo>
                        <a:pt x="108" y="147"/>
                        <a:pt x="109" y="148"/>
                        <a:pt x="109" y="148"/>
                      </a:cubicBezTo>
                      <a:cubicBezTo>
                        <a:pt x="109" y="148"/>
                        <a:pt x="108" y="149"/>
                        <a:pt x="108" y="149"/>
                      </a:cubicBezTo>
                      <a:cubicBezTo>
                        <a:pt x="108" y="150"/>
                        <a:pt x="108" y="150"/>
                        <a:pt x="108" y="150"/>
                      </a:cubicBezTo>
                      <a:close/>
                      <a:moveTo>
                        <a:pt x="129" y="144"/>
                      </a:moveTo>
                      <a:cubicBezTo>
                        <a:pt x="129" y="144"/>
                        <a:pt x="129" y="144"/>
                        <a:pt x="129" y="144"/>
                      </a:cubicBezTo>
                      <a:cubicBezTo>
                        <a:pt x="128" y="143"/>
                        <a:pt x="128" y="143"/>
                        <a:pt x="128" y="143"/>
                      </a:cubicBezTo>
                      <a:cubicBezTo>
                        <a:pt x="128" y="143"/>
                        <a:pt x="129" y="142"/>
                        <a:pt x="129" y="142"/>
                      </a:cubicBezTo>
                      <a:cubicBezTo>
                        <a:pt x="130" y="142"/>
                        <a:pt x="131" y="142"/>
                        <a:pt x="131" y="142"/>
                      </a:cubicBezTo>
                      <a:cubicBezTo>
                        <a:pt x="129" y="144"/>
                        <a:pt x="129" y="144"/>
                        <a:pt x="129" y="144"/>
                      </a:cubicBezTo>
                      <a:close/>
                      <a:moveTo>
                        <a:pt x="127" y="145"/>
                      </a:moveTo>
                      <a:cubicBezTo>
                        <a:pt x="127" y="145"/>
                        <a:pt x="127" y="145"/>
                        <a:pt x="127" y="145"/>
                      </a:cubicBezTo>
                      <a:cubicBezTo>
                        <a:pt x="127" y="142"/>
                        <a:pt x="127" y="142"/>
                        <a:pt x="127" y="142"/>
                      </a:cubicBezTo>
                      <a:cubicBezTo>
                        <a:pt x="128" y="141"/>
                        <a:pt x="128" y="141"/>
                        <a:pt x="128" y="141"/>
                      </a:cubicBezTo>
                      <a:cubicBezTo>
                        <a:pt x="127" y="140"/>
                        <a:pt x="127" y="140"/>
                        <a:pt x="127" y="140"/>
                      </a:cubicBezTo>
                      <a:cubicBezTo>
                        <a:pt x="126" y="140"/>
                        <a:pt x="126" y="140"/>
                        <a:pt x="126" y="140"/>
                      </a:cubicBezTo>
                      <a:cubicBezTo>
                        <a:pt x="126" y="140"/>
                        <a:pt x="125" y="138"/>
                        <a:pt x="125" y="138"/>
                      </a:cubicBezTo>
                      <a:cubicBezTo>
                        <a:pt x="125" y="138"/>
                        <a:pt x="124" y="138"/>
                        <a:pt x="124" y="138"/>
                      </a:cubicBezTo>
                      <a:cubicBezTo>
                        <a:pt x="124" y="138"/>
                        <a:pt x="123" y="138"/>
                        <a:pt x="123" y="138"/>
                      </a:cubicBezTo>
                      <a:cubicBezTo>
                        <a:pt x="123" y="138"/>
                        <a:pt x="124" y="137"/>
                        <a:pt x="124" y="137"/>
                      </a:cubicBezTo>
                      <a:cubicBezTo>
                        <a:pt x="124" y="137"/>
                        <a:pt x="124" y="137"/>
                        <a:pt x="125" y="137"/>
                      </a:cubicBezTo>
                      <a:cubicBezTo>
                        <a:pt x="126" y="136"/>
                        <a:pt x="126" y="136"/>
                        <a:pt x="126" y="136"/>
                      </a:cubicBezTo>
                      <a:cubicBezTo>
                        <a:pt x="126" y="136"/>
                        <a:pt x="128" y="133"/>
                        <a:pt x="130" y="133"/>
                      </a:cubicBezTo>
                      <a:cubicBezTo>
                        <a:pt x="131" y="133"/>
                        <a:pt x="133" y="133"/>
                        <a:pt x="133" y="133"/>
                      </a:cubicBezTo>
                      <a:cubicBezTo>
                        <a:pt x="135" y="131"/>
                        <a:pt x="135" y="131"/>
                        <a:pt x="135" y="131"/>
                      </a:cubicBezTo>
                      <a:cubicBezTo>
                        <a:pt x="135" y="131"/>
                        <a:pt x="135" y="130"/>
                        <a:pt x="135" y="130"/>
                      </a:cubicBezTo>
                      <a:cubicBezTo>
                        <a:pt x="136" y="130"/>
                        <a:pt x="135" y="128"/>
                        <a:pt x="135" y="128"/>
                      </a:cubicBezTo>
                      <a:cubicBezTo>
                        <a:pt x="135" y="126"/>
                        <a:pt x="135" y="126"/>
                        <a:pt x="135" y="126"/>
                      </a:cubicBezTo>
                      <a:cubicBezTo>
                        <a:pt x="135" y="126"/>
                        <a:pt x="132" y="124"/>
                        <a:pt x="132" y="124"/>
                      </a:cubicBezTo>
                      <a:cubicBezTo>
                        <a:pt x="132" y="124"/>
                        <a:pt x="128" y="122"/>
                        <a:pt x="128" y="122"/>
                      </a:cubicBezTo>
                      <a:cubicBezTo>
                        <a:pt x="128" y="122"/>
                        <a:pt x="128" y="120"/>
                        <a:pt x="127" y="120"/>
                      </a:cubicBezTo>
                      <a:cubicBezTo>
                        <a:pt x="127" y="120"/>
                        <a:pt x="128" y="118"/>
                        <a:pt x="128" y="118"/>
                      </a:cubicBezTo>
                      <a:cubicBezTo>
                        <a:pt x="128" y="118"/>
                        <a:pt x="130" y="115"/>
                        <a:pt x="132" y="114"/>
                      </a:cubicBezTo>
                      <a:cubicBezTo>
                        <a:pt x="133" y="113"/>
                        <a:pt x="134" y="113"/>
                        <a:pt x="134" y="113"/>
                      </a:cubicBezTo>
                      <a:cubicBezTo>
                        <a:pt x="135" y="113"/>
                        <a:pt x="136" y="114"/>
                        <a:pt x="137" y="115"/>
                      </a:cubicBezTo>
                      <a:cubicBezTo>
                        <a:pt x="137" y="115"/>
                        <a:pt x="138" y="115"/>
                        <a:pt x="139" y="115"/>
                      </a:cubicBezTo>
                      <a:cubicBezTo>
                        <a:pt x="140" y="115"/>
                        <a:pt x="141" y="115"/>
                        <a:pt x="141" y="115"/>
                      </a:cubicBezTo>
                      <a:cubicBezTo>
                        <a:pt x="141" y="115"/>
                        <a:pt x="141" y="113"/>
                        <a:pt x="141" y="112"/>
                      </a:cubicBezTo>
                      <a:cubicBezTo>
                        <a:pt x="141" y="111"/>
                        <a:pt x="141" y="112"/>
                        <a:pt x="140" y="111"/>
                      </a:cubicBezTo>
                      <a:cubicBezTo>
                        <a:pt x="140" y="111"/>
                        <a:pt x="139" y="110"/>
                        <a:pt x="139" y="110"/>
                      </a:cubicBezTo>
                      <a:cubicBezTo>
                        <a:pt x="139" y="110"/>
                        <a:pt x="139" y="109"/>
                        <a:pt x="139" y="109"/>
                      </a:cubicBezTo>
                      <a:cubicBezTo>
                        <a:pt x="139" y="109"/>
                        <a:pt x="139" y="108"/>
                        <a:pt x="139" y="107"/>
                      </a:cubicBezTo>
                      <a:cubicBezTo>
                        <a:pt x="139" y="107"/>
                        <a:pt x="139" y="104"/>
                        <a:pt x="139" y="104"/>
                      </a:cubicBezTo>
                      <a:cubicBezTo>
                        <a:pt x="139" y="103"/>
                        <a:pt x="138" y="101"/>
                        <a:pt x="138" y="101"/>
                      </a:cubicBezTo>
                      <a:cubicBezTo>
                        <a:pt x="138" y="100"/>
                        <a:pt x="137" y="99"/>
                        <a:pt x="137" y="99"/>
                      </a:cubicBezTo>
                      <a:cubicBezTo>
                        <a:pt x="136" y="97"/>
                        <a:pt x="136" y="97"/>
                        <a:pt x="136" y="97"/>
                      </a:cubicBezTo>
                      <a:cubicBezTo>
                        <a:pt x="136" y="97"/>
                        <a:pt x="136" y="97"/>
                        <a:pt x="136" y="96"/>
                      </a:cubicBezTo>
                      <a:cubicBezTo>
                        <a:pt x="136" y="94"/>
                        <a:pt x="137" y="92"/>
                        <a:pt x="137" y="92"/>
                      </a:cubicBezTo>
                      <a:cubicBezTo>
                        <a:pt x="138" y="91"/>
                        <a:pt x="138" y="89"/>
                        <a:pt x="138" y="89"/>
                      </a:cubicBezTo>
                      <a:cubicBezTo>
                        <a:pt x="137" y="88"/>
                        <a:pt x="137" y="88"/>
                        <a:pt x="137" y="88"/>
                      </a:cubicBezTo>
                      <a:cubicBezTo>
                        <a:pt x="137" y="88"/>
                        <a:pt x="133" y="87"/>
                        <a:pt x="133" y="87"/>
                      </a:cubicBezTo>
                      <a:cubicBezTo>
                        <a:pt x="133" y="87"/>
                        <a:pt x="132" y="86"/>
                        <a:pt x="132" y="86"/>
                      </a:cubicBezTo>
                      <a:cubicBezTo>
                        <a:pt x="132" y="85"/>
                        <a:pt x="131" y="85"/>
                        <a:pt x="131" y="85"/>
                      </a:cubicBezTo>
                      <a:cubicBezTo>
                        <a:pt x="131" y="85"/>
                        <a:pt x="127" y="86"/>
                        <a:pt x="127" y="86"/>
                      </a:cubicBezTo>
                      <a:cubicBezTo>
                        <a:pt x="127" y="86"/>
                        <a:pt x="125" y="87"/>
                        <a:pt x="124" y="88"/>
                      </a:cubicBezTo>
                      <a:cubicBezTo>
                        <a:pt x="122" y="88"/>
                        <a:pt x="122" y="88"/>
                        <a:pt x="121" y="89"/>
                      </a:cubicBezTo>
                      <a:cubicBezTo>
                        <a:pt x="119" y="90"/>
                        <a:pt x="119" y="91"/>
                        <a:pt x="118" y="92"/>
                      </a:cubicBezTo>
                      <a:cubicBezTo>
                        <a:pt x="117" y="92"/>
                        <a:pt x="116" y="94"/>
                        <a:pt x="116" y="94"/>
                      </a:cubicBezTo>
                      <a:cubicBezTo>
                        <a:pt x="115" y="95"/>
                        <a:pt x="115" y="95"/>
                        <a:pt x="116" y="96"/>
                      </a:cubicBezTo>
                      <a:cubicBezTo>
                        <a:pt x="116" y="97"/>
                        <a:pt x="117" y="96"/>
                        <a:pt x="117" y="96"/>
                      </a:cubicBezTo>
                      <a:cubicBezTo>
                        <a:pt x="117" y="96"/>
                        <a:pt x="118" y="96"/>
                        <a:pt x="119" y="96"/>
                      </a:cubicBezTo>
                      <a:cubicBezTo>
                        <a:pt x="120" y="96"/>
                        <a:pt x="120" y="97"/>
                        <a:pt x="119" y="97"/>
                      </a:cubicBezTo>
                      <a:cubicBezTo>
                        <a:pt x="119" y="97"/>
                        <a:pt x="119" y="98"/>
                        <a:pt x="119" y="98"/>
                      </a:cubicBezTo>
                      <a:cubicBezTo>
                        <a:pt x="119" y="98"/>
                        <a:pt x="119" y="98"/>
                        <a:pt x="118" y="99"/>
                      </a:cubicBezTo>
                      <a:cubicBezTo>
                        <a:pt x="118" y="99"/>
                        <a:pt x="118" y="100"/>
                        <a:pt x="118" y="101"/>
                      </a:cubicBezTo>
                      <a:cubicBezTo>
                        <a:pt x="118" y="102"/>
                        <a:pt x="117" y="102"/>
                        <a:pt x="117" y="102"/>
                      </a:cubicBezTo>
                      <a:cubicBezTo>
                        <a:pt x="116" y="103"/>
                        <a:pt x="116" y="103"/>
                        <a:pt x="115" y="104"/>
                      </a:cubicBezTo>
                      <a:cubicBezTo>
                        <a:pt x="114" y="104"/>
                        <a:pt x="114" y="105"/>
                        <a:pt x="114" y="105"/>
                      </a:cubicBezTo>
                      <a:cubicBezTo>
                        <a:pt x="114" y="106"/>
                        <a:pt x="114" y="106"/>
                        <a:pt x="115" y="107"/>
                      </a:cubicBezTo>
                      <a:cubicBezTo>
                        <a:pt x="115" y="108"/>
                        <a:pt x="115" y="108"/>
                        <a:pt x="115" y="108"/>
                      </a:cubicBezTo>
                      <a:cubicBezTo>
                        <a:pt x="115" y="109"/>
                        <a:pt x="114" y="110"/>
                        <a:pt x="114" y="109"/>
                      </a:cubicBezTo>
                      <a:cubicBezTo>
                        <a:pt x="114" y="109"/>
                        <a:pt x="114" y="108"/>
                        <a:pt x="114" y="108"/>
                      </a:cubicBezTo>
                      <a:cubicBezTo>
                        <a:pt x="111" y="108"/>
                        <a:pt x="111" y="108"/>
                        <a:pt x="111" y="108"/>
                      </a:cubicBezTo>
                      <a:cubicBezTo>
                        <a:pt x="111" y="108"/>
                        <a:pt x="111" y="108"/>
                        <a:pt x="110" y="108"/>
                      </a:cubicBezTo>
                      <a:cubicBezTo>
                        <a:pt x="110" y="108"/>
                        <a:pt x="112" y="106"/>
                        <a:pt x="112" y="106"/>
                      </a:cubicBezTo>
                      <a:cubicBezTo>
                        <a:pt x="113" y="105"/>
                        <a:pt x="113" y="105"/>
                        <a:pt x="113" y="105"/>
                      </a:cubicBezTo>
                      <a:cubicBezTo>
                        <a:pt x="113" y="104"/>
                        <a:pt x="113" y="104"/>
                        <a:pt x="113" y="104"/>
                      </a:cubicBezTo>
                      <a:cubicBezTo>
                        <a:pt x="110" y="104"/>
                        <a:pt x="110" y="104"/>
                        <a:pt x="110" y="104"/>
                      </a:cubicBezTo>
                      <a:cubicBezTo>
                        <a:pt x="109" y="104"/>
                        <a:pt x="109" y="104"/>
                        <a:pt x="109" y="104"/>
                      </a:cubicBezTo>
                      <a:cubicBezTo>
                        <a:pt x="110" y="103"/>
                        <a:pt x="110" y="103"/>
                        <a:pt x="110" y="103"/>
                      </a:cubicBezTo>
                      <a:cubicBezTo>
                        <a:pt x="110" y="101"/>
                        <a:pt x="110" y="101"/>
                        <a:pt x="110" y="101"/>
                      </a:cubicBezTo>
                      <a:cubicBezTo>
                        <a:pt x="111" y="99"/>
                        <a:pt x="111" y="99"/>
                        <a:pt x="111" y="99"/>
                      </a:cubicBezTo>
                      <a:cubicBezTo>
                        <a:pt x="111" y="99"/>
                        <a:pt x="111" y="97"/>
                        <a:pt x="112" y="97"/>
                      </a:cubicBezTo>
                      <a:cubicBezTo>
                        <a:pt x="112" y="97"/>
                        <a:pt x="113" y="96"/>
                        <a:pt x="113" y="95"/>
                      </a:cubicBezTo>
                      <a:cubicBezTo>
                        <a:pt x="114" y="95"/>
                        <a:pt x="113" y="94"/>
                        <a:pt x="113" y="94"/>
                      </a:cubicBezTo>
                      <a:cubicBezTo>
                        <a:pt x="111" y="94"/>
                        <a:pt x="111" y="94"/>
                        <a:pt x="111" y="94"/>
                      </a:cubicBezTo>
                      <a:cubicBezTo>
                        <a:pt x="109" y="95"/>
                        <a:pt x="109" y="95"/>
                        <a:pt x="109" y="95"/>
                      </a:cubicBezTo>
                      <a:cubicBezTo>
                        <a:pt x="109" y="95"/>
                        <a:pt x="106" y="96"/>
                        <a:pt x="105" y="96"/>
                      </a:cubicBezTo>
                      <a:cubicBezTo>
                        <a:pt x="104" y="96"/>
                        <a:pt x="105" y="96"/>
                        <a:pt x="104" y="96"/>
                      </a:cubicBezTo>
                      <a:cubicBezTo>
                        <a:pt x="104" y="95"/>
                        <a:pt x="103" y="95"/>
                        <a:pt x="103" y="95"/>
                      </a:cubicBezTo>
                      <a:cubicBezTo>
                        <a:pt x="103" y="95"/>
                        <a:pt x="101" y="95"/>
                        <a:pt x="101" y="95"/>
                      </a:cubicBezTo>
                      <a:cubicBezTo>
                        <a:pt x="100" y="95"/>
                        <a:pt x="100" y="96"/>
                        <a:pt x="100" y="96"/>
                      </a:cubicBezTo>
                      <a:cubicBezTo>
                        <a:pt x="100" y="96"/>
                        <a:pt x="103" y="97"/>
                        <a:pt x="104" y="98"/>
                      </a:cubicBezTo>
                      <a:cubicBezTo>
                        <a:pt x="104" y="98"/>
                        <a:pt x="105" y="98"/>
                        <a:pt x="105" y="98"/>
                      </a:cubicBezTo>
                      <a:cubicBezTo>
                        <a:pt x="105" y="99"/>
                        <a:pt x="105" y="99"/>
                        <a:pt x="105" y="99"/>
                      </a:cubicBezTo>
                      <a:cubicBezTo>
                        <a:pt x="105" y="99"/>
                        <a:pt x="104" y="101"/>
                        <a:pt x="103" y="101"/>
                      </a:cubicBezTo>
                      <a:cubicBezTo>
                        <a:pt x="103" y="102"/>
                        <a:pt x="102" y="102"/>
                        <a:pt x="102" y="102"/>
                      </a:cubicBezTo>
                      <a:cubicBezTo>
                        <a:pt x="100" y="103"/>
                        <a:pt x="100" y="103"/>
                        <a:pt x="100" y="103"/>
                      </a:cubicBezTo>
                      <a:cubicBezTo>
                        <a:pt x="100" y="103"/>
                        <a:pt x="101" y="105"/>
                        <a:pt x="101" y="105"/>
                      </a:cubicBezTo>
                      <a:cubicBezTo>
                        <a:pt x="101" y="105"/>
                        <a:pt x="101" y="107"/>
                        <a:pt x="101" y="107"/>
                      </a:cubicBezTo>
                      <a:cubicBezTo>
                        <a:pt x="99" y="106"/>
                        <a:pt x="99" y="106"/>
                        <a:pt x="99" y="106"/>
                      </a:cubicBezTo>
                      <a:cubicBezTo>
                        <a:pt x="96" y="108"/>
                        <a:pt x="96" y="108"/>
                        <a:pt x="96" y="108"/>
                      </a:cubicBezTo>
                      <a:cubicBezTo>
                        <a:pt x="96" y="108"/>
                        <a:pt x="95" y="108"/>
                        <a:pt x="95" y="108"/>
                      </a:cubicBezTo>
                      <a:cubicBezTo>
                        <a:pt x="94" y="108"/>
                        <a:pt x="94" y="107"/>
                        <a:pt x="94" y="107"/>
                      </a:cubicBezTo>
                      <a:cubicBezTo>
                        <a:pt x="93" y="109"/>
                        <a:pt x="93" y="109"/>
                        <a:pt x="93" y="109"/>
                      </a:cubicBezTo>
                      <a:cubicBezTo>
                        <a:pt x="93" y="109"/>
                        <a:pt x="89" y="108"/>
                        <a:pt x="88" y="108"/>
                      </a:cubicBezTo>
                      <a:cubicBezTo>
                        <a:pt x="88" y="108"/>
                        <a:pt x="88" y="110"/>
                        <a:pt x="88" y="110"/>
                      </a:cubicBezTo>
                      <a:cubicBezTo>
                        <a:pt x="90" y="111"/>
                        <a:pt x="90" y="111"/>
                        <a:pt x="90" y="111"/>
                      </a:cubicBezTo>
                      <a:cubicBezTo>
                        <a:pt x="88" y="112"/>
                        <a:pt x="88" y="112"/>
                        <a:pt x="88" y="112"/>
                      </a:cubicBezTo>
                      <a:cubicBezTo>
                        <a:pt x="92" y="114"/>
                        <a:pt x="92" y="114"/>
                        <a:pt x="92" y="114"/>
                      </a:cubicBezTo>
                      <a:cubicBezTo>
                        <a:pt x="93" y="115"/>
                        <a:pt x="93" y="115"/>
                        <a:pt x="93" y="115"/>
                      </a:cubicBezTo>
                      <a:cubicBezTo>
                        <a:pt x="94" y="118"/>
                        <a:pt x="94" y="118"/>
                        <a:pt x="94" y="118"/>
                      </a:cubicBezTo>
                      <a:cubicBezTo>
                        <a:pt x="93" y="119"/>
                        <a:pt x="93" y="119"/>
                        <a:pt x="93" y="119"/>
                      </a:cubicBezTo>
                      <a:cubicBezTo>
                        <a:pt x="95" y="121"/>
                        <a:pt x="95" y="121"/>
                        <a:pt x="95" y="121"/>
                      </a:cubicBezTo>
                      <a:cubicBezTo>
                        <a:pt x="95" y="121"/>
                        <a:pt x="95" y="122"/>
                        <a:pt x="96" y="123"/>
                      </a:cubicBezTo>
                      <a:cubicBezTo>
                        <a:pt x="96" y="123"/>
                        <a:pt x="96" y="125"/>
                        <a:pt x="96" y="125"/>
                      </a:cubicBezTo>
                      <a:cubicBezTo>
                        <a:pt x="96" y="127"/>
                        <a:pt x="96" y="127"/>
                        <a:pt x="96" y="127"/>
                      </a:cubicBezTo>
                      <a:cubicBezTo>
                        <a:pt x="96" y="128"/>
                        <a:pt x="96" y="128"/>
                        <a:pt x="96" y="128"/>
                      </a:cubicBezTo>
                      <a:cubicBezTo>
                        <a:pt x="96" y="128"/>
                        <a:pt x="94" y="129"/>
                        <a:pt x="94" y="130"/>
                      </a:cubicBezTo>
                      <a:cubicBezTo>
                        <a:pt x="94" y="130"/>
                        <a:pt x="95" y="130"/>
                        <a:pt x="95" y="130"/>
                      </a:cubicBezTo>
                      <a:cubicBezTo>
                        <a:pt x="97" y="132"/>
                        <a:pt x="97" y="132"/>
                        <a:pt x="97" y="132"/>
                      </a:cubicBezTo>
                      <a:cubicBezTo>
                        <a:pt x="98" y="134"/>
                        <a:pt x="98" y="134"/>
                        <a:pt x="98" y="134"/>
                      </a:cubicBezTo>
                      <a:cubicBezTo>
                        <a:pt x="98" y="134"/>
                        <a:pt x="97" y="135"/>
                        <a:pt x="97" y="136"/>
                      </a:cubicBezTo>
                      <a:cubicBezTo>
                        <a:pt x="97" y="136"/>
                        <a:pt x="99" y="137"/>
                        <a:pt x="99" y="137"/>
                      </a:cubicBezTo>
                      <a:cubicBezTo>
                        <a:pt x="103" y="137"/>
                        <a:pt x="103" y="137"/>
                        <a:pt x="103" y="137"/>
                      </a:cubicBezTo>
                      <a:cubicBezTo>
                        <a:pt x="105" y="137"/>
                        <a:pt x="105" y="137"/>
                        <a:pt x="105" y="137"/>
                      </a:cubicBezTo>
                      <a:cubicBezTo>
                        <a:pt x="105" y="137"/>
                        <a:pt x="108" y="137"/>
                        <a:pt x="109" y="137"/>
                      </a:cubicBezTo>
                      <a:cubicBezTo>
                        <a:pt x="109" y="137"/>
                        <a:pt x="112" y="136"/>
                        <a:pt x="112" y="136"/>
                      </a:cubicBezTo>
                      <a:cubicBezTo>
                        <a:pt x="112" y="136"/>
                        <a:pt x="114" y="138"/>
                        <a:pt x="115" y="138"/>
                      </a:cubicBezTo>
                      <a:cubicBezTo>
                        <a:pt x="116" y="139"/>
                        <a:pt x="115" y="140"/>
                        <a:pt x="115" y="140"/>
                      </a:cubicBezTo>
                      <a:cubicBezTo>
                        <a:pt x="115" y="141"/>
                        <a:pt x="114" y="141"/>
                        <a:pt x="114" y="141"/>
                      </a:cubicBezTo>
                      <a:cubicBezTo>
                        <a:pt x="114" y="141"/>
                        <a:pt x="115" y="144"/>
                        <a:pt x="115" y="144"/>
                      </a:cubicBezTo>
                      <a:cubicBezTo>
                        <a:pt x="116" y="145"/>
                        <a:pt x="116" y="144"/>
                        <a:pt x="116" y="144"/>
                      </a:cubicBezTo>
                      <a:cubicBezTo>
                        <a:pt x="116" y="144"/>
                        <a:pt x="117" y="145"/>
                        <a:pt x="118" y="146"/>
                      </a:cubicBezTo>
                      <a:cubicBezTo>
                        <a:pt x="118" y="147"/>
                        <a:pt x="119" y="147"/>
                        <a:pt x="119" y="147"/>
                      </a:cubicBezTo>
                      <a:cubicBezTo>
                        <a:pt x="120" y="147"/>
                        <a:pt x="120" y="147"/>
                        <a:pt x="120" y="147"/>
                      </a:cubicBezTo>
                      <a:cubicBezTo>
                        <a:pt x="120" y="147"/>
                        <a:pt x="121" y="147"/>
                        <a:pt x="121" y="148"/>
                      </a:cubicBezTo>
                      <a:cubicBezTo>
                        <a:pt x="122" y="148"/>
                        <a:pt x="123" y="148"/>
                        <a:pt x="124" y="148"/>
                      </a:cubicBezTo>
                      <a:cubicBezTo>
                        <a:pt x="124" y="148"/>
                        <a:pt x="125" y="148"/>
                        <a:pt x="125" y="147"/>
                      </a:cubicBezTo>
                      <a:cubicBezTo>
                        <a:pt x="125" y="147"/>
                        <a:pt x="126" y="147"/>
                        <a:pt x="127" y="147"/>
                      </a:cubicBezTo>
                      <a:cubicBezTo>
                        <a:pt x="127" y="146"/>
                        <a:pt x="127" y="145"/>
                        <a:pt x="127" y="145"/>
                      </a:cubicBezTo>
                      <a:cubicBezTo>
                        <a:pt x="127" y="145"/>
                        <a:pt x="127" y="145"/>
                        <a:pt x="127" y="145"/>
                      </a:cubicBezTo>
                      <a:close/>
                      <a:moveTo>
                        <a:pt x="127" y="150"/>
                      </a:moveTo>
                      <a:cubicBezTo>
                        <a:pt x="127" y="150"/>
                        <a:pt x="127" y="150"/>
                        <a:pt x="127" y="150"/>
                      </a:cubicBezTo>
                      <a:cubicBezTo>
                        <a:pt x="126" y="151"/>
                        <a:pt x="126" y="151"/>
                        <a:pt x="126" y="151"/>
                      </a:cubicBezTo>
                      <a:cubicBezTo>
                        <a:pt x="127" y="151"/>
                        <a:pt x="127" y="151"/>
                        <a:pt x="127" y="151"/>
                      </a:cubicBezTo>
                      <a:cubicBezTo>
                        <a:pt x="127" y="151"/>
                        <a:pt x="129" y="152"/>
                        <a:pt x="129" y="152"/>
                      </a:cubicBezTo>
                      <a:cubicBezTo>
                        <a:pt x="130" y="152"/>
                        <a:pt x="130" y="152"/>
                        <a:pt x="130" y="152"/>
                      </a:cubicBezTo>
                      <a:cubicBezTo>
                        <a:pt x="131" y="151"/>
                        <a:pt x="131" y="151"/>
                        <a:pt x="131" y="151"/>
                      </a:cubicBezTo>
                      <a:cubicBezTo>
                        <a:pt x="132" y="149"/>
                        <a:pt x="132" y="149"/>
                        <a:pt x="132" y="149"/>
                      </a:cubicBezTo>
                      <a:cubicBezTo>
                        <a:pt x="135" y="148"/>
                        <a:pt x="135" y="148"/>
                        <a:pt x="135" y="148"/>
                      </a:cubicBezTo>
                      <a:cubicBezTo>
                        <a:pt x="135" y="148"/>
                        <a:pt x="138" y="148"/>
                        <a:pt x="138" y="148"/>
                      </a:cubicBezTo>
                      <a:cubicBezTo>
                        <a:pt x="138" y="148"/>
                        <a:pt x="139" y="147"/>
                        <a:pt x="139" y="147"/>
                      </a:cubicBezTo>
                      <a:cubicBezTo>
                        <a:pt x="139" y="146"/>
                        <a:pt x="139" y="146"/>
                        <a:pt x="139" y="146"/>
                      </a:cubicBezTo>
                      <a:cubicBezTo>
                        <a:pt x="137" y="144"/>
                        <a:pt x="137" y="144"/>
                        <a:pt x="137" y="144"/>
                      </a:cubicBezTo>
                      <a:cubicBezTo>
                        <a:pt x="135" y="144"/>
                        <a:pt x="135" y="144"/>
                        <a:pt x="135" y="144"/>
                      </a:cubicBezTo>
                      <a:cubicBezTo>
                        <a:pt x="135" y="144"/>
                        <a:pt x="133" y="144"/>
                        <a:pt x="132" y="144"/>
                      </a:cubicBezTo>
                      <a:cubicBezTo>
                        <a:pt x="132" y="144"/>
                        <a:pt x="131" y="144"/>
                        <a:pt x="131" y="144"/>
                      </a:cubicBezTo>
                      <a:cubicBezTo>
                        <a:pt x="131" y="144"/>
                        <a:pt x="131" y="145"/>
                        <a:pt x="131" y="146"/>
                      </a:cubicBezTo>
                      <a:cubicBezTo>
                        <a:pt x="130" y="147"/>
                        <a:pt x="130" y="147"/>
                        <a:pt x="129" y="147"/>
                      </a:cubicBezTo>
                      <a:cubicBezTo>
                        <a:pt x="129" y="147"/>
                        <a:pt x="128" y="147"/>
                        <a:pt x="128" y="147"/>
                      </a:cubicBezTo>
                      <a:cubicBezTo>
                        <a:pt x="127" y="150"/>
                        <a:pt x="127" y="150"/>
                        <a:pt x="127" y="150"/>
                      </a:cubicBezTo>
                      <a:close/>
                      <a:moveTo>
                        <a:pt x="116" y="162"/>
                      </a:moveTo>
                      <a:cubicBezTo>
                        <a:pt x="116" y="162"/>
                        <a:pt x="116" y="162"/>
                        <a:pt x="116" y="162"/>
                      </a:cubicBezTo>
                      <a:cubicBezTo>
                        <a:pt x="117" y="162"/>
                        <a:pt x="117" y="162"/>
                        <a:pt x="117" y="162"/>
                      </a:cubicBezTo>
                      <a:cubicBezTo>
                        <a:pt x="118" y="161"/>
                        <a:pt x="118" y="161"/>
                        <a:pt x="118" y="161"/>
                      </a:cubicBezTo>
                      <a:cubicBezTo>
                        <a:pt x="117" y="159"/>
                        <a:pt x="117" y="159"/>
                        <a:pt x="117" y="159"/>
                      </a:cubicBezTo>
                      <a:cubicBezTo>
                        <a:pt x="116" y="158"/>
                        <a:pt x="116" y="158"/>
                        <a:pt x="116" y="158"/>
                      </a:cubicBezTo>
                      <a:cubicBezTo>
                        <a:pt x="115" y="155"/>
                        <a:pt x="115" y="155"/>
                        <a:pt x="115" y="155"/>
                      </a:cubicBezTo>
                      <a:cubicBezTo>
                        <a:pt x="113" y="153"/>
                        <a:pt x="113" y="153"/>
                        <a:pt x="113" y="153"/>
                      </a:cubicBezTo>
                      <a:cubicBezTo>
                        <a:pt x="112" y="152"/>
                        <a:pt x="112" y="152"/>
                        <a:pt x="112" y="152"/>
                      </a:cubicBezTo>
                      <a:cubicBezTo>
                        <a:pt x="111" y="154"/>
                        <a:pt x="111" y="154"/>
                        <a:pt x="111" y="154"/>
                      </a:cubicBezTo>
                      <a:cubicBezTo>
                        <a:pt x="110" y="155"/>
                        <a:pt x="110" y="155"/>
                        <a:pt x="110" y="155"/>
                      </a:cubicBezTo>
                      <a:cubicBezTo>
                        <a:pt x="109" y="156"/>
                        <a:pt x="109" y="156"/>
                        <a:pt x="109" y="156"/>
                      </a:cubicBezTo>
                      <a:cubicBezTo>
                        <a:pt x="109" y="156"/>
                        <a:pt x="106" y="155"/>
                        <a:pt x="105" y="154"/>
                      </a:cubicBezTo>
                      <a:cubicBezTo>
                        <a:pt x="103" y="153"/>
                        <a:pt x="103" y="153"/>
                        <a:pt x="103" y="153"/>
                      </a:cubicBezTo>
                      <a:cubicBezTo>
                        <a:pt x="103" y="153"/>
                        <a:pt x="102" y="153"/>
                        <a:pt x="101" y="152"/>
                      </a:cubicBezTo>
                      <a:cubicBezTo>
                        <a:pt x="101" y="152"/>
                        <a:pt x="100" y="151"/>
                        <a:pt x="100" y="151"/>
                      </a:cubicBezTo>
                      <a:cubicBezTo>
                        <a:pt x="100" y="151"/>
                        <a:pt x="100" y="150"/>
                        <a:pt x="99" y="150"/>
                      </a:cubicBezTo>
                      <a:cubicBezTo>
                        <a:pt x="99" y="149"/>
                        <a:pt x="98" y="150"/>
                        <a:pt x="97" y="150"/>
                      </a:cubicBezTo>
                      <a:cubicBezTo>
                        <a:pt x="95" y="150"/>
                        <a:pt x="95" y="150"/>
                        <a:pt x="94" y="150"/>
                      </a:cubicBezTo>
                      <a:cubicBezTo>
                        <a:pt x="94" y="151"/>
                        <a:pt x="93" y="151"/>
                        <a:pt x="93" y="151"/>
                      </a:cubicBezTo>
                      <a:cubicBezTo>
                        <a:pt x="92" y="152"/>
                        <a:pt x="93" y="154"/>
                        <a:pt x="93" y="154"/>
                      </a:cubicBezTo>
                      <a:cubicBezTo>
                        <a:pt x="93" y="155"/>
                        <a:pt x="93" y="155"/>
                        <a:pt x="93" y="155"/>
                      </a:cubicBezTo>
                      <a:cubicBezTo>
                        <a:pt x="94" y="157"/>
                        <a:pt x="94" y="157"/>
                        <a:pt x="94" y="157"/>
                      </a:cubicBezTo>
                      <a:cubicBezTo>
                        <a:pt x="92" y="157"/>
                        <a:pt x="92" y="157"/>
                        <a:pt x="92" y="157"/>
                      </a:cubicBezTo>
                      <a:cubicBezTo>
                        <a:pt x="91" y="157"/>
                        <a:pt x="91" y="157"/>
                        <a:pt x="91" y="157"/>
                      </a:cubicBezTo>
                      <a:cubicBezTo>
                        <a:pt x="92" y="159"/>
                        <a:pt x="92" y="159"/>
                        <a:pt x="92" y="159"/>
                      </a:cubicBezTo>
                      <a:cubicBezTo>
                        <a:pt x="92" y="159"/>
                        <a:pt x="92" y="160"/>
                        <a:pt x="93" y="161"/>
                      </a:cubicBezTo>
                      <a:cubicBezTo>
                        <a:pt x="93" y="161"/>
                        <a:pt x="94" y="162"/>
                        <a:pt x="94" y="162"/>
                      </a:cubicBezTo>
                      <a:cubicBezTo>
                        <a:pt x="94" y="162"/>
                        <a:pt x="99" y="163"/>
                        <a:pt x="99" y="163"/>
                      </a:cubicBezTo>
                      <a:cubicBezTo>
                        <a:pt x="100" y="163"/>
                        <a:pt x="100" y="163"/>
                        <a:pt x="100" y="163"/>
                      </a:cubicBezTo>
                      <a:cubicBezTo>
                        <a:pt x="100" y="163"/>
                        <a:pt x="102" y="164"/>
                        <a:pt x="104" y="165"/>
                      </a:cubicBezTo>
                      <a:cubicBezTo>
                        <a:pt x="105" y="166"/>
                        <a:pt x="106" y="167"/>
                        <a:pt x="106" y="167"/>
                      </a:cubicBezTo>
                      <a:cubicBezTo>
                        <a:pt x="106" y="167"/>
                        <a:pt x="108" y="167"/>
                        <a:pt x="108" y="167"/>
                      </a:cubicBezTo>
                      <a:cubicBezTo>
                        <a:pt x="109" y="166"/>
                        <a:pt x="109" y="166"/>
                        <a:pt x="109" y="166"/>
                      </a:cubicBezTo>
                      <a:cubicBezTo>
                        <a:pt x="112" y="165"/>
                        <a:pt x="112" y="165"/>
                        <a:pt x="112" y="165"/>
                      </a:cubicBezTo>
                      <a:cubicBezTo>
                        <a:pt x="114" y="165"/>
                        <a:pt x="114" y="165"/>
                        <a:pt x="114" y="165"/>
                      </a:cubicBezTo>
                      <a:cubicBezTo>
                        <a:pt x="117" y="166"/>
                        <a:pt x="117" y="166"/>
                        <a:pt x="117" y="166"/>
                      </a:cubicBezTo>
                      <a:cubicBezTo>
                        <a:pt x="118" y="166"/>
                        <a:pt x="118" y="166"/>
                        <a:pt x="118" y="166"/>
                      </a:cubicBezTo>
                      <a:cubicBezTo>
                        <a:pt x="118" y="164"/>
                        <a:pt x="118" y="164"/>
                        <a:pt x="118" y="164"/>
                      </a:cubicBezTo>
                      <a:cubicBezTo>
                        <a:pt x="118" y="163"/>
                        <a:pt x="118" y="163"/>
                        <a:pt x="118" y="163"/>
                      </a:cubicBezTo>
                      <a:cubicBezTo>
                        <a:pt x="116" y="162"/>
                        <a:pt x="116" y="162"/>
                        <a:pt x="116" y="162"/>
                      </a:cubicBezTo>
                      <a:close/>
                      <a:moveTo>
                        <a:pt x="77" y="121"/>
                      </a:moveTo>
                      <a:cubicBezTo>
                        <a:pt x="77" y="121"/>
                        <a:pt x="77" y="121"/>
                        <a:pt x="77" y="121"/>
                      </a:cubicBezTo>
                      <a:cubicBezTo>
                        <a:pt x="75" y="120"/>
                        <a:pt x="75" y="120"/>
                        <a:pt x="75" y="120"/>
                      </a:cubicBezTo>
                      <a:cubicBezTo>
                        <a:pt x="73" y="117"/>
                        <a:pt x="73" y="117"/>
                        <a:pt x="73" y="117"/>
                      </a:cubicBezTo>
                      <a:cubicBezTo>
                        <a:pt x="70" y="116"/>
                        <a:pt x="70" y="116"/>
                        <a:pt x="70" y="116"/>
                      </a:cubicBezTo>
                      <a:cubicBezTo>
                        <a:pt x="70" y="116"/>
                        <a:pt x="69" y="113"/>
                        <a:pt x="69" y="113"/>
                      </a:cubicBezTo>
                      <a:cubicBezTo>
                        <a:pt x="68" y="112"/>
                        <a:pt x="68" y="113"/>
                        <a:pt x="68" y="113"/>
                      </a:cubicBezTo>
                      <a:cubicBezTo>
                        <a:pt x="68" y="113"/>
                        <a:pt x="68" y="115"/>
                        <a:pt x="67" y="116"/>
                      </a:cubicBezTo>
                      <a:cubicBezTo>
                        <a:pt x="66" y="116"/>
                        <a:pt x="65" y="116"/>
                        <a:pt x="65" y="116"/>
                      </a:cubicBezTo>
                      <a:cubicBezTo>
                        <a:pt x="63" y="118"/>
                        <a:pt x="63" y="118"/>
                        <a:pt x="63" y="118"/>
                      </a:cubicBezTo>
                      <a:cubicBezTo>
                        <a:pt x="63" y="118"/>
                        <a:pt x="60" y="119"/>
                        <a:pt x="59" y="119"/>
                      </a:cubicBezTo>
                      <a:cubicBezTo>
                        <a:pt x="59" y="119"/>
                        <a:pt x="58" y="120"/>
                        <a:pt x="58" y="120"/>
                      </a:cubicBezTo>
                      <a:cubicBezTo>
                        <a:pt x="52" y="119"/>
                        <a:pt x="52" y="119"/>
                        <a:pt x="52" y="119"/>
                      </a:cubicBezTo>
                      <a:cubicBezTo>
                        <a:pt x="50" y="121"/>
                        <a:pt x="50" y="121"/>
                        <a:pt x="50" y="121"/>
                      </a:cubicBezTo>
                      <a:cubicBezTo>
                        <a:pt x="50" y="122"/>
                        <a:pt x="50" y="122"/>
                        <a:pt x="50" y="122"/>
                      </a:cubicBezTo>
                      <a:cubicBezTo>
                        <a:pt x="51" y="124"/>
                        <a:pt x="51" y="124"/>
                        <a:pt x="51" y="124"/>
                      </a:cubicBezTo>
                      <a:cubicBezTo>
                        <a:pt x="52" y="125"/>
                        <a:pt x="52" y="125"/>
                        <a:pt x="52" y="125"/>
                      </a:cubicBezTo>
                      <a:cubicBezTo>
                        <a:pt x="53" y="125"/>
                        <a:pt x="53" y="125"/>
                        <a:pt x="53" y="125"/>
                      </a:cubicBezTo>
                      <a:cubicBezTo>
                        <a:pt x="53" y="127"/>
                        <a:pt x="53" y="127"/>
                        <a:pt x="53" y="127"/>
                      </a:cubicBezTo>
                      <a:cubicBezTo>
                        <a:pt x="54" y="129"/>
                        <a:pt x="54" y="129"/>
                        <a:pt x="54" y="129"/>
                      </a:cubicBezTo>
                      <a:cubicBezTo>
                        <a:pt x="54" y="129"/>
                        <a:pt x="55" y="130"/>
                        <a:pt x="56" y="132"/>
                      </a:cubicBezTo>
                      <a:cubicBezTo>
                        <a:pt x="57" y="134"/>
                        <a:pt x="56" y="135"/>
                        <a:pt x="56" y="135"/>
                      </a:cubicBezTo>
                      <a:cubicBezTo>
                        <a:pt x="59" y="138"/>
                        <a:pt x="59" y="138"/>
                        <a:pt x="59" y="138"/>
                      </a:cubicBezTo>
                      <a:cubicBezTo>
                        <a:pt x="61" y="139"/>
                        <a:pt x="61" y="139"/>
                        <a:pt x="61" y="139"/>
                      </a:cubicBezTo>
                      <a:cubicBezTo>
                        <a:pt x="61" y="139"/>
                        <a:pt x="62" y="140"/>
                        <a:pt x="63" y="140"/>
                      </a:cubicBezTo>
                      <a:cubicBezTo>
                        <a:pt x="63" y="140"/>
                        <a:pt x="63" y="141"/>
                        <a:pt x="63" y="141"/>
                      </a:cubicBezTo>
                      <a:cubicBezTo>
                        <a:pt x="63" y="143"/>
                        <a:pt x="63" y="143"/>
                        <a:pt x="63" y="143"/>
                      </a:cubicBezTo>
                      <a:cubicBezTo>
                        <a:pt x="64" y="145"/>
                        <a:pt x="64" y="145"/>
                        <a:pt x="64" y="145"/>
                      </a:cubicBezTo>
                      <a:cubicBezTo>
                        <a:pt x="65" y="144"/>
                        <a:pt x="65" y="144"/>
                        <a:pt x="65" y="144"/>
                      </a:cubicBezTo>
                      <a:cubicBezTo>
                        <a:pt x="66" y="143"/>
                        <a:pt x="66" y="143"/>
                        <a:pt x="66" y="143"/>
                      </a:cubicBezTo>
                      <a:cubicBezTo>
                        <a:pt x="71" y="145"/>
                        <a:pt x="71" y="145"/>
                        <a:pt x="71" y="145"/>
                      </a:cubicBezTo>
                      <a:cubicBezTo>
                        <a:pt x="71" y="145"/>
                        <a:pt x="75" y="147"/>
                        <a:pt x="76" y="147"/>
                      </a:cubicBezTo>
                      <a:cubicBezTo>
                        <a:pt x="76" y="147"/>
                        <a:pt x="78" y="145"/>
                        <a:pt x="78" y="145"/>
                      </a:cubicBezTo>
                      <a:cubicBezTo>
                        <a:pt x="79" y="144"/>
                        <a:pt x="82" y="144"/>
                        <a:pt x="82" y="144"/>
                      </a:cubicBezTo>
                      <a:cubicBezTo>
                        <a:pt x="83" y="144"/>
                        <a:pt x="83" y="143"/>
                        <a:pt x="83" y="143"/>
                      </a:cubicBezTo>
                      <a:cubicBezTo>
                        <a:pt x="83" y="142"/>
                        <a:pt x="84" y="141"/>
                        <a:pt x="84" y="140"/>
                      </a:cubicBezTo>
                      <a:cubicBezTo>
                        <a:pt x="84" y="139"/>
                        <a:pt x="85" y="138"/>
                        <a:pt x="85" y="138"/>
                      </a:cubicBezTo>
                      <a:cubicBezTo>
                        <a:pt x="85" y="136"/>
                        <a:pt x="85" y="136"/>
                        <a:pt x="85" y="136"/>
                      </a:cubicBezTo>
                      <a:cubicBezTo>
                        <a:pt x="84" y="133"/>
                        <a:pt x="84" y="133"/>
                        <a:pt x="84" y="133"/>
                      </a:cubicBezTo>
                      <a:cubicBezTo>
                        <a:pt x="85" y="129"/>
                        <a:pt x="85" y="129"/>
                        <a:pt x="85" y="129"/>
                      </a:cubicBezTo>
                      <a:cubicBezTo>
                        <a:pt x="83" y="127"/>
                        <a:pt x="83" y="127"/>
                        <a:pt x="83" y="127"/>
                      </a:cubicBezTo>
                      <a:cubicBezTo>
                        <a:pt x="82" y="126"/>
                        <a:pt x="82" y="126"/>
                        <a:pt x="82" y="126"/>
                      </a:cubicBezTo>
                      <a:cubicBezTo>
                        <a:pt x="82" y="125"/>
                        <a:pt x="82" y="125"/>
                        <a:pt x="82" y="125"/>
                      </a:cubicBezTo>
                      <a:cubicBezTo>
                        <a:pt x="82" y="124"/>
                        <a:pt x="82" y="124"/>
                        <a:pt x="82" y="124"/>
                      </a:cubicBezTo>
                      <a:cubicBezTo>
                        <a:pt x="84" y="123"/>
                        <a:pt x="84" y="123"/>
                        <a:pt x="84" y="123"/>
                      </a:cubicBezTo>
                      <a:cubicBezTo>
                        <a:pt x="84" y="120"/>
                        <a:pt x="84" y="120"/>
                        <a:pt x="84" y="120"/>
                      </a:cubicBezTo>
                      <a:cubicBezTo>
                        <a:pt x="87" y="118"/>
                        <a:pt x="87" y="118"/>
                        <a:pt x="87" y="118"/>
                      </a:cubicBezTo>
                      <a:cubicBezTo>
                        <a:pt x="88" y="115"/>
                        <a:pt x="88" y="115"/>
                        <a:pt x="88" y="115"/>
                      </a:cubicBezTo>
                      <a:cubicBezTo>
                        <a:pt x="88" y="115"/>
                        <a:pt x="84" y="114"/>
                        <a:pt x="83" y="114"/>
                      </a:cubicBezTo>
                      <a:cubicBezTo>
                        <a:pt x="81" y="114"/>
                        <a:pt x="82" y="114"/>
                        <a:pt x="82" y="113"/>
                      </a:cubicBezTo>
                      <a:cubicBezTo>
                        <a:pt x="82" y="113"/>
                        <a:pt x="81" y="112"/>
                        <a:pt x="81" y="112"/>
                      </a:cubicBezTo>
                      <a:cubicBezTo>
                        <a:pt x="81" y="112"/>
                        <a:pt x="79" y="113"/>
                        <a:pt x="79" y="113"/>
                      </a:cubicBezTo>
                      <a:cubicBezTo>
                        <a:pt x="78" y="113"/>
                        <a:pt x="78" y="111"/>
                        <a:pt x="78" y="111"/>
                      </a:cubicBezTo>
                      <a:cubicBezTo>
                        <a:pt x="78" y="111"/>
                        <a:pt x="76" y="112"/>
                        <a:pt x="76" y="112"/>
                      </a:cubicBezTo>
                      <a:cubicBezTo>
                        <a:pt x="75" y="112"/>
                        <a:pt x="73" y="112"/>
                        <a:pt x="73" y="112"/>
                      </a:cubicBezTo>
                      <a:cubicBezTo>
                        <a:pt x="73" y="112"/>
                        <a:pt x="73" y="113"/>
                        <a:pt x="73" y="113"/>
                      </a:cubicBezTo>
                      <a:cubicBezTo>
                        <a:pt x="72" y="114"/>
                        <a:pt x="73" y="115"/>
                        <a:pt x="74" y="115"/>
                      </a:cubicBezTo>
                      <a:cubicBezTo>
                        <a:pt x="74" y="116"/>
                        <a:pt x="75" y="118"/>
                        <a:pt x="75" y="118"/>
                      </a:cubicBezTo>
                      <a:cubicBezTo>
                        <a:pt x="76" y="120"/>
                        <a:pt x="76" y="120"/>
                        <a:pt x="76" y="120"/>
                      </a:cubicBezTo>
                      <a:cubicBezTo>
                        <a:pt x="77" y="121"/>
                        <a:pt x="77" y="121"/>
                        <a:pt x="77" y="121"/>
                      </a:cubicBezTo>
                      <a:close/>
                      <a:moveTo>
                        <a:pt x="75" y="107"/>
                      </a:moveTo>
                      <a:cubicBezTo>
                        <a:pt x="75" y="107"/>
                        <a:pt x="75" y="107"/>
                        <a:pt x="75" y="107"/>
                      </a:cubicBezTo>
                      <a:cubicBezTo>
                        <a:pt x="77" y="107"/>
                        <a:pt x="77" y="107"/>
                        <a:pt x="77" y="107"/>
                      </a:cubicBezTo>
                      <a:cubicBezTo>
                        <a:pt x="78" y="105"/>
                        <a:pt x="78" y="105"/>
                        <a:pt x="78" y="105"/>
                      </a:cubicBezTo>
                      <a:cubicBezTo>
                        <a:pt x="78" y="105"/>
                        <a:pt x="79" y="104"/>
                        <a:pt x="79" y="103"/>
                      </a:cubicBezTo>
                      <a:cubicBezTo>
                        <a:pt x="79" y="103"/>
                        <a:pt x="79" y="102"/>
                        <a:pt x="79" y="102"/>
                      </a:cubicBezTo>
                      <a:cubicBezTo>
                        <a:pt x="79" y="100"/>
                        <a:pt x="79" y="100"/>
                        <a:pt x="79" y="100"/>
                      </a:cubicBezTo>
                      <a:cubicBezTo>
                        <a:pt x="78" y="99"/>
                        <a:pt x="78" y="99"/>
                        <a:pt x="78" y="99"/>
                      </a:cubicBezTo>
                      <a:cubicBezTo>
                        <a:pt x="77" y="97"/>
                        <a:pt x="77" y="97"/>
                        <a:pt x="77" y="97"/>
                      </a:cubicBezTo>
                      <a:cubicBezTo>
                        <a:pt x="76" y="94"/>
                        <a:pt x="76" y="94"/>
                        <a:pt x="76" y="94"/>
                      </a:cubicBezTo>
                      <a:cubicBezTo>
                        <a:pt x="74" y="94"/>
                        <a:pt x="74" y="94"/>
                        <a:pt x="74" y="94"/>
                      </a:cubicBezTo>
                      <a:cubicBezTo>
                        <a:pt x="74" y="94"/>
                        <a:pt x="74" y="96"/>
                        <a:pt x="74" y="96"/>
                      </a:cubicBezTo>
                      <a:cubicBezTo>
                        <a:pt x="74" y="97"/>
                        <a:pt x="75" y="98"/>
                        <a:pt x="75" y="98"/>
                      </a:cubicBezTo>
                      <a:cubicBezTo>
                        <a:pt x="76" y="99"/>
                        <a:pt x="76" y="99"/>
                        <a:pt x="76" y="99"/>
                      </a:cubicBezTo>
                      <a:cubicBezTo>
                        <a:pt x="76" y="100"/>
                        <a:pt x="76" y="100"/>
                        <a:pt x="76" y="100"/>
                      </a:cubicBezTo>
                      <a:cubicBezTo>
                        <a:pt x="75" y="101"/>
                        <a:pt x="75" y="101"/>
                        <a:pt x="75" y="101"/>
                      </a:cubicBezTo>
                      <a:cubicBezTo>
                        <a:pt x="74" y="103"/>
                        <a:pt x="74" y="103"/>
                        <a:pt x="74" y="103"/>
                      </a:cubicBezTo>
                      <a:cubicBezTo>
                        <a:pt x="75" y="105"/>
                        <a:pt x="75" y="105"/>
                        <a:pt x="75" y="105"/>
                      </a:cubicBezTo>
                      <a:cubicBezTo>
                        <a:pt x="75" y="107"/>
                        <a:pt x="75" y="107"/>
                        <a:pt x="75" y="107"/>
                      </a:cubicBezTo>
                      <a:close/>
                      <a:moveTo>
                        <a:pt x="80" y="157"/>
                      </a:moveTo>
                      <a:cubicBezTo>
                        <a:pt x="80" y="157"/>
                        <a:pt x="80" y="157"/>
                        <a:pt x="80" y="157"/>
                      </a:cubicBezTo>
                      <a:cubicBezTo>
                        <a:pt x="81" y="160"/>
                        <a:pt x="81" y="160"/>
                        <a:pt x="81" y="160"/>
                      </a:cubicBezTo>
                      <a:cubicBezTo>
                        <a:pt x="82" y="162"/>
                        <a:pt x="82" y="162"/>
                        <a:pt x="82" y="162"/>
                      </a:cubicBezTo>
                      <a:cubicBezTo>
                        <a:pt x="82" y="162"/>
                        <a:pt x="84" y="163"/>
                        <a:pt x="84" y="162"/>
                      </a:cubicBezTo>
                      <a:cubicBezTo>
                        <a:pt x="84" y="161"/>
                        <a:pt x="83" y="160"/>
                        <a:pt x="84" y="159"/>
                      </a:cubicBezTo>
                      <a:cubicBezTo>
                        <a:pt x="84" y="158"/>
                        <a:pt x="85" y="156"/>
                        <a:pt x="85" y="155"/>
                      </a:cubicBezTo>
                      <a:cubicBezTo>
                        <a:pt x="85" y="154"/>
                        <a:pt x="86" y="153"/>
                        <a:pt x="86" y="152"/>
                      </a:cubicBezTo>
                      <a:cubicBezTo>
                        <a:pt x="87" y="151"/>
                        <a:pt x="88" y="149"/>
                        <a:pt x="88" y="148"/>
                      </a:cubicBezTo>
                      <a:cubicBezTo>
                        <a:pt x="88" y="148"/>
                        <a:pt x="89" y="146"/>
                        <a:pt x="89" y="145"/>
                      </a:cubicBezTo>
                      <a:cubicBezTo>
                        <a:pt x="89" y="145"/>
                        <a:pt x="89" y="142"/>
                        <a:pt x="89" y="142"/>
                      </a:cubicBezTo>
                      <a:cubicBezTo>
                        <a:pt x="89" y="142"/>
                        <a:pt x="88" y="139"/>
                        <a:pt x="88" y="139"/>
                      </a:cubicBezTo>
                      <a:cubicBezTo>
                        <a:pt x="87" y="141"/>
                        <a:pt x="87" y="141"/>
                        <a:pt x="87" y="141"/>
                      </a:cubicBezTo>
                      <a:cubicBezTo>
                        <a:pt x="87" y="143"/>
                        <a:pt x="87" y="143"/>
                        <a:pt x="87" y="143"/>
                      </a:cubicBezTo>
                      <a:cubicBezTo>
                        <a:pt x="85" y="147"/>
                        <a:pt x="85" y="147"/>
                        <a:pt x="85" y="147"/>
                      </a:cubicBezTo>
                      <a:cubicBezTo>
                        <a:pt x="84" y="149"/>
                        <a:pt x="84" y="149"/>
                        <a:pt x="84" y="149"/>
                      </a:cubicBezTo>
                      <a:cubicBezTo>
                        <a:pt x="82" y="151"/>
                        <a:pt x="82" y="151"/>
                        <a:pt x="82" y="151"/>
                      </a:cubicBezTo>
                      <a:cubicBezTo>
                        <a:pt x="82" y="152"/>
                        <a:pt x="82" y="152"/>
                        <a:pt x="82" y="152"/>
                      </a:cubicBezTo>
                      <a:cubicBezTo>
                        <a:pt x="82" y="154"/>
                        <a:pt x="82" y="154"/>
                        <a:pt x="82" y="154"/>
                      </a:cubicBezTo>
                      <a:cubicBezTo>
                        <a:pt x="81" y="155"/>
                        <a:pt x="81" y="155"/>
                        <a:pt x="81" y="155"/>
                      </a:cubicBezTo>
                      <a:cubicBezTo>
                        <a:pt x="81" y="156"/>
                        <a:pt x="81" y="156"/>
                        <a:pt x="81" y="156"/>
                      </a:cubicBezTo>
                      <a:cubicBezTo>
                        <a:pt x="80" y="157"/>
                        <a:pt x="80" y="157"/>
                        <a:pt x="80" y="157"/>
                      </a:cubicBezTo>
                      <a:close/>
                      <a:moveTo>
                        <a:pt x="75" y="148"/>
                      </a:moveTo>
                      <a:cubicBezTo>
                        <a:pt x="75" y="148"/>
                        <a:pt x="75" y="148"/>
                        <a:pt x="75" y="148"/>
                      </a:cubicBezTo>
                      <a:cubicBezTo>
                        <a:pt x="76" y="149"/>
                        <a:pt x="76" y="149"/>
                        <a:pt x="76" y="149"/>
                      </a:cubicBezTo>
                      <a:cubicBezTo>
                        <a:pt x="76" y="149"/>
                        <a:pt x="77" y="152"/>
                        <a:pt x="78" y="152"/>
                      </a:cubicBezTo>
                      <a:cubicBezTo>
                        <a:pt x="78" y="152"/>
                        <a:pt x="81" y="149"/>
                        <a:pt x="81" y="149"/>
                      </a:cubicBezTo>
                      <a:cubicBezTo>
                        <a:pt x="81" y="147"/>
                        <a:pt x="81" y="147"/>
                        <a:pt x="81" y="147"/>
                      </a:cubicBezTo>
                      <a:cubicBezTo>
                        <a:pt x="82" y="145"/>
                        <a:pt x="82" y="145"/>
                        <a:pt x="82" y="145"/>
                      </a:cubicBezTo>
                      <a:cubicBezTo>
                        <a:pt x="79" y="146"/>
                        <a:pt x="79" y="146"/>
                        <a:pt x="79" y="146"/>
                      </a:cubicBezTo>
                      <a:cubicBezTo>
                        <a:pt x="77" y="148"/>
                        <a:pt x="77" y="148"/>
                        <a:pt x="77" y="148"/>
                      </a:cubicBezTo>
                      <a:cubicBezTo>
                        <a:pt x="75" y="148"/>
                        <a:pt x="75" y="148"/>
                        <a:pt x="75" y="148"/>
                      </a:cubicBezTo>
                      <a:close/>
                      <a:moveTo>
                        <a:pt x="66" y="150"/>
                      </a:moveTo>
                      <a:cubicBezTo>
                        <a:pt x="66" y="150"/>
                        <a:pt x="66" y="150"/>
                        <a:pt x="66" y="150"/>
                      </a:cubicBezTo>
                      <a:cubicBezTo>
                        <a:pt x="66" y="150"/>
                        <a:pt x="67" y="153"/>
                        <a:pt x="67" y="153"/>
                      </a:cubicBezTo>
                      <a:cubicBezTo>
                        <a:pt x="68" y="153"/>
                        <a:pt x="69" y="154"/>
                        <a:pt x="69" y="154"/>
                      </a:cubicBezTo>
                      <a:cubicBezTo>
                        <a:pt x="71" y="156"/>
                        <a:pt x="71" y="156"/>
                        <a:pt x="71" y="156"/>
                      </a:cubicBezTo>
                      <a:cubicBezTo>
                        <a:pt x="71" y="156"/>
                        <a:pt x="71" y="157"/>
                        <a:pt x="72" y="157"/>
                      </a:cubicBezTo>
                      <a:cubicBezTo>
                        <a:pt x="72" y="157"/>
                        <a:pt x="74" y="156"/>
                        <a:pt x="74" y="156"/>
                      </a:cubicBezTo>
                      <a:cubicBezTo>
                        <a:pt x="75" y="154"/>
                        <a:pt x="75" y="154"/>
                        <a:pt x="75" y="154"/>
                      </a:cubicBezTo>
                      <a:cubicBezTo>
                        <a:pt x="75" y="154"/>
                        <a:pt x="73" y="154"/>
                        <a:pt x="73" y="154"/>
                      </a:cubicBezTo>
                      <a:cubicBezTo>
                        <a:pt x="72" y="154"/>
                        <a:pt x="71" y="152"/>
                        <a:pt x="71" y="152"/>
                      </a:cubicBezTo>
                      <a:cubicBezTo>
                        <a:pt x="71" y="152"/>
                        <a:pt x="70" y="152"/>
                        <a:pt x="70" y="152"/>
                      </a:cubicBezTo>
                      <a:cubicBezTo>
                        <a:pt x="69" y="152"/>
                        <a:pt x="67" y="150"/>
                        <a:pt x="67" y="150"/>
                      </a:cubicBezTo>
                      <a:cubicBezTo>
                        <a:pt x="66" y="150"/>
                        <a:pt x="66" y="150"/>
                        <a:pt x="66" y="150"/>
                      </a:cubicBezTo>
                      <a:close/>
                      <a:moveTo>
                        <a:pt x="50" y="147"/>
                      </a:moveTo>
                      <a:cubicBezTo>
                        <a:pt x="50" y="147"/>
                        <a:pt x="50" y="147"/>
                        <a:pt x="50" y="147"/>
                      </a:cubicBezTo>
                      <a:cubicBezTo>
                        <a:pt x="52" y="148"/>
                        <a:pt x="52" y="148"/>
                        <a:pt x="52" y="148"/>
                      </a:cubicBezTo>
                      <a:cubicBezTo>
                        <a:pt x="53" y="149"/>
                        <a:pt x="53" y="149"/>
                        <a:pt x="53" y="149"/>
                      </a:cubicBezTo>
                      <a:cubicBezTo>
                        <a:pt x="55" y="150"/>
                        <a:pt x="55" y="150"/>
                        <a:pt x="55" y="150"/>
                      </a:cubicBezTo>
                      <a:cubicBezTo>
                        <a:pt x="53" y="152"/>
                        <a:pt x="53" y="152"/>
                        <a:pt x="53" y="152"/>
                      </a:cubicBezTo>
                      <a:cubicBezTo>
                        <a:pt x="53" y="152"/>
                        <a:pt x="54" y="154"/>
                        <a:pt x="55" y="153"/>
                      </a:cubicBezTo>
                      <a:cubicBezTo>
                        <a:pt x="56" y="153"/>
                        <a:pt x="56" y="153"/>
                        <a:pt x="56" y="153"/>
                      </a:cubicBezTo>
                      <a:cubicBezTo>
                        <a:pt x="56" y="153"/>
                        <a:pt x="58" y="154"/>
                        <a:pt x="58" y="154"/>
                      </a:cubicBezTo>
                      <a:cubicBezTo>
                        <a:pt x="59" y="155"/>
                        <a:pt x="60" y="155"/>
                        <a:pt x="61" y="155"/>
                      </a:cubicBezTo>
                      <a:cubicBezTo>
                        <a:pt x="62" y="155"/>
                        <a:pt x="62" y="154"/>
                        <a:pt x="62" y="154"/>
                      </a:cubicBezTo>
                      <a:cubicBezTo>
                        <a:pt x="62" y="153"/>
                        <a:pt x="62" y="152"/>
                        <a:pt x="62" y="152"/>
                      </a:cubicBezTo>
                      <a:cubicBezTo>
                        <a:pt x="61" y="150"/>
                        <a:pt x="61" y="150"/>
                        <a:pt x="61" y="150"/>
                      </a:cubicBezTo>
                      <a:cubicBezTo>
                        <a:pt x="60" y="148"/>
                        <a:pt x="60" y="148"/>
                        <a:pt x="60" y="148"/>
                      </a:cubicBezTo>
                      <a:cubicBezTo>
                        <a:pt x="56" y="147"/>
                        <a:pt x="56" y="147"/>
                        <a:pt x="56" y="147"/>
                      </a:cubicBezTo>
                      <a:cubicBezTo>
                        <a:pt x="54" y="145"/>
                        <a:pt x="54" y="145"/>
                        <a:pt x="54" y="145"/>
                      </a:cubicBezTo>
                      <a:cubicBezTo>
                        <a:pt x="51" y="144"/>
                        <a:pt x="51" y="144"/>
                        <a:pt x="51" y="144"/>
                      </a:cubicBezTo>
                      <a:cubicBezTo>
                        <a:pt x="50" y="144"/>
                        <a:pt x="50" y="144"/>
                        <a:pt x="50" y="144"/>
                      </a:cubicBezTo>
                      <a:cubicBezTo>
                        <a:pt x="50" y="147"/>
                        <a:pt x="50" y="147"/>
                        <a:pt x="50" y="147"/>
                      </a:cubicBezTo>
                      <a:close/>
                      <a:moveTo>
                        <a:pt x="83" y="25"/>
                      </a:moveTo>
                      <a:cubicBezTo>
                        <a:pt x="83" y="25"/>
                        <a:pt x="83" y="25"/>
                        <a:pt x="83" y="25"/>
                      </a:cubicBezTo>
                      <a:cubicBezTo>
                        <a:pt x="83" y="26"/>
                        <a:pt x="83" y="26"/>
                        <a:pt x="83" y="26"/>
                      </a:cubicBezTo>
                      <a:cubicBezTo>
                        <a:pt x="83" y="26"/>
                        <a:pt x="84" y="26"/>
                        <a:pt x="84" y="26"/>
                      </a:cubicBezTo>
                      <a:cubicBezTo>
                        <a:pt x="84" y="26"/>
                        <a:pt x="85" y="26"/>
                        <a:pt x="85" y="26"/>
                      </a:cubicBezTo>
                      <a:cubicBezTo>
                        <a:pt x="85" y="26"/>
                        <a:pt x="87" y="27"/>
                        <a:pt x="87" y="27"/>
                      </a:cubicBezTo>
                      <a:cubicBezTo>
                        <a:pt x="87" y="28"/>
                        <a:pt x="88" y="27"/>
                        <a:pt x="88" y="27"/>
                      </a:cubicBezTo>
                      <a:cubicBezTo>
                        <a:pt x="89" y="27"/>
                        <a:pt x="89" y="26"/>
                        <a:pt x="89" y="25"/>
                      </a:cubicBezTo>
                      <a:cubicBezTo>
                        <a:pt x="89" y="25"/>
                        <a:pt x="90" y="24"/>
                        <a:pt x="90" y="24"/>
                      </a:cubicBezTo>
                      <a:cubicBezTo>
                        <a:pt x="90" y="24"/>
                        <a:pt x="93" y="22"/>
                        <a:pt x="93" y="22"/>
                      </a:cubicBezTo>
                      <a:cubicBezTo>
                        <a:pt x="93" y="21"/>
                        <a:pt x="91" y="21"/>
                        <a:pt x="91" y="21"/>
                      </a:cubicBezTo>
                      <a:cubicBezTo>
                        <a:pt x="91" y="21"/>
                        <a:pt x="88" y="22"/>
                        <a:pt x="88" y="22"/>
                      </a:cubicBezTo>
                      <a:cubicBezTo>
                        <a:pt x="88" y="22"/>
                        <a:pt x="85" y="23"/>
                        <a:pt x="85" y="23"/>
                      </a:cubicBezTo>
                      <a:lnTo>
                        <a:pt x="83" y="25"/>
                      </a:lnTo>
                      <a:close/>
                    </a:path>
                  </a:pathLst>
                </a:custGeom>
                <a:solidFill>
                  <a:srgbClr val="E6EFF1"/>
                </a:solidFill>
                <a:ln w="12700" cap="rnd" cmpd="sng">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Lato Light"/>
                  </a:endParaRPr>
                </a:p>
              </p:txBody>
            </p:sp>
            <p:sp>
              <p:nvSpPr>
                <p:cNvPr id="21" name="Freeform 144">
                  <a:extLst>
                    <a:ext uri="{FF2B5EF4-FFF2-40B4-BE49-F238E27FC236}">
                      <a16:creationId xmlns:a16="http://schemas.microsoft.com/office/drawing/2014/main" id="{2F648257-3029-04B1-3A14-7A209E843DCC}"/>
                    </a:ext>
                  </a:extLst>
                </p:cNvPr>
                <p:cNvSpPr>
                  <a:spLocks noEditPoints="1"/>
                </p:cNvSpPr>
                <p:nvPr/>
              </p:nvSpPr>
              <p:spPr bwMode="auto">
                <a:xfrm>
                  <a:off x="3288921" y="3525184"/>
                  <a:ext cx="391756" cy="444372"/>
                </a:xfrm>
                <a:custGeom>
                  <a:avLst/>
                  <a:gdLst>
                    <a:gd name="T0" fmla="*/ 75 w 136"/>
                    <a:gd name="T1" fmla="*/ 25 h 159"/>
                    <a:gd name="T2" fmla="*/ 117 w 136"/>
                    <a:gd name="T3" fmla="*/ 17 h 159"/>
                    <a:gd name="T4" fmla="*/ 125 w 136"/>
                    <a:gd name="T5" fmla="*/ 49 h 159"/>
                    <a:gd name="T6" fmla="*/ 112 w 136"/>
                    <a:gd name="T7" fmla="*/ 67 h 159"/>
                    <a:gd name="T8" fmla="*/ 121 w 136"/>
                    <a:gd name="T9" fmla="*/ 84 h 159"/>
                    <a:gd name="T10" fmla="*/ 114 w 136"/>
                    <a:gd name="T11" fmla="*/ 97 h 159"/>
                    <a:gd name="T12" fmla="*/ 96 w 136"/>
                    <a:gd name="T13" fmla="*/ 100 h 159"/>
                    <a:gd name="T14" fmla="*/ 90 w 136"/>
                    <a:gd name="T15" fmla="*/ 108 h 159"/>
                    <a:gd name="T16" fmla="*/ 92 w 136"/>
                    <a:gd name="T17" fmla="*/ 130 h 159"/>
                    <a:gd name="T18" fmla="*/ 85 w 136"/>
                    <a:gd name="T19" fmla="*/ 141 h 159"/>
                    <a:gd name="T20" fmla="*/ 88 w 136"/>
                    <a:gd name="T21" fmla="*/ 149 h 159"/>
                    <a:gd name="T22" fmla="*/ 85 w 136"/>
                    <a:gd name="T23" fmla="*/ 159 h 159"/>
                    <a:gd name="T24" fmla="*/ 76 w 136"/>
                    <a:gd name="T25" fmla="*/ 148 h 159"/>
                    <a:gd name="T26" fmla="*/ 69 w 136"/>
                    <a:gd name="T27" fmla="*/ 128 h 159"/>
                    <a:gd name="T28" fmla="*/ 56 w 136"/>
                    <a:gd name="T29" fmla="*/ 121 h 159"/>
                    <a:gd name="T30" fmla="*/ 42 w 136"/>
                    <a:gd name="T31" fmla="*/ 119 h 159"/>
                    <a:gd name="T32" fmla="*/ 27 w 136"/>
                    <a:gd name="T33" fmla="*/ 121 h 159"/>
                    <a:gd name="T34" fmla="*/ 13 w 136"/>
                    <a:gd name="T35" fmla="*/ 121 h 159"/>
                    <a:gd name="T36" fmla="*/ 6 w 136"/>
                    <a:gd name="T37" fmla="*/ 112 h 159"/>
                    <a:gd name="T38" fmla="*/ 22 w 136"/>
                    <a:gd name="T39" fmla="*/ 114 h 159"/>
                    <a:gd name="T40" fmla="*/ 27 w 136"/>
                    <a:gd name="T41" fmla="*/ 116 h 159"/>
                    <a:gd name="T42" fmla="*/ 9 w 136"/>
                    <a:gd name="T43" fmla="*/ 111 h 159"/>
                    <a:gd name="T44" fmla="*/ 15 w 136"/>
                    <a:gd name="T45" fmla="*/ 103 h 159"/>
                    <a:gd name="T46" fmla="*/ 25 w 136"/>
                    <a:gd name="T47" fmla="*/ 111 h 159"/>
                    <a:gd name="T48" fmla="*/ 22 w 136"/>
                    <a:gd name="T49" fmla="*/ 105 h 159"/>
                    <a:gd name="T50" fmla="*/ 20 w 136"/>
                    <a:gd name="T51" fmla="*/ 102 h 159"/>
                    <a:gd name="T52" fmla="*/ 20 w 136"/>
                    <a:gd name="T53" fmla="*/ 96 h 159"/>
                    <a:gd name="T54" fmla="*/ 32 w 136"/>
                    <a:gd name="T55" fmla="*/ 104 h 159"/>
                    <a:gd name="T56" fmla="*/ 48 w 136"/>
                    <a:gd name="T57" fmla="*/ 100 h 159"/>
                    <a:gd name="T58" fmla="*/ 30 w 136"/>
                    <a:gd name="T59" fmla="*/ 95 h 159"/>
                    <a:gd name="T60" fmla="*/ 37 w 136"/>
                    <a:gd name="T61" fmla="*/ 73 h 159"/>
                    <a:gd name="T62" fmla="*/ 58 w 136"/>
                    <a:gd name="T63" fmla="*/ 37 h 159"/>
                    <a:gd name="T64" fmla="*/ 67 w 136"/>
                    <a:gd name="T65" fmla="*/ 52 h 159"/>
                    <a:gd name="T66" fmla="*/ 61 w 136"/>
                    <a:gd name="T67" fmla="*/ 64 h 159"/>
                    <a:gd name="T68" fmla="*/ 67 w 136"/>
                    <a:gd name="T69" fmla="*/ 74 h 159"/>
                    <a:gd name="T70" fmla="*/ 66 w 136"/>
                    <a:gd name="T71" fmla="*/ 66 h 159"/>
                    <a:gd name="T72" fmla="*/ 85 w 136"/>
                    <a:gd name="T73" fmla="*/ 65 h 159"/>
                    <a:gd name="T74" fmla="*/ 77 w 136"/>
                    <a:gd name="T75" fmla="*/ 51 h 159"/>
                    <a:gd name="T76" fmla="*/ 71 w 136"/>
                    <a:gd name="T77" fmla="*/ 41 h 159"/>
                    <a:gd name="T78" fmla="*/ 134 w 136"/>
                    <a:gd name="T79" fmla="*/ 0 h 159"/>
                    <a:gd name="T80" fmla="*/ 118 w 136"/>
                    <a:gd name="T81" fmla="*/ 6 h 159"/>
                    <a:gd name="T82" fmla="*/ 111 w 136"/>
                    <a:gd name="T83" fmla="*/ 8 h 159"/>
                    <a:gd name="T84" fmla="*/ 112 w 136"/>
                    <a:gd name="T85" fmla="*/ 9 h 159"/>
                    <a:gd name="T86" fmla="*/ 96 w 136"/>
                    <a:gd name="T87" fmla="*/ 12 h 159"/>
                    <a:gd name="T88" fmla="*/ 98 w 136"/>
                    <a:gd name="T89" fmla="*/ 13 h 159"/>
                    <a:gd name="T90" fmla="*/ 93 w 136"/>
                    <a:gd name="T91" fmla="*/ 13 h 159"/>
                    <a:gd name="T92" fmla="*/ 91 w 136"/>
                    <a:gd name="T93" fmla="*/ 13 h 159"/>
                    <a:gd name="T94" fmla="*/ 81 w 136"/>
                    <a:gd name="T95" fmla="*/ 14 h 159"/>
                    <a:gd name="T96" fmla="*/ 78 w 136"/>
                    <a:gd name="T97" fmla="*/ 14 h 159"/>
                    <a:gd name="T98" fmla="*/ 56 w 136"/>
                    <a:gd name="T99" fmla="*/ 22 h 159"/>
                    <a:gd name="T100" fmla="*/ 60 w 136"/>
                    <a:gd name="T101" fmla="*/ 18 h 159"/>
                    <a:gd name="T102" fmla="*/ 54 w 136"/>
                    <a:gd name="T103" fmla="*/ 25 h 159"/>
                    <a:gd name="T104" fmla="*/ 22 w 136"/>
                    <a:gd name="T105" fmla="*/ 94 h 159"/>
                    <a:gd name="T106" fmla="*/ 29 w 136"/>
                    <a:gd name="T107" fmla="*/ 101 h 159"/>
                    <a:gd name="T108" fmla="*/ 30 w 136"/>
                    <a:gd name="T109" fmla="*/ 97 h 159"/>
                    <a:gd name="T110" fmla="*/ 20 w 136"/>
                    <a:gd name="T111" fmla="*/ 94 h 159"/>
                    <a:gd name="T112" fmla="*/ 76 w 136"/>
                    <a:gd name="T113" fmla="*/ 74 h 159"/>
                    <a:gd name="T114" fmla="*/ 74 w 136"/>
                    <a:gd name="T115" fmla="*/ 72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6" h="159">
                      <a:moveTo>
                        <a:pt x="72" y="35"/>
                      </a:moveTo>
                      <a:cubicBezTo>
                        <a:pt x="71" y="33"/>
                        <a:pt x="71" y="33"/>
                        <a:pt x="71" y="33"/>
                      </a:cubicBezTo>
                      <a:cubicBezTo>
                        <a:pt x="69" y="33"/>
                        <a:pt x="69" y="33"/>
                        <a:pt x="69" y="33"/>
                      </a:cubicBezTo>
                      <a:cubicBezTo>
                        <a:pt x="66" y="35"/>
                        <a:pt x="66" y="35"/>
                        <a:pt x="66" y="35"/>
                      </a:cubicBezTo>
                      <a:cubicBezTo>
                        <a:pt x="66" y="33"/>
                        <a:pt x="66" y="33"/>
                        <a:pt x="66" y="33"/>
                      </a:cubicBezTo>
                      <a:cubicBezTo>
                        <a:pt x="70" y="31"/>
                        <a:pt x="70" y="31"/>
                        <a:pt x="70" y="31"/>
                      </a:cubicBezTo>
                      <a:cubicBezTo>
                        <a:pt x="72" y="30"/>
                        <a:pt x="72" y="30"/>
                        <a:pt x="72" y="30"/>
                      </a:cubicBezTo>
                      <a:cubicBezTo>
                        <a:pt x="73" y="28"/>
                        <a:pt x="73" y="28"/>
                        <a:pt x="73" y="28"/>
                      </a:cubicBezTo>
                      <a:cubicBezTo>
                        <a:pt x="75" y="25"/>
                        <a:pt x="75" y="25"/>
                        <a:pt x="75" y="25"/>
                      </a:cubicBezTo>
                      <a:cubicBezTo>
                        <a:pt x="75" y="25"/>
                        <a:pt x="77" y="23"/>
                        <a:pt x="78" y="22"/>
                      </a:cubicBezTo>
                      <a:cubicBezTo>
                        <a:pt x="79" y="22"/>
                        <a:pt x="83" y="20"/>
                        <a:pt x="83" y="20"/>
                      </a:cubicBezTo>
                      <a:cubicBezTo>
                        <a:pt x="83" y="20"/>
                        <a:pt x="87" y="18"/>
                        <a:pt x="88" y="18"/>
                      </a:cubicBezTo>
                      <a:cubicBezTo>
                        <a:pt x="89" y="18"/>
                        <a:pt x="96" y="17"/>
                        <a:pt x="96" y="17"/>
                      </a:cubicBezTo>
                      <a:cubicBezTo>
                        <a:pt x="103" y="19"/>
                        <a:pt x="103" y="19"/>
                        <a:pt x="103" y="19"/>
                      </a:cubicBezTo>
                      <a:cubicBezTo>
                        <a:pt x="103" y="19"/>
                        <a:pt x="105" y="17"/>
                        <a:pt x="107" y="17"/>
                      </a:cubicBezTo>
                      <a:cubicBezTo>
                        <a:pt x="107" y="17"/>
                        <a:pt x="109" y="18"/>
                        <a:pt x="110" y="18"/>
                      </a:cubicBezTo>
                      <a:cubicBezTo>
                        <a:pt x="111" y="18"/>
                        <a:pt x="113" y="17"/>
                        <a:pt x="113" y="17"/>
                      </a:cubicBezTo>
                      <a:cubicBezTo>
                        <a:pt x="117" y="17"/>
                        <a:pt x="117" y="17"/>
                        <a:pt x="117" y="17"/>
                      </a:cubicBezTo>
                      <a:cubicBezTo>
                        <a:pt x="120" y="21"/>
                        <a:pt x="120" y="21"/>
                        <a:pt x="120" y="21"/>
                      </a:cubicBezTo>
                      <a:cubicBezTo>
                        <a:pt x="121" y="25"/>
                        <a:pt x="121" y="25"/>
                        <a:pt x="121" y="25"/>
                      </a:cubicBezTo>
                      <a:cubicBezTo>
                        <a:pt x="126" y="26"/>
                        <a:pt x="126" y="26"/>
                        <a:pt x="126" y="26"/>
                      </a:cubicBezTo>
                      <a:cubicBezTo>
                        <a:pt x="126" y="26"/>
                        <a:pt x="125" y="28"/>
                        <a:pt x="125" y="29"/>
                      </a:cubicBezTo>
                      <a:cubicBezTo>
                        <a:pt x="126" y="29"/>
                        <a:pt x="129" y="30"/>
                        <a:pt x="129" y="30"/>
                      </a:cubicBezTo>
                      <a:cubicBezTo>
                        <a:pt x="129" y="31"/>
                        <a:pt x="129" y="31"/>
                        <a:pt x="129" y="31"/>
                      </a:cubicBezTo>
                      <a:cubicBezTo>
                        <a:pt x="129" y="31"/>
                        <a:pt x="129" y="35"/>
                        <a:pt x="129" y="36"/>
                      </a:cubicBezTo>
                      <a:cubicBezTo>
                        <a:pt x="129" y="37"/>
                        <a:pt x="129" y="43"/>
                        <a:pt x="129" y="43"/>
                      </a:cubicBezTo>
                      <a:cubicBezTo>
                        <a:pt x="129" y="43"/>
                        <a:pt x="126" y="49"/>
                        <a:pt x="125" y="49"/>
                      </a:cubicBezTo>
                      <a:cubicBezTo>
                        <a:pt x="124" y="50"/>
                        <a:pt x="125" y="54"/>
                        <a:pt x="125" y="54"/>
                      </a:cubicBezTo>
                      <a:cubicBezTo>
                        <a:pt x="124" y="59"/>
                        <a:pt x="124" y="59"/>
                        <a:pt x="124" y="59"/>
                      </a:cubicBezTo>
                      <a:cubicBezTo>
                        <a:pt x="124" y="59"/>
                        <a:pt x="124" y="63"/>
                        <a:pt x="123" y="62"/>
                      </a:cubicBezTo>
                      <a:cubicBezTo>
                        <a:pt x="122" y="62"/>
                        <a:pt x="117" y="60"/>
                        <a:pt x="117" y="60"/>
                      </a:cubicBezTo>
                      <a:cubicBezTo>
                        <a:pt x="113" y="61"/>
                        <a:pt x="113" y="61"/>
                        <a:pt x="113" y="61"/>
                      </a:cubicBezTo>
                      <a:cubicBezTo>
                        <a:pt x="113" y="64"/>
                        <a:pt x="113" y="64"/>
                        <a:pt x="113" y="64"/>
                      </a:cubicBezTo>
                      <a:cubicBezTo>
                        <a:pt x="115" y="65"/>
                        <a:pt x="115" y="65"/>
                        <a:pt x="115" y="65"/>
                      </a:cubicBezTo>
                      <a:cubicBezTo>
                        <a:pt x="112" y="65"/>
                        <a:pt x="112" y="65"/>
                        <a:pt x="112" y="65"/>
                      </a:cubicBezTo>
                      <a:cubicBezTo>
                        <a:pt x="112" y="67"/>
                        <a:pt x="112" y="67"/>
                        <a:pt x="112" y="67"/>
                      </a:cubicBezTo>
                      <a:cubicBezTo>
                        <a:pt x="112" y="67"/>
                        <a:pt x="113" y="69"/>
                        <a:pt x="114" y="70"/>
                      </a:cubicBezTo>
                      <a:cubicBezTo>
                        <a:pt x="114" y="71"/>
                        <a:pt x="117" y="71"/>
                        <a:pt x="117" y="71"/>
                      </a:cubicBezTo>
                      <a:cubicBezTo>
                        <a:pt x="119" y="73"/>
                        <a:pt x="119" y="73"/>
                        <a:pt x="119" y="73"/>
                      </a:cubicBezTo>
                      <a:cubicBezTo>
                        <a:pt x="122" y="72"/>
                        <a:pt x="122" y="72"/>
                        <a:pt x="122" y="72"/>
                      </a:cubicBezTo>
                      <a:cubicBezTo>
                        <a:pt x="124" y="76"/>
                        <a:pt x="124" y="76"/>
                        <a:pt x="124" y="76"/>
                      </a:cubicBezTo>
                      <a:cubicBezTo>
                        <a:pt x="123" y="78"/>
                        <a:pt x="123" y="78"/>
                        <a:pt x="123" y="78"/>
                      </a:cubicBezTo>
                      <a:cubicBezTo>
                        <a:pt x="123" y="78"/>
                        <a:pt x="123" y="80"/>
                        <a:pt x="123" y="81"/>
                      </a:cubicBezTo>
                      <a:cubicBezTo>
                        <a:pt x="123" y="82"/>
                        <a:pt x="124" y="83"/>
                        <a:pt x="123" y="83"/>
                      </a:cubicBezTo>
                      <a:cubicBezTo>
                        <a:pt x="123" y="83"/>
                        <a:pt x="121" y="84"/>
                        <a:pt x="121" y="84"/>
                      </a:cubicBezTo>
                      <a:cubicBezTo>
                        <a:pt x="120" y="86"/>
                        <a:pt x="120" y="86"/>
                        <a:pt x="120" y="86"/>
                      </a:cubicBezTo>
                      <a:cubicBezTo>
                        <a:pt x="120" y="86"/>
                        <a:pt x="118" y="87"/>
                        <a:pt x="117" y="87"/>
                      </a:cubicBezTo>
                      <a:cubicBezTo>
                        <a:pt x="116" y="88"/>
                        <a:pt x="116" y="88"/>
                        <a:pt x="116" y="89"/>
                      </a:cubicBezTo>
                      <a:cubicBezTo>
                        <a:pt x="116" y="89"/>
                        <a:pt x="112" y="88"/>
                        <a:pt x="112" y="88"/>
                      </a:cubicBezTo>
                      <a:cubicBezTo>
                        <a:pt x="112" y="91"/>
                        <a:pt x="112" y="91"/>
                        <a:pt x="112" y="91"/>
                      </a:cubicBezTo>
                      <a:cubicBezTo>
                        <a:pt x="110" y="91"/>
                        <a:pt x="110" y="91"/>
                        <a:pt x="110" y="91"/>
                      </a:cubicBezTo>
                      <a:cubicBezTo>
                        <a:pt x="112" y="94"/>
                        <a:pt x="112" y="94"/>
                        <a:pt x="112" y="94"/>
                      </a:cubicBezTo>
                      <a:cubicBezTo>
                        <a:pt x="115" y="96"/>
                        <a:pt x="115" y="96"/>
                        <a:pt x="115" y="96"/>
                      </a:cubicBezTo>
                      <a:cubicBezTo>
                        <a:pt x="114" y="97"/>
                        <a:pt x="114" y="97"/>
                        <a:pt x="114" y="97"/>
                      </a:cubicBezTo>
                      <a:cubicBezTo>
                        <a:pt x="112" y="98"/>
                        <a:pt x="112" y="98"/>
                        <a:pt x="112" y="98"/>
                      </a:cubicBezTo>
                      <a:cubicBezTo>
                        <a:pt x="111" y="100"/>
                        <a:pt x="111" y="100"/>
                        <a:pt x="111" y="100"/>
                      </a:cubicBezTo>
                      <a:cubicBezTo>
                        <a:pt x="108" y="100"/>
                        <a:pt x="108" y="100"/>
                        <a:pt x="108" y="100"/>
                      </a:cubicBezTo>
                      <a:cubicBezTo>
                        <a:pt x="105" y="101"/>
                        <a:pt x="105" y="101"/>
                        <a:pt x="105" y="101"/>
                      </a:cubicBezTo>
                      <a:cubicBezTo>
                        <a:pt x="104" y="101"/>
                        <a:pt x="104" y="101"/>
                        <a:pt x="104" y="101"/>
                      </a:cubicBezTo>
                      <a:cubicBezTo>
                        <a:pt x="101" y="101"/>
                        <a:pt x="101" y="101"/>
                        <a:pt x="101" y="101"/>
                      </a:cubicBezTo>
                      <a:cubicBezTo>
                        <a:pt x="100" y="103"/>
                        <a:pt x="100" y="103"/>
                        <a:pt x="100" y="103"/>
                      </a:cubicBezTo>
                      <a:cubicBezTo>
                        <a:pt x="99" y="101"/>
                        <a:pt x="99" y="101"/>
                        <a:pt x="99" y="101"/>
                      </a:cubicBezTo>
                      <a:cubicBezTo>
                        <a:pt x="96" y="100"/>
                        <a:pt x="96" y="100"/>
                        <a:pt x="96" y="100"/>
                      </a:cubicBezTo>
                      <a:cubicBezTo>
                        <a:pt x="94" y="98"/>
                        <a:pt x="94" y="98"/>
                        <a:pt x="94" y="98"/>
                      </a:cubicBezTo>
                      <a:cubicBezTo>
                        <a:pt x="91" y="99"/>
                        <a:pt x="91" y="99"/>
                        <a:pt x="91" y="99"/>
                      </a:cubicBezTo>
                      <a:cubicBezTo>
                        <a:pt x="94" y="101"/>
                        <a:pt x="94" y="101"/>
                        <a:pt x="94" y="101"/>
                      </a:cubicBezTo>
                      <a:cubicBezTo>
                        <a:pt x="92" y="101"/>
                        <a:pt x="92" y="101"/>
                        <a:pt x="92" y="101"/>
                      </a:cubicBezTo>
                      <a:cubicBezTo>
                        <a:pt x="87" y="100"/>
                        <a:pt x="87" y="100"/>
                        <a:pt x="87" y="100"/>
                      </a:cubicBezTo>
                      <a:cubicBezTo>
                        <a:pt x="87" y="103"/>
                        <a:pt x="87" y="103"/>
                        <a:pt x="87" y="103"/>
                      </a:cubicBezTo>
                      <a:cubicBezTo>
                        <a:pt x="87" y="105"/>
                        <a:pt x="87" y="105"/>
                        <a:pt x="87" y="105"/>
                      </a:cubicBezTo>
                      <a:cubicBezTo>
                        <a:pt x="87" y="105"/>
                        <a:pt x="86" y="106"/>
                        <a:pt x="87" y="106"/>
                      </a:cubicBezTo>
                      <a:cubicBezTo>
                        <a:pt x="88" y="106"/>
                        <a:pt x="90" y="108"/>
                        <a:pt x="90" y="108"/>
                      </a:cubicBezTo>
                      <a:cubicBezTo>
                        <a:pt x="90" y="110"/>
                        <a:pt x="90" y="110"/>
                        <a:pt x="90" y="110"/>
                      </a:cubicBezTo>
                      <a:cubicBezTo>
                        <a:pt x="91" y="112"/>
                        <a:pt x="91" y="112"/>
                        <a:pt x="91" y="112"/>
                      </a:cubicBezTo>
                      <a:cubicBezTo>
                        <a:pt x="91" y="113"/>
                        <a:pt x="91" y="113"/>
                        <a:pt x="91" y="113"/>
                      </a:cubicBezTo>
                      <a:cubicBezTo>
                        <a:pt x="93" y="116"/>
                        <a:pt x="93" y="116"/>
                        <a:pt x="93" y="116"/>
                      </a:cubicBezTo>
                      <a:cubicBezTo>
                        <a:pt x="93" y="119"/>
                        <a:pt x="93" y="119"/>
                        <a:pt x="93" y="119"/>
                      </a:cubicBezTo>
                      <a:cubicBezTo>
                        <a:pt x="95" y="122"/>
                        <a:pt x="95" y="122"/>
                        <a:pt x="95" y="122"/>
                      </a:cubicBezTo>
                      <a:cubicBezTo>
                        <a:pt x="94" y="125"/>
                        <a:pt x="94" y="125"/>
                        <a:pt x="94" y="125"/>
                      </a:cubicBezTo>
                      <a:cubicBezTo>
                        <a:pt x="94" y="125"/>
                        <a:pt x="95" y="127"/>
                        <a:pt x="94" y="128"/>
                      </a:cubicBezTo>
                      <a:cubicBezTo>
                        <a:pt x="94" y="128"/>
                        <a:pt x="92" y="130"/>
                        <a:pt x="92" y="130"/>
                      </a:cubicBezTo>
                      <a:cubicBezTo>
                        <a:pt x="91" y="132"/>
                        <a:pt x="91" y="132"/>
                        <a:pt x="91" y="132"/>
                      </a:cubicBezTo>
                      <a:cubicBezTo>
                        <a:pt x="89" y="133"/>
                        <a:pt x="89" y="133"/>
                        <a:pt x="89" y="133"/>
                      </a:cubicBezTo>
                      <a:cubicBezTo>
                        <a:pt x="89" y="135"/>
                        <a:pt x="89" y="135"/>
                        <a:pt x="89" y="135"/>
                      </a:cubicBezTo>
                      <a:cubicBezTo>
                        <a:pt x="89" y="135"/>
                        <a:pt x="89" y="138"/>
                        <a:pt x="90" y="138"/>
                      </a:cubicBezTo>
                      <a:cubicBezTo>
                        <a:pt x="90" y="138"/>
                        <a:pt x="92" y="136"/>
                        <a:pt x="92" y="136"/>
                      </a:cubicBezTo>
                      <a:cubicBezTo>
                        <a:pt x="92" y="136"/>
                        <a:pt x="94" y="138"/>
                        <a:pt x="93" y="139"/>
                      </a:cubicBezTo>
                      <a:cubicBezTo>
                        <a:pt x="93" y="139"/>
                        <a:pt x="89" y="139"/>
                        <a:pt x="89" y="139"/>
                      </a:cubicBezTo>
                      <a:cubicBezTo>
                        <a:pt x="87" y="139"/>
                        <a:pt x="87" y="139"/>
                        <a:pt x="87" y="139"/>
                      </a:cubicBezTo>
                      <a:cubicBezTo>
                        <a:pt x="87" y="139"/>
                        <a:pt x="86" y="141"/>
                        <a:pt x="85" y="141"/>
                      </a:cubicBezTo>
                      <a:cubicBezTo>
                        <a:pt x="85" y="142"/>
                        <a:pt x="85" y="143"/>
                        <a:pt x="85" y="143"/>
                      </a:cubicBezTo>
                      <a:cubicBezTo>
                        <a:pt x="83" y="141"/>
                        <a:pt x="83" y="141"/>
                        <a:pt x="83" y="141"/>
                      </a:cubicBezTo>
                      <a:cubicBezTo>
                        <a:pt x="82" y="142"/>
                        <a:pt x="82" y="142"/>
                        <a:pt x="82" y="142"/>
                      </a:cubicBezTo>
                      <a:cubicBezTo>
                        <a:pt x="83" y="144"/>
                        <a:pt x="83" y="144"/>
                        <a:pt x="83" y="144"/>
                      </a:cubicBezTo>
                      <a:cubicBezTo>
                        <a:pt x="83" y="146"/>
                        <a:pt x="83" y="146"/>
                        <a:pt x="83" y="146"/>
                      </a:cubicBezTo>
                      <a:cubicBezTo>
                        <a:pt x="83" y="146"/>
                        <a:pt x="85" y="146"/>
                        <a:pt x="85" y="146"/>
                      </a:cubicBezTo>
                      <a:cubicBezTo>
                        <a:pt x="85" y="146"/>
                        <a:pt x="87" y="147"/>
                        <a:pt x="87" y="147"/>
                      </a:cubicBezTo>
                      <a:cubicBezTo>
                        <a:pt x="87" y="147"/>
                        <a:pt x="86" y="148"/>
                        <a:pt x="87" y="148"/>
                      </a:cubicBezTo>
                      <a:cubicBezTo>
                        <a:pt x="87" y="149"/>
                        <a:pt x="87" y="149"/>
                        <a:pt x="88" y="149"/>
                      </a:cubicBezTo>
                      <a:cubicBezTo>
                        <a:pt x="89" y="150"/>
                        <a:pt x="89" y="150"/>
                        <a:pt x="89" y="150"/>
                      </a:cubicBezTo>
                      <a:cubicBezTo>
                        <a:pt x="89" y="150"/>
                        <a:pt x="89" y="152"/>
                        <a:pt x="89" y="153"/>
                      </a:cubicBezTo>
                      <a:cubicBezTo>
                        <a:pt x="88" y="153"/>
                        <a:pt x="88" y="154"/>
                        <a:pt x="88" y="154"/>
                      </a:cubicBezTo>
                      <a:cubicBezTo>
                        <a:pt x="87" y="154"/>
                        <a:pt x="87" y="154"/>
                        <a:pt x="87" y="154"/>
                      </a:cubicBezTo>
                      <a:cubicBezTo>
                        <a:pt x="86" y="155"/>
                        <a:pt x="86" y="156"/>
                        <a:pt x="86" y="156"/>
                      </a:cubicBezTo>
                      <a:cubicBezTo>
                        <a:pt x="86" y="156"/>
                        <a:pt x="85" y="156"/>
                        <a:pt x="85" y="156"/>
                      </a:cubicBezTo>
                      <a:cubicBezTo>
                        <a:pt x="85" y="157"/>
                        <a:pt x="86" y="158"/>
                        <a:pt x="86" y="159"/>
                      </a:cubicBezTo>
                      <a:cubicBezTo>
                        <a:pt x="86" y="159"/>
                        <a:pt x="86" y="159"/>
                        <a:pt x="85" y="159"/>
                      </a:cubicBezTo>
                      <a:cubicBezTo>
                        <a:pt x="85" y="159"/>
                        <a:pt x="85" y="159"/>
                        <a:pt x="85" y="159"/>
                      </a:cubicBezTo>
                      <a:cubicBezTo>
                        <a:pt x="85" y="159"/>
                        <a:pt x="83" y="157"/>
                        <a:pt x="83" y="157"/>
                      </a:cubicBezTo>
                      <a:cubicBezTo>
                        <a:pt x="82" y="157"/>
                        <a:pt x="81" y="158"/>
                        <a:pt x="79" y="158"/>
                      </a:cubicBezTo>
                      <a:cubicBezTo>
                        <a:pt x="78" y="157"/>
                        <a:pt x="78" y="157"/>
                        <a:pt x="78" y="157"/>
                      </a:cubicBezTo>
                      <a:cubicBezTo>
                        <a:pt x="74" y="158"/>
                        <a:pt x="74" y="158"/>
                        <a:pt x="74" y="158"/>
                      </a:cubicBezTo>
                      <a:cubicBezTo>
                        <a:pt x="74" y="156"/>
                        <a:pt x="74" y="156"/>
                        <a:pt x="74" y="156"/>
                      </a:cubicBezTo>
                      <a:cubicBezTo>
                        <a:pt x="73" y="154"/>
                        <a:pt x="73" y="154"/>
                        <a:pt x="73" y="154"/>
                      </a:cubicBezTo>
                      <a:cubicBezTo>
                        <a:pt x="73" y="154"/>
                        <a:pt x="73" y="152"/>
                        <a:pt x="73" y="151"/>
                      </a:cubicBezTo>
                      <a:cubicBezTo>
                        <a:pt x="73" y="151"/>
                        <a:pt x="74" y="150"/>
                        <a:pt x="74" y="150"/>
                      </a:cubicBezTo>
                      <a:cubicBezTo>
                        <a:pt x="75" y="150"/>
                        <a:pt x="76" y="148"/>
                        <a:pt x="76" y="148"/>
                      </a:cubicBezTo>
                      <a:cubicBezTo>
                        <a:pt x="76" y="148"/>
                        <a:pt x="77" y="146"/>
                        <a:pt x="78" y="145"/>
                      </a:cubicBezTo>
                      <a:cubicBezTo>
                        <a:pt x="78" y="145"/>
                        <a:pt x="79" y="142"/>
                        <a:pt x="79" y="142"/>
                      </a:cubicBezTo>
                      <a:cubicBezTo>
                        <a:pt x="79" y="141"/>
                        <a:pt x="80" y="140"/>
                        <a:pt x="80" y="140"/>
                      </a:cubicBezTo>
                      <a:cubicBezTo>
                        <a:pt x="80" y="140"/>
                        <a:pt x="82" y="138"/>
                        <a:pt x="82" y="137"/>
                      </a:cubicBezTo>
                      <a:cubicBezTo>
                        <a:pt x="82" y="136"/>
                        <a:pt x="81" y="136"/>
                        <a:pt x="80" y="136"/>
                      </a:cubicBezTo>
                      <a:cubicBezTo>
                        <a:pt x="80" y="136"/>
                        <a:pt x="77" y="135"/>
                        <a:pt x="76" y="134"/>
                      </a:cubicBezTo>
                      <a:cubicBezTo>
                        <a:pt x="75" y="134"/>
                        <a:pt x="73" y="133"/>
                        <a:pt x="71" y="133"/>
                      </a:cubicBezTo>
                      <a:cubicBezTo>
                        <a:pt x="69" y="132"/>
                        <a:pt x="70" y="132"/>
                        <a:pt x="71" y="130"/>
                      </a:cubicBezTo>
                      <a:cubicBezTo>
                        <a:pt x="71" y="129"/>
                        <a:pt x="69" y="129"/>
                        <a:pt x="69" y="128"/>
                      </a:cubicBezTo>
                      <a:cubicBezTo>
                        <a:pt x="69" y="128"/>
                        <a:pt x="68" y="129"/>
                        <a:pt x="67" y="130"/>
                      </a:cubicBezTo>
                      <a:cubicBezTo>
                        <a:pt x="66" y="130"/>
                        <a:pt x="65" y="129"/>
                        <a:pt x="64" y="129"/>
                      </a:cubicBezTo>
                      <a:cubicBezTo>
                        <a:pt x="64" y="129"/>
                        <a:pt x="61" y="129"/>
                        <a:pt x="61" y="129"/>
                      </a:cubicBezTo>
                      <a:cubicBezTo>
                        <a:pt x="61" y="129"/>
                        <a:pt x="61" y="128"/>
                        <a:pt x="61" y="127"/>
                      </a:cubicBezTo>
                      <a:cubicBezTo>
                        <a:pt x="61" y="126"/>
                        <a:pt x="60" y="126"/>
                        <a:pt x="60" y="126"/>
                      </a:cubicBezTo>
                      <a:cubicBezTo>
                        <a:pt x="60" y="126"/>
                        <a:pt x="58" y="126"/>
                        <a:pt x="58" y="125"/>
                      </a:cubicBezTo>
                      <a:cubicBezTo>
                        <a:pt x="57" y="125"/>
                        <a:pt x="58" y="125"/>
                        <a:pt x="58" y="124"/>
                      </a:cubicBezTo>
                      <a:cubicBezTo>
                        <a:pt x="58" y="123"/>
                        <a:pt x="58" y="124"/>
                        <a:pt x="57" y="124"/>
                      </a:cubicBezTo>
                      <a:cubicBezTo>
                        <a:pt x="56" y="124"/>
                        <a:pt x="56" y="121"/>
                        <a:pt x="56" y="121"/>
                      </a:cubicBezTo>
                      <a:cubicBezTo>
                        <a:pt x="56" y="121"/>
                        <a:pt x="55" y="119"/>
                        <a:pt x="55" y="118"/>
                      </a:cubicBezTo>
                      <a:cubicBezTo>
                        <a:pt x="54" y="116"/>
                        <a:pt x="54" y="118"/>
                        <a:pt x="54" y="118"/>
                      </a:cubicBezTo>
                      <a:cubicBezTo>
                        <a:pt x="52" y="121"/>
                        <a:pt x="52" y="121"/>
                        <a:pt x="52" y="121"/>
                      </a:cubicBezTo>
                      <a:cubicBezTo>
                        <a:pt x="52" y="121"/>
                        <a:pt x="51" y="121"/>
                        <a:pt x="48" y="120"/>
                      </a:cubicBezTo>
                      <a:cubicBezTo>
                        <a:pt x="46" y="119"/>
                        <a:pt x="47" y="119"/>
                        <a:pt x="47" y="119"/>
                      </a:cubicBezTo>
                      <a:cubicBezTo>
                        <a:pt x="49" y="117"/>
                        <a:pt x="49" y="117"/>
                        <a:pt x="49" y="117"/>
                      </a:cubicBezTo>
                      <a:cubicBezTo>
                        <a:pt x="49" y="117"/>
                        <a:pt x="47" y="116"/>
                        <a:pt x="46" y="116"/>
                      </a:cubicBezTo>
                      <a:cubicBezTo>
                        <a:pt x="45" y="115"/>
                        <a:pt x="45" y="115"/>
                        <a:pt x="44" y="117"/>
                      </a:cubicBezTo>
                      <a:cubicBezTo>
                        <a:pt x="43" y="118"/>
                        <a:pt x="43" y="118"/>
                        <a:pt x="42" y="119"/>
                      </a:cubicBezTo>
                      <a:cubicBezTo>
                        <a:pt x="41" y="120"/>
                        <a:pt x="41" y="120"/>
                        <a:pt x="39" y="120"/>
                      </a:cubicBezTo>
                      <a:cubicBezTo>
                        <a:pt x="38" y="120"/>
                        <a:pt x="38" y="119"/>
                        <a:pt x="37" y="119"/>
                      </a:cubicBezTo>
                      <a:cubicBezTo>
                        <a:pt x="37" y="118"/>
                        <a:pt x="37" y="118"/>
                        <a:pt x="36" y="117"/>
                      </a:cubicBezTo>
                      <a:cubicBezTo>
                        <a:pt x="36" y="116"/>
                        <a:pt x="35" y="116"/>
                        <a:pt x="35" y="116"/>
                      </a:cubicBezTo>
                      <a:cubicBezTo>
                        <a:pt x="35" y="116"/>
                        <a:pt x="33" y="117"/>
                        <a:pt x="33" y="118"/>
                      </a:cubicBezTo>
                      <a:cubicBezTo>
                        <a:pt x="32" y="118"/>
                        <a:pt x="33" y="119"/>
                        <a:pt x="33" y="120"/>
                      </a:cubicBezTo>
                      <a:cubicBezTo>
                        <a:pt x="34" y="121"/>
                        <a:pt x="33" y="122"/>
                        <a:pt x="33" y="122"/>
                      </a:cubicBezTo>
                      <a:cubicBezTo>
                        <a:pt x="33" y="122"/>
                        <a:pt x="31" y="122"/>
                        <a:pt x="30" y="122"/>
                      </a:cubicBezTo>
                      <a:cubicBezTo>
                        <a:pt x="29" y="122"/>
                        <a:pt x="28" y="122"/>
                        <a:pt x="27" y="121"/>
                      </a:cubicBezTo>
                      <a:cubicBezTo>
                        <a:pt x="25" y="120"/>
                        <a:pt x="26" y="122"/>
                        <a:pt x="26" y="123"/>
                      </a:cubicBezTo>
                      <a:cubicBezTo>
                        <a:pt x="26" y="123"/>
                        <a:pt x="24" y="125"/>
                        <a:pt x="24" y="125"/>
                      </a:cubicBezTo>
                      <a:cubicBezTo>
                        <a:pt x="24" y="125"/>
                        <a:pt x="24" y="125"/>
                        <a:pt x="24" y="125"/>
                      </a:cubicBezTo>
                      <a:cubicBezTo>
                        <a:pt x="22" y="125"/>
                        <a:pt x="20" y="124"/>
                        <a:pt x="20" y="124"/>
                      </a:cubicBezTo>
                      <a:cubicBezTo>
                        <a:pt x="19" y="125"/>
                        <a:pt x="19" y="125"/>
                        <a:pt x="19" y="125"/>
                      </a:cubicBezTo>
                      <a:cubicBezTo>
                        <a:pt x="16" y="124"/>
                        <a:pt x="16" y="124"/>
                        <a:pt x="16" y="124"/>
                      </a:cubicBezTo>
                      <a:cubicBezTo>
                        <a:pt x="15" y="124"/>
                        <a:pt x="15" y="124"/>
                        <a:pt x="15" y="124"/>
                      </a:cubicBezTo>
                      <a:cubicBezTo>
                        <a:pt x="14" y="121"/>
                        <a:pt x="14" y="121"/>
                        <a:pt x="14" y="121"/>
                      </a:cubicBezTo>
                      <a:cubicBezTo>
                        <a:pt x="13" y="121"/>
                        <a:pt x="13" y="121"/>
                        <a:pt x="13" y="121"/>
                      </a:cubicBezTo>
                      <a:cubicBezTo>
                        <a:pt x="9" y="119"/>
                        <a:pt x="9" y="119"/>
                        <a:pt x="9" y="119"/>
                      </a:cubicBezTo>
                      <a:cubicBezTo>
                        <a:pt x="8" y="118"/>
                        <a:pt x="8" y="118"/>
                        <a:pt x="8" y="118"/>
                      </a:cubicBezTo>
                      <a:cubicBezTo>
                        <a:pt x="6" y="119"/>
                        <a:pt x="6" y="119"/>
                        <a:pt x="6" y="119"/>
                      </a:cubicBezTo>
                      <a:cubicBezTo>
                        <a:pt x="5" y="120"/>
                        <a:pt x="5" y="120"/>
                        <a:pt x="5" y="120"/>
                      </a:cubicBezTo>
                      <a:cubicBezTo>
                        <a:pt x="5" y="120"/>
                        <a:pt x="3" y="121"/>
                        <a:pt x="2" y="121"/>
                      </a:cubicBezTo>
                      <a:cubicBezTo>
                        <a:pt x="2" y="120"/>
                        <a:pt x="0" y="116"/>
                        <a:pt x="0" y="116"/>
                      </a:cubicBezTo>
                      <a:cubicBezTo>
                        <a:pt x="1" y="113"/>
                        <a:pt x="1" y="113"/>
                        <a:pt x="1" y="113"/>
                      </a:cubicBezTo>
                      <a:cubicBezTo>
                        <a:pt x="1" y="113"/>
                        <a:pt x="4" y="112"/>
                        <a:pt x="4" y="112"/>
                      </a:cubicBezTo>
                      <a:cubicBezTo>
                        <a:pt x="4" y="112"/>
                        <a:pt x="6" y="112"/>
                        <a:pt x="6" y="112"/>
                      </a:cubicBezTo>
                      <a:cubicBezTo>
                        <a:pt x="6" y="112"/>
                        <a:pt x="7" y="112"/>
                        <a:pt x="7" y="113"/>
                      </a:cubicBezTo>
                      <a:cubicBezTo>
                        <a:pt x="8" y="113"/>
                        <a:pt x="10" y="115"/>
                        <a:pt x="11" y="115"/>
                      </a:cubicBezTo>
                      <a:cubicBezTo>
                        <a:pt x="11" y="115"/>
                        <a:pt x="13" y="116"/>
                        <a:pt x="13" y="116"/>
                      </a:cubicBezTo>
                      <a:cubicBezTo>
                        <a:pt x="14" y="116"/>
                        <a:pt x="16" y="117"/>
                        <a:pt x="16" y="117"/>
                      </a:cubicBezTo>
                      <a:cubicBezTo>
                        <a:pt x="16" y="117"/>
                        <a:pt x="18" y="117"/>
                        <a:pt x="18" y="117"/>
                      </a:cubicBezTo>
                      <a:cubicBezTo>
                        <a:pt x="18" y="117"/>
                        <a:pt x="20" y="116"/>
                        <a:pt x="20" y="116"/>
                      </a:cubicBezTo>
                      <a:cubicBezTo>
                        <a:pt x="20" y="116"/>
                        <a:pt x="20" y="116"/>
                        <a:pt x="20" y="116"/>
                      </a:cubicBezTo>
                      <a:cubicBezTo>
                        <a:pt x="21" y="115"/>
                        <a:pt x="21" y="114"/>
                        <a:pt x="21" y="114"/>
                      </a:cubicBezTo>
                      <a:cubicBezTo>
                        <a:pt x="21" y="114"/>
                        <a:pt x="22" y="114"/>
                        <a:pt x="22" y="114"/>
                      </a:cubicBezTo>
                      <a:cubicBezTo>
                        <a:pt x="22" y="115"/>
                        <a:pt x="23" y="116"/>
                        <a:pt x="23" y="116"/>
                      </a:cubicBezTo>
                      <a:cubicBezTo>
                        <a:pt x="23" y="116"/>
                        <a:pt x="24" y="117"/>
                        <a:pt x="24" y="117"/>
                      </a:cubicBezTo>
                      <a:cubicBezTo>
                        <a:pt x="25" y="118"/>
                        <a:pt x="26" y="118"/>
                        <a:pt x="26" y="118"/>
                      </a:cubicBezTo>
                      <a:cubicBezTo>
                        <a:pt x="26" y="118"/>
                        <a:pt x="27" y="117"/>
                        <a:pt x="27" y="117"/>
                      </a:cubicBezTo>
                      <a:cubicBezTo>
                        <a:pt x="27" y="117"/>
                        <a:pt x="28" y="118"/>
                        <a:pt x="28" y="117"/>
                      </a:cubicBezTo>
                      <a:cubicBezTo>
                        <a:pt x="28" y="117"/>
                        <a:pt x="29" y="117"/>
                        <a:pt x="29" y="117"/>
                      </a:cubicBezTo>
                      <a:cubicBezTo>
                        <a:pt x="29" y="117"/>
                        <a:pt x="30" y="116"/>
                        <a:pt x="29" y="116"/>
                      </a:cubicBezTo>
                      <a:cubicBezTo>
                        <a:pt x="29" y="116"/>
                        <a:pt x="29" y="115"/>
                        <a:pt x="29" y="116"/>
                      </a:cubicBezTo>
                      <a:cubicBezTo>
                        <a:pt x="28" y="116"/>
                        <a:pt x="28" y="116"/>
                        <a:pt x="27" y="116"/>
                      </a:cubicBezTo>
                      <a:cubicBezTo>
                        <a:pt x="26" y="116"/>
                        <a:pt x="24" y="115"/>
                        <a:pt x="24" y="115"/>
                      </a:cubicBezTo>
                      <a:cubicBezTo>
                        <a:pt x="24" y="114"/>
                        <a:pt x="23" y="114"/>
                        <a:pt x="23" y="113"/>
                      </a:cubicBezTo>
                      <a:cubicBezTo>
                        <a:pt x="22" y="113"/>
                        <a:pt x="22" y="112"/>
                        <a:pt x="21" y="112"/>
                      </a:cubicBezTo>
                      <a:cubicBezTo>
                        <a:pt x="20" y="112"/>
                        <a:pt x="20" y="112"/>
                        <a:pt x="20" y="112"/>
                      </a:cubicBezTo>
                      <a:cubicBezTo>
                        <a:pt x="20" y="112"/>
                        <a:pt x="19" y="113"/>
                        <a:pt x="19" y="114"/>
                      </a:cubicBezTo>
                      <a:cubicBezTo>
                        <a:pt x="19" y="114"/>
                        <a:pt x="20" y="115"/>
                        <a:pt x="18" y="114"/>
                      </a:cubicBezTo>
                      <a:cubicBezTo>
                        <a:pt x="16" y="114"/>
                        <a:pt x="14" y="114"/>
                        <a:pt x="14" y="114"/>
                      </a:cubicBezTo>
                      <a:cubicBezTo>
                        <a:pt x="11" y="111"/>
                        <a:pt x="11" y="111"/>
                        <a:pt x="11" y="111"/>
                      </a:cubicBezTo>
                      <a:cubicBezTo>
                        <a:pt x="11" y="111"/>
                        <a:pt x="10" y="111"/>
                        <a:pt x="9" y="111"/>
                      </a:cubicBezTo>
                      <a:cubicBezTo>
                        <a:pt x="9" y="111"/>
                        <a:pt x="7" y="110"/>
                        <a:pt x="7" y="109"/>
                      </a:cubicBezTo>
                      <a:cubicBezTo>
                        <a:pt x="7" y="109"/>
                        <a:pt x="6" y="108"/>
                        <a:pt x="6" y="107"/>
                      </a:cubicBezTo>
                      <a:cubicBezTo>
                        <a:pt x="6" y="107"/>
                        <a:pt x="5" y="107"/>
                        <a:pt x="5" y="106"/>
                      </a:cubicBezTo>
                      <a:cubicBezTo>
                        <a:pt x="5" y="106"/>
                        <a:pt x="4" y="105"/>
                        <a:pt x="4" y="105"/>
                      </a:cubicBezTo>
                      <a:cubicBezTo>
                        <a:pt x="4" y="105"/>
                        <a:pt x="4" y="104"/>
                        <a:pt x="5" y="103"/>
                      </a:cubicBezTo>
                      <a:cubicBezTo>
                        <a:pt x="7" y="103"/>
                        <a:pt x="7" y="103"/>
                        <a:pt x="8" y="103"/>
                      </a:cubicBezTo>
                      <a:cubicBezTo>
                        <a:pt x="9" y="103"/>
                        <a:pt x="8" y="103"/>
                        <a:pt x="10" y="103"/>
                      </a:cubicBezTo>
                      <a:cubicBezTo>
                        <a:pt x="12" y="103"/>
                        <a:pt x="11" y="103"/>
                        <a:pt x="12" y="103"/>
                      </a:cubicBezTo>
                      <a:cubicBezTo>
                        <a:pt x="13" y="103"/>
                        <a:pt x="15" y="103"/>
                        <a:pt x="15" y="103"/>
                      </a:cubicBezTo>
                      <a:cubicBezTo>
                        <a:pt x="15" y="103"/>
                        <a:pt x="13" y="102"/>
                        <a:pt x="16" y="103"/>
                      </a:cubicBezTo>
                      <a:cubicBezTo>
                        <a:pt x="16" y="103"/>
                        <a:pt x="20" y="104"/>
                        <a:pt x="19" y="106"/>
                      </a:cubicBezTo>
                      <a:cubicBezTo>
                        <a:pt x="19" y="106"/>
                        <a:pt x="18" y="107"/>
                        <a:pt x="18" y="107"/>
                      </a:cubicBezTo>
                      <a:cubicBezTo>
                        <a:pt x="18" y="107"/>
                        <a:pt x="20" y="108"/>
                        <a:pt x="20" y="108"/>
                      </a:cubicBezTo>
                      <a:cubicBezTo>
                        <a:pt x="20" y="108"/>
                        <a:pt x="21" y="107"/>
                        <a:pt x="21" y="107"/>
                      </a:cubicBezTo>
                      <a:cubicBezTo>
                        <a:pt x="22" y="108"/>
                        <a:pt x="22" y="108"/>
                        <a:pt x="22" y="108"/>
                      </a:cubicBezTo>
                      <a:cubicBezTo>
                        <a:pt x="24" y="110"/>
                        <a:pt x="24" y="110"/>
                        <a:pt x="24" y="110"/>
                      </a:cubicBezTo>
                      <a:cubicBezTo>
                        <a:pt x="24" y="110"/>
                        <a:pt x="26" y="110"/>
                        <a:pt x="26" y="110"/>
                      </a:cubicBezTo>
                      <a:cubicBezTo>
                        <a:pt x="25" y="111"/>
                        <a:pt x="24" y="109"/>
                        <a:pt x="25" y="111"/>
                      </a:cubicBezTo>
                      <a:cubicBezTo>
                        <a:pt x="26" y="113"/>
                        <a:pt x="27" y="114"/>
                        <a:pt x="27" y="114"/>
                      </a:cubicBezTo>
                      <a:cubicBezTo>
                        <a:pt x="28" y="114"/>
                        <a:pt x="28" y="114"/>
                        <a:pt x="28" y="114"/>
                      </a:cubicBezTo>
                      <a:cubicBezTo>
                        <a:pt x="28" y="114"/>
                        <a:pt x="28" y="113"/>
                        <a:pt x="29" y="113"/>
                      </a:cubicBezTo>
                      <a:cubicBezTo>
                        <a:pt x="29" y="114"/>
                        <a:pt x="31" y="114"/>
                        <a:pt x="32" y="114"/>
                      </a:cubicBezTo>
                      <a:cubicBezTo>
                        <a:pt x="32" y="114"/>
                        <a:pt x="32" y="113"/>
                        <a:pt x="31" y="111"/>
                      </a:cubicBezTo>
                      <a:cubicBezTo>
                        <a:pt x="30" y="110"/>
                        <a:pt x="29" y="109"/>
                        <a:pt x="29" y="109"/>
                      </a:cubicBezTo>
                      <a:cubicBezTo>
                        <a:pt x="28" y="109"/>
                        <a:pt x="29" y="110"/>
                        <a:pt x="27" y="109"/>
                      </a:cubicBezTo>
                      <a:cubicBezTo>
                        <a:pt x="25" y="108"/>
                        <a:pt x="25" y="109"/>
                        <a:pt x="24" y="108"/>
                      </a:cubicBezTo>
                      <a:cubicBezTo>
                        <a:pt x="23" y="106"/>
                        <a:pt x="22" y="106"/>
                        <a:pt x="22" y="105"/>
                      </a:cubicBezTo>
                      <a:cubicBezTo>
                        <a:pt x="22" y="105"/>
                        <a:pt x="23" y="105"/>
                        <a:pt x="24" y="104"/>
                      </a:cubicBezTo>
                      <a:cubicBezTo>
                        <a:pt x="25" y="104"/>
                        <a:pt x="23" y="103"/>
                        <a:pt x="25" y="104"/>
                      </a:cubicBezTo>
                      <a:cubicBezTo>
                        <a:pt x="28" y="105"/>
                        <a:pt x="28" y="105"/>
                        <a:pt x="29" y="105"/>
                      </a:cubicBezTo>
                      <a:cubicBezTo>
                        <a:pt x="29" y="105"/>
                        <a:pt x="31" y="105"/>
                        <a:pt x="29" y="104"/>
                      </a:cubicBezTo>
                      <a:cubicBezTo>
                        <a:pt x="27" y="104"/>
                        <a:pt x="26" y="103"/>
                        <a:pt x="26" y="103"/>
                      </a:cubicBezTo>
                      <a:cubicBezTo>
                        <a:pt x="24" y="103"/>
                        <a:pt x="24" y="103"/>
                        <a:pt x="24" y="103"/>
                      </a:cubicBezTo>
                      <a:cubicBezTo>
                        <a:pt x="24" y="103"/>
                        <a:pt x="24" y="103"/>
                        <a:pt x="23" y="103"/>
                      </a:cubicBezTo>
                      <a:cubicBezTo>
                        <a:pt x="22" y="103"/>
                        <a:pt x="22" y="104"/>
                        <a:pt x="22" y="103"/>
                      </a:cubicBezTo>
                      <a:cubicBezTo>
                        <a:pt x="21" y="103"/>
                        <a:pt x="20" y="103"/>
                        <a:pt x="20" y="102"/>
                      </a:cubicBezTo>
                      <a:cubicBezTo>
                        <a:pt x="19" y="102"/>
                        <a:pt x="18" y="101"/>
                        <a:pt x="18" y="101"/>
                      </a:cubicBezTo>
                      <a:cubicBezTo>
                        <a:pt x="18" y="100"/>
                        <a:pt x="17" y="99"/>
                        <a:pt x="17" y="99"/>
                      </a:cubicBezTo>
                      <a:cubicBezTo>
                        <a:pt x="17" y="99"/>
                        <a:pt x="17" y="99"/>
                        <a:pt x="17" y="99"/>
                      </a:cubicBezTo>
                      <a:cubicBezTo>
                        <a:pt x="16" y="99"/>
                        <a:pt x="15" y="99"/>
                        <a:pt x="14" y="99"/>
                      </a:cubicBezTo>
                      <a:cubicBezTo>
                        <a:pt x="14" y="99"/>
                        <a:pt x="13" y="99"/>
                        <a:pt x="13" y="99"/>
                      </a:cubicBezTo>
                      <a:cubicBezTo>
                        <a:pt x="13" y="98"/>
                        <a:pt x="13" y="98"/>
                        <a:pt x="13" y="97"/>
                      </a:cubicBezTo>
                      <a:cubicBezTo>
                        <a:pt x="13" y="97"/>
                        <a:pt x="13" y="96"/>
                        <a:pt x="14" y="96"/>
                      </a:cubicBezTo>
                      <a:cubicBezTo>
                        <a:pt x="15" y="96"/>
                        <a:pt x="16" y="96"/>
                        <a:pt x="17" y="96"/>
                      </a:cubicBezTo>
                      <a:cubicBezTo>
                        <a:pt x="18" y="96"/>
                        <a:pt x="19" y="96"/>
                        <a:pt x="20" y="96"/>
                      </a:cubicBezTo>
                      <a:cubicBezTo>
                        <a:pt x="20" y="96"/>
                        <a:pt x="21" y="97"/>
                        <a:pt x="21" y="97"/>
                      </a:cubicBezTo>
                      <a:cubicBezTo>
                        <a:pt x="22" y="98"/>
                        <a:pt x="23" y="98"/>
                        <a:pt x="23" y="98"/>
                      </a:cubicBezTo>
                      <a:cubicBezTo>
                        <a:pt x="23" y="99"/>
                        <a:pt x="23" y="99"/>
                        <a:pt x="24" y="99"/>
                      </a:cubicBezTo>
                      <a:cubicBezTo>
                        <a:pt x="24" y="100"/>
                        <a:pt x="25" y="100"/>
                        <a:pt x="25" y="100"/>
                      </a:cubicBezTo>
                      <a:cubicBezTo>
                        <a:pt x="26" y="102"/>
                        <a:pt x="26" y="102"/>
                        <a:pt x="26" y="102"/>
                      </a:cubicBezTo>
                      <a:cubicBezTo>
                        <a:pt x="26" y="102"/>
                        <a:pt x="26" y="102"/>
                        <a:pt x="26" y="102"/>
                      </a:cubicBezTo>
                      <a:cubicBezTo>
                        <a:pt x="28" y="103"/>
                        <a:pt x="28" y="103"/>
                        <a:pt x="28" y="103"/>
                      </a:cubicBezTo>
                      <a:cubicBezTo>
                        <a:pt x="28" y="103"/>
                        <a:pt x="31" y="104"/>
                        <a:pt x="31" y="104"/>
                      </a:cubicBezTo>
                      <a:cubicBezTo>
                        <a:pt x="31" y="104"/>
                        <a:pt x="31" y="104"/>
                        <a:pt x="32" y="104"/>
                      </a:cubicBezTo>
                      <a:cubicBezTo>
                        <a:pt x="33" y="104"/>
                        <a:pt x="33" y="103"/>
                        <a:pt x="33" y="103"/>
                      </a:cubicBezTo>
                      <a:cubicBezTo>
                        <a:pt x="33" y="103"/>
                        <a:pt x="34" y="103"/>
                        <a:pt x="34" y="103"/>
                      </a:cubicBezTo>
                      <a:cubicBezTo>
                        <a:pt x="34" y="103"/>
                        <a:pt x="37" y="101"/>
                        <a:pt x="37" y="101"/>
                      </a:cubicBezTo>
                      <a:cubicBezTo>
                        <a:pt x="37" y="102"/>
                        <a:pt x="38" y="102"/>
                        <a:pt x="39" y="102"/>
                      </a:cubicBezTo>
                      <a:cubicBezTo>
                        <a:pt x="39" y="102"/>
                        <a:pt x="42" y="104"/>
                        <a:pt x="42" y="104"/>
                      </a:cubicBezTo>
                      <a:cubicBezTo>
                        <a:pt x="42" y="103"/>
                        <a:pt x="42" y="102"/>
                        <a:pt x="42" y="102"/>
                      </a:cubicBezTo>
                      <a:cubicBezTo>
                        <a:pt x="42" y="102"/>
                        <a:pt x="43" y="101"/>
                        <a:pt x="43" y="101"/>
                      </a:cubicBezTo>
                      <a:cubicBezTo>
                        <a:pt x="47" y="101"/>
                        <a:pt x="47" y="101"/>
                        <a:pt x="47" y="101"/>
                      </a:cubicBezTo>
                      <a:cubicBezTo>
                        <a:pt x="47" y="101"/>
                        <a:pt x="48" y="100"/>
                        <a:pt x="48" y="100"/>
                      </a:cubicBezTo>
                      <a:cubicBezTo>
                        <a:pt x="47" y="100"/>
                        <a:pt x="46" y="100"/>
                        <a:pt x="46" y="100"/>
                      </a:cubicBezTo>
                      <a:cubicBezTo>
                        <a:pt x="44" y="101"/>
                        <a:pt x="44" y="101"/>
                        <a:pt x="44" y="101"/>
                      </a:cubicBezTo>
                      <a:cubicBezTo>
                        <a:pt x="42" y="101"/>
                        <a:pt x="42" y="101"/>
                        <a:pt x="42" y="101"/>
                      </a:cubicBezTo>
                      <a:cubicBezTo>
                        <a:pt x="42" y="101"/>
                        <a:pt x="41" y="102"/>
                        <a:pt x="41" y="102"/>
                      </a:cubicBezTo>
                      <a:cubicBezTo>
                        <a:pt x="40" y="102"/>
                        <a:pt x="39" y="101"/>
                        <a:pt x="39" y="101"/>
                      </a:cubicBezTo>
                      <a:cubicBezTo>
                        <a:pt x="38" y="100"/>
                        <a:pt x="36" y="99"/>
                        <a:pt x="36" y="99"/>
                      </a:cubicBezTo>
                      <a:cubicBezTo>
                        <a:pt x="35" y="99"/>
                        <a:pt x="36" y="99"/>
                        <a:pt x="34" y="98"/>
                      </a:cubicBezTo>
                      <a:cubicBezTo>
                        <a:pt x="32" y="97"/>
                        <a:pt x="31" y="96"/>
                        <a:pt x="31" y="96"/>
                      </a:cubicBezTo>
                      <a:cubicBezTo>
                        <a:pt x="30" y="95"/>
                        <a:pt x="30" y="95"/>
                        <a:pt x="30" y="95"/>
                      </a:cubicBezTo>
                      <a:cubicBezTo>
                        <a:pt x="30" y="95"/>
                        <a:pt x="30" y="94"/>
                        <a:pt x="29" y="94"/>
                      </a:cubicBezTo>
                      <a:cubicBezTo>
                        <a:pt x="28" y="93"/>
                        <a:pt x="25" y="92"/>
                        <a:pt x="25" y="92"/>
                      </a:cubicBezTo>
                      <a:cubicBezTo>
                        <a:pt x="25" y="92"/>
                        <a:pt x="25" y="91"/>
                        <a:pt x="25" y="91"/>
                      </a:cubicBezTo>
                      <a:cubicBezTo>
                        <a:pt x="25" y="91"/>
                        <a:pt x="25" y="88"/>
                        <a:pt x="25" y="88"/>
                      </a:cubicBezTo>
                      <a:cubicBezTo>
                        <a:pt x="25" y="87"/>
                        <a:pt x="24" y="85"/>
                        <a:pt x="24" y="85"/>
                      </a:cubicBezTo>
                      <a:cubicBezTo>
                        <a:pt x="24" y="85"/>
                        <a:pt x="26" y="84"/>
                        <a:pt x="26" y="84"/>
                      </a:cubicBezTo>
                      <a:cubicBezTo>
                        <a:pt x="27" y="84"/>
                        <a:pt x="28" y="85"/>
                        <a:pt x="28" y="85"/>
                      </a:cubicBezTo>
                      <a:cubicBezTo>
                        <a:pt x="29" y="84"/>
                        <a:pt x="29" y="84"/>
                        <a:pt x="29" y="84"/>
                      </a:cubicBezTo>
                      <a:cubicBezTo>
                        <a:pt x="37" y="73"/>
                        <a:pt x="37" y="73"/>
                        <a:pt x="37" y="73"/>
                      </a:cubicBezTo>
                      <a:cubicBezTo>
                        <a:pt x="44" y="63"/>
                        <a:pt x="44" y="63"/>
                        <a:pt x="44" y="63"/>
                      </a:cubicBezTo>
                      <a:cubicBezTo>
                        <a:pt x="47" y="48"/>
                        <a:pt x="47" y="48"/>
                        <a:pt x="47" y="48"/>
                      </a:cubicBezTo>
                      <a:cubicBezTo>
                        <a:pt x="49" y="41"/>
                        <a:pt x="49" y="41"/>
                        <a:pt x="49" y="41"/>
                      </a:cubicBezTo>
                      <a:cubicBezTo>
                        <a:pt x="51" y="35"/>
                        <a:pt x="51" y="35"/>
                        <a:pt x="51" y="35"/>
                      </a:cubicBezTo>
                      <a:cubicBezTo>
                        <a:pt x="51" y="35"/>
                        <a:pt x="51" y="34"/>
                        <a:pt x="52" y="35"/>
                      </a:cubicBezTo>
                      <a:cubicBezTo>
                        <a:pt x="52" y="35"/>
                        <a:pt x="53" y="37"/>
                        <a:pt x="53" y="37"/>
                      </a:cubicBezTo>
                      <a:cubicBezTo>
                        <a:pt x="54" y="38"/>
                        <a:pt x="54" y="38"/>
                        <a:pt x="54" y="38"/>
                      </a:cubicBezTo>
                      <a:cubicBezTo>
                        <a:pt x="55" y="38"/>
                        <a:pt x="55" y="38"/>
                        <a:pt x="55" y="38"/>
                      </a:cubicBezTo>
                      <a:cubicBezTo>
                        <a:pt x="55" y="38"/>
                        <a:pt x="57" y="37"/>
                        <a:pt x="58" y="37"/>
                      </a:cubicBezTo>
                      <a:cubicBezTo>
                        <a:pt x="58" y="37"/>
                        <a:pt x="62" y="39"/>
                        <a:pt x="62" y="39"/>
                      </a:cubicBezTo>
                      <a:cubicBezTo>
                        <a:pt x="62" y="39"/>
                        <a:pt x="62" y="41"/>
                        <a:pt x="62" y="42"/>
                      </a:cubicBezTo>
                      <a:cubicBezTo>
                        <a:pt x="62" y="42"/>
                        <a:pt x="64" y="44"/>
                        <a:pt x="63" y="45"/>
                      </a:cubicBezTo>
                      <a:cubicBezTo>
                        <a:pt x="63" y="45"/>
                        <a:pt x="62" y="47"/>
                        <a:pt x="62" y="47"/>
                      </a:cubicBezTo>
                      <a:cubicBezTo>
                        <a:pt x="62" y="47"/>
                        <a:pt x="63" y="48"/>
                        <a:pt x="63" y="48"/>
                      </a:cubicBezTo>
                      <a:cubicBezTo>
                        <a:pt x="64" y="48"/>
                        <a:pt x="64" y="48"/>
                        <a:pt x="65" y="48"/>
                      </a:cubicBezTo>
                      <a:cubicBezTo>
                        <a:pt x="66" y="48"/>
                        <a:pt x="67" y="49"/>
                        <a:pt x="67" y="49"/>
                      </a:cubicBezTo>
                      <a:cubicBezTo>
                        <a:pt x="67" y="49"/>
                        <a:pt x="67" y="50"/>
                        <a:pt x="67" y="50"/>
                      </a:cubicBezTo>
                      <a:cubicBezTo>
                        <a:pt x="67" y="50"/>
                        <a:pt x="67" y="52"/>
                        <a:pt x="67" y="52"/>
                      </a:cubicBezTo>
                      <a:cubicBezTo>
                        <a:pt x="67" y="53"/>
                        <a:pt x="65" y="53"/>
                        <a:pt x="65" y="53"/>
                      </a:cubicBezTo>
                      <a:cubicBezTo>
                        <a:pt x="65" y="53"/>
                        <a:pt x="65" y="54"/>
                        <a:pt x="65" y="54"/>
                      </a:cubicBezTo>
                      <a:cubicBezTo>
                        <a:pt x="64" y="55"/>
                        <a:pt x="63" y="56"/>
                        <a:pt x="62" y="56"/>
                      </a:cubicBezTo>
                      <a:cubicBezTo>
                        <a:pt x="62" y="56"/>
                        <a:pt x="60" y="54"/>
                        <a:pt x="60" y="54"/>
                      </a:cubicBezTo>
                      <a:cubicBezTo>
                        <a:pt x="60" y="54"/>
                        <a:pt x="59" y="55"/>
                        <a:pt x="59" y="55"/>
                      </a:cubicBezTo>
                      <a:cubicBezTo>
                        <a:pt x="60" y="57"/>
                        <a:pt x="60" y="57"/>
                        <a:pt x="60" y="57"/>
                      </a:cubicBezTo>
                      <a:cubicBezTo>
                        <a:pt x="61" y="60"/>
                        <a:pt x="61" y="60"/>
                        <a:pt x="61" y="60"/>
                      </a:cubicBezTo>
                      <a:cubicBezTo>
                        <a:pt x="60" y="61"/>
                        <a:pt x="60" y="61"/>
                        <a:pt x="60" y="61"/>
                      </a:cubicBezTo>
                      <a:cubicBezTo>
                        <a:pt x="61" y="64"/>
                        <a:pt x="61" y="64"/>
                        <a:pt x="61" y="64"/>
                      </a:cubicBezTo>
                      <a:cubicBezTo>
                        <a:pt x="61" y="66"/>
                        <a:pt x="61" y="66"/>
                        <a:pt x="61" y="66"/>
                      </a:cubicBezTo>
                      <a:cubicBezTo>
                        <a:pt x="59" y="67"/>
                        <a:pt x="59" y="67"/>
                        <a:pt x="59" y="67"/>
                      </a:cubicBezTo>
                      <a:cubicBezTo>
                        <a:pt x="59" y="67"/>
                        <a:pt x="58" y="68"/>
                        <a:pt x="57" y="68"/>
                      </a:cubicBezTo>
                      <a:cubicBezTo>
                        <a:pt x="57" y="68"/>
                        <a:pt x="56" y="67"/>
                        <a:pt x="56" y="68"/>
                      </a:cubicBezTo>
                      <a:cubicBezTo>
                        <a:pt x="57" y="69"/>
                        <a:pt x="57" y="70"/>
                        <a:pt x="58" y="70"/>
                      </a:cubicBezTo>
                      <a:cubicBezTo>
                        <a:pt x="59" y="70"/>
                        <a:pt x="61" y="70"/>
                        <a:pt x="61" y="70"/>
                      </a:cubicBezTo>
                      <a:cubicBezTo>
                        <a:pt x="63" y="73"/>
                        <a:pt x="63" y="73"/>
                        <a:pt x="63" y="73"/>
                      </a:cubicBezTo>
                      <a:cubicBezTo>
                        <a:pt x="63" y="73"/>
                        <a:pt x="64" y="73"/>
                        <a:pt x="65" y="73"/>
                      </a:cubicBezTo>
                      <a:cubicBezTo>
                        <a:pt x="65" y="73"/>
                        <a:pt x="67" y="74"/>
                        <a:pt x="67" y="74"/>
                      </a:cubicBezTo>
                      <a:cubicBezTo>
                        <a:pt x="67" y="74"/>
                        <a:pt x="67" y="74"/>
                        <a:pt x="68" y="75"/>
                      </a:cubicBezTo>
                      <a:cubicBezTo>
                        <a:pt x="69" y="75"/>
                        <a:pt x="71" y="76"/>
                        <a:pt x="71" y="76"/>
                      </a:cubicBezTo>
                      <a:cubicBezTo>
                        <a:pt x="71" y="76"/>
                        <a:pt x="71" y="75"/>
                        <a:pt x="70" y="75"/>
                      </a:cubicBezTo>
                      <a:cubicBezTo>
                        <a:pt x="70" y="75"/>
                        <a:pt x="69" y="72"/>
                        <a:pt x="67" y="72"/>
                      </a:cubicBezTo>
                      <a:cubicBezTo>
                        <a:pt x="66" y="71"/>
                        <a:pt x="65" y="71"/>
                        <a:pt x="64" y="71"/>
                      </a:cubicBezTo>
                      <a:cubicBezTo>
                        <a:pt x="63" y="71"/>
                        <a:pt x="61" y="70"/>
                        <a:pt x="61" y="70"/>
                      </a:cubicBezTo>
                      <a:cubicBezTo>
                        <a:pt x="61" y="69"/>
                        <a:pt x="60" y="68"/>
                        <a:pt x="61" y="68"/>
                      </a:cubicBezTo>
                      <a:cubicBezTo>
                        <a:pt x="61" y="67"/>
                        <a:pt x="61" y="66"/>
                        <a:pt x="63" y="66"/>
                      </a:cubicBezTo>
                      <a:cubicBezTo>
                        <a:pt x="64" y="66"/>
                        <a:pt x="65" y="67"/>
                        <a:pt x="66" y="66"/>
                      </a:cubicBezTo>
                      <a:cubicBezTo>
                        <a:pt x="67" y="66"/>
                        <a:pt x="69" y="63"/>
                        <a:pt x="69" y="63"/>
                      </a:cubicBezTo>
                      <a:cubicBezTo>
                        <a:pt x="71" y="61"/>
                        <a:pt x="71" y="61"/>
                        <a:pt x="71" y="61"/>
                      </a:cubicBezTo>
                      <a:cubicBezTo>
                        <a:pt x="74" y="60"/>
                        <a:pt x="74" y="60"/>
                        <a:pt x="74" y="60"/>
                      </a:cubicBezTo>
                      <a:cubicBezTo>
                        <a:pt x="74" y="60"/>
                        <a:pt x="78" y="58"/>
                        <a:pt x="78" y="58"/>
                      </a:cubicBezTo>
                      <a:cubicBezTo>
                        <a:pt x="78" y="58"/>
                        <a:pt x="79" y="58"/>
                        <a:pt x="80" y="59"/>
                      </a:cubicBezTo>
                      <a:cubicBezTo>
                        <a:pt x="81" y="60"/>
                        <a:pt x="81" y="60"/>
                        <a:pt x="81" y="60"/>
                      </a:cubicBezTo>
                      <a:cubicBezTo>
                        <a:pt x="82" y="60"/>
                        <a:pt x="84" y="61"/>
                        <a:pt x="84" y="61"/>
                      </a:cubicBezTo>
                      <a:cubicBezTo>
                        <a:pt x="84" y="61"/>
                        <a:pt x="84" y="61"/>
                        <a:pt x="85" y="62"/>
                      </a:cubicBezTo>
                      <a:cubicBezTo>
                        <a:pt x="85" y="62"/>
                        <a:pt x="86" y="63"/>
                        <a:pt x="85" y="65"/>
                      </a:cubicBezTo>
                      <a:cubicBezTo>
                        <a:pt x="85" y="66"/>
                        <a:pt x="85" y="67"/>
                        <a:pt x="85" y="67"/>
                      </a:cubicBezTo>
                      <a:cubicBezTo>
                        <a:pt x="85" y="67"/>
                        <a:pt x="86" y="66"/>
                        <a:pt x="86" y="65"/>
                      </a:cubicBezTo>
                      <a:cubicBezTo>
                        <a:pt x="86" y="63"/>
                        <a:pt x="86" y="62"/>
                        <a:pt x="86" y="61"/>
                      </a:cubicBezTo>
                      <a:cubicBezTo>
                        <a:pt x="86" y="60"/>
                        <a:pt x="85" y="59"/>
                        <a:pt x="85" y="59"/>
                      </a:cubicBezTo>
                      <a:cubicBezTo>
                        <a:pt x="85" y="59"/>
                        <a:pt x="83" y="60"/>
                        <a:pt x="81" y="59"/>
                      </a:cubicBezTo>
                      <a:cubicBezTo>
                        <a:pt x="80" y="58"/>
                        <a:pt x="80" y="57"/>
                        <a:pt x="79" y="57"/>
                      </a:cubicBezTo>
                      <a:cubicBezTo>
                        <a:pt x="79" y="57"/>
                        <a:pt x="78" y="56"/>
                        <a:pt x="77" y="56"/>
                      </a:cubicBezTo>
                      <a:cubicBezTo>
                        <a:pt x="77" y="56"/>
                        <a:pt x="77" y="55"/>
                        <a:pt x="77" y="54"/>
                      </a:cubicBezTo>
                      <a:cubicBezTo>
                        <a:pt x="77" y="53"/>
                        <a:pt x="77" y="52"/>
                        <a:pt x="77" y="51"/>
                      </a:cubicBezTo>
                      <a:cubicBezTo>
                        <a:pt x="77" y="51"/>
                        <a:pt x="76" y="50"/>
                        <a:pt x="77" y="49"/>
                      </a:cubicBezTo>
                      <a:cubicBezTo>
                        <a:pt x="78" y="48"/>
                        <a:pt x="78" y="48"/>
                        <a:pt x="79" y="48"/>
                      </a:cubicBezTo>
                      <a:cubicBezTo>
                        <a:pt x="79" y="47"/>
                        <a:pt x="81" y="46"/>
                        <a:pt x="80" y="46"/>
                      </a:cubicBezTo>
                      <a:cubicBezTo>
                        <a:pt x="80" y="45"/>
                        <a:pt x="79" y="45"/>
                        <a:pt x="78" y="45"/>
                      </a:cubicBezTo>
                      <a:cubicBezTo>
                        <a:pt x="77" y="45"/>
                        <a:pt x="78" y="46"/>
                        <a:pt x="77" y="46"/>
                      </a:cubicBezTo>
                      <a:cubicBezTo>
                        <a:pt x="75" y="46"/>
                        <a:pt x="75" y="45"/>
                        <a:pt x="74" y="44"/>
                      </a:cubicBezTo>
                      <a:cubicBezTo>
                        <a:pt x="74" y="43"/>
                        <a:pt x="74" y="43"/>
                        <a:pt x="73" y="44"/>
                      </a:cubicBezTo>
                      <a:cubicBezTo>
                        <a:pt x="72" y="44"/>
                        <a:pt x="71" y="43"/>
                        <a:pt x="71" y="43"/>
                      </a:cubicBezTo>
                      <a:cubicBezTo>
                        <a:pt x="71" y="43"/>
                        <a:pt x="70" y="42"/>
                        <a:pt x="71" y="41"/>
                      </a:cubicBezTo>
                      <a:cubicBezTo>
                        <a:pt x="71" y="41"/>
                        <a:pt x="72" y="39"/>
                        <a:pt x="72" y="39"/>
                      </a:cubicBezTo>
                      <a:cubicBezTo>
                        <a:pt x="72" y="39"/>
                        <a:pt x="72" y="36"/>
                        <a:pt x="72" y="36"/>
                      </a:cubicBezTo>
                      <a:cubicBezTo>
                        <a:pt x="72" y="35"/>
                        <a:pt x="72" y="35"/>
                        <a:pt x="72" y="35"/>
                      </a:cubicBezTo>
                      <a:close/>
                      <a:moveTo>
                        <a:pt x="127" y="1"/>
                      </a:moveTo>
                      <a:cubicBezTo>
                        <a:pt x="127" y="1"/>
                        <a:pt x="127" y="1"/>
                        <a:pt x="127" y="1"/>
                      </a:cubicBezTo>
                      <a:cubicBezTo>
                        <a:pt x="127" y="1"/>
                        <a:pt x="127" y="0"/>
                        <a:pt x="128" y="0"/>
                      </a:cubicBezTo>
                      <a:cubicBezTo>
                        <a:pt x="129" y="0"/>
                        <a:pt x="129" y="0"/>
                        <a:pt x="130" y="0"/>
                      </a:cubicBezTo>
                      <a:cubicBezTo>
                        <a:pt x="130" y="0"/>
                        <a:pt x="132" y="0"/>
                        <a:pt x="132" y="0"/>
                      </a:cubicBezTo>
                      <a:cubicBezTo>
                        <a:pt x="132" y="0"/>
                        <a:pt x="133" y="0"/>
                        <a:pt x="134" y="0"/>
                      </a:cubicBezTo>
                      <a:cubicBezTo>
                        <a:pt x="134" y="0"/>
                        <a:pt x="135" y="0"/>
                        <a:pt x="135" y="0"/>
                      </a:cubicBezTo>
                      <a:cubicBezTo>
                        <a:pt x="136" y="0"/>
                        <a:pt x="135" y="1"/>
                        <a:pt x="135" y="1"/>
                      </a:cubicBezTo>
                      <a:cubicBezTo>
                        <a:pt x="133" y="1"/>
                        <a:pt x="133" y="1"/>
                        <a:pt x="133" y="1"/>
                      </a:cubicBezTo>
                      <a:cubicBezTo>
                        <a:pt x="133" y="1"/>
                        <a:pt x="132" y="1"/>
                        <a:pt x="131" y="1"/>
                      </a:cubicBezTo>
                      <a:cubicBezTo>
                        <a:pt x="131" y="2"/>
                        <a:pt x="130" y="2"/>
                        <a:pt x="130" y="2"/>
                      </a:cubicBezTo>
                      <a:cubicBezTo>
                        <a:pt x="130" y="2"/>
                        <a:pt x="129" y="2"/>
                        <a:pt x="129" y="2"/>
                      </a:cubicBezTo>
                      <a:cubicBezTo>
                        <a:pt x="128" y="2"/>
                        <a:pt x="128" y="1"/>
                        <a:pt x="128" y="2"/>
                      </a:cubicBezTo>
                      <a:cubicBezTo>
                        <a:pt x="127" y="2"/>
                        <a:pt x="127" y="1"/>
                        <a:pt x="127" y="1"/>
                      </a:cubicBezTo>
                      <a:close/>
                      <a:moveTo>
                        <a:pt x="118" y="6"/>
                      </a:moveTo>
                      <a:cubicBezTo>
                        <a:pt x="118" y="6"/>
                        <a:pt x="118" y="6"/>
                        <a:pt x="118" y="6"/>
                      </a:cubicBezTo>
                      <a:cubicBezTo>
                        <a:pt x="118" y="6"/>
                        <a:pt x="118" y="5"/>
                        <a:pt x="119" y="5"/>
                      </a:cubicBezTo>
                      <a:cubicBezTo>
                        <a:pt x="119" y="5"/>
                        <a:pt x="119" y="4"/>
                        <a:pt x="120" y="5"/>
                      </a:cubicBezTo>
                      <a:cubicBezTo>
                        <a:pt x="120" y="5"/>
                        <a:pt x="120" y="7"/>
                        <a:pt x="120" y="7"/>
                      </a:cubicBezTo>
                      <a:cubicBezTo>
                        <a:pt x="119" y="7"/>
                        <a:pt x="119" y="7"/>
                        <a:pt x="118" y="7"/>
                      </a:cubicBezTo>
                      <a:cubicBezTo>
                        <a:pt x="118" y="7"/>
                        <a:pt x="118" y="6"/>
                        <a:pt x="118" y="6"/>
                      </a:cubicBezTo>
                      <a:close/>
                      <a:moveTo>
                        <a:pt x="112" y="9"/>
                      </a:moveTo>
                      <a:cubicBezTo>
                        <a:pt x="112" y="9"/>
                        <a:pt x="112" y="9"/>
                        <a:pt x="112" y="9"/>
                      </a:cubicBezTo>
                      <a:cubicBezTo>
                        <a:pt x="112" y="9"/>
                        <a:pt x="111" y="8"/>
                        <a:pt x="111" y="8"/>
                      </a:cubicBezTo>
                      <a:cubicBezTo>
                        <a:pt x="111" y="8"/>
                        <a:pt x="111" y="7"/>
                        <a:pt x="112" y="7"/>
                      </a:cubicBezTo>
                      <a:cubicBezTo>
                        <a:pt x="112" y="7"/>
                        <a:pt x="113" y="7"/>
                        <a:pt x="113" y="7"/>
                      </a:cubicBezTo>
                      <a:cubicBezTo>
                        <a:pt x="114" y="7"/>
                        <a:pt x="114" y="7"/>
                        <a:pt x="114" y="7"/>
                      </a:cubicBezTo>
                      <a:cubicBezTo>
                        <a:pt x="114" y="7"/>
                        <a:pt x="115" y="6"/>
                        <a:pt x="115" y="6"/>
                      </a:cubicBezTo>
                      <a:cubicBezTo>
                        <a:pt x="115" y="6"/>
                        <a:pt x="116" y="8"/>
                        <a:pt x="116" y="8"/>
                      </a:cubicBezTo>
                      <a:cubicBezTo>
                        <a:pt x="116" y="8"/>
                        <a:pt x="116" y="8"/>
                        <a:pt x="115" y="8"/>
                      </a:cubicBezTo>
                      <a:cubicBezTo>
                        <a:pt x="115" y="8"/>
                        <a:pt x="114" y="9"/>
                        <a:pt x="114" y="9"/>
                      </a:cubicBezTo>
                      <a:cubicBezTo>
                        <a:pt x="113" y="10"/>
                        <a:pt x="113" y="10"/>
                        <a:pt x="113" y="10"/>
                      </a:cubicBezTo>
                      <a:cubicBezTo>
                        <a:pt x="112" y="9"/>
                        <a:pt x="112" y="9"/>
                        <a:pt x="112" y="9"/>
                      </a:cubicBezTo>
                      <a:close/>
                      <a:moveTo>
                        <a:pt x="108" y="12"/>
                      </a:moveTo>
                      <a:cubicBezTo>
                        <a:pt x="108" y="12"/>
                        <a:pt x="108" y="12"/>
                        <a:pt x="108" y="12"/>
                      </a:cubicBezTo>
                      <a:cubicBezTo>
                        <a:pt x="108" y="11"/>
                        <a:pt x="107" y="11"/>
                        <a:pt x="107" y="11"/>
                      </a:cubicBezTo>
                      <a:cubicBezTo>
                        <a:pt x="107" y="11"/>
                        <a:pt x="106" y="10"/>
                        <a:pt x="106" y="10"/>
                      </a:cubicBezTo>
                      <a:cubicBezTo>
                        <a:pt x="106" y="10"/>
                        <a:pt x="106" y="9"/>
                        <a:pt x="107" y="9"/>
                      </a:cubicBezTo>
                      <a:cubicBezTo>
                        <a:pt x="107" y="9"/>
                        <a:pt x="107" y="9"/>
                        <a:pt x="107" y="10"/>
                      </a:cubicBezTo>
                      <a:cubicBezTo>
                        <a:pt x="108" y="10"/>
                        <a:pt x="108" y="11"/>
                        <a:pt x="108" y="11"/>
                      </a:cubicBezTo>
                      <a:cubicBezTo>
                        <a:pt x="108" y="12"/>
                        <a:pt x="108" y="12"/>
                        <a:pt x="108" y="12"/>
                      </a:cubicBezTo>
                      <a:close/>
                      <a:moveTo>
                        <a:pt x="96" y="12"/>
                      </a:moveTo>
                      <a:cubicBezTo>
                        <a:pt x="96" y="12"/>
                        <a:pt x="96" y="12"/>
                        <a:pt x="96" y="12"/>
                      </a:cubicBezTo>
                      <a:cubicBezTo>
                        <a:pt x="96" y="12"/>
                        <a:pt x="96" y="12"/>
                        <a:pt x="97" y="12"/>
                      </a:cubicBezTo>
                      <a:cubicBezTo>
                        <a:pt x="98" y="11"/>
                        <a:pt x="98" y="10"/>
                        <a:pt x="99" y="11"/>
                      </a:cubicBezTo>
                      <a:cubicBezTo>
                        <a:pt x="100" y="11"/>
                        <a:pt x="102" y="12"/>
                        <a:pt x="102" y="12"/>
                      </a:cubicBezTo>
                      <a:cubicBezTo>
                        <a:pt x="102" y="12"/>
                        <a:pt x="102" y="11"/>
                        <a:pt x="102" y="11"/>
                      </a:cubicBezTo>
                      <a:cubicBezTo>
                        <a:pt x="103" y="11"/>
                        <a:pt x="103" y="12"/>
                        <a:pt x="103" y="12"/>
                      </a:cubicBezTo>
                      <a:cubicBezTo>
                        <a:pt x="103" y="12"/>
                        <a:pt x="102" y="12"/>
                        <a:pt x="102" y="12"/>
                      </a:cubicBezTo>
                      <a:cubicBezTo>
                        <a:pt x="101" y="13"/>
                        <a:pt x="101" y="13"/>
                        <a:pt x="100" y="13"/>
                      </a:cubicBezTo>
                      <a:cubicBezTo>
                        <a:pt x="99" y="13"/>
                        <a:pt x="99" y="12"/>
                        <a:pt x="98" y="13"/>
                      </a:cubicBezTo>
                      <a:cubicBezTo>
                        <a:pt x="98" y="13"/>
                        <a:pt x="98" y="14"/>
                        <a:pt x="97" y="14"/>
                      </a:cubicBezTo>
                      <a:cubicBezTo>
                        <a:pt x="97" y="14"/>
                        <a:pt x="96" y="14"/>
                        <a:pt x="96" y="14"/>
                      </a:cubicBezTo>
                      <a:cubicBezTo>
                        <a:pt x="96" y="13"/>
                        <a:pt x="96" y="12"/>
                        <a:pt x="96" y="12"/>
                      </a:cubicBezTo>
                      <a:close/>
                      <a:moveTo>
                        <a:pt x="93" y="13"/>
                      </a:moveTo>
                      <a:cubicBezTo>
                        <a:pt x="93" y="13"/>
                        <a:pt x="93" y="13"/>
                        <a:pt x="93" y="13"/>
                      </a:cubicBezTo>
                      <a:cubicBezTo>
                        <a:pt x="93" y="13"/>
                        <a:pt x="93" y="12"/>
                        <a:pt x="94" y="13"/>
                      </a:cubicBezTo>
                      <a:cubicBezTo>
                        <a:pt x="94" y="13"/>
                        <a:pt x="94" y="12"/>
                        <a:pt x="94" y="13"/>
                      </a:cubicBezTo>
                      <a:cubicBezTo>
                        <a:pt x="95" y="14"/>
                        <a:pt x="95" y="15"/>
                        <a:pt x="94" y="15"/>
                      </a:cubicBezTo>
                      <a:cubicBezTo>
                        <a:pt x="93" y="14"/>
                        <a:pt x="93" y="13"/>
                        <a:pt x="93" y="13"/>
                      </a:cubicBezTo>
                      <a:close/>
                      <a:moveTo>
                        <a:pt x="81" y="13"/>
                      </a:moveTo>
                      <a:cubicBezTo>
                        <a:pt x="81" y="13"/>
                        <a:pt x="81" y="13"/>
                        <a:pt x="81" y="13"/>
                      </a:cubicBezTo>
                      <a:cubicBezTo>
                        <a:pt x="81" y="13"/>
                        <a:pt x="81" y="12"/>
                        <a:pt x="82" y="12"/>
                      </a:cubicBezTo>
                      <a:cubicBezTo>
                        <a:pt x="82" y="12"/>
                        <a:pt x="82" y="12"/>
                        <a:pt x="83" y="12"/>
                      </a:cubicBezTo>
                      <a:cubicBezTo>
                        <a:pt x="83" y="13"/>
                        <a:pt x="84" y="13"/>
                        <a:pt x="84" y="13"/>
                      </a:cubicBezTo>
                      <a:cubicBezTo>
                        <a:pt x="85" y="13"/>
                        <a:pt x="85" y="13"/>
                        <a:pt x="85" y="13"/>
                      </a:cubicBezTo>
                      <a:cubicBezTo>
                        <a:pt x="86" y="13"/>
                        <a:pt x="86" y="12"/>
                        <a:pt x="87" y="13"/>
                      </a:cubicBezTo>
                      <a:cubicBezTo>
                        <a:pt x="88" y="13"/>
                        <a:pt x="88" y="13"/>
                        <a:pt x="89" y="13"/>
                      </a:cubicBezTo>
                      <a:cubicBezTo>
                        <a:pt x="89" y="13"/>
                        <a:pt x="91" y="13"/>
                        <a:pt x="91" y="13"/>
                      </a:cubicBezTo>
                      <a:cubicBezTo>
                        <a:pt x="91" y="13"/>
                        <a:pt x="91" y="14"/>
                        <a:pt x="91" y="14"/>
                      </a:cubicBezTo>
                      <a:cubicBezTo>
                        <a:pt x="90" y="14"/>
                        <a:pt x="90" y="14"/>
                        <a:pt x="89" y="14"/>
                      </a:cubicBezTo>
                      <a:cubicBezTo>
                        <a:pt x="89" y="14"/>
                        <a:pt x="90" y="14"/>
                        <a:pt x="88" y="14"/>
                      </a:cubicBezTo>
                      <a:cubicBezTo>
                        <a:pt x="87" y="14"/>
                        <a:pt x="87" y="14"/>
                        <a:pt x="86" y="14"/>
                      </a:cubicBezTo>
                      <a:cubicBezTo>
                        <a:pt x="86" y="14"/>
                        <a:pt x="86" y="14"/>
                        <a:pt x="85" y="14"/>
                      </a:cubicBezTo>
                      <a:cubicBezTo>
                        <a:pt x="85" y="14"/>
                        <a:pt x="85" y="14"/>
                        <a:pt x="85" y="14"/>
                      </a:cubicBezTo>
                      <a:cubicBezTo>
                        <a:pt x="84" y="14"/>
                        <a:pt x="87" y="13"/>
                        <a:pt x="84" y="14"/>
                      </a:cubicBezTo>
                      <a:cubicBezTo>
                        <a:pt x="81" y="15"/>
                        <a:pt x="81" y="15"/>
                        <a:pt x="81" y="15"/>
                      </a:cubicBezTo>
                      <a:cubicBezTo>
                        <a:pt x="81" y="15"/>
                        <a:pt x="81" y="14"/>
                        <a:pt x="81" y="14"/>
                      </a:cubicBezTo>
                      <a:cubicBezTo>
                        <a:pt x="81" y="14"/>
                        <a:pt x="81" y="13"/>
                        <a:pt x="81" y="13"/>
                      </a:cubicBezTo>
                      <a:close/>
                      <a:moveTo>
                        <a:pt x="68" y="16"/>
                      </a:moveTo>
                      <a:cubicBezTo>
                        <a:pt x="68" y="16"/>
                        <a:pt x="68" y="16"/>
                        <a:pt x="68" y="16"/>
                      </a:cubicBezTo>
                      <a:cubicBezTo>
                        <a:pt x="69" y="16"/>
                        <a:pt x="69" y="16"/>
                        <a:pt x="69" y="16"/>
                      </a:cubicBezTo>
                      <a:cubicBezTo>
                        <a:pt x="69" y="16"/>
                        <a:pt x="71" y="16"/>
                        <a:pt x="71" y="15"/>
                      </a:cubicBezTo>
                      <a:cubicBezTo>
                        <a:pt x="72" y="15"/>
                        <a:pt x="72" y="15"/>
                        <a:pt x="72" y="15"/>
                      </a:cubicBezTo>
                      <a:cubicBezTo>
                        <a:pt x="72" y="15"/>
                        <a:pt x="74" y="14"/>
                        <a:pt x="74" y="14"/>
                      </a:cubicBezTo>
                      <a:cubicBezTo>
                        <a:pt x="75" y="14"/>
                        <a:pt x="76" y="13"/>
                        <a:pt x="76" y="13"/>
                      </a:cubicBezTo>
                      <a:cubicBezTo>
                        <a:pt x="76" y="13"/>
                        <a:pt x="78" y="14"/>
                        <a:pt x="78" y="14"/>
                      </a:cubicBezTo>
                      <a:cubicBezTo>
                        <a:pt x="79" y="14"/>
                        <a:pt x="79" y="13"/>
                        <a:pt x="79" y="13"/>
                      </a:cubicBezTo>
                      <a:cubicBezTo>
                        <a:pt x="77" y="12"/>
                        <a:pt x="77" y="12"/>
                        <a:pt x="77" y="12"/>
                      </a:cubicBezTo>
                      <a:cubicBezTo>
                        <a:pt x="73" y="13"/>
                        <a:pt x="73" y="13"/>
                        <a:pt x="73" y="13"/>
                      </a:cubicBezTo>
                      <a:cubicBezTo>
                        <a:pt x="73" y="13"/>
                        <a:pt x="70" y="14"/>
                        <a:pt x="69" y="14"/>
                      </a:cubicBezTo>
                      <a:cubicBezTo>
                        <a:pt x="68" y="13"/>
                        <a:pt x="67" y="14"/>
                        <a:pt x="67" y="14"/>
                      </a:cubicBezTo>
                      <a:cubicBezTo>
                        <a:pt x="66" y="15"/>
                        <a:pt x="66" y="15"/>
                        <a:pt x="66" y="15"/>
                      </a:cubicBezTo>
                      <a:cubicBezTo>
                        <a:pt x="66" y="15"/>
                        <a:pt x="67" y="16"/>
                        <a:pt x="67" y="16"/>
                      </a:cubicBezTo>
                      <a:cubicBezTo>
                        <a:pt x="67" y="17"/>
                        <a:pt x="68" y="16"/>
                        <a:pt x="68" y="16"/>
                      </a:cubicBezTo>
                      <a:close/>
                      <a:moveTo>
                        <a:pt x="56" y="22"/>
                      </a:moveTo>
                      <a:cubicBezTo>
                        <a:pt x="56" y="22"/>
                        <a:pt x="56" y="22"/>
                        <a:pt x="56" y="22"/>
                      </a:cubicBezTo>
                      <a:cubicBezTo>
                        <a:pt x="56" y="22"/>
                        <a:pt x="56" y="22"/>
                        <a:pt x="56" y="22"/>
                      </a:cubicBezTo>
                      <a:cubicBezTo>
                        <a:pt x="57" y="23"/>
                        <a:pt x="57" y="23"/>
                        <a:pt x="57" y="23"/>
                      </a:cubicBezTo>
                      <a:cubicBezTo>
                        <a:pt x="57" y="23"/>
                        <a:pt x="58" y="22"/>
                        <a:pt x="58" y="22"/>
                      </a:cubicBezTo>
                      <a:cubicBezTo>
                        <a:pt x="58" y="21"/>
                        <a:pt x="59" y="21"/>
                        <a:pt x="59" y="21"/>
                      </a:cubicBezTo>
                      <a:cubicBezTo>
                        <a:pt x="59" y="21"/>
                        <a:pt x="60" y="20"/>
                        <a:pt x="61" y="20"/>
                      </a:cubicBezTo>
                      <a:cubicBezTo>
                        <a:pt x="61" y="20"/>
                        <a:pt x="63" y="19"/>
                        <a:pt x="63" y="19"/>
                      </a:cubicBezTo>
                      <a:cubicBezTo>
                        <a:pt x="63" y="18"/>
                        <a:pt x="63" y="18"/>
                        <a:pt x="63" y="18"/>
                      </a:cubicBezTo>
                      <a:cubicBezTo>
                        <a:pt x="63" y="18"/>
                        <a:pt x="60" y="18"/>
                        <a:pt x="60" y="18"/>
                      </a:cubicBezTo>
                      <a:cubicBezTo>
                        <a:pt x="60" y="18"/>
                        <a:pt x="58" y="20"/>
                        <a:pt x="58" y="20"/>
                      </a:cubicBezTo>
                      <a:cubicBezTo>
                        <a:pt x="58" y="20"/>
                        <a:pt x="56" y="22"/>
                        <a:pt x="56" y="22"/>
                      </a:cubicBezTo>
                      <a:close/>
                      <a:moveTo>
                        <a:pt x="55" y="32"/>
                      </a:moveTo>
                      <a:cubicBezTo>
                        <a:pt x="55" y="32"/>
                        <a:pt x="55" y="32"/>
                        <a:pt x="55" y="32"/>
                      </a:cubicBezTo>
                      <a:cubicBezTo>
                        <a:pt x="55" y="32"/>
                        <a:pt x="57" y="30"/>
                        <a:pt x="57" y="29"/>
                      </a:cubicBezTo>
                      <a:cubicBezTo>
                        <a:pt x="57" y="29"/>
                        <a:pt x="57" y="27"/>
                        <a:pt x="57" y="27"/>
                      </a:cubicBezTo>
                      <a:cubicBezTo>
                        <a:pt x="57" y="25"/>
                        <a:pt x="57" y="25"/>
                        <a:pt x="57" y="25"/>
                      </a:cubicBezTo>
                      <a:cubicBezTo>
                        <a:pt x="55" y="23"/>
                        <a:pt x="55" y="23"/>
                        <a:pt x="55" y="23"/>
                      </a:cubicBezTo>
                      <a:cubicBezTo>
                        <a:pt x="55" y="23"/>
                        <a:pt x="54" y="25"/>
                        <a:pt x="54" y="25"/>
                      </a:cubicBezTo>
                      <a:cubicBezTo>
                        <a:pt x="54" y="26"/>
                        <a:pt x="53" y="26"/>
                        <a:pt x="52" y="27"/>
                      </a:cubicBezTo>
                      <a:cubicBezTo>
                        <a:pt x="51" y="28"/>
                        <a:pt x="51" y="29"/>
                        <a:pt x="51" y="30"/>
                      </a:cubicBezTo>
                      <a:cubicBezTo>
                        <a:pt x="51" y="30"/>
                        <a:pt x="50" y="31"/>
                        <a:pt x="50" y="32"/>
                      </a:cubicBezTo>
                      <a:cubicBezTo>
                        <a:pt x="50" y="33"/>
                        <a:pt x="51" y="33"/>
                        <a:pt x="52" y="33"/>
                      </a:cubicBezTo>
                      <a:cubicBezTo>
                        <a:pt x="53" y="33"/>
                        <a:pt x="52" y="33"/>
                        <a:pt x="52" y="33"/>
                      </a:cubicBezTo>
                      <a:cubicBezTo>
                        <a:pt x="55" y="32"/>
                        <a:pt x="55" y="32"/>
                        <a:pt x="55" y="32"/>
                      </a:cubicBezTo>
                      <a:close/>
                      <a:moveTo>
                        <a:pt x="21" y="94"/>
                      </a:moveTo>
                      <a:cubicBezTo>
                        <a:pt x="21" y="94"/>
                        <a:pt x="21" y="94"/>
                        <a:pt x="21" y="94"/>
                      </a:cubicBezTo>
                      <a:cubicBezTo>
                        <a:pt x="21" y="94"/>
                        <a:pt x="21" y="94"/>
                        <a:pt x="22" y="94"/>
                      </a:cubicBezTo>
                      <a:cubicBezTo>
                        <a:pt x="22" y="94"/>
                        <a:pt x="22" y="93"/>
                        <a:pt x="22" y="93"/>
                      </a:cubicBezTo>
                      <a:cubicBezTo>
                        <a:pt x="23" y="93"/>
                        <a:pt x="23" y="94"/>
                        <a:pt x="23" y="94"/>
                      </a:cubicBezTo>
                      <a:cubicBezTo>
                        <a:pt x="24" y="94"/>
                        <a:pt x="24" y="95"/>
                        <a:pt x="24" y="95"/>
                      </a:cubicBezTo>
                      <a:cubicBezTo>
                        <a:pt x="25" y="97"/>
                        <a:pt x="25" y="97"/>
                        <a:pt x="25" y="97"/>
                      </a:cubicBezTo>
                      <a:cubicBezTo>
                        <a:pt x="25" y="97"/>
                        <a:pt x="25" y="98"/>
                        <a:pt x="25" y="98"/>
                      </a:cubicBezTo>
                      <a:cubicBezTo>
                        <a:pt x="25" y="99"/>
                        <a:pt x="25" y="99"/>
                        <a:pt x="25" y="99"/>
                      </a:cubicBezTo>
                      <a:cubicBezTo>
                        <a:pt x="25" y="99"/>
                        <a:pt x="26" y="99"/>
                        <a:pt x="27" y="99"/>
                      </a:cubicBezTo>
                      <a:cubicBezTo>
                        <a:pt x="27" y="99"/>
                        <a:pt x="27" y="100"/>
                        <a:pt x="28" y="100"/>
                      </a:cubicBezTo>
                      <a:cubicBezTo>
                        <a:pt x="29" y="101"/>
                        <a:pt x="29" y="101"/>
                        <a:pt x="29" y="101"/>
                      </a:cubicBezTo>
                      <a:cubicBezTo>
                        <a:pt x="30" y="102"/>
                        <a:pt x="30" y="102"/>
                        <a:pt x="31" y="103"/>
                      </a:cubicBezTo>
                      <a:cubicBezTo>
                        <a:pt x="32" y="103"/>
                        <a:pt x="32" y="103"/>
                        <a:pt x="33" y="103"/>
                      </a:cubicBezTo>
                      <a:cubicBezTo>
                        <a:pt x="33" y="102"/>
                        <a:pt x="33" y="102"/>
                        <a:pt x="34" y="102"/>
                      </a:cubicBezTo>
                      <a:cubicBezTo>
                        <a:pt x="34" y="102"/>
                        <a:pt x="34" y="102"/>
                        <a:pt x="35" y="102"/>
                      </a:cubicBezTo>
                      <a:cubicBezTo>
                        <a:pt x="35" y="101"/>
                        <a:pt x="34" y="101"/>
                        <a:pt x="34" y="101"/>
                      </a:cubicBezTo>
                      <a:cubicBezTo>
                        <a:pt x="34" y="101"/>
                        <a:pt x="33" y="100"/>
                        <a:pt x="32" y="99"/>
                      </a:cubicBezTo>
                      <a:cubicBezTo>
                        <a:pt x="32" y="99"/>
                        <a:pt x="32" y="99"/>
                        <a:pt x="32" y="98"/>
                      </a:cubicBezTo>
                      <a:cubicBezTo>
                        <a:pt x="32" y="98"/>
                        <a:pt x="32" y="98"/>
                        <a:pt x="31" y="97"/>
                      </a:cubicBezTo>
                      <a:cubicBezTo>
                        <a:pt x="30" y="97"/>
                        <a:pt x="30" y="97"/>
                        <a:pt x="30" y="97"/>
                      </a:cubicBezTo>
                      <a:cubicBezTo>
                        <a:pt x="29" y="96"/>
                        <a:pt x="29" y="95"/>
                        <a:pt x="29" y="95"/>
                      </a:cubicBezTo>
                      <a:cubicBezTo>
                        <a:pt x="29" y="95"/>
                        <a:pt x="27" y="95"/>
                        <a:pt x="27" y="94"/>
                      </a:cubicBezTo>
                      <a:cubicBezTo>
                        <a:pt x="27" y="94"/>
                        <a:pt x="26" y="94"/>
                        <a:pt x="26" y="94"/>
                      </a:cubicBezTo>
                      <a:cubicBezTo>
                        <a:pt x="26" y="94"/>
                        <a:pt x="24" y="93"/>
                        <a:pt x="24" y="92"/>
                      </a:cubicBezTo>
                      <a:cubicBezTo>
                        <a:pt x="24" y="92"/>
                        <a:pt x="24" y="91"/>
                        <a:pt x="24" y="91"/>
                      </a:cubicBezTo>
                      <a:cubicBezTo>
                        <a:pt x="24" y="91"/>
                        <a:pt x="23" y="91"/>
                        <a:pt x="22" y="91"/>
                      </a:cubicBezTo>
                      <a:cubicBezTo>
                        <a:pt x="21" y="92"/>
                        <a:pt x="20" y="92"/>
                        <a:pt x="20" y="92"/>
                      </a:cubicBezTo>
                      <a:cubicBezTo>
                        <a:pt x="19" y="92"/>
                        <a:pt x="19" y="93"/>
                        <a:pt x="19" y="93"/>
                      </a:cubicBezTo>
                      <a:cubicBezTo>
                        <a:pt x="19" y="93"/>
                        <a:pt x="19" y="94"/>
                        <a:pt x="20" y="94"/>
                      </a:cubicBezTo>
                      <a:cubicBezTo>
                        <a:pt x="20" y="95"/>
                        <a:pt x="21" y="94"/>
                        <a:pt x="21" y="94"/>
                      </a:cubicBezTo>
                      <a:close/>
                      <a:moveTo>
                        <a:pt x="71" y="75"/>
                      </a:moveTo>
                      <a:cubicBezTo>
                        <a:pt x="71" y="75"/>
                        <a:pt x="71" y="75"/>
                        <a:pt x="71" y="75"/>
                      </a:cubicBezTo>
                      <a:cubicBezTo>
                        <a:pt x="71" y="76"/>
                        <a:pt x="71" y="76"/>
                        <a:pt x="71" y="76"/>
                      </a:cubicBezTo>
                      <a:cubicBezTo>
                        <a:pt x="71" y="76"/>
                        <a:pt x="71" y="76"/>
                        <a:pt x="72" y="76"/>
                      </a:cubicBezTo>
                      <a:cubicBezTo>
                        <a:pt x="72" y="75"/>
                        <a:pt x="72" y="76"/>
                        <a:pt x="73" y="76"/>
                      </a:cubicBezTo>
                      <a:cubicBezTo>
                        <a:pt x="73" y="76"/>
                        <a:pt x="73" y="76"/>
                        <a:pt x="73" y="76"/>
                      </a:cubicBezTo>
                      <a:cubicBezTo>
                        <a:pt x="74" y="76"/>
                        <a:pt x="75" y="74"/>
                        <a:pt x="75" y="74"/>
                      </a:cubicBezTo>
                      <a:cubicBezTo>
                        <a:pt x="75" y="74"/>
                        <a:pt x="75" y="74"/>
                        <a:pt x="76" y="74"/>
                      </a:cubicBezTo>
                      <a:cubicBezTo>
                        <a:pt x="76" y="74"/>
                        <a:pt x="77" y="74"/>
                        <a:pt x="77" y="73"/>
                      </a:cubicBezTo>
                      <a:cubicBezTo>
                        <a:pt x="77" y="73"/>
                        <a:pt x="77" y="73"/>
                        <a:pt x="78" y="73"/>
                      </a:cubicBezTo>
                      <a:cubicBezTo>
                        <a:pt x="78" y="72"/>
                        <a:pt x="78" y="72"/>
                        <a:pt x="78" y="72"/>
                      </a:cubicBezTo>
                      <a:cubicBezTo>
                        <a:pt x="79" y="71"/>
                        <a:pt x="80" y="71"/>
                        <a:pt x="80" y="71"/>
                      </a:cubicBezTo>
                      <a:cubicBezTo>
                        <a:pt x="81" y="70"/>
                        <a:pt x="81" y="70"/>
                        <a:pt x="81" y="69"/>
                      </a:cubicBezTo>
                      <a:cubicBezTo>
                        <a:pt x="81" y="69"/>
                        <a:pt x="80" y="69"/>
                        <a:pt x="80" y="70"/>
                      </a:cubicBezTo>
                      <a:cubicBezTo>
                        <a:pt x="79" y="70"/>
                        <a:pt x="78" y="70"/>
                        <a:pt x="78" y="70"/>
                      </a:cubicBezTo>
                      <a:cubicBezTo>
                        <a:pt x="78" y="71"/>
                        <a:pt x="77" y="71"/>
                        <a:pt x="77" y="71"/>
                      </a:cubicBezTo>
                      <a:cubicBezTo>
                        <a:pt x="76" y="71"/>
                        <a:pt x="75" y="72"/>
                        <a:pt x="74" y="72"/>
                      </a:cubicBezTo>
                      <a:cubicBezTo>
                        <a:pt x="74" y="72"/>
                        <a:pt x="74" y="73"/>
                        <a:pt x="73" y="74"/>
                      </a:cubicBezTo>
                      <a:cubicBezTo>
                        <a:pt x="73" y="74"/>
                        <a:pt x="73" y="74"/>
                        <a:pt x="73" y="75"/>
                      </a:cubicBezTo>
                      <a:cubicBezTo>
                        <a:pt x="72" y="75"/>
                        <a:pt x="71" y="75"/>
                        <a:pt x="71" y="75"/>
                      </a:cubicBezTo>
                      <a:close/>
                    </a:path>
                  </a:pathLst>
                </a:custGeom>
                <a:solidFill>
                  <a:srgbClr val="E6EFF1"/>
                </a:solidFill>
                <a:ln w="12700" cap="rnd" cmpd="sng">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Lato Light"/>
                  </a:endParaRPr>
                </a:p>
              </p:txBody>
            </p:sp>
            <p:sp>
              <p:nvSpPr>
                <p:cNvPr id="23" name="Freeform 219">
                  <a:extLst>
                    <a:ext uri="{FF2B5EF4-FFF2-40B4-BE49-F238E27FC236}">
                      <a16:creationId xmlns:a16="http://schemas.microsoft.com/office/drawing/2014/main" id="{F485580E-EFF2-8C07-7E74-1CB22134B374}"/>
                    </a:ext>
                  </a:extLst>
                </p:cNvPr>
                <p:cNvSpPr>
                  <a:spLocks/>
                </p:cNvSpPr>
                <p:nvPr/>
              </p:nvSpPr>
              <p:spPr bwMode="auto">
                <a:xfrm>
                  <a:off x="4593386" y="4201167"/>
                  <a:ext cx="691825" cy="475343"/>
                </a:xfrm>
                <a:custGeom>
                  <a:avLst/>
                  <a:gdLst>
                    <a:gd name="T0" fmla="*/ 28 w 240"/>
                    <a:gd name="T1" fmla="*/ 61 h 170"/>
                    <a:gd name="T2" fmla="*/ 31 w 240"/>
                    <a:gd name="T3" fmla="*/ 54 h 170"/>
                    <a:gd name="T4" fmla="*/ 44 w 240"/>
                    <a:gd name="T5" fmla="*/ 55 h 170"/>
                    <a:gd name="T6" fmla="*/ 64 w 240"/>
                    <a:gd name="T7" fmla="*/ 59 h 170"/>
                    <a:gd name="T8" fmla="*/ 96 w 240"/>
                    <a:gd name="T9" fmla="*/ 52 h 170"/>
                    <a:gd name="T10" fmla="*/ 95 w 240"/>
                    <a:gd name="T11" fmla="*/ 41 h 170"/>
                    <a:gd name="T12" fmla="*/ 115 w 240"/>
                    <a:gd name="T13" fmla="*/ 36 h 170"/>
                    <a:gd name="T14" fmla="*/ 127 w 240"/>
                    <a:gd name="T15" fmla="*/ 30 h 170"/>
                    <a:gd name="T16" fmla="*/ 139 w 240"/>
                    <a:gd name="T17" fmla="*/ 24 h 170"/>
                    <a:gd name="T18" fmla="*/ 148 w 240"/>
                    <a:gd name="T19" fmla="*/ 9 h 170"/>
                    <a:gd name="T20" fmla="*/ 168 w 240"/>
                    <a:gd name="T21" fmla="*/ 5 h 170"/>
                    <a:gd name="T22" fmla="*/ 186 w 240"/>
                    <a:gd name="T23" fmla="*/ 1 h 170"/>
                    <a:gd name="T24" fmla="*/ 207 w 240"/>
                    <a:gd name="T25" fmla="*/ 6 h 170"/>
                    <a:gd name="T26" fmla="*/ 218 w 240"/>
                    <a:gd name="T27" fmla="*/ 11 h 170"/>
                    <a:gd name="T28" fmla="*/ 229 w 240"/>
                    <a:gd name="T29" fmla="*/ 17 h 170"/>
                    <a:gd name="T30" fmla="*/ 238 w 240"/>
                    <a:gd name="T31" fmla="*/ 23 h 170"/>
                    <a:gd name="T32" fmla="*/ 234 w 240"/>
                    <a:gd name="T33" fmla="*/ 33 h 170"/>
                    <a:gd name="T34" fmla="*/ 224 w 240"/>
                    <a:gd name="T35" fmla="*/ 39 h 170"/>
                    <a:gd name="T36" fmla="*/ 217 w 240"/>
                    <a:gd name="T37" fmla="*/ 48 h 170"/>
                    <a:gd name="T38" fmla="*/ 213 w 240"/>
                    <a:gd name="T39" fmla="*/ 62 h 170"/>
                    <a:gd name="T40" fmla="*/ 206 w 240"/>
                    <a:gd name="T41" fmla="*/ 75 h 170"/>
                    <a:gd name="T42" fmla="*/ 201 w 240"/>
                    <a:gd name="T43" fmla="*/ 90 h 170"/>
                    <a:gd name="T44" fmla="*/ 199 w 240"/>
                    <a:gd name="T45" fmla="*/ 106 h 170"/>
                    <a:gd name="T46" fmla="*/ 196 w 240"/>
                    <a:gd name="T47" fmla="*/ 117 h 170"/>
                    <a:gd name="T48" fmla="*/ 192 w 240"/>
                    <a:gd name="T49" fmla="*/ 126 h 170"/>
                    <a:gd name="T50" fmla="*/ 177 w 240"/>
                    <a:gd name="T51" fmla="*/ 135 h 170"/>
                    <a:gd name="T52" fmla="*/ 168 w 240"/>
                    <a:gd name="T53" fmla="*/ 139 h 170"/>
                    <a:gd name="T54" fmla="*/ 153 w 240"/>
                    <a:gd name="T55" fmla="*/ 139 h 170"/>
                    <a:gd name="T56" fmla="*/ 139 w 240"/>
                    <a:gd name="T57" fmla="*/ 141 h 170"/>
                    <a:gd name="T58" fmla="*/ 130 w 240"/>
                    <a:gd name="T59" fmla="*/ 144 h 170"/>
                    <a:gd name="T60" fmla="*/ 123 w 240"/>
                    <a:gd name="T61" fmla="*/ 152 h 170"/>
                    <a:gd name="T62" fmla="*/ 115 w 240"/>
                    <a:gd name="T63" fmla="*/ 152 h 170"/>
                    <a:gd name="T64" fmla="*/ 105 w 240"/>
                    <a:gd name="T65" fmla="*/ 159 h 170"/>
                    <a:gd name="T66" fmla="*/ 94 w 240"/>
                    <a:gd name="T67" fmla="*/ 167 h 170"/>
                    <a:gd name="T68" fmla="*/ 80 w 240"/>
                    <a:gd name="T69" fmla="*/ 170 h 170"/>
                    <a:gd name="T70" fmla="*/ 64 w 240"/>
                    <a:gd name="T71" fmla="*/ 168 h 170"/>
                    <a:gd name="T72" fmla="*/ 55 w 240"/>
                    <a:gd name="T73" fmla="*/ 162 h 170"/>
                    <a:gd name="T74" fmla="*/ 42 w 240"/>
                    <a:gd name="T75" fmla="*/ 152 h 170"/>
                    <a:gd name="T76" fmla="*/ 26 w 240"/>
                    <a:gd name="T77" fmla="*/ 143 h 170"/>
                    <a:gd name="T78" fmla="*/ 16 w 240"/>
                    <a:gd name="T79" fmla="*/ 135 h 170"/>
                    <a:gd name="T80" fmla="*/ 7 w 240"/>
                    <a:gd name="T81" fmla="*/ 121 h 170"/>
                    <a:gd name="T82" fmla="*/ 0 w 240"/>
                    <a:gd name="T83" fmla="*/ 117 h 170"/>
                    <a:gd name="T84" fmla="*/ 3 w 240"/>
                    <a:gd name="T85" fmla="*/ 109 h 170"/>
                    <a:gd name="T86" fmla="*/ 8 w 240"/>
                    <a:gd name="T87" fmla="*/ 97 h 170"/>
                    <a:gd name="T88" fmla="*/ 7 w 240"/>
                    <a:gd name="T89" fmla="*/ 88 h 170"/>
                    <a:gd name="T90" fmla="*/ 12 w 240"/>
                    <a:gd name="T91" fmla="*/ 74 h 170"/>
                    <a:gd name="T92" fmla="*/ 8 w 240"/>
                    <a:gd name="T93" fmla="*/ 69 h 170"/>
                    <a:gd name="T94" fmla="*/ 20 w 240"/>
                    <a:gd name="T95" fmla="*/ 70 h 170"/>
                    <a:gd name="T96" fmla="*/ 27 w 240"/>
                    <a:gd name="T97" fmla="*/ 64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0" h="170">
                      <a:moveTo>
                        <a:pt x="28" y="61"/>
                      </a:moveTo>
                      <a:cubicBezTo>
                        <a:pt x="28" y="61"/>
                        <a:pt x="28" y="61"/>
                        <a:pt x="28" y="61"/>
                      </a:cubicBezTo>
                      <a:cubicBezTo>
                        <a:pt x="28" y="61"/>
                        <a:pt x="28" y="61"/>
                        <a:pt x="28" y="61"/>
                      </a:cubicBezTo>
                      <a:cubicBezTo>
                        <a:pt x="28" y="60"/>
                        <a:pt x="28" y="60"/>
                        <a:pt x="28" y="60"/>
                      </a:cubicBezTo>
                      <a:cubicBezTo>
                        <a:pt x="28" y="58"/>
                        <a:pt x="28" y="58"/>
                        <a:pt x="28" y="58"/>
                      </a:cubicBezTo>
                      <a:cubicBezTo>
                        <a:pt x="31" y="54"/>
                        <a:pt x="31" y="54"/>
                        <a:pt x="31" y="54"/>
                      </a:cubicBezTo>
                      <a:cubicBezTo>
                        <a:pt x="31" y="49"/>
                        <a:pt x="31" y="49"/>
                        <a:pt x="31" y="49"/>
                      </a:cubicBezTo>
                      <a:cubicBezTo>
                        <a:pt x="39" y="50"/>
                        <a:pt x="39" y="50"/>
                        <a:pt x="39" y="50"/>
                      </a:cubicBezTo>
                      <a:cubicBezTo>
                        <a:pt x="44" y="55"/>
                        <a:pt x="44" y="55"/>
                        <a:pt x="44" y="55"/>
                      </a:cubicBezTo>
                      <a:cubicBezTo>
                        <a:pt x="51" y="59"/>
                        <a:pt x="51" y="59"/>
                        <a:pt x="51" y="59"/>
                      </a:cubicBezTo>
                      <a:cubicBezTo>
                        <a:pt x="55" y="61"/>
                        <a:pt x="55" y="61"/>
                        <a:pt x="55" y="61"/>
                      </a:cubicBezTo>
                      <a:cubicBezTo>
                        <a:pt x="64" y="59"/>
                        <a:pt x="64" y="59"/>
                        <a:pt x="64" y="59"/>
                      </a:cubicBezTo>
                      <a:cubicBezTo>
                        <a:pt x="81" y="58"/>
                        <a:pt x="81" y="58"/>
                        <a:pt x="81" y="58"/>
                      </a:cubicBezTo>
                      <a:cubicBezTo>
                        <a:pt x="81" y="58"/>
                        <a:pt x="90" y="57"/>
                        <a:pt x="91" y="56"/>
                      </a:cubicBezTo>
                      <a:cubicBezTo>
                        <a:pt x="92" y="55"/>
                        <a:pt x="98" y="54"/>
                        <a:pt x="96" y="52"/>
                      </a:cubicBezTo>
                      <a:cubicBezTo>
                        <a:pt x="94" y="51"/>
                        <a:pt x="90" y="48"/>
                        <a:pt x="90" y="48"/>
                      </a:cubicBezTo>
                      <a:cubicBezTo>
                        <a:pt x="90" y="46"/>
                        <a:pt x="90" y="46"/>
                        <a:pt x="90" y="46"/>
                      </a:cubicBezTo>
                      <a:cubicBezTo>
                        <a:pt x="95" y="41"/>
                        <a:pt x="95" y="41"/>
                        <a:pt x="95" y="41"/>
                      </a:cubicBezTo>
                      <a:cubicBezTo>
                        <a:pt x="104" y="38"/>
                        <a:pt x="104" y="38"/>
                        <a:pt x="104" y="38"/>
                      </a:cubicBezTo>
                      <a:cubicBezTo>
                        <a:pt x="111" y="37"/>
                        <a:pt x="111" y="37"/>
                        <a:pt x="111" y="37"/>
                      </a:cubicBezTo>
                      <a:cubicBezTo>
                        <a:pt x="115" y="36"/>
                        <a:pt x="115" y="36"/>
                        <a:pt x="115" y="36"/>
                      </a:cubicBezTo>
                      <a:cubicBezTo>
                        <a:pt x="117" y="30"/>
                        <a:pt x="117" y="30"/>
                        <a:pt x="117" y="30"/>
                      </a:cubicBezTo>
                      <a:cubicBezTo>
                        <a:pt x="123" y="29"/>
                        <a:pt x="123" y="29"/>
                        <a:pt x="123" y="29"/>
                      </a:cubicBezTo>
                      <a:cubicBezTo>
                        <a:pt x="127" y="30"/>
                        <a:pt x="127" y="30"/>
                        <a:pt x="127" y="30"/>
                      </a:cubicBezTo>
                      <a:cubicBezTo>
                        <a:pt x="133" y="30"/>
                        <a:pt x="133" y="30"/>
                        <a:pt x="133" y="30"/>
                      </a:cubicBezTo>
                      <a:cubicBezTo>
                        <a:pt x="136" y="26"/>
                        <a:pt x="136" y="26"/>
                        <a:pt x="136" y="26"/>
                      </a:cubicBezTo>
                      <a:cubicBezTo>
                        <a:pt x="139" y="24"/>
                        <a:pt x="139" y="24"/>
                        <a:pt x="139" y="24"/>
                      </a:cubicBezTo>
                      <a:cubicBezTo>
                        <a:pt x="143" y="22"/>
                        <a:pt x="143" y="22"/>
                        <a:pt x="143" y="22"/>
                      </a:cubicBezTo>
                      <a:cubicBezTo>
                        <a:pt x="146" y="16"/>
                        <a:pt x="146" y="16"/>
                        <a:pt x="146" y="16"/>
                      </a:cubicBezTo>
                      <a:cubicBezTo>
                        <a:pt x="148" y="9"/>
                        <a:pt x="148" y="9"/>
                        <a:pt x="148" y="9"/>
                      </a:cubicBezTo>
                      <a:cubicBezTo>
                        <a:pt x="149" y="6"/>
                        <a:pt x="149" y="6"/>
                        <a:pt x="149" y="6"/>
                      </a:cubicBezTo>
                      <a:cubicBezTo>
                        <a:pt x="163" y="2"/>
                        <a:pt x="163" y="2"/>
                        <a:pt x="163" y="2"/>
                      </a:cubicBezTo>
                      <a:cubicBezTo>
                        <a:pt x="168" y="5"/>
                        <a:pt x="168" y="5"/>
                        <a:pt x="168" y="5"/>
                      </a:cubicBezTo>
                      <a:cubicBezTo>
                        <a:pt x="175" y="4"/>
                        <a:pt x="175" y="4"/>
                        <a:pt x="175" y="4"/>
                      </a:cubicBezTo>
                      <a:cubicBezTo>
                        <a:pt x="180" y="0"/>
                        <a:pt x="180" y="0"/>
                        <a:pt x="180" y="0"/>
                      </a:cubicBezTo>
                      <a:cubicBezTo>
                        <a:pt x="186" y="1"/>
                        <a:pt x="186" y="1"/>
                        <a:pt x="186" y="1"/>
                      </a:cubicBezTo>
                      <a:cubicBezTo>
                        <a:pt x="194" y="9"/>
                        <a:pt x="194" y="9"/>
                        <a:pt x="194" y="9"/>
                      </a:cubicBezTo>
                      <a:cubicBezTo>
                        <a:pt x="202" y="9"/>
                        <a:pt x="202" y="9"/>
                        <a:pt x="202" y="9"/>
                      </a:cubicBezTo>
                      <a:cubicBezTo>
                        <a:pt x="207" y="6"/>
                        <a:pt x="207" y="6"/>
                        <a:pt x="207" y="6"/>
                      </a:cubicBezTo>
                      <a:cubicBezTo>
                        <a:pt x="212" y="4"/>
                        <a:pt x="212" y="4"/>
                        <a:pt x="212" y="4"/>
                      </a:cubicBezTo>
                      <a:cubicBezTo>
                        <a:pt x="215" y="7"/>
                        <a:pt x="215" y="7"/>
                        <a:pt x="215" y="7"/>
                      </a:cubicBezTo>
                      <a:cubicBezTo>
                        <a:pt x="218" y="11"/>
                        <a:pt x="218" y="11"/>
                        <a:pt x="218" y="11"/>
                      </a:cubicBezTo>
                      <a:cubicBezTo>
                        <a:pt x="223" y="10"/>
                        <a:pt x="223" y="10"/>
                        <a:pt x="223" y="10"/>
                      </a:cubicBezTo>
                      <a:cubicBezTo>
                        <a:pt x="226" y="14"/>
                        <a:pt x="226" y="14"/>
                        <a:pt x="226" y="14"/>
                      </a:cubicBezTo>
                      <a:cubicBezTo>
                        <a:pt x="229" y="17"/>
                        <a:pt x="229" y="17"/>
                        <a:pt x="229" y="17"/>
                      </a:cubicBezTo>
                      <a:cubicBezTo>
                        <a:pt x="234" y="16"/>
                        <a:pt x="234" y="16"/>
                        <a:pt x="234" y="16"/>
                      </a:cubicBezTo>
                      <a:cubicBezTo>
                        <a:pt x="239" y="19"/>
                        <a:pt x="239" y="19"/>
                        <a:pt x="239" y="19"/>
                      </a:cubicBezTo>
                      <a:cubicBezTo>
                        <a:pt x="238" y="23"/>
                        <a:pt x="238" y="23"/>
                        <a:pt x="238" y="23"/>
                      </a:cubicBezTo>
                      <a:cubicBezTo>
                        <a:pt x="240" y="28"/>
                        <a:pt x="240" y="28"/>
                        <a:pt x="240" y="28"/>
                      </a:cubicBezTo>
                      <a:cubicBezTo>
                        <a:pt x="237" y="31"/>
                        <a:pt x="237" y="31"/>
                        <a:pt x="237" y="31"/>
                      </a:cubicBezTo>
                      <a:cubicBezTo>
                        <a:pt x="237" y="31"/>
                        <a:pt x="236" y="33"/>
                        <a:pt x="234" y="33"/>
                      </a:cubicBezTo>
                      <a:cubicBezTo>
                        <a:pt x="233" y="34"/>
                        <a:pt x="231" y="35"/>
                        <a:pt x="231" y="35"/>
                      </a:cubicBezTo>
                      <a:cubicBezTo>
                        <a:pt x="228" y="38"/>
                        <a:pt x="228" y="38"/>
                        <a:pt x="228" y="38"/>
                      </a:cubicBezTo>
                      <a:cubicBezTo>
                        <a:pt x="224" y="39"/>
                        <a:pt x="224" y="39"/>
                        <a:pt x="224" y="39"/>
                      </a:cubicBezTo>
                      <a:cubicBezTo>
                        <a:pt x="221" y="40"/>
                        <a:pt x="221" y="40"/>
                        <a:pt x="221" y="40"/>
                      </a:cubicBezTo>
                      <a:cubicBezTo>
                        <a:pt x="219" y="42"/>
                        <a:pt x="219" y="42"/>
                        <a:pt x="219" y="42"/>
                      </a:cubicBezTo>
                      <a:cubicBezTo>
                        <a:pt x="217" y="48"/>
                        <a:pt x="217" y="48"/>
                        <a:pt x="217" y="48"/>
                      </a:cubicBezTo>
                      <a:cubicBezTo>
                        <a:pt x="214" y="51"/>
                        <a:pt x="214" y="51"/>
                        <a:pt x="214" y="51"/>
                      </a:cubicBezTo>
                      <a:cubicBezTo>
                        <a:pt x="213" y="56"/>
                        <a:pt x="213" y="56"/>
                        <a:pt x="213" y="56"/>
                      </a:cubicBezTo>
                      <a:cubicBezTo>
                        <a:pt x="213" y="56"/>
                        <a:pt x="215" y="61"/>
                        <a:pt x="213" y="62"/>
                      </a:cubicBezTo>
                      <a:cubicBezTo>
                        <a:pt x="212" y="62"/>
                        <a:pt x="211" y="63"/>
                        <a:pt x="211" y="63"/>
                      </a:cubicBezTo>
                      <a:cubicBezTo>
                        <a:pt x="210" y="71"/>
                        <a:pt x="210" y="71"/>
                        <a:pt x="210" y="71"/>
                      </a:cubicBezTo>
                      <a:cubicBezTo>
                        <a:pt x="206" y="75"/>
                        <a:pt x="206" y="75"/>
                        <a:pt x="206" y="75"/>
                      </a:cubicBezTo>
                      <a:cubicBezTo>
                        <a:pt x="205" y="83"/>
                        <a:pt x="205" y="83"/>
                        <a:pt x="205" y="83"/>
                      </a:cubicBezTo>
                      <a:cubicBezTo>
                        <a:pt x="205" y="83"/>
                        <a:pt x="207" y="87"/>
                        <a:pt x="204" y="87"/>
                      </a:cubicBezTo>
                      <a:cubicBezTo>
                        <a:pt x="202" y="88"/>
                        <a:pt x="201" y="90"/>
                        <a:pt x="201" y="90"/>
                      </a:cubicBezTo>
                      <a:cubicBezTo>
                        <a:pt x="201" y="97"/>
                        <a:pt x="201" y="97"/>
                        <a:pt x="201" y="97"/>
                      </a:cubicBezTo>
                      <a:cubicBezTo>
                        <a:pt x="198" y="102"/>
                        <a:pt x="198" y="102"/>
                        <a:pt x="198" y="102"/>
                      </a:cubicBezTo>
                      <a:cubicBezTo>
                        <a:pt x="199" y="106"/>
                        <a:pt x="199" y="106"/>
                        <a:pt x="199" y="106"/>
                      </a:cubicBezTo>
                      <a:cubicBezTo>
                        <a:pt x="197" y="109"/>
                        <a:pt x="197" y="109"/>
                        <a:pt x="197" y="109"/>
                      </a:cubicBezTo>
                      <a:cubicBezTo>
                        <a:pt x="198" y="114"/>
                        <a:pt x="198" y="114"/>
                        <a:pt x="198" y="114"/>
                      </a:cubicBezTo>
                      <a:cubicBezTo>
                        <a:pt x="196" y="117"/>
                        <a:pt x="196" y="117"/>
                        <a:pt x="196" y="117"/>
                      </a:cubicBezTo>
                      <a:cubicBezTo>
                        <a:pt x="195" y="118"/>
                        <a:pt x="195" y="118"/>
                        <a:pt x="195" y="118"/>
                      </a:cubicBezTo>
                      <a:cubicBezTo>
                        <a:pt x="194" y="121"/>
                        <a:pt x="194" y="121"/>
                        <a:pt x="194" y="121"/>
                      </a:cubicBezTo>
                      <a:cubicBezTo>
                        <a:pt x="192" y="126"/>
                        <a:pt x="192" y="126"/>
                        <a:pt x="192" y="126"/>
                      </a:cubicBezTo>
                      <a:cubicBezTo>
                        <a:pt x="184" y="133"/>
                        <a:pt x="184" y="133"/>
                        <a:pt x="184" y="133"/>
                      </a:cubicBezTo>
                      <a:cubicBezTo>
                        <a:pt x="180" y="132"/>
                        <a:pt x="180" y="132"/>
                        <a:pt x="180" y="132"/>
                      </a:cubicBezTo>
                      <a:cubicBezTo>
                        <a:pt x="177" y="135"/>
                        <a:pt x="177" y="135"/>
                        <a:pt x="177" y="135"/>
                      </a:cubicBezTo>
                      <a:cubicBezTo>
                        <a:pt x="177" y="135"/>
                        <a:pt x="178" y="135"/>
                        <a:pt x="176" y="137"/>
                      </a:cubicBezTo>
                      <a:cubicBezTo>
                        <a:pt x="174" y="138"/>
                        <a:pt x="170" y="139"/>
                        <a:pt x="170" y="139"/>
                      </a:cubicBezTo>
                      <a:cubicBezTo>
                        <a:pt x="168" y="139"/>
                        <a:pt x="168" y="139"/>
                        <a:pt x="168" y="139"/>
                      </a:cubicBezTo>
                      <a:cubicBezTo>
                        <a:pt x="161" y="139"/>
                        <a:pt x="161" y="139"/>
                        <a:pt x="161" y="139"/>
                      </a:cubicBezTo>
                      <a:cubicBezTo>
                        <a:pt x="161" y="139"/>
                        <a:pt x="160" y="138"/>
                        <a:pt x="159" y="139"/>
                      </a:cubicBezTo>
                      <a:cubicBezTo>
                        <a:pt x="158" y="139"/>
                        <a:pt x="153" y="139"/>
                        <a:pt x="153" y="139"/>
                      </a:cubicBezTo>
                      <a:cubicBezTo>
                        <a:pt x="153" y="139"/>
                        <a:pt x="151" y="138"/>
                        <a:pt x="150" y="138"/>
                      </a:cubicBezTo>
                      <a:cubicBezTo>
                        <a:pt x="149" y="138"/>
                        <a:pt x="143" y="139"/>
                        <a:pt x="143" y="139"/>
                      </a:cubicBezTo>
                      <a:cubicBezTo>
                        <a:pt x="139" y="141"/>
                        <a:pt x="139" y="141"/>
                        <a:pt x="139" y="141"/>
                      </a:cubicBezTo>
                      <a:cubicBezTo>
                        <a:pt x="139" y="141"/>
                        <a:pt x="138" y="139"/>
                        <a:pt x="137" y="140"/>
                      </a:cubicBezTo>
                      <a:cubicBezTo>
                        <a:pt x="135" y="140"/>
                        <a:pt x="130" y="142"/>
                        <a:pt x="130" y="142"/>
                      </a:cubicBezTo>
                      <a:cubicBezTo>
                        <a:pt x="130" y="142"/>
                        <a:pt x="132" y="144"/>
                        <a:pt x="130" y="144"/>
                      </a:cubicBezTo>
                      <a:cubicBezTo>
                        <a:pt x="129" y="144"/>
                        <a:pt x="126" y="148"/>
                        <a:pt x="126" y="148"/>
                      </a:cubicBezTo>
                      <a:cubicBezTo>
                        <a:pt x="124" y="149"/>
                        <a:pt x="124" y="149"/>
                        <a:pt x="124" y="149"/>
                      </a:cubicBezTo>
                      <a:cubicBezTo>
                        <a:pt x="123" y="152"/>
                        <a:pt x="123" y="152"/>
                        <a:pt x="123" y="152"/>
                      </a:cubicBezTo>
                      <a:cubicBezTo>
                        <a:pt x="123" y="152"/>
                        <a:pt x="122" y="152"/>
                        <a:pt x="120" y="152"/>
                      </a:cubicBezTo>
                      <a:cubicBezTo>
                        <a:pt x="119" y="152"/>
                        <a:pt x="116" y="153"/>
                        <a:pt x="116" y="153"/>
                      </a:cubicBezTo>
                      <a:cubicBezTo>
                        <a:pt x="115" y="152"/>
                        <a:pt x="115" y="152"/>
                        <a:pt x="115" y="152"/>
                      </a:cubicBezTo>
                      <a:cubicBezTo>
                        <a:pt x="111" y="158"/>
                        <a:pt x="111" y="158"/>
                        <a:pt x="111" y="158"/>
                      </a:cubicBezTo>
                      <a:cubicBezTo>
                        <a:pt x="107" y="160"/>
                        <a:pt x="107" y="160"/>
                        <a:pt x="107" y="160"/>
                      </a:cubicBezTo>
                      <a:cubicBezTo>
                        <a:pt x="105" y="159"/>
                        <a:pt x="105" y="159"/>
                        <a:pt x="105" y="159"/>
                      </a:cubicBezTo>
                      <a:cubicBezTo>
                        <a:pt x="103" y="164"/>
                        <a:pt x="103" y="164"/>
                        <a:pt x="103" y="164"/>
                      </a:cubicBezTo>
                      <a:cubicBezTo>
                        <a:pt x="103" y="164"/>
                        <a:pt x="100" y="165"/>
                        <a:pt x="100" y="166"/>
                      </a:cubicBezTo>
                      <a:cubicBezTo>
                        <a:pt x="99" y="167"/>
                        <a:pt x="94" y="167"/>
                        <a:pt x="94" y="167"/>
                      </a:cubicBezTo>
                      <a:cubicBezTo>
                        <a:pt x="90" y="167"/>
                        <a:pt x="90" y="167"/>
                        <a:pt x="90" y="167"/>
                      </a:cubicBezTo>
                      <a:cubicBezTo>
                        <a:pt x="83" y="169"/>
                        <a:pt x="83" y="169"/>
                        <a:pt x="83" y="169"/>
                      </a:cubicBezTo>
                      <a:cubicBezTo>
                        <a:pt x="83" y="169"/>
                        <a:pt x="81" y="170"/>
                        <a:pt x="80" y="170"/>
                      </a:cubicBezTo>
                      <a:cubicBezTo>
                        <a:pt x="79" y="170"/>
                        <a:pt x="74" y="169"/>
                        <a:pt x="74" y="169"/>
                      </a:cubicBezTo>
                      <a:cubicBezTo>
                        <a:pt x="71" y="170"/>
                        <a:pt x="71" y="170"/>
                        <a:pt x="71" y="170"/>
                      </a:cubicBezTo>
                      <a:cubicBezTo>
                        <a:pt x="64" y="168"/>
                        <a:pt x="64" y="168"/>
                        <a:pt x="64" y="168"/>
                      </a:cubicBezTo>
                      <a:cubicBezTo>
                        <a:pt x="62" y="165"/>
                        <a:pt x="62" y="165"/>
                        <a:pt x="62" y="165"/>
                      </a:cubicBezTo>
                      <a:cubicBezTo>
                        <a:pt x="56" y="164"/>
                        <a:pt x="56" y="164"/>
                        <a:pt x="56" y="164"/>
                      </a:cubicBezTo>
                      <a:cubicBezTo>
                        <a:pt x="55" y="162"/>
                        <a:pt x="55" y="162"/>
                        <a:pt x="55" y="162"/>
                      </a:cubicBezTo>
                      <a:cubicBezTo>
                        <a:pt x="51" y="162"/>
                        <a:pt x="51" y="162"/>
                        <a:pt x="51" y="162"/>
                      </a:cubicBezTo>
                      <a:cubicBezTo>
                        <a:pt x="47" y="158"/>
                        <a:pt x="47" y="158"/>
                        <a:pt x="47" y="158"/>
                      </a:cubicBezTo>
                      <a:cubicBezTo>
                        <a:pt x="42" y="152"/>
                        <a:pt x="42" y="152"/>
                        <a:pt x="42" y="152"/>
                      </a:cubicBezTo>
                      <a:cubicBezTo>
                        <a:pt x="32" y="149"/>
                        <a:pt x="32" y="149"/>
                        <a:pt x="32" y="149"/>
                      </a:cubicBezTo>
                      <a:cubicBezTo>
                        <a:pt x="29" y="145"/>
                        <a:pt x="29" y="145"/>
                        <a:pt x="29" y="145"/>
                      </a:cubicBezTo>
                      <a:cubicBezTo>
                        <a:pt x="26" y="143"/>
                        <a:pt x="26" y="143"/>
                        <a:pt x="26" y="143"/>
                      </a:cubicBezTo>
                      <a:cubicBezTo>
                        <a:pt x="22" y="140"/>
                        <a:pt x="22" y="140"/>
                        <a:pt x="22" y="140"/>
                      </a:cubicBezTo>
                      <a:cubicBezTo>
                        <a:pt x="18" y="137"/>
                        <a:pt x="18" y="137"/>
                        <a:pt x="18" y="137"/>
                      </a:cubicBezTo>
                      <a:cubicBezTo>
                        <a:pt x="16" y="135"/>
                        <a:pt x="16" y="135"/>
                        <a:pt x="16" y="135"/>
                      </a:cubicBezTo>
                      <a:cubicBezTo>
                        <a:pt x="10" y="127"/>
                        <a:pt x="10" y="127"/>
                        <a:pt x="10" y="127"/>
                      </a:cubicBezTo>
                      <a:cubicBezTo>
                        <a:pt x="10" y="125"/>
                        <a:pt x="10" y="125"/>
                        <a:pt x="10" y="125"/>
                      </a:cubicBezTo>
                      <a:cubicBezTo>
                        <a:pt x="7" y="121"/>
                        <a:pt x="7" y="121"/>
                        <a:pt x="7" y="121"/>
                      </a:cubicBezTo>
                      <a:cubicBezTo>
                        <a:pt x="6" y="117"/>
                        <a:pt x="6" y="117"/>
                        <a:pt x="6" y="117"/>
                      </a:cubicBezTo>
                      <a:cubicBezTo>
                        <a:pt x="4" y="115"/>
                        <a:pt x="4" y="115"/>
                        <a:pt x="4" y="115"/>
                      </a:cubicBezTo>
                      <a:cubicBezTo>
                        <a:pt x="0" y="117"/>
                        <a:pt x="0" y="117"/>
                        <a:pt x="0" y="117"/>
                      </a:cubicBezTo>
                      <a:cubicBezTo>
                        <a:pt x="0" y="117"/>
                        <a:pt x="0" y="117"/>
                        <a:pt x="0" y="117"/>
                      </a:cubicBezTo>
                      <a:cubicBezTo>
                        <a:pt x="0" y="116"/>
                        <a:pt x="0" y="116"/>
                        <a:pt x="0" y="116"/>
                      </a:cubicBezTo>
                      <a:cubicBezTo>
                        <a:pt x="3" y="109"/>
                        <a:pt x="3" y="109"/>
                        <a:pt x="3" y="109"/>
                      </a:cubicBezTo>
                      <a:cubicBezTo>
                        <a:pt x="6" y="108"/>
                        <a:pt x="6" y="108"/>
                        <a:pt x="6" y="108"/>
                      </a:cubicBezTo>
                      <a:cubicBezTo>
                        <a:pt x="9" y="103"/>
                        <a:pt x="9" y="103"/>
                        <a:pt x="9" y="103"/>
                      </a:cubicBezTo>
                      <a:cubicBezTo>
                        <a:pt x="8" y="97"/>
                        <a:pt x="8" y="97"/>
                        <a:pt x="8" y="97"/>
                      </a:cubicBezTo>
                      <a:cubicBezTo>
                        <a:pt x="8" y="95"/>
                        <a:pt x="8" y="95"/>
                        <a:pt x="8" y="95"/>
                      </a:cubicBezTo>
                      <a:cubicBezTo>
                        <a:pt x="5" y="89"/>
                        <a:pt x="5" y="89"/>
                        <a:pt x="5" y="89"/>
                      </a:cubicBezTo>
                      <a:cubicBezTo>
                        <a:pt x="5" y="89"/>
                        <a:pt x="6" y="88"/>
                        <a:pt x="7" y="88"/>
                      </a:cubicBezTo>
                      <a:cubicBezTo>
                        <a:pt x="8" y="88"/>
                        <a:pt x="11" y="86"/>
                        <a:pt x="11" y="86"/>
                      </a:cubicBezTo>
                      <a:cubicBezTo>
                        <a:pt x="17" y="82"/>
                        <a:pt x="17" y="82"/>
                        <a:pt x="17" y="82"/>
                      </a:cubicBezTo>
                      <a:cubicBezTo>
                        <a:pt x="12" y="74"/>
                        <a:pt x="12" y="74"/>
                        <a:pt x="12" y="74"/>
                      </a:cubicBezTo>
                      <a:cubicBezTo>
                        <a:pt x="10" y="74"/>
                        <a:pt x="10" y="74"/>
                        <a:pt x="10" y="74"/>
                      </a:cubicBezTo>
                      <a:cubicBezTo>
                        <a:pt x="4" y="72"/>
                        <a:pt x="4" y="72"/>
                        <a:pt x="4" y="72"/>
                      </a:cubicBezTo>
                      <a:cubicBezTo>
                        <a:pt x="8" y="69"/>
                        <a:pt x="8" y="69"/>
                        <a:pt x="8" y="69"/>
                      </a:cubicBezTo>
                      <a:cubicBezTo>
                        <a:pt x="10" y="67"/>
                        <a:pt x="10" y="67"/>
                        <a:pt x="10" y="67"/>
                      </a:cubicBezTo>
                      <a:cubicBezTo>
                        <a:pt x="18" y="70"/>
                        <a:pt x="18" y="70"/>
                        <a:pt x="18" y="70"/>
                      </a:cubicBezTo>
                      <a:cubicBezTo>
                        <a:pt x="18" y="70"/>
                        <a:pt x="21" y="71"/>
                        <a:pt x="20" y="70"/>
                      </a:cubicBezTo>
                      <a:cubicBezTo>
                        <a:pt x="20" y="67"/>
                        <a:pt x="21" y="69"/>
                        <a:pt x="21" y="69"/>
                      </a:cubicBezTo>
                      <a:cubicBezTo>
                        <a:pt x="22" y="71"/>
                        <a:pt x="25" y="69"/>
                        <a:pt x="27" y="69"/>
                      </a:cubicBezTo>
                      <a:cubicBezTo>
                        <a:pt x="30" y="68"/>
                        <a:pt x="28" y="66"/>
                        <a:pt x="27" y="64"/>
                      </a:cubicBezTo>
                      <a:cubicBezTo>
                        <a:pt x="27" y="63"/>
                        <a:pt x="27" y="62"/>
                        <a:pt x="28" y="61"/>
                      </a:cubicBezTo>
                      <a:close/>
                    </a:path>
                  </a:pathLst>
                </a:custGeom>
                <a:solidFill>
                  <a:srgbClr val="E6EFF1"/>
                </a:solidFill>
                <a:ln w="12700" cap="rnd" cmpd="sng">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Lato Light"/>
                  </a:endParaRPr>
                </a:p>
              </p:txBody>
            </p:sp>
            <p:sp>
              <p:nvSpPr>
                <p:cNvPr id="24" name="Freeform 7">
                  <a:extLst>
                    <a:ext uri="{FF2B5EF4-FFF2-40B4-BE49-F238E27FC236}">
                      <a16:creationId xmlns:a16="http://schemas.microsoft.com/office/drawing/2014/main" id="{2FE0D4F9-F9D3-FD9B-B5D5-5CCA1D33EDE7}"/>
                    </a:ext>
                  </a:extLst>
                </p:cNvPr>
                <p:cNvSpPr>
                  <a:spLocks/>
                </p:cNvSpPr>
                <p:nvPr/>
              </p:nvSpPr>
              <p:spPr bwMode="auto">
                <a:xfrm>
                  <a:off x="5150458" y="2958273"/>
                  <a:ext cx="829356" cy="754085"/>
                </a:xfrm>
                <a:custGeom>
                  <a:avLst/>
                  <a:gdLst>
                    <a:gd name="T0" fmla="*/ 83 w 288"/>
                    <a:gd name="T1" fmla="*/ 55 h 270"/>
                    <a:gd name="T2" fmla="*/ 75 w 288"/>
                    <a:gd name="T3" fmla="*/ 45 h 270"/>
                    <a:gd name="T4" fmla="*/ 82 w 288"/>
                    <a:gd name="T5" fmla="*/ 27 h 270"/>
                    <a:gd name="T6" fmla="*/ 101 w 288"/>
                    <a:gd name="T7" fmla="*/ 24 h 270"/>
                    <a:gd name="T8" fmla="*/ 107 w 288"/>
                    <a:gd name="T9" fmla="*/ 4 h 270"/>
                    <a:gd name="T10" fmla="*/ 121 w 288"/>
                    <a:gd name="T11" fmla="*/ 2 h 270"/>
                    <a:gd name="T12" fmla="*/ 136 w 288"/>
                    <a:gd name="T13" fmla="*/ 5 h 270"/>
                    <a:gd name="T14" fmla="*/ 153 w 288"/>
                    <a:gd name="T15" fmla="*/ 7 h 270"/>
                    <a:gd name="T16" fmla="*/ 166 w 288"/>
                    <a:gd name="T17" fmla="*/ 4 h 270"/>
                    <a:gd name="T18" fmla="*/ 189 w 288"/>
                    <a:gd name="T19" fmla="*/ 5 h 270"/>
                    <a:gd name="T20" fmla="*/ 200 w 288"/>
                    <a:gd name="T21" fmla="*/ 6 h 270"/>
                    <a:gd name="T22" fmla="*/ 202 w 288"/>
                    <a:gd name="T23" fmla="*/ 24 h 270"/>
                    <a:gd name="T24" fmla="*/ 210 w 288"/>
                    <a:gd name="T25" fmla="*/ 39 h 270"/>
                    <a:gd name="T26" fmla="*/ 222 w 288"/>
                    <a:gd name="T27" fmla="*/ 53 h 270"/>
                    <a:gd name="T28" fmla="*/ 228 w 288"/>
                    <a:gd name="T29" fmla="*/ 65 h 270"/>
                    <a:gd name="T30" fmla="*/ 251 w 288"/>
                    <a:gd name="T31" fmla="*/ 80 h 270"/>
                    <a:gd name="T32" fmla="*/ 263 w 288"/>
                    <a:gd name="T33" fmla="*/ 85 h 270"/>
                    <a:gd name="T34" fmla="*/ 275 w 288"/>
                    <a:gd name="T35" fmla="*/ 92 h 270"/>
                    <a:gd name="T36" fmla="*/ 288 w 288"/>
                    <a:gd name="T37" fmla="*/ 104 h 270"/>
                    <a:gd name="T38" fmla="*/ 274 w 288"/>
                    <a:gd name="T39" fmla="*/ 121 h 270"/>
                    <a:gd name="T40" fmla="*/ 252 w 288"/>
                    <a:gd name="T41" fmla="*/ 124 h 270"/>
                    <a:gd name="T42" fmla="*/ 259 w 288"/>
                    <a:gd name="T43" fmla="*/ 138 h 270"/>
                    <a:gd name="T44" fmla="*/ 264 w 288"/>
                    <a:gd name="T45" fmla="*/ 151 h 270"/>
                    <a:gd name="T46" fmla="*/ 271 w 288"/>
                    <a:gd name="T47" fmla="*/ 164 h 270"/>
                    <a:gd name="T48" fmla="*/ 276 w 288"/>
                    <a:gd name="T49" fmla="*/ 170 h 270"/>
                    <a:gd name="T50" fmla="*/ 269 w 288"/>
                    <a:gd name="T51" fmla="*/ 182 h 270"/>
                    <a:gd name="T52" fmla="*/ 249 w 288"/>
                    <a:gd name="T53" fmla="*/ 211 h 270"/>
                    <a:gd name="T54" fmla="*/ 260 w 288"/>
                    <a:gd name="T55" fmla="*/ 230 h 270"/>
                    <a:gd name="T56" fmla="*/ 240 w 288"/>
                    <a:gd name="T57" fmla="*/ 225 h 270"/>
                    <a:gd name="T58" fmla="*/ 222 w 288"/>
                    <a:gd name="T59" fmla="*/ 234 h 270"/>
                    <a:gd name="T60" fmla="*/ 207 w 288"/>
                    <a:gd name="T61" fmla="*/ 228 h 270"/>
                    <a:gd name="T62" fmla="*/ 188 w 288"/>
                    <a:gd name="T63" fmla="*/ 235 h 270"/>
                    <a:gd name="T64" fmla="*/ 171 w 288"/>
                    <a:gd name="T65" fmla="*/ 242 h 270"/>
                    <a:gd name="T66" fmla="*/ 154 w 288"/>
                    <a:gd name="T67" fmla="*/ 242 h 270"/>
                    <a:gd name="T68" fmla="*/ 129 w 288"/>
                    <a:gd name="T69" fmla="*/ 240 h 270"/>
                    <a:gd name="T70" fmla="*/ 87 w 288"/>
                    <a:gd name="T71" fmla="*/ 242 h 270"/>
                    <a:gd name="T72" fmla="*/ 56 w 288"/>
                    <a:gd name="T73" fmla="*/ 249 h 270"/>
                    <a:gd name="T74" fmla="*/ 51 w 288"/>
                    <a:gd name="T75" fmla="*/ 253 h 270"/>
                    <a:gd name="T76" fmla="*/ 44 w 288"/>
                    <a:gd name="T77" fmla="*/ 266 h 270"/>
                    <a:gd name="T78" fmla="*/ 27 w 288"/>
                    <a:gd name="T79" fmla="*/ 270 h 270"/>
                    <a:gd name="T80" fmla="*/ 25 w 288"/>
                    <a:gd name="T81" fmla="*/ 249 h 270"/>
                    <a:gd name="T82" fmla="*/ 8 w 288"/>
                    <a:gd name="T83" fmla="*/ 237 h 270"/>
                    <a:gd name="T84" fmla="*/ 21 w 288"/>
                    <a:gd name="T85" fmla="*/ 216 h 270"/>
                    <a:gd name="T86" fmla="*/ 22 w 288"/>
                    <a:gd name="T87" fmla="*/ 194 h 270"/>
                    <a:gd name="T88" fmla="*/ 13 w 288"/>
                    <a:gd name="T89" fmla="*/ 175 h 270"/>
                    <a:gd name="T90" fmla="*/ 9 w 288"/>
                    <a:gd name="T91" fmla="*/ 145 h 270"/>
                    <a:gd name="T92" fmla="*/ 36 w 288"/>
                    <a:gd name="T93" fmla="*/ 136 h 270"/>
                    <a:gd name="T94" fmla="*/ 47 w 288"/>
                    <a:gd name="T95" fmla="*/ 127 h 270"/>
                    <a:gd name="T96" fmla="*/ 59 w 288"/>
                    <a:gd name="T97" fmla="*/ 116 h 270"/>
                    <a:gd name="T98" fmla="*/ 67 w 288"/>
                    <a:gd name="T99" fmla="*/ 115 h 270"/>
                    <a:gd name="T100" fmla="*/ 61 w 288"/>
                    <a:gd name="T101" fmla="*/ 103 h 270"/>
                    <a:gd name="T102" fmla="*/ 60 w 288"/>
                    <a:gd name="T103" fmla="*/ 82 h 270"/>
                    <a:gd name="T104" fmla="*/ 73 w 288"/>
                    <a:gd name="T105" fmla="*/ 65 h 2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88" h="270">
                      <a:moveTo>
                        <a:pt x="81" y="66"/>
                      </a:moveTo>
                      <a:cubicBezTo>
                        <a:pt x="80" y="61"/>
                        <a:pt x="80" y="61"/>
                        <a:pt x="80" y="61"/>
                      </a:cubicBezTo>
                      <a:cubicBezTo>
                        <a:pt x="84" y="59"/>
                        <a:pt x="84" y="59"/>
                        <a:pt x="84" y="59"/>
                      </a:cubicBezTo>
                      <a:cubicBezTo>
                        <a:pt x="83" y="55"/>
                        <a:pt x="83" y="55"/>
                        <a:pt x="83" y="55"/>
                      </a:cubicBezTo>
                      <a:cubicBezTo>
                        <a:pt x="76" y="56"/>
                        <a:pt x="76" y="56"/>
                        <a:pt x="76" y="56"/>
                      </a:cubicBezTo>
                      <a:cubicBezTo>
                        <a:pt x="73" y="55"/>
                        <a:pt x="73" y="55"/>
                        <a:pt x="73" y="55"/>
                      </a:cubicBezTo>
                      <a:cubicBezTo>
                        <a:pt x="73" y="50"/>
                        <a:pt x="73" y="50"/>
                        <a:pt x="73" y="50"/>
                      </a:cubicBezTo>
                      <a:cubicBezTo>
                        <a:pt x="75" y="45"/>
                        <a:pt x="75" y="45"/>
                        <a:pt x="75" y="45"/>
                      </a:cubicBezTo>
                      <a:cubicBezTo>
                        <a:pt x="74" y="36"/>
                        <a:pt x="74" y="36"/>
                        <a:pt x="74" y="36"/>
                      </a:cubicBezTo>
                      <a:cubicBezTo>
                        <a:pt x="74" y="36"/>
                        <a:pt x="72" y="36"/>
                        <a:pt x="75" y="34"/>
                      </a:cubicBezTo>
                      <a:cubicBezTo>
                        <a:pt x="79" y="33"/>
                        <a:pt x="81" y="33"/>
                        <a:pt x="81" y="33"/>
                      </a:cubicBezTo>
                      <a:cubicBezTo>
                        <a:pt x="82" y="27"/>
                        <a:pt x="82" y="27"/>
                        <a:pt x="82" y="27"/>
                      </a:cubicBezTo>
                      <a:cubicBezTo>
                        <a:pt x="85" y="24"/>
                        <a:pt x="85" y="24"/>
                        <a:pt x="85" y="24"/>
                      </a:cubicBezTo>
                      <a:cubicBezTo>
                        <a:pt x="85" y="24"/>
                        <a:pt x="84" y="24"/>
                        <a:pt x="88" y="24"/>
                      </a:cubicBezTo>
                      <a:cubicBezTo>
                        <a:pt x="92" y="24"/>
                        <a:pt x="93" y="24"/>
                        <a:pt x="93" y="24"/>
                      </a:cubicBezTo>
                      <a:cubicBezTo>
                        <a:pt x="101" y="24"/>
                        <a:pt x="101" y="24"/>
                        <a:pt x="101" y="24"/>
                      </a:cubicBezTo>
                      <a:cubicBezTo>
                        <a:pt x="103" y="21"/>
                        <a:pt x="103" y="21"/>
                        <a:pt x="103" y="21"/>
                      </a:cubicBezTo>
                      <a:cubicBezTo>
                        <a:pt x="101" y="16"/>
                        <a:pt x="101" y="16"/>
                        <a:pt x="101" y="16"/>
                      </a:cubicBezTo>
                      <a:cubicBezTo>
                        <a:pt x="106" y="11"/>
                        <a:pt x="106" y="11"/>
                        <a:pt x="106" y="11"/>
                      </a:cubicBezTo>
                      <a:cubicBezTo>
                        <a:pt x="107" y="4"/>
                        <a:pt x="107" y="4"/>
                        <a:pt x="107" y="4"/>
                      </a:cubicBezTo>
                      <a:cubicBezTo>
                        <a:pt x="112" y="1"/>
                        <a:pt x="112" y="1"/>
                        <a:pt x="112" y="1"/>
                      </a:cubicBezTo>
                      <a:cubicBezTo>
                        <a:pt x="112" y="1"/>
                        <a:pt x="115" y="4"/>
                        <a:pt x="116" y="4"/>
                      </a:cubicBezTo>
                      <a:cubicBezTo>
                        <a:pt x="117" y="4"/>
                        <a:pt x="118" y="5"/>
                        <a:pt x="119" y="4"/>
                      </a:cubicBezTo>
                      <a:cubicBezTo>
                        <a:pt x="120" y="4"/>
                        <a:pt x="121" y="2"/>
                        <a:pt x="121" y="2"/>
                      </a:cubicBezTo>
                      <a:cubicBezTo>
                        <a:pt x="126" y="0"/>
                        <a:pt x="126" y="0"/>
                        <a:pt x="126" y="0"/>
                      </a:cubicBezTo>
                      <a:cubicBezTo>
                        <a:pt x="129" y="1"/>
                        <a:pt x="129" y="1"/>
                        <a:pt x="129" y="1"/>
                      </a:cubicBezTo>
                      <a:cubicBezTo>
                        <a:pt x="131" y="5"/>
                        <a:pt x="131" y="5"/>
                        <a:pt x="131" y="5"/>
                      </a:cubicBezTo>
                      <a:cubicBezTo>
                        <a:pt x="136" y="5"/>
                        <a:pt x="136" y="5"/>
                        <a:pt x="136" y="5"/>
                      </a:cubicBezTo>
                      <a:cubicBezTo>
                        <a:pt x="137" y="3"/>
                        <a:pt x="137" y="3"/>
                        <a:pt x="137" y="3"/>
                      </a:cubicBezTo>
                      <a:cubicBezTo>
                        <a:pt x="144" y="1"/>
                        <a:pt x="144" y="1"/>
                        <a:pt x="144" y="1"/>
                      </a:cubicBezTo>
                      <a:cubicBezTo>
                        <a:pt x="152" y="1"/>
                        <a:pt x="152" y="1"/>
                        <a:pt x="152" y="1"/>
                      </a:cubicBezTo>
                      <a:cubicBezTo>
                        <a:pt x="153" y="7"/>
                        <a:pt x="153" y="7"/>
                        <a:pt x="153" y="7"/>
                      </a:cubicBezTo>
                      <a:cubicBezTo>
                        <a:pt x="153" y="10"/>
                        <a:pt x="153" y="10"/>
                        <a:pt x="153" y="10"/>
                      </a:cubicBezTo>
                      <a:cubicBezTo>
                        <a:pt x="153" y="10"/>
                        <a:pt x="155" y="13"/>
                        <a:pt x="157" y="12"/>
                      </a:cubicBezTo>
                      <a:cubicBezTo>
                        <a:pt x="158" y="12"/>
                        <a:pt x="162" y="11"/>
                        <a:pt x="163" y="9"/>
                      </a:cubicBezTo>
                      <a:cubicBezTo>
                        <a:pt x="163" y="7"/>
                        <a:pt x="164" y="5"/>
                        <a:pt x="166" y="4"/>
                      </a:cubicBezTo>
                      <a:cubicBezTo>
                        <a:pt x="168" y="4"/>
                        <a:pt x="167" y="3"/>
                        <a:pt x="170" y="2"/>
                      </a:cubicBezTo>
                      <a:cubicBezTo>
                        <a:pt x="174" y="1"/>
                        <a:pt x="177" y="0"/>
                        <a:pt x="177" y="0"/>
                      </a:cubicBezTo>
                      <a:cubicBezTo>
                        <a:pt x="186" y="2"/>
                        <a:pt x="186" y="2"/>
                        <a:pt x="186" y="2"/>
                      </a:cubicBezTo>
                      <a:cubicBezTo>
                        <a:pt x="189" y="5"/>
                        <a:pt x="189" y="5"/>
                        <a:pt x="189" y="5"/>
                      </a:cubicBezTo>
                      <a:cubicBezTo>
                        <a:pt x="192" y="7"/>
                        <a:pt x="192" y="7"/>
                        <a:pt x="192" y="7"/>
                      </a:cubicBezTo>
                      <a:cubicBezTo>
                        <a:pt x="195" y="6"/>
                        <a:pt x="195" y="6"/>
                        <a:pt x="195" y="6"/>
                      </a:cubicBezTo>
                      <a:cubicBezTo>
                        <a:pt x="196" y="8"/>
                        <a:pt x="196" y="8"/>
                        <a:pt x="196" y="8"/>
                      </a:cubicBezTo>
                      <a:cubicBezTo>
                        <a:pt x="200" y="6"/>
                        <a:pt x="200" y="6"/>
                        <a:pt x="200" y="6"/>
                      </a:cubicBezTo>
                      <a:cubicBezTo>
                        <a:pt x="202" y="10"/>
                        <a:pt x="202" y="10"/>
                        <a:pt x="202" y="10"/>
                      </a:cubicBezTo>
                      <a:cubicBezTo>
                        <a:pt x="202" y="18"/>
                        <a:pt x="202" y="18"/>
                        <a:pt x="202" y="18"/>
                      </a:cubicBezTo>
                      <a:cubicBezTo>
                        <a:pt x="202" y="21"/>
                        <a:pt x="202" y="21"/>
                        <a:pt x="202" y="21"/>
                      </a:cubicBezTo>
                      <a:cubicBezTo>
                        <a:pt x="202" y="24"/>
                        <a:pt x="202" y="24"/>
                        <a:pt x="202" y="24"/>
                      </a:cubicBezTo>
                      <a:cubicBezTo>
                        <a:pt x="208" y="28"/>
                        <a:pt x="208" y="28"/>
                        <a:pt x="208" y="28"/>
                      </a:cubicBezTo>
                      <a:cubicBezTo>
                        <a:pt x="211" y="31"/>
                        <a:pt x="211" y="31"/>
                        <a:pt x="211" y="31"/>
                      </a:cubicBezTo>
                      <a:cubicBezTo>
                        <a:pt x="210" y="36"/>
                        <a:pt x="210" y="36"/>
                        <a:pt x="210" y="36"/>
                      </a:cubicBezTo>
                      <a:cubicBezTo>
                        <a:pt x="210" y="39"/>
                        <a:pt x="210" y="39"/>
                        <a:pt x="210" y="39"/>
                      </a:cubicBezTo>
                      <a:cubicBezTo>
                        <a:pt x="207" y="47"/>
                        <a:pt x="207" y="47"/>
                        <a:pt x="207" y="47"/>
                      </a:cubicBezTo>
                      <a:cubicBezTo>
                        <a:pt x="214" y="49"/>
                        <a:pt x="214" y="49"/>
                        <a:pt x="214" y="49"/>
                      </a:cubicBezTo>
                      <a:cubicBezTo>
                        <a:pt x="218" y="53"/>
                        <a:pt x="218" y="53"/>
                        <a:pt x="218" y="53"/>
                      </a:cubicBezTo>
                      <a:cubicBezTo>
                        <a:pt x="222" y="53"/>
                        <a:pt x="222" y="53"/>
                        <a:pt x="222" y="53"/>
                      </a:cubicBezTo>
                      <a:cubicBezTo>
                        <a:pt x="222" y="58"/>
                        <a:pt x="222" y="58"/>
                        <a:pt x="222" y="58"/>
                      </a:cubicBezTo>
                      <a:cubicBezTo>
                        <a:pt x="222" y="58"/>
                        <a:pt x="220" y="61"/>
                        <a:pt x="223" y="61"/>
                      </a:cubicBezTo>
                      <a:cubicBezTo>
                        <a:pt x="226" y="62"/>
                        <a:pt x="227" y="62"/>
                        <a:pt x="227" y="62"/>
                      </a:cubicBezTo>
                      <a:cubicBezTo>
                        <a:pt x="228" y="65"/>
                        <a:pt x="228" y="65"/>
                        <a:pt x="228" y="65"/>
                      </a:cubicBezTo>
                      <a:cubicBezTo>
                        <a:pt x="233" y="72"/>
                        <a:pt x="233" y="72"/>
                        <a:pt x="233" y="72"/>
                      </a:cubicBezTo>
                      <a:cubicBezTo>
                        <a:pt x="244" y="74"/>
                        <a:pt x="244" y="74"/>
                        <a:pt x="244" y="74"/>
                      </a:cubicBezTo>
                      <a:cubicBezTo>
                        <a:pt x="249" y="76"/>
                        <a:pt x="249" y="76"/>
                        <a:pt x="249" y="76"/>
                      </a:cubicBezTo>
                      <a:cubicBezTo>
                        <a:pt x="251" y="80"/>
                        <a:pt x="251" y="80"/>
                        <a:pt x="251" y="80"/>
                      </a:cubicBezTo>
                      <a:cubicBezTo>
                        <a:pt x="252" y="89"/>
                        <a:pt x="252" y="89"/>
                        <a:pt x="252" y="89"/>
                      </a:cubicBezTo>
                      <a:cubicBezTo>
                        <a:pt x="257" y="89"/>
                        <a:pt x="257" y="89"/>
                        <a:pt x="257" y="89"/>
                      </a:cubicBezTo>
                      <a:cubicBezTo>
                        <a:pt x="260" y="86"/>
                        <a:pt x="260" y="86"/>
                        <a:pt x="260" y="86"/>
                      </a:cubicBezTo>
                      <a:cubicBezTo>
                        <a:pt x="263" y="85"/>
                        <a:pt x="263" y="85"/>
                        <a:pt x="263" y="85"/>
                      </a:cubicBezTo>
                      <a:cubicBezTo>
                        <a:pt x="267" y="86"/>
                        <a:pt x="267" y="86"/>
                        <a:pt x="267" y="86"/>
                      </a:cubicBezTo>
                      <a:cubicBezTo>
                        <a:pt x="272" y="87"/>
                        <a:pt x="272" y="87"/>
                        <a:pt x="272" y="87"/>
                      </a:cubicBezTo>
                      <a:cubicBezTo>
                        <a:pt x="277" y="87"/>
                        <a:pt x="277" y="87"/>
                        <a:pt x="277" y="87"/>
                      </a:cubicBezTo>
                      <a:cubicBezTo>
                        <a:pt x="275" y="92"/>
                        <a:pt x="275" y="92"/>
                        <a:pt x="275" y="92"/>
                      </a:cubicBezTo>
                      <a:cubicBezTo>
                        <a:pt x="279" y="95"/>
                        <a:pt x="279" y="95"/>
                        <a:pt x="279" y="95"/>
                      </a:cubicBezTo>
                      <a:cubicBezTo>
                        <a:pt x="283" y="96"/>
                        <a:pt x="283" y="96"/>
                        <a:pt x="283" y="96"/>
                      </a:cubicBezTo>
                      <a:cubicBezTo>
                        <a:pt x="288" y="98"/>
                        <a:pt x="288" y="98"/>
                        <a:pt x="288" y="98"/>
                      </a:cubicBezTo>
                      <a:cubicBezTo>
                        <a:pt x="288" y="104"/>
                        <a:pt x="288" y="104"/>
                        <a:pt x="288" y="104"/>
                      </a:cubicBezTo>
                      <a:cubicBezTo>
                        <a:pt x="286" y="107"/>
                        <a:pt x="286" y="107"/>
                        <a:pt x="286" y="107"/>
                      </a:cubicBezTo>
                      <a:cubicBezTo>
                        <a:pt x="282" y="108"/>
                        <a:pt x="282" y="108"/>
                        <a:pt x="282" y="108"/>
                      </a:cubicBezTo>
                      <a:cubicBezTo>
                        <a:pt x="282" y="108"/>
                        <a:pt x="284" y="113"/>
                        <a:pt x="282" y="114"/>
                      </a:cubicBezTo>
                      <a:cubicBezTo>
                        <a:pt x="281" y="115"/>
                        <a:pt x="274" y="121"/>
                        <a:pt x="274" y="121"/>
                      </a:cubicBezTo>
                      <a:cubicBezTo>
                        <a:pt x="267" y="123"/>
                        <a:pt x="267" y="123"/>
                        <a:pt x="267" y="123"/>
                      </a:cubicBezTo>
                      <a:cubicBezTo>
                        <a:pt x="261" y="121"/>
                        <a:pt x="261" y="121"/>
                        <a:pt x="261" y="121"/>
                      </a:cubicBezTo>
                      <a:cubicBezTo>
                        <a:pt x="261" y="121"/>
                        <a:pt x="260" y="120"/>
                        <a:pt x="256" y="121"/>
                      </a:cubicBezTo>
                      <a:cubicBezTo>
                        <a:pt x="252" y="123"/>
                        <a:pt x="252" y="124"/>
                        <a:pt x="252" y="124"/>
                      </a:cubicBezTo>
                      <a:cubicBezTo>
                        <a:pt x="250" y="131"/>
                        <a:pt x="250" y="131"/>
                        <a:pt x="250" y="131"/>
                      </a:cubicBezTo>
                      <a:cubicBezTo>
                        <a:pt x="250" y="134"/>
                        <a:pt x="250" y="134"/>
                        <a:pt x="250" y="134"/>
                      </a:cubicBezTo>
                      <a:cubicBezTo>
                        <a:pt x="254" y="137"/>
                        <a:pt x="254" y="137"/>
                        <a:pt x="254" y="137"/>
                      </a:cubicBezTo>
                      <a:cubicBezTo>
                        <a:pt x="259" y="138"/>
                        <a:pt x="259" y="138"/>
                        <a:pt x="259" y="138"/>
                      </a:cubicBezTo>
                      <a:cubicBezTo>
                        <a:pt x="262" y="142"/>
                        <a:pt x="262" y="142"/>
                        <a:pt x="262" y="142"/>
                      </a:cubicBezTo>
                      <a:cubicBezTo>
                        <a:pt x="264" y="145"/>
                        <a:pt x="264" y="145"/>
                        <a:pt x="264" y="145"/>
                      </a:cubicBezTo>
                      <a:cubicBezTo>
                        <a:pt x="262" y="149"/>
                        <a:pt x="262" y="149"/>
                        <a:pt x="262" y="149"/>
                      </a:cubicBezTo>
                      <a:cubicBezTo>
                        <a:pt x="264" y="151"/>
                        <a:pt x="264" y="151"/>
                        <a:pt x="264" y="151"/>
                      </a:cubicBezTo>
                      <a:cubicBezTo>
                        <a:pt x="268" y="153"/>
                        <a:pt x="268" y="153"/>
                        <a:pt x="268" y="153"/>
                      </a:cubicBezTo>
                      <a:cubicBezTo>
                        <a:pt x="266" y="155"/>
                        <a:pt x="266" y="155"/>
                        <a:pt x="266" y="155"/>
                      </a:cubicBezTo>
                      <a:cubicBezTo>
                        <a:pt x="269" y="161"/>
                        <a:pt x="269" y="161"/>
                        <a:pt x="269" y="161"/>
                      </a:cubicBezTo>
                      <a:cubicBezTo>
                        <a:pt x="271" y="164"/>
                        <a:pt x="271" y="164"/>
                        <a:pt x="271" y="164"/>
                      </a:cubicBezTo>
                      <a:cubicBezTo>
                        <a:pt x="269" y="166"/>
                        <a:pt x="269" y="166"/>
                        <a:pt x="269" y="166"/>
                      </a:cubicBezTo>
                      <a:cubicBezTo>
                        <a:pt x="272" y="167"/>
                        <a:pt x="272" y="167"/>
                        <a:pt x="272" y="167"/>
                      </a:cubicBezTo>
                      <a:cubicBezTo>
                        <a:pt x="276" y="167"/>
                        <a:pt x="276" y="167"/>
                        <a:pt x="276" y="167"/>
                      </a:cubicBezTo>
                      <a:cubicBezTo>
                        <a:pt x="276" y="170"/>
                        <a:pt x="276" y="170"/>
                        <a:pt x="276" y="170"/>
                      </a:cubicBezTo>
                      <a:cubicBezTo>
                        <a:pt x="283" y="174"/>
                        <a:pt x="283" y="174"/>
                        <a:pt x="283" y="174"/>
                      </a:cubicBezTo>
                      <a:cubicBezTo>
                        <a:pt x="281" y="174"/>
                        <a:pt x="281" y="174"/>
                        <a:pt x="281" y="174"/>
                      </a:cubicBezTo>
                      <a:cubicBezTo>
                        <a:pt x="273" y="176"/>
                        <a:pt x="273" y="176"/>
                        <a:pt x="273" y="176"/>
                      </a:cubicBezTo>
                      <a:cubicBezTo>
                        <a:pt x="269" y="182"/>
                        <a:pt x="269" y="182"/>
                        <a:pt x="269" y="182"/>
                      </a:cubicBezTo>
                      <a:cubicBezTo>
                        <a:pt x="257" y="182"/>
                        <a:pt x="257" y="182"/>
                        <a:pt x="257" y="182"/>
                      </a:cubicBezTo>
                      <a:cubicBezTo>
                        <a:pt x="255" y="194"/>
                        <a:pt x="255" y="194"/>
                        <a:pt x="255" y="194"/>
                      </a:cubicBezTo>
                      <a:cubicBezTo>
                        <a:pt x="252" y="202"/>
                        <a:pt x="252" y="202"/>
                        <a:pt x="252" y="202"/>
                      </a:cubicBezTo>
                      <a:cubicBezTo>
                        <a:pt x="249" y="211"/>
                        <a:pt x="249" y="211"/>
                        <a:pt x="249" y="211"/>
                      </a:cubicBezTo>
                      <a:cubicBezTo>
                        <a:pt x="251" y="216"/>
                        <a:pt x="251" y="216"/>
                        <a:pt x="251" y="216"/>
                      </a:cubicBezTo>
                      <a:cubicBezTo>
                        <a:pt x="254" y="223"/>
                        <a:pt x="254" y="223"/>
                        <a:pt x="254" y="223"/>
                      </a:cubicBezTo>
                      <a:cubicBezTo>
                        <a:pt x="260" y="230"/>
                        <a:pt x="260" y="230"/>
                        <a:pt x="260" y="230"/>
                      </a:cubicBezTo>
                      <a:cubicBezTo>
                        <a:pt x="260" y="230"/>
                        <a:pt x="260" y="230"/>
                        <a:pt x="260" y="230"/>
                      </a:cubicBezTo>
                      <a:cubicBezTo>
                        <a:pt x="254" y="232"/>
                        <a:pt x="254" y="232"/>
                        <a:pt x="254" y="232"/>
                      </a:cubicBezTo>
                      <a:cubicBezTo>
                        <a:pt x="250" y="233"/>
                        <a:pt x="250" y="233"/>
                        <a:pt x="250" y="233"/>
                      </a:cubicBezTo>
                      <a:cubicBezTo>
                        <a:pt x="246" y="227"/>
                        <a:pt x="246" y="227"/>
                        <a:pt x="246" y="227"/>
                      </a:cubicBezTo>
                      <a:cubicBezTo>
                        <a:pt x="240" y="225"/>
                        <a:pt x="240" y="225"/>
                        <a:pt x="240" y="225"/>
                      </a:cubicBezTo>
                      <a:cubicBezTo>
                        <a:pt x="233" y="228"/>
                        <a:pt x="233" y="228"/>
                        <a:pt x="233" y="228"/>
                      </a:cubicBezTo>
                      <a:cubicBezTo>
                        <a:pt x="226" y="230"/>
                        <a:pt x="226" y="230"/>
                        <a:pt x="226" y="230"/>
                      </a:cubicBezTo>
                      <a:cubicBezTo>
                        <a:pt x="224" y="230"/>
                        <a:pt x="224" y="230"/>
                        <a:pt x="224" y="230"/>
                      </a:cubicBezTo>
                      <a:cubicBezTo>
                        <a:pt x="222" y="234"/>
                        <a:pt x="222" y="234"/>
                        <a:pt x="222" y="234"/>
                      </a:cubicBezTo>
                      <a:cubicBezTo>
                        <a:pt x="216" y="237"/>
                        <a:pt x="216" y="237"/>
                        <a:pt x="216" y="237"/>
                      </a:cubicBezTo>
                      <a:cubicBezTo>
                        <a:pt x="216" y="237"/>
                        <a:pt x="214" y="235"/>
                        <a:pt x="213" y="234"/>
                      </a:cubicBezTo>
                      <a:cubicBezTo>
                        <a:pt x="212" y="233"/>
                        <a:pt x="209" y="231"/>
                        <a:pt x="209" y="231"/>
                      </a:cubicBezTo>
                      <a:cubicBezTo>
                        <a:pt x="209" y="231"/>
                        <a:pt x="208" y="229"/>
                        <a:pt x="207" y="228"/>
                      </a:cubicBezTo>
                      <a:cubicBezTo>
                        <a:pt x="206" y="228"/>
                        <a:pt x="200" y="232"/>
                        <a:pt x="200" y="232"/>
                      </a:cubicBezTo>
                      <a:cubicBezTo>
                        <a:pt x="200" y="232"/>
                        <a:pt x="195" y="235"/>
                        <a:pt x="195" y="236"/>
                      </a:cubicBezTo>
                      <a:cubicBezTo>
                        <a:pt x="196" y="236"/>
                        <a:pt x="195" y="241"/>
                        <a:pt x="195" y="241"/>
                      </a:cubicBezTo>
                      <a:cubicBezTo>
                        <a:pt x="188" y="235"/>
                        <a:pt x="188" y="235"/>
                        <a:pt x="188" y="235"/>
                      </a:cubicBezTo>
                      <a:cubicBezTo>
                        <a:pt x="183" y="239"/>
                        <a:pt x="183" y="239"/>
                        <a:pt x="183" y="239"/>
                      </a:cubicBezTo>
                      <a:cubicBezTo>
                        <a:pt x="179" y="236"/>
                        <a:pt x="179" y="236"/>
                        <a:pt x="179" y="236"/>
                      </a:cubicBezTo>
                      <a:cubicBezTo>
                        <a:pt x="177" y="235"/>
                        <a:pt x="177" y="235"/>
                        <a:pt x="177" y="235"/>
                      </a:cubicBezTo>
                      <a:cubicBezTo>
                        <a:pt x="171" y="242"/>
                        <a:pt x="171" y="242"/>
                        <a:pt x="171" y="242"/>
                      </a:cubicBezTo>
                      <a:cubicBezTo>
                        <a:pt x="167" y="240"/>
                        <a:pt x="167" y="240"/>
                        <a:pt x="167" y="240"/>
                      </a:cubicBezTo>
                      <a:cubicBezTo>
                        <a:pt x="165" y="247"/>
                        <a:pt x="165" y="247"/>
                        <a:pt x="165" y="247"/>
                      </a:cubicBezTo>
                      <a:cubicBezTo>
                        <a:pt x="160" y="243"/>
                        <a:pt x="160" y="243"/>
                        <a:pt x="160" y="243"/>
                      </a:cubicBezTo>
                      <a:cubicBezTo>
                        <a:pt x="160" y="243"/>
                        <a:pt x="155" y="242"/>
                        <a:pt x="154" y="242"/>
                      </a:cubicBezTo>
                      <a:cubicBezTo>
                        <a:pt x="153" y="242"/>
                        <a:pt x="150" y="246"/>
                        <a:pt x="150" y="246"/>
                      </a:cubicBezTo>
                      <a:cubicBezTo>
                        <a:pt x="145" y="242"/>
                        <a:pt x="145" y="242"/>
                        <a:pt x="145" y="242"/>
                      </a:cubicBezTo>
                      <a:cubicBezTo>
                        <a:pt x="141" y="239"/>
                        <a:pt x="141" y="239"/>
                        <a:pt x="141" y="239"/>
                      </a:cubicBezTo>
                      <a:cubicBezTo>
                        <a:pt x="141" y="239"/>
                        <a:pt x="130" y="240"/>
                        <a:pt x="129" y="240"/>
                      </a:cubicBezTo>
                      <a:cubicBezTo>
                        <a:pt x="128" y="240"/>
                        <a:pt x="121" y="239"/>
                        <a:pt x="121" y="239"/>
                      </a:cubicBezTo>
                      <a:cubicBezTo>
                        <a:pt x="112" y="241"/>
                        <a:pt x="112" y="241"/>
                        <a:pt x="112" y="241"/>
                      </a:cubicBezTo>
                      <a:cubicBezTo>
                        <a:pt x="99" y="241"/>
                        <a:pt x="99" y="241"/>
                        <a:pt x="99" y="241"/>
                      </a:cubicBezTo>
                      <a:cubicBezTo>
                        <a:pt x="87" y="242"/>
                        <a:pt x="87" y="242"/>
                        <a:pt x="87" y="242"/>
                      </a:cubicBezTo>
                      <a:cubicBezTo>
                        <a:pt x="78" y="242"/>
                        <a:pt x="78" y="242"/>
                        <a:pt x="78" y="242"/>
                      </a:cubicBezTo>
                      <a:cubicBezTo>
                        <a:pt x="71" y="247"/>
                        <a:pt x="71" y="247"/>
                        <a:pt x="71" y="247"/>
                      </a:cubicBezTo>
                      <a:cubicBezTo>
                        <a:pt x="64" y="248"/>
                        <a:pt x="64" y="248"/>
                        <a:pt x="64" y="248"/>
                      </a:cubicBezTo>
                      <a:cubicBezTo>
                        <a:pt x="56" y="249"/>
                        <a:pt x="56" y="249"/>
                        <a:pt x="56" y="249"/>
                      </a:cubicBezTo>
                      <a:cubicBezTo>
                        <a:pt x="55" y="249"/>
                        <a:pt x="55" y="249"/>
                        <a:pt x="55" y="249"/>
                      </a:cubicBezTo>
                      <a:cubicBezTo>
                        <a:pt x="54" y="250"/>
                        <a:pt x="54" y="250"/>
                        <a:pt x="54" y="250"/>
                      </a:cubicBezTo>
                      <a:cubicBezTo>
                        <a:pt x="51" y="252"/>
                        <a:pt x="51" y="252"/>
                        <a:pt x="51" y="252"/>
                      </a:cubicBezTo>
                      <a:cubicBezTo>
                        <a:pt x="51" y="253"/>
                        <a:pt x="51" y="253"/>
                        <a:pt x="51" y="253"/>
                      </a:cubicBezTo>
                      <a:cubicBezTo>
                        <a:pt x="49" y="255"/>
                        <a:pt x="49" y="255"/>
                        <a:pt x="49" y="255"/>
                      </a:cubicBezTo>
                      <a:cubicBezTo>
                        <a:pt x="48" y="260"/>
                        <a:pt x="48" y="260"/>
                        <a:pt x="48" y="260"/>
                      </a:cubicBezTo>
                      <a:cubicBezTo>
                        <a:pt x="47" y="262"/>
                        <a:pt x="45" y="264"/>
                        <a:pt x="44" y="266"/>
                      </a:cubicBezTo>
                      <a:cubicBezTo>
                        <a:pt x="44" y="266"/>
                        <a:pt x="44" y="266"/>
                        <a:pt x="44" y="266"/>
                      </a:cubicBezTo>
                      <a:cubicBezTo>
                        <a:pt x="44" y="266"/>
                        <a:pt x="41" y="265"/>
                        <a:pt x="41" y="267"/>
                      </a:cubicBezTo>
                      <a:cubicBezTo>
                        <a:pt x="41" y="268"/>
                        <a:pt x="41" y="268"/>
                        <a:pt x="41" y="268"/>
                      </a:cubicBezTo>
                      <a:cubicBezTo>
                        <a:pt x="38" y="269"/>
                        <a:pt x="33" y="267"/>
                        <a:pt x="33" y="267"/>
                      </a:cubicBezTo>
                      <a:cubicBezTo>
                        <a:pt x="27" y="270"/>
                        <a:pt x="27" y="270"/>
                        <a:pt x="27" y="270"/>
                      </a:cubicBezTo>
                      <a:cubicBezTo>
                        <a:pt x="27" y="270"/>
                        <a:pt x="27" y="270"/>
                        <a:pt x="27" y="270"/>
                      </a:cubicBezTo>
                      <a:cubicBezTo>
                        <a:pt x="27" y="269"/>
                        <a:pt x="25" y="265"/>
                        <a:pt x="25" y="265"/>
                      </a:cubicBezTo>
                      <a:cubicBezTo>
                        <a:pt x="25" y="265"/>
                        <a:pt x="26" y="258"/>
                        <a:pt x="26" y="258"/>
                      </a:cubicBezTo>
                      <a:cubicBezTo>
                        <a:pt x="26" y="257"/>
                        <a:pt x="25" y="249"/>
                        <a:pt x="25" y="249"/>
                      </a:cubicBezTo>
                      <a:cubicBezTo>
                        <a:pt x="25" y="245"/>
                        <a:pt x="25" y="245"/>
                        <a:pt x="25" y="245"/>
                      </a:cubicBezTo>
                      <a:cubicBezTo>
                        <a:pt x="19" y="241"/>
                        <a:pt x="19" y="241"/>
                        <a:pt x="19" y="241"/>
                      </a:cubicBezTo>
                      <a:cubicBezTo>
                        <a:pt x="19" y="241"/>
                        <a:pt x="12" y="240"/>
                        <a:pt x="10" y="240"/>
                      </a:cubicBezTo>
                      <a:cubicBezTo>
                        <a:pt x="9" y="240"/>
                        <a:pt x="8" y="237"/>
                        <a:pt x="8" y="237"/>
                      </a:cubicBezTo>
                      <a:cubicBezTo>
                        <a:pt x="9" y="234"/>
                        <a:pt x="9" y="234"/>
                        <a:pt x="9" y="234"/>
                      </a:cubicBezTo>
                      <a:cubicBezTo>
                        <a:pt x="12" y="225"/>
                        <a:pt x="12" y="225"/>
                        <a:pt x="12" y="225"/>
                      </a:cubicBezTo>
                      <a:cubicBezTo>
                        <a:pt x="17" y="218"/>
                        <a:pt x="17" y="218"/>
                        <a:pt x="17" y="218"/>
                      </a:cubicBezTo>
                      <a:cubicBezTo>
                        <a:pt x="21" y="216"/>
                        <a:pt x="21" y="216"/>
                        <a:pt x="21" y="216"/>
                      </a:cubicBezTo>
                      <a:cubicBezTo>
                        <a:pt x="21" y="216"/>
                        <a:pt x="25" y="210"/>
                        <a:pt x="26" y="209"/>
                      </a:cubicBezTo>
                      <a:cubicBezTo>
                        <a:pt x="27" y="209"/>
                        <a:pt x="26" y="204"/>
                        <a:pt x="25" y="204"/>
                      </a:cubicBezTo>
                      <a:cubicBezTo>
                        <a:pt x="25" y="203"/>
                        <a:pt x="25" y="200"/>
                        <a:pt x="25" y="199"/>
                      </a:cubicBezTo>
                      <a:cubicBezTo>
                        <a:pt x="25" y="197"/>
                        <a:pt x="22" y="194"/>
                        <a:pt x="22" y="194"/>
                      </a:cubicBezTo>
                      <a:cubicBezTo>
                        <a:pt x="21" y="186"/>
                        <a:pt x="21" y="186"/>
                        <a:pt x="21" y="186"/>
                      </a:cubicBezTo>
                      <a:cubicBezTo>
                        <a:pt x="19" y="184"/>
                        <a:pt x="19" y="184"/>
                        <a:pt x="19" y="184"/>
                      </a:cubicBezTo>
                      <a:cubicBezTo>
                        <a:pt x="19" y="183"/>
                        <a:pt x="19" y="183"/>
                        <a:pt x="19" y="183"/>
                      </a:cubicBezTo>
                      <a:cubicBezTo>
                        <a:pt x="13" y="175"/>
                        <a:pt x="13" y="175"/>
                        <a:pt x="13" y="175"/>
                      </a:cubicBezTo>
                      <a:cubicBezTo>
                        <a:pt x="8" y="164"/>
                        <a:pt x="8" y="164"/>
                        <a:pt x="8" y="164"/>
                      </a:cubicBezTo>
                      <a:cubicBezTo>
                        <a:pt x="8" y="164"/>
                        <a:pt x="2" y="154"/>
                        <a:pt x="1" y="150"/>
                      </a:cubicBezTo>
                      <a:cubicBezTo>
                        <a:pt x="0" y="147"/>
                        <a:pt x="0" y="147"/>
                        <a:pt x="0" y="147"/>
                      </a:cubicBezTo>
                      <a:cubicBezTo>
                        <a:pt x="9" y="145"/>
                        <a:pt x="9" y="145"/>
                        <a:pt x="9" y="145"/>
                      </a:cubicBezTo>
                      <a:cubicBezTo>
                        <a:pt x="19" y="141"/>
                        <a:pt x="19" y="141"/>
                        <a:pt x="19" y="141"/>
                      </a:cubicBezTo>
                      <a:cubicBezTo>
                        <a:pt x="25" y="142"/>
                        <a:pt x="25" y="142"/>
                        <a:pt x="25" y="142"/>
                      </a:cubicBezTo>
                      <a:cubicBezTo>
                        <a:pt x="32" y="141"/>
                        <a:pt x="32" y="141"/>
                        <a:pt x="32" y="141"/>
                      </a:cubicBezTo>
                      <a:cubicBezTo>
                        <a:pt x="36" y="136"/>
                        <a:pt x="36" y="136"/>
                        <a:pt x="36" y="136"/>
                      </a:cubicBezTo>
                      <a:cubicBezTo>
                        <a:pt x="41" y="136"/>
                        <a:pt x="41" y="136"/>
                        <a:pt x="41" y="136"/>
                      </a:cubicBezTo>
                      <a:cubicBezTo>
                        <a:pt x="39" y="129"/>
                        <a:pt x="39" y="129"/>
                        <a:pt x="39" y="129"/>
                      </a:cubicBezTo>
                      <a:cubicBezTo>
                        <a:pt x="39" y="129"/>
                        <a:pt x="40" y="126"/>
                        <a:pt x="41" y="127"/>
                      </a:cubicBezTo>
                      <a:cubicBezTo>
                        <a:pt x="43" y="127"/>
                        <a:pt x="47" y="127"/>
                        <a:pt x="47" y="127"/>
                      </a:cubicBezTo>
                      <a:cubicBezTo>
                        <a:pt x="49" y="123"/>
                        <a:pt x="49" y="123"/>
                        <a:pt x="49" y="123"/>
                      </a:cubicBezTo>
                      <a:cubicBezTo>
                        <a:pt x="49" y="121"/>
                        <a:pt x="49" y="121"/>
                        <a:pt x="49" y="121"/>
                      </a:cubicBezTo>
                      <a:cubicBezTo>
                        <a:pt x="56" y="119"/>
                        <a:pt x="56" y="119"/>
                        <a:pt x="56" y="119"/>
                      </a:cubicBezTo>
                      <a:cubicBezTo>
                        <a:pt x="59" y="116"/>
                        <a:pt x="59" y="116"/>
                        <a:pt x="59" y="116"/>
                      </a:cubicBezTo>
                      <a:cubicBezTo>
                        <a:pt x="61" y="118"/>
                        <a:pt x="61" y="118"/>
                        <a:pt x="61" y="118"/>
                      </a:cubicBezTo>
                      <a:cubicBezTo>
                        <a:pt x="60" y="122"/>
                        <a:pt x="60" y="122"/>
                        <a:pt x="60" y="122"/>
                      </a:cubicBezTo>
                      <a:cubicBezTo>
                        <a:pt x="65" y="121"/>
                        <a:pt x="65" y="121"/>
                        <a:pt x="65" y="121"/>
                      </a:cubicBezTo>
                      <a:cubicBezTo>
                        <a:pt x="67" y="115"/>
                        <a:pt x="67" y="115"/>
                        <a:pt x="67" y="115"/>
                      </a:cubicBezTo>
                      <a:cubicBezTo>
                        <a:pt x="65" y="114"/>
                        <a:pt x="65" y="114"/>
                        <a:pt x="65" y="114"/>
                      </a:cubicBezTo>
                      <a:cubicBezTo>
                        <a:pt x="60" y="112"/>
                        <a:pt x="60" y="112"/>
                        <a:pt x="60" y="112"/>
                      </a:cubicBezTo>
                      <a:cubicBezTo>
                        <a:pt x="60" y="112"/>
                        <a:pt x="58" y="113"/>
                        <a:pt x="58" y="111"/>
                      </a:cubicBezTo>
                      <a:cubicBezTo>
                        <a:pt x="59" y="108"/>
                        <a:pt x="61" y="103"/>
                        <a:pt x="61" y="103"/>
                      </a:cubicBezTo>
                      <a:cubicBezTo>
                        <a:pt x="60" y="97"/>
                        <a:pt x="60" y="97"/>
                        <a:pt x="60" y="97"/>
                      </a:cubicBezTo>
                      <a:cubicBezTo>
                        <a:pt x="59" y="90"/>
                        <a:pt x="59" y="90"/>
                        <a:pt x="59" y="90"/>
                      </a:cubicBezTo>
                      <a:cubicBezTo>
                        <a:pt x="60" y="86"/>
                        <a:pt x="60" y="86"/>
                        <a:pt x="60" y="86"/>
                      </a:cubicBezTo>
                      <a:cubicBezTo>
                        <a:pt x="60" y="82"/>
                        <a:pt x="60" y="82"/>
                        <a:pt x="60" y="82"/>
                      </a:cubicBezTo>
                      <a:cubicBezTo>
                        <a:pt x="62" y="78"/>
                        <a:pt x="62" y="78"/>
                        <a:pt x="62" y="78"/>
                      </a:cubicBezTo>
                      <a:cubicBezTo>
                        <a:pt x="70" y="75"/>
                        <a:pt x="70" y="75"/>
                        <a:pt x="70" y="75"/>
                      </a:cubicBezTo>
                      <a:cubicBezTo>
                        <a:pt x="70" y="68"/>
                        <a:pt x="70" y="68"/>
                        <a:pt x="70" y="68"/>
                      </a:cubicBezTo>
                      <a:cubicBezTo>
                        <a:pt x="73" y="65"/>
                        <a:pt x="73" y="65"/>
                        <a:pt x="73" y="65"/>
                      </a:cubicBezTo>
                      <a:lnTo>
                        <a:pt x="81" y="66"/>
                      </a:lnTo>
                      <a:close/>
                    </a:path>
                  </a:pathLst>
                </a:custGeom>
                <a:solidFill>
                  <a:srgbClr val="E6EFF1"/>
                </a:solidFill>
                <a:ln w="12700" cap="rnd" cmpd="sng">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Lato Light"/>
                  </a:endParaRPr>
                </a:p>
              </p:txBody>
            </p:sp>
            <p:sp>
              <p:nvSpPr>
                <p:cNvPr id="25" name="Freeform 17">
                  <a:extLst>
                    <a:ext uri="{FF2B5EF4-FFF2-40B4-BE49-F238E27FC236}">
                      <a16:creationId xmlns:a16="http://schemas.microsoft.com/office/drawing/2014/main" id="{2396D10E-A744-EB1A-8E4A-E75F18091E48}"/>
                    </a:ext>
                  </a:extLst>
                </p:cNvPr>
                <p:cNvSpPr>
                  <a:spLocks/>
                </p:cNvSpPr>
                <p:nvPr/>
              </p:nvSpPr>
              <p:spPr bwMode="auto">
                <a:xfrm>
                  <a:off x="5636680" y="4081322"/>
                  <a:ext cx="447325" cy="425519"/>
                </a:xfrm>
                <a:custGeom>
                  <a:avLst/>
                  <a:gdLst>
                    <a:gd name="T0" fmla="*/ 110 w 155"/>
                    <a:gd name="T1" fmla="*/ 145 h 152"/>
                    <a:gd name="T2" fmla="*/ 107 w 155"/>
                    <a:gd name="T3" fmla="*/ 137 h 152"/>
                    <a:gd name="T4" fmla="*/ 112 w 155"/>
                    <a:gd name="T5" fmla="*/ 127 h 152"/>
                    <a:gd name="T6" fmla="*/ 117 w 155"/>
                    <a:gd name="T7" fmla="*/ 116 h 152"/>
                    <a:gd name="T8" fmla="*/ 115 w 155"/>
                    <a:gd name="T9" fmla="*/ 104 h 152"/>
                    <a:gd name="T10" fmla="*/ 114 w 155"/>
                    <a:gd name="T11" fmla="*/ 88 h 152"/>
                    <a:gd name="T12" fmla="*/ 123 w 155"/>
                    <a:gd name="T13" fmla="*/ 92 h 152"/>
                    <a:gd name="T14" fmla="*/ 128 w 155"/>
                    <a:gd name="T15" fmla="*/ 90 h 152"/>
                    <a:gd name="T16" fmla="*/ 136 w 155"/>
                    <a:gd name="T17" fmla="*/ 90 h 152"/>
                    <a:gd name="T18" fmla="*/ 143 w 155"/>
                    <a:gd name="T19" fmla="*/ 86 h 152"/>
                    <a:gd name="T20" fmla="*/ 155 w 155"/>
                    <a:gd name="T21" fmla="*/ 83 h 152"/>
                    <a:gd name="T22" fmla="*/ 143 w 155"/>
                    <a:gd name="T23" fmla="*/ 77 h 152"/>
                    <a:gd name="T24" fmla="*/ 141 w 155"/>
                    <a:gd name="T25" fmla="*/ 63 h 152"/>
                    <a:gd name="T26" fmla="*/ 131 w 155"/>
                    <a:gd name="T27" fmla="*/ 62 h 152"/>
                    <a:gd name="T28" fmla="*/ 125 w 155"/>
                    <a:gd name="T29" fmla="*/ 54 h 152"/>
                    <a:gd name="T30" fmla="*/ 122 w 155"/>
                    <a:gd name="T31" fmla="*/ 48 h 152"/>
                    <a:gd name="T32" fmla="*/ 116 w 155"/>
                    <a:gd name="T33" fmla="*/ 44 h 152"/>
                    <a:gd name="T34" fmla="*/ 108 w 155"/>
                    <a:gd name="T35" fmla="*/ 38 h 152"/>
                    <a:gd name="T36" fmla="*/ 103 w 155"/>
                    <a:gd name="T37" fmla="*/ 32 h 152"/>
                    <a:gd name="T38" fmla="*/ 100 w 155"/>
                    <a:gd name="T39" fmla="*/ 21 h 152"/>
                    <a:gd name="T40" fmla="*/ 94 w 155"/>
                    <a:gd name="T41" fmla="*/ 12 h 152"/>
                    <a:gd name="T42" fmla="*/ 83 w 155"/>
                    <a:gd name="T43" fmla="*/ 12 h 152"/>
                    <a:gd name="T44" fmla="*/ 70 w 155"/>
                    <a:gd name="T45" fmla="*/ 11 h 152"/>
                    <a:gd name="T46" fmla="*/ 66 w 155"/>
                    <a:gd name="T47" fmla="*/ 9 h 152"/>
                    <a:gd name="T48" fmla="*/ 65 w 155"/>
                    <a:gd name="T49" fmla="*/ 9 h 152"/>
                    <a:gd name="T50" fmla="*/ 59 w 155"/>
                    <a:gd name="T51" fmla="*/ 10 h 152"/>
                    <a:gd name="T52" fmla="*/ 54 w 155"/>
                    <a:gd name="T53" fmla="*/ 7 h 152"/>
                    <a:gd name="T54" fmla="*/ 44 w 155"/>
                    <a:gd name="T55" fmla="*/ 3 h 152"/>
                    <a:gd name="T56" fmla="*/ 34 w 155"/>
                    <a:gd name="T57" fmla="*/ 2 h 152"/>
                    <a:gd name="T58" fmla="*/ 28 w 155"/>
                    <a:gd name="T59" fmla="*/ 7 h 152"/>
                    <a:gd name="T60" fmla="*/ 24 w 155"/>
                    <a:gd name="T61" fmla="*/ 10 h 152"/>
                    <a:gd name="T62" fmla="*/ 16 w 155"/>
                    <a:gd name="T63" fmla="*/ 12 h 152"/>
                    <a:gd name="T64" fmla="*/ 9 w 155"/>
                    <a:gd name="T65" fmla="*/ 14 h 152"/>
                    <a:gd name="T66" fmla="*/ 8 w 155"/>
                    <a:gd name="T67" fmla="*/ 19 h 152"/>
                    <a:gd name="T68" fmla="*/ 0 w 155"/>
                    <a:gd name="T69" fmla="*/ 22 h 152"/>
                    <a:gd name="T70" fmla="*/ 10 w 155"/>
                    <a:gd name="T71" fmla="*/ 22 h 152"/>
                    <a:gd name="T72" fmla="*/ 16 w 155"/>
                    <a:gd name="T73" fmla="*/ 24 h 152"/>
                    <a:gd name="T74" fmla="*/ 20 w 155"/>
                    <a:gd name="T75" fmla="*/ 27 h 152"/>
                    <a:gd name="T76" fmla="*/ 26 w 155"/>
                    <a:gd name="T77" fmla="*/ 33 h 152"/>
                    <a:gd name="T78" fmla="*/ 29 w 155"/>
                    <a:gd name="T79" fmla="*/ 37 h 152"/>
                    <a:gd name="T80" fmla="*/ 32 w 155"/>
                    <a:gd name="T81" fmla="*/ 42 h 152"/>
                    <a:gd name="T82" fmla="*/ 38 w 155"/>
                    <a:gd name="T83" fmla="*/ 49 h 152"/>
                    <a:gd name="T84" fmla="*/ 44 w 155"/>
                    <a:gd name="T85" fmla="*/ 54 h 152"/>
                    <a:gd name="T86" fmla="*/ 50 w 155"/>
                    <a:gd name="T87" fmla="*/ 61 h 152"/>
                    <a:gd name="T88" fmla="*/ 63 w 155"/>
                    <a:gd name="T89" fmla="*/ 71 h 152"/>
                    <a:gd name="T90" fmla="*/ 76 w 155"/>
                    <a:gd name="T91" fmla="*/ 82 h 152"/>
                    <a:gd name="T92" fmla="*/ 83 w 155"/>
                    <a:gd name="T93" fmla="*/ 94 h 152"/>
                    <a:gd name="T94" fmla="*/ 86 w 155"/>
                    <a:gd name="T95" fmla="*/ 104 h 152"/>
                    <a:gd name="T96" fmla="*/ 85 w 155"/>
                    <a:gd name="T97" fmla="*/ 112 h 152"/>
                    <a:gd name="T98" fmla="*/ 86 w 155"/>
                    <a:gd name="T99" fmla="*/ 122 h 152"/>
                    <a:gd name="T100" fmla="*/ 91 w 155"/>
                    <a:gd name="T101" fmla="*/ 135 h 152"/>
                    <a:gd name="T102" fmla="*/ 94 w 155"/>
                    <a:gd name="T103" fmla="*/ 144 h 152"/>
                    <a:gd name="T104" fmla="*/ 97 w 155"/>
                    <a:gd name="T105" fmla="*/ 150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55" h="152">
                      <a:moveTo>
                        <a:pt x="99" y="152"/>
                      </a:moveTo>
                      <a:cubicBezTo>
                        <a:pt x="100" y="148"/>
                        <a:pt x="100" y="148"/>
                        <a:pt x="100" y="148"/>
                      </a:cubicBezTo>
                      <a:cubicBezTo>
                        <a:pt x="100" y="148"/>
                        <a:pt x="103" y="147"/>
                        <a:pt x="104" y="147"/>
                      </a:cubicBezTo>
                      <a:cubicBezTo>
                        <a:pt x="105" y="146"/>
                        <a:pt x="106" y="147"/>
                        <a:pt x="107" y="146"/>
                      </a:cubicBezTo>
                      <a:cubicBezTo>
                        <a:pt x="108" y="146"/>
                        <a:pt x="110" y="145"/>
                        <a:pt x="110" y="145"/>
                      </a:cubicBezTo>
                      <a:cubicBezTo>
                        <a:pt x="109" y="145"/>
                        <a:pt x="109" y="145"/>
                        <a:pt x="109" y="145"/>
                      </a:cubicBezTo>
                      <a:cubicBezTo>
                        <a:pt x="109" y="143"/>
                        <a:pt x="109" y="143"/>
                        <a:pt x="109" y="143"/>
                      </a:cubicBezTo>
                      <a:cubicBezTo>
                        <a:pt x="110" y="141"/>
                        <a:pt x="110" y="141"/>
                        <a:pt x="110" y="141"/>
                      </a:cubicBezTo>
                      <a:cubicBezTo>
                        <a:pt x="106" y="139"/>
                        <a:pt x="106" y="139"/>
                        <a:pt x="106" y="139"/>
                      </a:cubicBezTo>
                      <a:cubicBezTo>
                        <a:pt x="107" y="137"/>
                        <a:pt x="107" y="137"/>
                        <a:pt x="107" y="137"/>
                      </a:cubicBezTo>
                      <a:cubicBezTo>
                        <a:pt x="107" y="137"/>
                        <a:pt x="106" y="135"/>
                        <a:pt x="107" y="135"/>
                      </a:cubicBezTo>
                      <a:cubicBezTo>
                        <a:pt x="108" y="135"/>
                        <a:pt x="108" y="132"/>
                        <a:pt x="108" y="132"/>
                      </a:cubicBezTo>
                      <a:cubicBezTo>
                        <a:pt x="109" y="130"/>
                        <a:pt x="109" y="130"/>
                        <a:pt x="109" y="130"/>
                      </a:cubicBezTo>
                      <a:cubicBezTo>
                        <a:pt x="111" y="130"/>
                        <a:pt x="111" y="130"/>
                        <a:pt x="111" y="130"/>
                      </a:cubicBezTo>
                      <a:cubicBezTo>
                        <a:pt x="111" y="130"/>
                        <a:pt x="111" y="128"/>
                        <a:pt x="112" y="127"/>
                      </a:cubicBezTo>
                      <a:cubicBezTo>
                        <a:pt x="112" y="127"/>
                        <a:pt x="113" y="126"/>
                        <a:pt x="113" y="126"/>
                      </a:cubicBezTo>
                      <a:cubicBezTo>
                        <a:pt x="112" y="123"/>
                        <a:pt x="112" y="123"/>
                        <a:pt x="112" y="123"/>
                      </a:cubicBezTo>
                      <a:cubicBezTo>
                        <a:pt x="112" y="123"/>
                        <a:pt x="110" y="120"/>
                        <a:pt x="111" y="120"/>
                      </a:cubicBezTo>
                      <a:cubicBezTo>
                        <a:pt x="112" y="120"/>
                        <a:pt x="113" y="119"/>
                        <a:pt x="113" y="119"/>
                      </a:cubicBezTo>
                      <a:cubicBezTo>
                        <a:pt x="113" y="119"/>
                        <a:pt x="116" y="116"/>
                        <a:pt x="117" y="116"/>
                      </a:cubicBezTo>
                      <a:cubicBezTo>
                        <a:pt x="117" y="116"/>
                        <a:pt x="119" y="114"/>
                        <a:pt x="119" y="113"/>
                      </a:cubicBezTo>
                      <a:cubicBezTo>
                        <a:pt x="118" y="112"/>
                        <a:pt x="117" y="111"/>
                        <a:pt x="117" y="111"/>
                      </a:cubicBezTo>
                      <a:cubicBezTo>
                        <a:pt x="118" y="107"/>
                        <a:pt x="118" y="107"/>
                        <a:pt x="118" y="107"/>
                      </a:cubicBezTo>
                      <a:cubicBezTo>
                        <a:pt x="118" y="107"/>
                        <a:pt x="119" y="105"/>
                        <a:pt x="118" y="105"/>
                      </a:cubicBezTo>
                      <a:cubicBezTo>
                        <a:pt x="117" y="104"/>
                        <a:pt x="115" y="104"/>
                        <a:pt x="115" y="104"/>
                      </a:cubicBezTo>
                      <a:cubicBezTo>
                        <a:pt x="113" y="102"/>
                        <a:pt x="113" y="102"/>
                        <a:pt x="113" y="102"/>
                      </a:cubicBezTo>
                      <a:cubicBezTo>
                        <a:pt x="113" y="99"/>
                        <a:pt x="113" y="99"/>
                        <a:pt x="113" y="99"/>
                      </a:cubicBezTo>
                      <a:cubicBezTo>
                        <a:pt x="111" y="96"/>
                        <a:pt x="111" y="96"/>
                        <a:pt x="111" y="96"/>
                      </a:cubicBezTo>
                      <a:cubicBezTo>
                        <a:pt x="111" y="96"/>
                        <a:pt x="111" y="94"/>
                        <a:pt x="111" y="93"/>
                      </a:cubicBezTo>
                      <a:cubicBezTo>
                        <a:pt x="112" y="93"/>
                        <a:pt x="114" y="89"/>
                        <a:pt x="114" y="88"/>
                      </a:cubicBezTo>
                      <a:cubicBezTo>
                        <a:pt x="115" y="88"/>
                        <a:pt x="119" y="84"/>
                        <a:pt x="119" y="84"/>
                      </a:cubicBezTo>
                      <a:cubicBezTo>
                        <a:pt x="121" y="89"/>
                        <a:pt x="121" y="89"/>
                        <a:pt x="121" y="89"/>
                      </a:cubicBezTo>
                      <a:cubicBezTo>
                        <a:pt x="121" y="93"/>
                        <a:pt x="121" y="93"/>
                        <a:pt x="121" y="93"/>
                      </a:cubicBezTo>
                      <a:cubicBezTo>
                        <a:pt x="121" y="93"/>
                        <a:pt x="120" y="95"/>
                        <a:pt x="121" y="95"/>
                      </a:cubicBezTo>
                      <a:cubicBezTo>
                        <a:pt x="123" y="94"/>
                        <a:pt x="123" y="92"/>
                        <a:pt x="123" y="92"/>
                      </a:cubicBezTo>
                      <a:cubicBezTo>
                        <a:pt x="124" y="91"/>
                        <a:pt x="124" y="91"/>
                        <a:pt x="124" y="91"/>
                      </a:cubicBezTo>
                      <a:cubicBezTo>
                        <a:pt x="124" y="91"/>
                        <a:pt x="122" y="88"/>
                        <a:pt x="123" y="88"/>
                      </a:cubicBezTo>
                      <a:cubicBezTo>
                        <a:pt x="124" y="88"/>
                        <a:pt x="124" y="86"/>
                        <a:pt x="124" y="88"/>
                      </a:cubicBezTo>
                      <a:cubicBezTo>
                        <a:pt x="125" y="89"/>
                        <a:pt x="125" y="91"/>
                        <a:pt x="126" y="90"/>
                      </a:cubicBezTo>
                      <a:cubicBezTo>
                        <a:pt x="128" y="90"/>
                        <a:pt x="128" y="91"/>
                        <a:pt x="128" y="90"/>
                      </a:cubicBezTo>
                      <a:cubicBezTo>
                        <a:pt x="129" y="89"/>
                        <a:pt x="129" y="88"/>
                        <a:pt x="129" y="88"/>
                      </a:cubicBezTo>
                      <a:cubicBezTo>
                        <a:pt x="130" y="87"/>
                        <a:pt x="130" y="87"/>
                        <a:pt x="130" y="87"/>
                      </a:cubicBezTo>
                      <a:cubicBezTo>
                        <a:pt x="130" y="87"/>
                        <a:pt x="130" y="89"/>
                        <a:pt x="131" y="89"/>
                      </a:cubicBezTo>
                      <a:cubicBezTo>
                        <a:pt x="132" y="89"/>
                        <a:pt x="134" y="89"/>
                        <a:pt x="134" y="89"/>
                      </a:cubicBezTo>
                      <a:cubicBezTo>
                        <a:pt x="136" y="90"/>
                        <a:pt x="136" y="90"/>
                        <a:pt x="136" y="90"/>
                      </a:cubicBezTo>
                      <a:cubicBezTo>
                        <a:pt x="136" y="90"/>
                        <a:pt x="137" y="90"/>
                        <a:pt x="137" y="89"/>
                      </a:cubicBezTo>
                      <a:cubicBezTo>
                        <a:pt x="137" y="88"/>
                        <a:pt x="137" y="87"/>
                        <a:pt x="137" y="87"/>
                      </a:cubicBezTo>
                      <a:cubicBezTo>
                        <a:pt x="139" y="86"/>
                        <a:pt x="139" y="86"/>
                        <a:pt x="139" y="86"/>
                      </a:cubicBezTo>
                      <a:cubicBezTo>
                        <a:pt x="139" y="83"/>
                        <a:pt x="139" y="83"/>
                        <a:pt x="139" y="83"/>
                      </a:cubicBezTo>
                      <a:cubicBezTo>
                        <a:pt x="143" y="86"/>
                        <a:pt x="143" y="86"/>
                        <a:pt x="143" y="86"/>
                      </a:cubicBezTo>
                      <a:cubicBezTo>
                        <a:pt x="144" y="89"/>
                        <a:pt x="144" y="89"/>
                        <a:pt x="144" y="89"/>
                      </a:cubicBezTo>
                      <a:cubicBezTo>
                        <a:pt x="146" y="88"/>
                        <a:pt x="146" y="88"/>
                        <a:pt x="146" y="88"/>
                      </a:cubicBezTo>
                      <a:cubicBezTo>
                        <a:pt x="147" y="85"/>
                        <a:pt x="147" y="85"/>
                        <a:pt x="147" y="85"/>
                      </a:cubicBezTo>
                      <a:cubicBezTo>
                        <a:pt x="147" y="85"/>
                        <a:pt x="150" y="85"/>
                        <a:pt x="151" y="84"/>
                      </a:cubicBezTo>
                      <a:cubicBezTo>
                        <a:pt x="152" y="84"/>
                        <a:pt x="155" y="83"/>
                        <a:pt x="155" y="83"/>
                      </a:cubicBezTo>
                      <a:cubicBezTo>
                        <a:pt x="155" y="82"/>
                        <a:pt x="153" y="81"/>
                        <a:pt x="152" y="82"/>
                      </a:cubicBezTo>
                      <a:cubicBezTo>
                        <a:pt x="151" y="82"/>
                        <a:pt x="149" y="83"/>
                        <a:pt x="148" y="82"/>
                      </a:cubicBezTo>
                      <a:cubicBezTo>
                        <a:pt x="148" y="81"/>
                        <a:pt x="146" y="79"/>
                        <a:pt x="146" y="79"/>
                      </a:cubicBezTo>
                      <a:cubicBezTo>
                        <a:pt x="144" y="79"/>
                        <a:pt x="144" y="79"/>
                        <a:pt x="144" y="79"/>
                      </a:cubicBezTo>
                      <a:cubicBezTo>
                        <a:pt x="144" y="79"/>
                        <a:pt x="142" y="78"/>
                        <a:pt x="143" y="77"/>
                      </a:cubicBezTo>
                      <a:cubicBezTo>
                        <a:pt x="144" y="76"/>
                        <a:pt x="145" y="76"/>
                        <a:pt x="145" y="76"/>
                      </a:cubicBezTo>
                      <a:cubicBezTo>
                        <a:pt x="145" y="76"/>
                        <a:pt x="144" y="74"/>
                        <a:pt x="144" y="73"/>
                      </a:cubicBezTo>
                      <a:cubicBezTo>
                        <a:pt x="144" y="72"/>
                        <a:pt x="144" y="70"/>
                        <a:pt x="143" y="69"/>
                      </a:cubicBezTo>
                      <a:cubicBezTo>
                        <a:pt x="143" y="69"/>
                        <a:pt x="141" y="65"/>
                        <a:pt x="141" y="65"/>
                      </a:cubicBezTo>
                      <a:cubicBezTo>
                        <a:pt x="141" y="63"/>
                        <a:pt x="141" y="63"/>
                        <a:pt x="141" y="63"/>
                      </a:cubicBezTo>
                      <a:cubicBezTo>
                        <a:pt x="139" y="64"/>
                        <a:pt x="139" y="64"/>
                        <a:pt x="139" y="64"/>
                      </a:cubicBezTo>
                      <a:cubicBezTo>
                        <a:pt x="137" y="62"/>
                        <a:pt x="137" y="62"/>
                        <a:pt x="137" y="62"/>
                      </a:cubicBezTo>
                      <a:cubicBezTo>
                        <a:pt x="137" y="62"/>
                        <a:pt x="135" y="62"/>
                        <a:pt x="135" y="63"/>
                      </a:cubicBezTo>
                      <a:cubicBezTo>
                        <a:pt x="134" y="63"/>
                        <a:pt x="133" y="62"/>
                        <a:pt x="133" y="62"/>
                      </a:cubicBezTo>
                      <a:cubicBezTo>
                        <a:pt x="131" y="62"/>
                        <a:pt x="131" y="62"/>
                        <a:pt x="131" y="62"/>
                      </a:cubicBezTo>
                      <a:cubicBezTo>
                        <a:pt x="131" y="62"/>
                        <a:pt x="131" y="62"/>
                        <a:pt x="129" y="62"/>
                      </a:cubicBezTo>
                      <a:cubicBezTo>
                        <a:pt x="128" y="62"/>
                        <a:pt x="126" y="61"/>
                        <a:pt x="125" y="61"/>
                      </a:cubicBezTo>
                      <a:cubicBezTo>
                        <a:pt x="125" y="60"/>
                        <a:pt x="125" y="59"/>
                        <a:pt x="125" y="59"/>
                      </a:cubicBezTo>
                      <a:cubicBezTo>
                        <a:pt x="126" y="58"/>
                        <a:pt x="126" y="57"/>
                        <a:pt x="126" y="57"/>
                      </a:cubicBezTo>
                      <a:cubicBezTo>
                        <a:pt x="126" y="57"/>
                        <a:pt x="126" y="54"/>
                        <a:pt x="125" y="54"/>
                      </a:cubicBezTo>
                      <a:cubicBezTo>
                        <a:pt x="124" y="54"/>
                        <a:pt x="122" y="54"/>
                        <a:pt x="122" y="54"/>
                      </a:cubicBezTo>
                      <a:cubicBezTo>
                        <a:pt x="120" y="53"/>
                        <a:pt x="120" y="53"/>
                        <a:pt x="120" y="53"/>
                      </a:cubicBezTo>
                      <a:cubicBezTo>
                        <a:pt x="123" y="52"/>
                        <a:pt x="123" y="52"/>
                        <a:pt x="123" y="52"/>
                      </a:cubicBezTo>
                      <a:cubicBezTo>
                        <a:pt x="122" y="50"/>
                        <a:pt x="122" y="50"/>
                        <a:pt x="122" y="50"/>
                      </a:cubicBezTo>
                      <a:cubicBezTo>
                        <a:pt x="122" y="50"/>
                        <a:pt x="122" y="48"/>
                        <a:pt x="122" y="48"/>
                      </a:cubicBezTo>
                      <a:cubicBezTo>
                        <a:pt x="122" y="47"/>
                        <a:pt x="121" y="46"/>
                        <a:pt x="121" y="46"/>
                      </a:cubicBezTo>
                      <a:cubicBezTo>
                        <a:pt x="121" y="42"/>
                        <a:pt x="121" y="42"/>
                        <a:pt x="121" y="42"/>
                      </a:cubicBezTo>
                      <a:cubicBezTo>
                        <a:pt x="119" y="42"/>
                        <a:pt x="119" y="42"/>
                        <a:pt x="119" y="42"/>
                      </a:cubicBezTo>
                      <a:cubicBezTo>
                        <a:pt x="117" y="41"/>
                        <a:pt x="117" y="41"/>
                        <a:pt x="117" y="41"/>
                      </a:cubicBezTo>
                      <a:cubicBezTo>
                        <a:pt x="116" y="44"/>
                        <a:pt x="116" y="44"/>
                        <a:pt x="116" y="44"/>
                      </a:cubicBezTo>
                      <a:cubicBezTo>
                        <a:pt x="114" y="45"/>
                        <a:pt x="114" y="45"/>
                        <a:pt x="114" y="45"/>
                      </a:cubicBezTo>
                      <a:cubicBezTo>
                        <a:pt x="113" y="42"/>
                        <a:pt x="113" y="42"/>
                        <a:pt x="113" y="42"/>
                      </a:cubicBezTo>
                      <a:cubicBezTo>
                        <a:pt x="111" y="41"/>
                        <a:pt x="111" y="41"/>
                        <a:pt x="111" y="41"/>
                      </a:cubicBezTo>
                      <a:cubicBezTo>
                        <a:pt x="110" y="41"/>
                        <a:pt x="110" y="41"/>
                        <a:pt x="110" y="41"/>
                      </a:cubicBezTo>
                      <a:cubicBezTo>
                        <a:pt x="108" y="38"/>
                        <a:pt x="108" y="38"/>
                        <a:pt x="108" y="38"/>
                      </a:cubicBezTo>
                      <a:cubicBezTo>
                        <a:pt x="106" y="38"/>
                        <a:pt x="106" y="38"/>
                        <a:pt x="106" y="38"/>
                      </a:cubicBezTo>
                      <a:cubicBezTo>
                        <a:pt x="106" y="38"/>
                        <a:pt x="105" y="41"/>
                        <a:pt x="104" y="39"/>
                      </a:cubicBezTo>
                      <a:cubicBezTo>
                        <a:pt x="103" y="38"/>
                        <a:pt x="103" y="35"/>
                        <a:pt x="103" y="35"/>
                      </a:cubicBezTo>
                      <a:cubicBezTo>
                        <a:pt x="102" y="34"/>
                        <a:pt x="102" y="34"/>
                        <a:pt x="102" y="34"/>
                      </a:cubicBezTo>
                      <a:cubicBezTo>
                        <a:pt x="103" y="32"/>
                        <a:pt x="103" y="32"/>
                        <a:pt x="103" y="32"/>
                      </a:cubicBezTo>
                      <a:cubicBezTo>
                        <a:pt x="103" y="29"/>
                        <a:pt x="103" y="29"/>
                        <a:pt x="103" y="29"/>
                      </a:cubicBezTo>
                      <a:cubicBezTo>
                        <a:pt x="103" y="29"/>
                        <a:pt x="102" y="27"/>
                        <a:pt x="102" y="27"/>
                      </a:cubicBezTo>
                      <a:cubicBezTo>
                        <a:pt x="102" y="26"/>
                        <a:pt x="101" y="24"/>
                        <a:pt x="101" y="24"/>
                      </a:cubicBezTo>
                      <a:cubicBezTo>
                        <a:pt x="102" y="22"/>
                        <a:pt x="102" y="22"/>
                        <a:pt x="102" y="22"/>
                      </a:cubicBezTo>
                      <a:cubicBezTo>
                        <a:pt x="100" y="21"/>
                        <a:pt x="100" y="21"/>
                        <a:pt x="100" y="21"/>
                      </a:cubicBezTo>
                      <a:cubicBezTo>
                        <a:pt x="100" y="18"/>
                        <a:pt x="100" y="18"/>
                        <a:pt x="100" y="18"/>
                      </a:cubicBezTo>
                      <a:cubicBezTo>
                        <a:pt x="100" y="17"/>
                        <a:pt x="100" y="17"/>
                        <a:pt x="100" y="17"/>
                      </a:cubicBezTo>
                      <a:cubicBezTo>
                        <a:pt x="97" y="16"/>
                        <a:pt x="97" y="16"/>
                        <a:pt x="97" y="16"/>
                      </a:cubicBezTo>
                      <a:cubicBezTo>
                        <a:pt x="97" y="16"/>
                        <a:pt x="97" y="15"/>
                        <a:pt x="96" y="14"/>
                      </a:cubicBezTo>
                      <a:cubicBezTo>
                        <a:pt x="96" y="14"/>
                        <a:pt x="94" y="12"/>
                        <a:pt x="94" y="12"/>
                      </a:cubicBezTo>
                      <a:cubicBezTo>
                        <a:pt x="94" y="12"/>
                        <a:pt x="93" y="12"/>
                        <a:pt x="93" y="13"/>
                      </a:cubicBezTo>
                      <a:cubicBezTo>
                        <a:pt x="92" y="14"/>
                        <a:pt x="92" y="16"/>
                        <a:pt x="91" y="16"/>
                      </a:cubicBezTo>
                      <a:cubicBezTo>
                        <a:pt x="91" y="16"/>
                        <a:pt x="92" y="16"/>
                        <a:pt x="89" y="16"/>
                      </a:cubicBezTo>
                      <a:cubicBezTo>
                        <a:pt x="87" y="15"/>
                        <a:pt x="87" y="15"/>
                        <a:pt x="86" y="14"/>
                      </a:cubicBezTo>
                      <a:cubicBezTo>
                        <a:pt x="85" y="14"/>
                        <a:pt x="83" y="12"/>
                        <a:pt x="83" y="12"/>
                      </a:cubicBezTo>
                      <a:cubicBezTo>
                        <a:pt x="82" y="8"/>
                        <a:pt x="82" y="8"/>
                        <a:pt x="82" y="8"/>
                      </a:cubicBezTo>
                      <a:cubicBezTo>
                        <a:pt x="80" y="8"/>
                        <a:pt x="80" y="8"/>
                        <a:pt x="80" y="8"/>
                      </a:cubicBezTo>
                      <a:cubicBezTo>
                        <a:pt x="80" y="8"/>
                        <a:pt x="83" y="9"/>
                        <a:pt x="79" y="9"/>
                      </a:cubicBezTo>
                      <a:cubicBezTo>
                        <a:pt x="75" y="9"/>
                        <a:pt x="71" y="9"/>
                        <a:pt x="71" y="9"/>
                      </a:cubicBezTo>
                      <a:cubicBezTo>
                        <a:pt x="70" y="11"/>
                        <a:pt x="70" y="11"/>
                        <a:pt x="70" y="11"/>
                      </a:cubicBezTo>
                      <a:cubicBezTo>
                        <a:pt x="70" y="11"/>
                        <a:pt x="69" y="13"/>
                        <a:pt x="69" y="14"/>
                      </a:cubicBezTo>
                      <a:cubicBezTo>
                        <a:pt x="69" y="14"/>
                        <a:pt x="70" y="15"/>
                        <a:pt x="69" y="14"/>
                      </a:cubicBezTo>
                      <a:cubicBezTo>
                        <a:pt x="69" y="13"/>
                        <a:pt x="68" y="13"/>
                        <a:pt x="68" y="12"/>
                      </a:cubicBezTo>
                      <a:cubicBezTo>
                        <a:pt x="68" y="12"/>
                        <a:pt x="68" y="11"/>
                        <a:pt x="68" y="11"/>
                      </a:cubicBezTo>
                      <a:cubicBezTo>
                        <a:pt x="68" y="10"/>
                        <a:pt x="66" y="9"/>
                        <a:pt x="66" y="9"/>
                      </a:cubicBezTo>
                      <a:cubicBezTo>
                        <a:pt x="65" y="11"/>
                        <a:pt x="65" y="11"/>
                        <a:pt x="65" y="11"/>
                      </a:cubicBezTo>
                      <a:cubicBezTo>
                        <a:pt x="65" y="11"/>
                        <a:pt x="66" y="12"/>
                        <a:pt x="64" y="12"/>
                      </a:cubicBezTo>
                      <a:cubicBezTo>
                        <a:pt x="63" y="13"/>
                        <a:pt x="63" y="13"/>
                        <a:pt x="63" y="13"/>
                      </a:cubicBezTo>
                      <a:cubicBezTo>
                        <a:pt x="63" y="12"/>
                        <a:pt x="64" y="11"/>
                        <a:pt x="64" y="11"/>
                      </a:cubicBezTo>
                      <a:cubicBezTo>
                        <a:pt x="64" y="11"/>
                        <a:pt x="65" y="9"/>
                        <a:pt x="65" y="9"/>
                      </a:cubicBezTo>
                      <a:cubicBezTo>
                        <a:pt x="65" y="9"/>
                        <a:pt x="65" y="7"/>
                        <a:pt x="64" y="7"/>
                      </a:cubicBezTo>
                      <a:cubicBezTo>
                        <a:pt x="64" y="7"/>
                        <a:pt x="62" y="7"/>
                        <a:pt x="61" y="7"/>
                      </a:cubicBezTo>
                      <a:cubicBezTo>
                        <a:pt x="61" y="7"/>
                        <a:pt x="60" y="8"/>
                        <a:pt x="60" y="8"/>
                      </a:cubicBezTo>
                      <a:cubicBezTo>
                        <a:pt x="60" y="8"/>
                        <a:pt x="61" y="9"/>
                        <a:pt x="60" y="9"/>
                      </a:cubicBezTo>
                      <a:cubicBezTo>
                        <a:pt x="60" y="9"/>
                        <a:pt x="59" y="9"/>
                        <a:pt x="59" y="10"/>
                      </a:cubicBezTo>
                      <a:cubicBezTo>
                        <a:pt x="58" y="10"/>
                        <a:pt x="58" y="8"/>
                        <a:pt x="58" y="8"/>
                      </a:cubicBezTo>
                      <a:cubicBezTo>
                        <a:pt x="58" y="8"/>
                        <a:pt x="57" y="7"/>
                        <a:pt x="57" y="7"/>
                      </a:cubicBezTo>
                      <a:cubicBezTo>
                        <a:pt x="57" y="8"/>
                        <a:pt x="56" y="10"/>
                        <a:pt x="56" y="10"/>
                      </a:cubicBezTo>
                      <a:cubicBezTo>
                        <a:pt x="55" y="10"/>
                        <a:pt x="55" y="10"/>
                        <a:pt x="55" y="9"/>
                      </a:cubicBezTo>
                      <a:cubicBezTo>
                        <a:pt x="54" y="9"/>
                        <a:pt x="54" y="7"/>
                        <a:pt x="54" y="7"/>
                      </a:cubicBezTo>
                      <a:cubicBezTo>
                        <a:pt x="53" y="6"/>
                        <a:pt x="53" y="6"/>
                        <a:pt x="53" y="6"/>
                      </a:cubicBezTo>
                      <a:cubicBezTo>
                        <a:pt x="53" y="6"/>
                        <a:pt x="50" y="6"/>
                        <a:pt x="49" y="6"/>
                      </a:cubicBezTo>
                      <a:cubicBezTo>
                        <a:pt x="49" y="6"/>
                        <a:pt x="47" y="6"/>
                        <a:pt x="47" y="5"/>
                      </a:cubicBezTo>
                      <a:cubicBezTo>
                        <a:pt x="46" y="4"/>
                        <a:pt x="45" y="4"/>
                        <a:pt x="45" y="4"/>
                      </a:cubicBezTo>
                      <a:cubicBezTo>
                        <a:pt x="45" y="4"/>
                        <a:pt x="45" y="4"/>
                        <a:pt x="44" y="3"/>
                      </a:cubicBezTo>
                      <a:cubicBezTo>
                        <a:pt x="43" y="3"/>
                        <a:pt x="43" y="3"/>
                        <a:pt x="42" y="3"/>
                      </a:cubicBezTo>
                      <a:cubicBezTo>
                        <a:pt x="41" y="2"/>
                        <a:pt x="42" y="2"/>
                        <a:pt x="40" y="2"/>
                      </a:cubicBezTo>
                      <a:cubicBezTo>
                        <a:pt x="38" y="2"/>
                        <a:pt x="38" y="4"/>
                        <a:pt x="37" y="3"/>
                      </a:cubicBezTo>
                      <a:cubicBezTo>
                        <a:pt x="35" y="3"/>
                        <a:pt x="35" y="3"/>
                        <a:pt x="35" y="3"/>
                      </a:cubicBezTo>
                      <a:cubicBezTo>
                        <a:pt x="34" y="2"/>
                        <a:pt x="34" y="2"/>
                        <a:pt x="34" y="2"/>
                      </a:cubicBezTo>
                      <a:cubicBezTo>
                        <a:pt x="34" y="1"/>
                        <a:pt x="33" y="0"/>
                        <a:pt x="33" y="1"/>
                      </a:cubicBezTo>
                      <a:cubicBezTo>
                        <a:pt x="33" y="3"/>
                        <a:pt x="33" y="2"/>
                        <a:pt x="32" y="3"/>
                      </a:cubicBezTo>
                      <a:cubicBezTo>
                        <a:pt x="32" y="4"/>
                        <a:pt x="30" y="5"/>
                        <a:pt x="30" y="5"/>
                      </a:cubicBezTo>
                      <a:cubicBezTo>
                        <a:pt x="30" y="5"/>
                        <a:pt x="29" y="5"/>
                        <a:pt x="29" y="6"/>
                      </a:cubicBezTo>
                      <a:cubicBezTo>
                        <a:pt x="29" y="6"/>
                        <a:pt x="28" y="7"/>
                        <a:pt x="28" y="7"/>
                      </a:cubicBezTo>
                      <a:cubicBezTo>
                        <a:pt x="28" y="7"/>
                        <a:pt x="28" y="6"/>
                        <a:pt x="27" y="6"/>
                      </a:cubicBezTo>
                      <a:cubicBezTo>
                        <a:pt x="27" y="6"/>
                        <a:pt x="27" y="6"/>
                        <a:pt x="27" y="6"/>
                      </a:cubicBezTo>
                      <a:cubicBezTo>
                        <a:pt x="27" y="6"/>
                        <a:pt x="25" y="6"/>
                        <a:pt x="25" y="7"/>
                      </a:cubicBezTo>
                      <a:cubicBezTo>
                        <a:pt x="25" y="7"/>
                        <a:pt x="25" y="8"/>
                        <a:pt x="25" y="9"/>
                      </a:cubicBezTo>
                      <a:cubicBezTo>
                        <a:pt x="25" y="9"/>
                        <a:pt x="24" y="10"/>
                        <a:pt x="24" y="10"/>
                      </a:cubicBezTo>
                      <a:cubicBezTo>
                        <a:pt x="22" y="11"/>
                        <a:pt x="22" y="11"/>
                        <a:pt x="22" y="11"/>
                      </a:cubicBezTo>
                      <a:cubicBezTo>
                        <a:pt x="22" y="11"/>
                        <a:pt x="22" y="11"/>
                        <a:pt x="21" y="11"/>
                      </a:cubicBezTo>
                      <a:cubicBezTo>
                        <a:pt x="20" y="11"/>
                        <a:pt x="18" y="11"/>
                        <a:pt x="18" y="11"/>
                      </a:cubicBezTo>
                      <a:cubicBezTo>
                        <a:pt x="17" y="11"/>
                        <a:pt x="16" y="11"/>
                        <a:pt x="16" y="11"/>
                      </a:cubicBezTo>
                      <a:cubicBezTo>
                        <a:pt x="16" y="12"/>
                        <a:pt x="16" y="12"/>
                        <a:pt x="16" y="12"/>
                      </a:cubicBezTo>
                      <a:cubicBezTo>
                        <a:pt x="15" y="13"/>
                        <a:pt x="15" y="13"/>
                        <a:pt x="15" y="13"/>
                      </a:cubicBezTo>
                      <a:cubicBezTo>
                        <a:pt x="15" y="13"/>
                        <a:pt x="14" y="15"/>
                        <a:pt x="13" y="14"/>
                      </a:cubicBezTo>
                      <a:cubicBezTo>
                        <a:pt x="13" y="14"/>
                        <a:pt x="12" y="14"/>
                        <a:pt x="12" y="14"/>
                      </a:cubicBezTo>
                      <a:cubicBezTo>
                        <a:pt x="10" y="13"/>
                        <a:pt x="10" y="13"/>
                        <a:pt x="10" y="13"/>
                      </a:cubicBezTo>
                      <a:cubicBezTo>
                        <a:pt x="10" y="13"/>
                        <a:pt x="9" y="14"/>
                        <a:pt x="9" y="14"/>
                      </a:cubicBezTo>
                      <a:cubicBezTo>
                        <a:pt x="9" y="14"/>
                        <a:pt x="8" y="14"/>
                        <a:pt x="8" y="14"/>
                      </a:cubicBezTo>
                      <a:cubicBezTo>
                        <a:pt x="8" y="14"/>
                        <a:pt x="8" y="14"/>
                        <a:pt x="8" y="14"/>
                      </a:cubicBezTo>
                      <a:cubicBezTo>
                        <a:pt x="8" y="14"/>
                        <a:pt x="8" y="15"/>
                        <a:pt x="9" y="16"/>
                      </a:cubicBezTo>
                      <a:cubicBezTo>
                        <a:pt x="9" y="16"/>
                        <a:pt x="9" y="17"/>
                        <a:pt x="9" y="18"/>
                      </a:cubicBezTo>
                      <a:cubicBezTo>
                        <a:pt x="9" y="18"/>
                        <a:pt x="8" y="19"/>
                        <a:pt x="8" y="19"/>
                      </a:cubicBezTo>
                      <a:cubicBezTo>
                        <a:pt x="7" y="19"/>
                        <a:pt x="6" y="18"/>
                        <a:pt x="6" y="18"/>
                      </a:cubicBezTo>
                      <a:cubicBezTo>
                        <a:pt x="6" y="18"/>
                        <a:pt x="6" y="17"/>
                        <a:pt x="5" y="17"/>
                      </a:cubicBezTo>
                      <a:cubicBezTo>
                        <a:pt x="5" y="18"/>
                        <a:pt x="2" y="19"/>
                        <a:pt x="2" y="19"/>
                      </a:cubicBezTo>
                      <a:cubicBezTo>
                        <a:pt x="2" y="21"/>
                        <a:pt x="2" y="21"/>
                        <a:pt x="2" y="21"/>
                      </a:cubicBezTo>
                      <a:cubicBezTo>
                        <a:pt x="0" y="22"/>
                        <a:pt x="0" y="22"/>
                        <a:pt x="0" y="22"/>
                      </a:cubicBezTo>
                      <a:cubicBezTo>
                        <a:pt x="5" y="22"/>
                        <a:pt x="5" y="22"/>
                        <a:pt x="5" y="22"/>
                      </a:cubicBezTo>
                      <a:cubicBezTo>
                        <a:pt x="6" y="22"/>
                        <a:pt x="6" y="22"/>
                        <a:pt x="6" y="22"/>
                      </a:cubicBezTo>
                      <a:cubicBezTo>
                        <a:pt x="8" y="22"/>
                        <a:pt x="8" y="22"/>
                        <a:pt x="8" y="22"/>
                      </a:cubicBezTo>
                      <a:cubicBezTo>
                        <a:pt x="9" y="21"/>
                        <a:pt x="9" y="21"/>
                        <a:pt x="9" y="21"/>
                      </a:cubicBezTo>
                      <a:cubicBezTo>
                        <a:pt x="9" y="21"/>
                        <a:pt x="10" y="21"/>
                        <a:pt x="10" y="22"/>
                      </a:cubicBezTo>
                      <a:cubicBezTo>
                        <a:pt x="10" y="22"/>
                        <a:pt x="12" y="23"/>
                        <a:pt x="12" y="23"/>
                      </a:cubicBezTo>
                      <a:cubicBezTo>
                        <a:pt x="12" y="23"/>
                        <a:pt x="12" y="23"/>
                        <a:pt x="12" y="23"/>
                      </a:cubicBezTo>
                      <a:cubicBezTo>
                        <a:pt x="15" y="22"/>
                        <a:pt x="15" y="22"/>
                        <a:pt x="15" y="22"/>
                      </a:cubicBezTo>
                      <a:cubicBezTo>
                        <a:pt x="15" y="23"/>
                        <a:pt x="15" y="23"/>
                        <a:pt x="15" y="23"/>
                      </a:cubicBezTo>
                      <a:cubicBezTo>
                        <a:pt x="15" y="23"/>
                        <a:pt x="15" y="24"/>
                        <a:pt x="16" y="24"/>
                      </a:cubicBezTo>
                      <a:cubicBezTo>
                        <a:pt x="17" y="24"/>
                        <a:pt x="17" y="24"/>
                        <a:pt x="17" y="24"/>
                      </a:cubicBezTo>
                      <a:cubicBezTo>
                        <a:pt x="17" y="26"/>
                        <a:pt x="17" y="26"/>
                        <a:pt x="17" y="26"/>
                      </a:cubicBezTo>
                      <a:cubicBezTo>
                        <a:pt x="19" y="26"/>
                        <a:pt x="19" y="26"/>
                        <a:pt x="19" y="26"/>
                      </a:cubicBezTo>
                      <a:cubicBezTo>
                        <a:pt x="19" y="26"/>
                        <a:pt x="20" y="26"/>
                        <a:pt x="20" y="26"/>
                      </a:cubicBezTo>
                      <a:cubicBezTo>
                        <a:pt x="20" y="26"/>
                        <a:pt x="20" y="27"/>
                        <a:pt x="20" y="27"/>
                      </a:cubicBezTo>
                      <a:cubicBezTo>
                        <a:pt x="20" y="27"/>
                        <a:pt x="21" y="28"/>
                        <a:pt x="22" y="29"/>
                      </a:cubicBezTo>
                      <a:cubicBezTo>
                        <a:pt x="22" y="29"/>
                        <a:pt x="23" y="30"/>
                        <a:pt x="23" y="30"/>
                      </a:cubicBezTo>
                      <a:cubicBezTo>
                        <a:pt x="24" y="31"/>
                        <a:pt x="24" y="31"/>
                        <a:pt x="24" y="31"/>
                      </a:cubicBezTo>
                      <a:cubicBezTo>
                        <a:pt x="25" y="32"/>
                        <a:pt x="25" y="32"/>
                        <a:pt x="25" y="32"/>
                      </a:cubicBezTo>
                      <a:cubicBezTo>
                        <a:pt x="26" y="33"/>
                        <a:pt x="26" y="33"/>
                        <a:pt x="26" y="33"/>
                      </a:cubicBezTo>
                      <a:cubicBezTo>
                        <a:pt x="26" y="33"/>
                        <a:pt x="26" y="33"/>
                        <a:pt x="26" y="33"/>
                      </a:cubicBezTo>
                      <a:cubicBezTo>
                        <a:pt x="26" y="34"/>
                        <a:pt x="26" y="35"/>
                        <a:pt x="27" y="35"/>
                      </a:cubicBezTo>
                      <a:cubicBezTo>
                        <a:pt x="27" y="35"/>
                        <a:pt x="27" y="35"/>
                        <a:pt x="28" y="35"/>
                      </a:cubicBezTo>
                      <a:cubicBezTo>
                        <a:pt x="28" y="35"/>
                        <a:pt x="28" y="35"/>
                        <a:pt x="28" y="36"/>
                      </a:cubicBezTo>
                      <a:cubicBezTo>
                        <a:pt x="28" y="36"/>
                        <a:pt x="28" y="36"/>
                        <a:pt x="29" y="37"/>
                      </a:cubicBezTo>
                      <a:cubicBezTo>
                        <a:pt x="29" y="37"/>
                        <a:pt x="30" y="38"/>
                        <a:pt x="30" y="38"/>
                      </a:cubicBezTo>
                      <a:cubicBezTo>
                        <a:pt x="30" y="38"/>
                        <a:pt x="30" y="38"/>
                        <a:pt x="30" y="39"/>
                      </a:cubicBezTo>
                      <a:cubicBezTo>
                        <a:pt x="30" y="40"/>
                        <a:pt x="31" y="41"/>
                        <a:pt x="31" y="41"/>
                      </a:cubicBezTo>
                      <a:cubicBezTo>
                        <a:pt x="31" y="42"/>
                        <a:pt x="32" y="42"/>
                        <a:pt x="32" y="42"/>
                      </a:cubicBezTo>
                      <a:cubicBezTo>
                        <a:pt x="32" y="42"/>
                        <a:pt x="32" y="42"/>
                        <a:pt x="32" y="42"/>
                      </a:cubicBezTo>
                      <a:cubicBezTo>
                        <a:pt x="32" y="42"/>
                        <a:pt x="33" y="42"/>
                        <a:pt x="33" y="43"/>
                      </a:cubicBezTo>
                      <a:cubicBezTo>
                        <a:pt x="33" y="44"/>
                        <a:pt x="32" y="45"/>
                        <a:pt x="33" y="45"/>
                      </a:cubicBezTo>
                      <a:cubicBezTo>
                        <a:pt x="33" y="45"/>
                        <a:pt x="34" y="47"/>
                        <a:pt x="35" y="47"/>
                      </a:cubicBezTo>
                      <a:cubicBezTo>
                        <a:pt x="36" y="47"/>
                        <a:pt x="36" y="47"/>
                        <a:pt x="36" y="47"/>
                      </a:cubicBezTo>
                      <a:cubicBezTo>
                        <a:pt x="37" y="47"/>
                        <a:pt x="37" y="49"/>
                        <a:pt x="38" y="49"/>
                      </a:cubicBezTo>
                      <a:cubicBezTo>
                        <a:pt x="38" y="50"/>
                        <a:pt x="38" y="50"/>
                        <a:pt x="39" y="50"/>
                      </a:cubicBezTo>
                      <a:cubicBezTo>
                        <a:pt x="40" y="50"/>
                        <a:pt x="40" y="50"/>
                        <a:pt x="40" y="50"/>
                      </a:cubicBezTo>
                      <a:cubicBezTo>
                        <a:pt x="40" y="50"/>
                        <a:pt x="40" y="50"/>
                        <a:pt x="40" y="51"/>
                      </a:cubicBezTo>
                      <a:cubicBezTo>
                        <a:pt x="41" y="51"/>
                        <a:pt x="43" y="53"/>
                        <a:pt x="43" y="53"/>
                      </a:cubicBezTo>
                      <a:cubicBezTo>
                        <a:pt x="43" y="53"/>
                        <a:pt x="44" y="54"/>
                        <a:pt x="44" y="54"/>
                      </a:cubicBezTo>
                      <a:cubicBezTo>
                        <a:pt x="44" y="54"/>
                        <a:pt x="45" y="54"/>
                        <a:pt x="46" y="54"/>
                      </a:cubicBezTo>
                      <a:cubicBezTo>
                        <a:pt x="46" y="54"/>
                        <a:pt x="47" y="54"/>
                        <a:pt x="47" y="55"/>
                      </a:cubicBezTo>
                      <a:cubicBezTo>
                        <a:pt x="47" y="56"/>
                        <a:pt x="48" y="56"/>
                        <a:pt x="48" y="57"/>
                      </a:cubicBezTo>
                      <a:cubicBezTo>
                        <a:pt x="48" y="58"/>
                        <a:pt x="49" y="58"/>
                        <a:pt x="49" y="59"/>
                      </a:cubicBezTo>
                      <a:cubicBezTo>
                        <a:pt x="49" y="59"/>
                        <a:pt x="50" y="61"/>
                        <a:pt x="50" y="61"/>
                      </a:cubicBezTo>
                      <a:cubicBezTo>
                        <a:pt x="56" y="63"/>
                        <a:pt x="56" y="63"/>
                        <a:pt x="56" y="63"/>
                      </a:cubicBezTo>
                      <a:cubicBezTo>
                        <a:pt x="57" y="65"/>
                        <a:pt x="57" y="65"/>
                        <a:pt x="57" y="65"/>
                      </a:cubicBezTo>
                      <a:cubicBezTo>
                        <a:pt x="57" y="65"/>
                        <a:pt x="58" y="67"/>
                        <a:pt x="58" y="67"/>
                      </a:cubicBezTo>
                      <a:cubicBezTo>
                        <a:pt x="59" y="68"/>
                        <a:pt x="60" y="68"/>
                        <a:pt x="60" y="68"/>
                      </a:cubicBezTo>
                      <a:cubicBezTo>
                        <a:pt x="63" y="71"/>
                        <a:pt x="63" y="71"/>
                        <a:pt x="63" y="71"/>
                      </a:cubicBezTo>
                      <a:cubicBezTo>
                        <a:pt x="66" y="72"/>
                        <a:pt x="66" y="72"/>
                        <a:pt x="66" y="72"/>
                      </a:cubicBezTo>
                      <a:cubicBezTo>
                        <a:pt x="66" y="72"/>
                        <a:pt x="68" y="73"/>
                        <a:pt x="69" y="73"/>
                      </a:cubicBezTo>
                      <a:cubicBezTo>
                        <a:pt x="69" y="73"/>
                        <a:pt x="71" y="74"/>
                        <a:pt x="72" y="74"/>
                      </a:cubicBezTo>
                      <a:cubicBezTo>
                        <a:pt x="72" y="75"/>
                        <a:pt x="73" y="78"/>
                        <a:pt x="73" y="78"/>
                      </a:cubicBezTo>
                      <a:cubicBezTo>
                        <a:pt x="74" y="78"/>
                        <a:pt x="76" y="80"/>
                        <a:pt x="76" y="82"/>
                      </a:cubicBezTo>
                      <a:cubicBezTo>
                        <a:pt x="77" y="83"/>
                        <a:pt x="77" y="83"/>
                        <a:pt x="77" y="85"/>
                      </a:cubicBezTo>
                      <a:cubicBezTo>
                        <a:pt x="78" y="86"/>
                        <a:pt x="80" y="88"/>
                        <a:pt x="80" y="88"/>
                      </a:cubicBezTo>
                      <a:cubicBezTo>
                        <a:pt x="80" y="88"/>
                        <a:pt x="80" y="88"/>
                        <a:pt x="81" y="90"/>
                      </a:cubicBezTo>
                      <a:cubicBezTo>
                        <a:pt x="82" y="91"/>
                        <a:pt x="83" y="92"/>
                        <a:pt x="83" y="93"/>
                      </a:cubicBezTo>
                      <a:cubicBezTo>
                        <a:pt x="83" y="93"/>
                        <a:pt x="83" y="93"/>
                        <a:pt x="83" y="94"/>
                      </a:cubicBezTo>
                      <a:cubicBezTo>
                        <a:pt x="83" y="94"/>
                        <a:pt x="83" y="95"/>
                        <a:pt x="83" y="95"/>
                      </a:cubicBezTo>
                      <a:cubicBezTo>
                        <a:pt x="83" y="95"/>
                        <a:pt x="84" y="97"/>
                        <a:pt x="84" y="98"/>
                      </a:cubicBezTo>
                      <a:cubicBezTo>
                        <a:pt x="84" y="98"/>
                        <a:pt x="85" y="100"/>
                        <a:pt x="85" y="100"/>
                      </a:cubicBezTo>
                      <a:cubicBezTo>
                        <a:pt x="85" y="101"/>
                        <a:pt x="85" y="101"/>
                        <a:pt x="85" y="101"/>
                      </a:cubicBezTo>
                      <a:cubicBezTo>
                        <a:pt x="86" y="104"/>
                        <a:pt x="86" y="104"/>
                        <a:pt x="86" y="104"/>
                      </a:cubicBezTo>
                      <a:cubicBezTo>
                        <a:pt x="85" y="106"/>
                        <a:pt x="85" y="106"/>
                        <a:pt x="85" y="106"/>
                      </a:cubicBezTo>
                      <a:cubicBezTo>
                        <a:pt x="85" y="106"/>
                        <a:pt x="84" y="107"/>
                        <a:pt x="85" y="107"/>
                      </a:cubicBezTo>
                      <a:cubicBezTo>
                        <a:pt x="86" y="107"/>
                        <a:pt x="87" y="108"/>
                        <a:pt x="86" y="109"/>
                      </a:cubicBezTo>
                      <a:cubicBezTo>
                        <a:pt x="86" y="109"/>
                        <a:pt x="85" y="111"/>
                        <a:pt x="85" y="111"/>
                      </a:cubicBezTo>
                      <a:cubicBezTo>
                        <a:pt x="85" y="112"/>
                        <a:pt x="85" y="112"/>
                        <a:pt x="85" y="112"/>
                      </a:cubicBezTo>
                      <a:cubicBezTo>
                        <a:pt x="84" y="114"/>
                        <a:pt x="84" y="114"/>
                        <a:pt x="84" y="114"/>
                      </a:cubicBezTo>
                      <a:cubicBezTo>
                        <a:pt x="84" y="114"/>
                        <a:pt x="86" y="115"/>
                        <a:pt x="86" y="115"/>
                      </a:cubicBezTo>
                      <a:cubicBezTo>
                        <a:pt x="86" y="116"/>
                        <a:pt x="87" y="117"/>
                        <a:pt x="86" y="118"/>
                      </a:cubicBezTo>
                      <a:cubicBezTo>
                        <a:pt x="86" y="118"/>
                        <a:pt x="86" y="120"/>
                        <a:pt x="86" y="120"/>
                      </a:cubicBezTo>
                      <a:cubicBezTo>
                        <a:pt x="86" y="120"/>
                        <a:pt x="86" y="122"/>
                        <a:pt x="86" y="122"/>
                      </a:cubicBezTo>
                      <a:cubicBezTo>
                        <a:pt x="86" y="122"/>
                        <a:pt x="88" y="123"/>
                        <a:pt x="87" y="124"/>
                      </a:cubicBezTo>
                      <a:cubicBezTo>
                        <a:pt x="87" y="124"/>
                        <a:pt x="87" y="125"/>
                        <a:pt x="87" y="126"/>
                      </a:cubicBezTo>
                      <a:cubicBezTo>
                        <a:pt x="88" y="128"/>
                        <a:pt x="90" y="131"/>
                        <a:pt x="90" y="131"/>
                      </a:cubicBezTo>
                      <a:cubicBezTo>
                        <a:pt x="90" y="131"/>
                        <a:pt x="91" y="133"/>
                        <a:pt x="91" y="133"/>
                      </a:cubicBezTo>
                      <a:cubicBezTo>
                        <a:pt x="91" y="134"/>
                        <a:pt x="90" y="134"/>
                        <a:pt x="91" y="135"/>
                      </a:cubicBezTo>
                      <a:cubicBezTo>
                        <a:pt x="91" y="135"/>
                        <a:pt x="90" y="136"/>
                        <a:pt x="91" y="136"/>
                      </a:cubicBezTo>
                      <a:cubicBezTo>
                        <a:pt x="92" y="137"/>
                        <a:pt x="93" y="139"/>
                        <a:pt x="93" y="139"/>
                      </a:cubicBezTo>
                      <a:cubicBezTo>
                        <a:pt x="93" y="139"/>
                        <a:pt x="93" y="139"/>
                        <a:pt x="94" y="140"/>
                      </a:cubicBezTo>
                      <a:cubicBezTo>
                        <a:pt x="94" y="141"/>
                        <a:pt x="94" y="143"/>
                        <a:pt x="94" y="143"/>
                      </a:cubicBezTo>
                      <a:cubicBezTo>
                        <a:pt x="94" y="144"/>
                        <a:pt x="95" y="144"/>
                        <a:pt x="94" y="144"/>
                      </a:cubicBezTo>
                      <a:cubicBezTo>
                        <a:pt x="94" y="144"/>
                        <a:pt x="93" y="145"/>
                        <a:pt x="93" y="145"/>
                      </a:cubicBezTo>
                      <a:cubicBezTo>
                        <a:pt x="92" y="147"/>
                        <a:pt x="92" y="147"/>
                        <a:pt x="92" y="147"/>
                      </a:cubicBezTo>
                      <a:cubicBezTo>
                        <a:pt x="92" y="147"/>
                        <a:pt x="93" y="148"/>
                        <a:pt x="94" y="148"/>
                      </a:cubicBezTo>
                      <a:cubicBezTo>
                        <a:pt x="94" y="148"/>
                        <a:pt x="95" y="148"/>
                        <a:pt x="95" y="148"/>
                      </a:cubicBezTo>
                      <a:cubicBezTo>
                        <a:pt x="97" y="150"/>
                        <a:pt x="97" y="150"/>
                        <a:pt x="97" y="150"/>
                      </a:cubicBezTo>
                      <a:cubicBezTo>
                        <a:pt x="97" y="152"/>
                        <a:pt x="97" y="152"/>
                        <a:pt x="97" y="152"/>
                      </a:cubicBezTo>
                      <a:lnTo>
                        <a:pt x="99" y="152"/>
                      </a:lnTo>
                      <a:close/>
                    </a:path>
                  </a:pathLst>
                </a:custGeom>
                <a:solidFill>
                  <a:srgbClr val="E6EFF1"/>
                </a:solidFill>
                <a:ln w="12700" cap="rnd" cmpd="sng">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Lato Light"/>
                  </a:endParaRPr>
                </a:p>
              </p:txBody>
            </p:sp>
            <p:sp>
              <p:nvSpPr>
                <p:cNvPr id="26" name="Freeform 29">
                  <a:extLst>
                    <a:ext uri="{FF2B5EF4-FFF2-40B4-BE49-F238E27FC236}">
                      <a16:creationId xmlns:a16="http://schemas.microsoft.com/office/drawing/2014/main" id="{406932E8-FA60-EDDD-7124-03B4F0D5475D}"/>
                    </a:ext>
                  </a:extLst>
                </p:cNvPr>
                <p:cNvSpPr>
                  <a:spLocks/>
                </p:cNvSpPr>
                <p:nvPr/>
              </p:nvSpPr>
              <p:spPr bwMode="auto">
                <a:xfrm>
                  <a:off x="3198623" y="3847016"/>
                  <a:ext cx="372307" cy="304328"/>
                </a:xfrm>
                <a:custGeom>
                  <a:avLst/>
                  <a:gdLst>
                    <a:gd name="T0" fmla="*/ 27 w 129"/>
                    <a:gd name="T1" fmla="*/ 5 h 109"/>
                    <a:gd name="T2" fmla="*/ 33 w 129"/>
                    <a:gd name="T3" fmla="*/ 7 h 109"/>
                    <a:gd name="T4" fmla="*/ 40 w 129"/>
                    <a:gd name="T5" fmla="*/ 5 h 109"/>
                    <a:gd name="T6" fmla="*/ 57 w 129"/>
                    <a:gd name="T7" fmla="*/ 8 h 109"/>
                    <a:gd name="T8" fmla="*/ 64 w 129"/>
                    <a:gd name="T9" fmla="*/ 7 h 109"/>
                    <a:gd name="T10" fmla="*/ 66 w 129"/>
                    <a:gd name="T11" fmla="*/ 1 h 109"/>
                    <a:gd name="T12" fmla="*/ 70 w 129"/>
                    <a:gd name="T13" fmla="*/ 5 h 109"/>
                    <a:gd name="T14" fmla="*/ 77 w 129"/>
                    <a:gd name="T15" fmla="*/ 1 h 109"/>
                    <a:gd name="T16" fmla="*/ 79 w 129"/>
                    <a:gd name="T17" fmla="*/ 5 h 109"/>
                    <a:gd name="T18" fmla="*/ 86 w 129"/>
                    <a:gd name="T19" fmla="*/ 3 h 109"/>
                    <a:gd name="T20" fmla="*/ 89 w 129"/>
                    <a:gd name="T21" fmla="*/ 9 h 109"/>
                    <a:gd name="T22" fmla="*/ 92 w 129"/>
                    <a:gd name="T23" fmla="*/ 12 h 109"/>
                    <a:gd name="T24" fmla="*/ 98 w 129"/>
                    <a:gd name="T25" fmla="*/ 15 h 109"/>
                    <a:gd name="T26" fmla="*/ 102 w 129"/>
                    <a:gd name="T27" fmla="*/ 18 h 109"/>
                    <a:gd name="T28" fmla="*/ 113 w 129"/>
                    <a:gd name="T29" fmla="*/ 22 h 109"/>
                    <a:gd name="T30" fmla="*/ 109 w 129"/>
                    <a:gd name="T31" fmla="*/ 30 h 109"/>
                    <a:gd name="T32" fmla="*/ 104 w 129"/>
                    <a:gd name="T33" fmla="*/ 36 h 109"/>
                    <a:gd name="T34" fmla="*/ 105 w 129"/>
                    <a:gd name="T35" fmla="*/ 43 h 109"/>
                    <a:gd name="T36" fmla="*/ 114 w 129"/>
                    <a:gd name="T37" fmla="*/ 42 h 109"/>
                    <a:gd name="T38" fmla="*/ 120 w 129"/>
                    <a:gd name="T39" fmla="*/ 46 h 109"/>
                    <a:gd name="T40" fmla="*/ 124 w 129"/>
                    <a:gd name="T41" fmla="*/ 50 h 109"/>
                    <a:gd name="T42" fmla="*/ 124 w 129"/>
                    <a:gd name="T43" fmla="*/ 57 h 109"/>
                    <a:gd name="T44" fmla="*/ 129 w 129"/>
                    <a:gd name="T45" fmla="*/ 61 h 109"/>
                    <a:gd name="T46" fmla="*/ 127 w 129"/>
                    <a:gd name="T47" fmla="*/ 67 h 109"/>
                    <a:gd name="T48" fmla="*/ 123 w 129"/>
                    <a:gd name="T49" fmla="*/ 70 h 109"/>
                    <a:gd name="T50" fmla="*/ 120 w 129"/>
                    <a:gd name="T51" fmla="*/ 74 h 109"/>
                    <a:gd name="T52" fmla="*/ 117 w 129"/>
                    <a:gd name="T53" fmla="*/ 75 h 109"/>
                    <a:gd name="T54" fmla="*/ 112 w 129"/>
                    <a:gd name="T55" fmla="*/ 77 h 109"/>
                    <a:gd name="T56" fmla="*/ 109 w 129"/>
                    <a:gd name="T57" fmla="*/ 82 h 109"/>
                    <a:gd name="T58" fmla="*/ 105 w 129"/>
                    <a:gd name="T59" fmla="*/ 88 h 109"/>
                    <a:gd name="T60" fmla="*/ 106 w 129"/>
                    <a:gd name="T61" fmla="*/ 92 h 109"/>
                    <a:gd name="T62" fmla="*/ 107 w 129"/>
                    <a:gd name="T63" fmla="*/ 96 h 109"/>
                    <a:gd name="T64" fmla="*/ 110 w 129"/>
                    <a:gd name="T65" fmla="*/ 101 h 109"/>
                    <a:gd name="T66" fmla="*/ 107 w 129"/>
                    <a:gd name="T67" fmla="*/ 107 h 109"/>
                    <a:gd name="T68" fmla="*/ 103 w 129"/>
                    <a:gd name="T69" fmla="*/ 108 h 109"/>
                    <a:gd name="T70" fmla="*/ 96 w 129"/>
                    <a:gd name="T71" fmla="*/ 109 h 109"/>
                    <a:gd name="T72" fmla="*/ 93 w 129"/>
                    <a:gd name="T73" fmla="*/ 104 h 109"/>
                    <a:gd name="T74" fmla="*/ 90 w 129"/>
                    <a:gd name="T75" fmla="*/ 101 h 109"/>
                    <a:gd name="T76" fmla="*/ 85 w 129"/>
                    <a:gd name="T77" fmla="*/ 97 h 109"/>
                    <a:gd name="T78" fmla="*/ 79 w 129"/>
                    <a:gd name="T79" fmla="*/ 94 h 109"/>
                    <a:gd name="T80" fmla="*/ 74 w 129"/>
                    <a:gd name="T81" fmla="*/ 89 h 109"/>
                    <a:gd name="T82" fmla="*/ 74 w 129"/>
                    <a:gd name="T83" fmla="*/ 81 h 109"/>
                    <a:gd name="T84" fmla="*/ 74 w 129"/>
                    <a:gd name="T85" fmla="*/ 73 h 109"/>
                    <a:gd name="T86" fmla="*/ 69 w 129"/>
                    <a:gd name="T87" fmla="*/ 78 h 109"/>
                    <a:gd name="T88" fmla="*/ 63 w 129"/>
                    <a:gd name="T89" fmla="*/ 82 h 109"/>
                    <a:gd name="T90" fmla="*/ 55 w 129"/>
                    <a:gd name="T91" fmla="*/ 82 h 109"/>
                    <a:gd name="T92" fmla="*/ 51 w 129"/>
                    <a:gd name="T93" fmla="*/ 77 h 109"/>
                    <a:gd name="T94" fmla="*/ 52 w 129"/>
                    <a:gd name="T95" fmla="*/ 73 h 109"/>
                    <a:gd name="T96" fmla="*/ 53 w 129"/>
                    <a:gd name="T97" fmla="*/ 66 h 109"/>
                    <a:gd name="T98" fmla="*/ 49 w 129"/>
                    <a:gd name="T99" fmla="*/ 62 h 109"/>
                    <a:gd name="T100" fmla="*/ 42 w 129"/>
                    <a:gd name="T101" fmla="*/ 61 h 109"/>
                    <a:gd name="T102" fmla="*/ 35 w 129"/>
                    <a:gd name="T103" fmla="*/ 60 h 109"/>
                    <a:gd name="T104" fmla="*/ 33 w 129"/>
                    <a:gd name="T105" fmla="*/ 52 h 109"/>
                    <a:gd name="T106" fmla="*/ 27 w 129"/>
                    <a:gd name="T107" fmla="*/ 51 h 109"/>
                    <a:gd name="T108" fmla="*/ 23 w 129"/>
                    <a:gd name="T109" fmla="*/ 46 h 109"/>
                    <a:gd name="T110" fmla="*/ 19 w 129"/>
                    <a:gd name="T111" fmla="*/ 37 h 109"/>
                    <a:gd name="T112" fmla="*/ 11 w 129"/>
                    <a:gd name="T113" fmla="*/ 37 h 109"/>
                    <a:gd name="T114" fmla="*/ 6 w 129"/>
                    <a:gd name="T115" fmla="*/ 35 h 109"/>
                    <a:gd name="T116" fmla="*/ 2 w 129"/>
                    <a:gd name="T117" fmla="*/ 29 h 109"/>
                    <a:gd name="T118" fmla="*/ 0 w 129"/>
                    <a:gd name="T119" fmla="*/ 22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29" h="109">
                      <a:moveTo>
                        <a:pt x="1" y="18"/>
                      </a:moveTo>
                      <a:cubicBezTo>
                        <a:pt x="1" y="18"/>
                        <a:pt x="21" y="6"/>
                        <a:pt x="21" y="6"/>
                      </a:cubicBezTo>
                      <a:cubicBezTo>
                        <a:pt x="27" y="5"/>
                        <a:pt x="27" y="5"/>
                        <a:pt x="27" y="5"/>
                      </a:cubicBezTo>
                      <a:cubicBezTo>
                        <a:pt x="30" y="5"/>
                        <a:pt x="30" y="5"/>
                        <a:pt x="30" y="5"/>
                      </a:cubicBezTo>
                      <a:cubicBezTo>
                        <a:pt x="31" y="4"/>
                        <a:pt x="31" y="4"/>
                        <a:pt x="31" y="4"/>
                      </a:cubicBezTo>
                      <a:cubicBezTo>
                        <a:pt x="31" y="4"/>
                        <a:pt x="32" y="7"/>
                        <a:pt x="33" y="7"/>
                      </a:cubicBezTo>
                      <a:cubicBezTo>
                        <a:pt x="33" y="7"/>
                        <a:pt x="35" y="9"/>
                        <a:pt x="35" y="8"/>
                      </a:cubicBezTo>
                      <a:cubicBezTo>
                        <a:pt x="36" y="7"/>
                        <a:pt x="36" y="6"/>
                        <a:pt x="37" y="6"/>
                      </a:cubicBezTo>
                      <a:cubicBezTo>
                        <a:pt x="37" y="5"/>
                        <a:pt x="38" y="4"/>
                        <a:pt x="40" y="5"/>
                      </a:cubicBezTo>
                      <a:cubicBezTo>
                        <a:pt x="41" y="6"/>
                        <a:pt x="41" y="10"/>
                        <a:pt x="41" y="10"/>
                      </a:cubicBezTo>
                      <a:cubicBezTo>
                        <a:pt x="49" y="12"/>
                        <a:pt x="44" y="13"/>
                        <a:pt x="55" y="10"/>
                      </a:cubicBezTo>
                      <a:cubicBezTo>
                        <a:pt x="55" y="10"/>
                        <a:pt x="57" y="8"/>
                        <a:pt x="57" y="8"/>
                      </a:cubicBezTo>
                      <a:cubicBezTo>
                        <a:pt x="57" y="7"/>
                        <a:pt x="56" y="5"/>
                        <a:pt x="58" y="6"/>
                      </a:cubicBezTo>
                      <a:cubicBezTo>
                        <a:pt x="59" y="7"/>
                        <a:pt x="60" y="7"/>
                        <a:pt x="61" y="7"/>
                      </a:cubicBezTo>
                      <a:cubicBezTo>
                        <a:pt x="62" y="7"/>
                        <a:pt x="64" y="7"/>
                        <a:pt x="64" y="7"/>
                      </a:cubicBezTo>
                      <a:cubicBezTo>
                        <a:pt x="64" y="7"/>
                        <a:pt x="65" y="6"/>
                        <a:pt x="64" y="5"/>
                      </a:cubicBezTo>
                      <a:cubicBezTo>
                        <a:pt x="64" y="4"/>
                        <a:pt x="63" y="3"/>
                        <a:pt x="64" y="3"/>
                      </a:cubicBezTo>
                      <a:cubicBezTo>
                        <a:pt x="64" y="2"/>
                        <a:pt x="66" y="1"/>
                        <a:pt x="66" y="1"/>
                      </a:cubicBezTo>
                      <a:cubicBezTo>
                        <a:pt x="66" y="1"/>
                        <a:pt x="67" y="1"/>
                        <a:pt x="67" y="2"/>
                      </a:cubicBezTo>
                      <a:cubicBezTo>
                        <a:pt x="68" y="3"/>
                        <a:pt x="68" y="3"/>
                        <a:pt x="68" y="4"/>
                      </a:cubicBezTo>
                      <a:cubicBezTo>
                        <a:pt x="69" y="4"/>
                        <a:pt x="69" y="5"/>
                        <a:pt x="70" y="5"/>
                      </a:cubicBezTo>
                      <a:cubicBezTo>
                        <a:pt x="72" y="5"/>
                        <a:pt x="72" y="5"/>
                        <a:pt x="73" y="4"/>
                      </a:cubicBezTo>
                      <a:cubicBezTo>
                        <a:pt x="74" y="3"/>
                        <a:pt x="74" y="3"/>
                        <a:pt x="75" y="2"/>
                      </a:cubicBezTo>
                      <a:cubicBezTo>
                        <a:pt x="76" y="0"/>
                        <a:pt x="76" y="0"/>
                        <a:pt x="77" y="1"/>
                      </a:cubicBezTo>
                      <a:cubicBezTo>
                        <a:pt x="78" y="1"/>
                        <a:pt x="80" y="2"/>
                        <a:pt x="80" y="2"/>
                      </a:cubicBezTo>
                      <a:cubicBezTo>
                        <a:pt x="78" y="4"/>
                        <a:pt x="78" y="4"/>
                        <a:pt x="78" y="4"/>
                      </a:cubicBezTo>
                      <a:cubicBezTo>
                        <a:pt x="78" y="4"/>
                        <a:pt x="77" y="4"/>
                        <a:pt x="79" y="5"/>
                      </a:cubicBezTo>
                      <a:cubicBezTo>
                        <a:pt x="82" y="6"/>
                        <a:pt x="83" y="6"/>
                        <a:pt x="83" y="6"/>
                      </a:cubicBezTo>
                      <a:cubicBezTo>
                        <a:pt x="85" y="3"/>
                        <a:pt x="85" y="3"/>
                        <a:pt x="85" y="3"/>
                      </a:cubicBezTo>
                      <a:cubicBezTo>
                        <a:pt x="85" y="3"/>
                        <a:pt x="85" y="1"/>
                        <a:pt x="86" y="3"/>
                      </a:cubicBezTo>
                      <a:cubicBezTo>
                        <a:pt x="86" y="4"/>
                        <a:pt x="87" y="6"/>
                        <a:pt x="87" y="6"/>
                      </a:cubicBezTo>
                      <a:cubicBezTo>
                        <a:pt x="87" y="6"/>
                        <a:pt x="87" y="9"/>
                        <a:pt x="88" y="9"/>
                      </a:cubicBezTo>
                      <a:cubicBezTo>
                        <a:pt x="89" y="9"/>
                        <a:pt x="89" y="8"/>
                        <a:pt x="89" y="9"/>
                      </a:cubicBezTo>
                      <a:cubicBezTo>
                        <a:pt x="89" y="10"/>
                        <a:pt x="88" y="10"/>
                        <a:pt x="89" y="10"/>
                      </a:cubicBezTo>
                      <a:cubicBezTo>
                        <a:pt x="89" y="11"/>
                        <a:pt x="91" y="11"/>
                        <a:pt x="91" y="11"/>
                      </a:cubicBezTo>
                      <a:cubicBezTo>
                        <a:pt x="91" y="11"/>
                        <a:pt x="92" y="11"/>
                        <a:pt x="92" y="12"/>
                      </a:cubicBezTo>
                      <a:cubicBezTo>
                        <a:pt x="92" y="13"/>
                        <a:pt x="92" y="14"/>
                        <a:pt x="92" y="14"/>
                      </a:cubicBezTo>
                      <a:cubicBezTo>
                        <a:pt x="92" y="14"/>
                        <a:pt x="95" y="14"/>
                        <a:pt x="95" y="14"/>
                      </a:cubicBezTo>
                      <a:cubicBezTo>
                        <a:pt x="96" y="14"/>
                        <a:pt x="97" y="15"/>
                        <a:pt x="98" y="15"/>
                      </a:cubicBezTo>
                      <a:cubicBezTo>
                        <a:pt x="99" y="14"/>
                        <a:pt x="100" y="13"/>
                        <a:pt x="100" y="13"/>
                      </a:cubicBezTo>
                      <a:cubicBezTo>
                        <a:pt x="100" y="14"/>
                        <a:pt x="102" y="14"/>
                        <a:pt x="102" y="15"/>
                      </a:cubicBezTo>
                      <a:cubicBezTo>
                        <a:pt x="101" y="17"/>
                        <a:pt x="100" y="17"/>
                        <a:pt x="102" y="18"/>
                      </a:cubicBezTo>
                      <a:cubicBezTo>
                        <a:pt x="104" y="18"/>
                        <a:pt x="106" y="19"/>
                        <a:pt x="107" y="19"/>
                      </a:cubicBezTo>
                      <a:cubicBezTo>
                        <a:pt x="108" y="20"/>
                        <a:pt x="111" y="21"/>
                        <a:pt x="111" y="21"/>
                      </a:cubicBezTo>
                      <a:cubicBezTo>
                        <a:pt x="112" y="21"/>
                        <a:pt x="113" y="21"/>
                        <a:pt x="113" y="22"/>
                      </a:cubicBezTo>
                      <a:cubicBezTo>
                        <a:pt x="113" y="23"/>
                        <a:pt x="111" y="25"/>
                        <a:pt x="111" y="25"/>
                      </a:cubicBezTo>
                      <a:cubicBezTo>
                        <a:pt x="111" y="25"/>
                        <a:pt x="110" y="26"/>
                        <a:pt x="110" y="27"/>
                      </a:cubicBezTo>
                      <a:cubicBezTo>
                        <a:pt x="110" y="27"/>
                        <a:pt x="109" y="30"/>
                        <a:pt x="109" y="30"/>
                      </a:cubicBezTo>
                      <a:cubicBezTo>
                        <a:pt x="108" y="31"/>
                        <a:pt x="107" y="33"/>
                        <a:pt x="107" y="33"/>
                      </a:cubicBezTo>
                      <a:cubicBezTo>
                        <a:pt x="107" y="33"/>
                        <a:pt x="106" y="35"/>
                        <a:pt x="105" y="35"/>
                      </a:cubicBezTo>
                      <a:cubicBezTo>
                        <a:pt x="105" y="35"/>
                        <a:pt x="104" y="36"/>
                        <a:pt x="104" y="36"/>
                      </a:cubicBezTo>
                      <a:cubicBezTo>
                        <a:pt x="104" y="37"/>
                        <a:pt x="104" y="39"/>
                        <a:pt x="104" y="39"/>
                      </a:cubicBezTo>
                      <a:cubicBezTo>
                        <a:pt x="105" y="41"/>
                        <a:pt x="105" y="41"/>
                        <a:pt x="105" y="41"/>
                      </a:cubicBezTo>
                      <a:cubicBezTo>
                        <a:pt x="105" y="43"/>
                        <a:pt x="105" y="43"/>
                        <a:pt x="105" y="43"/>
                      </a:cubicBezTo>
                      <a:cubicBezTo>
                        <a:pt x="109" y="42"/>
                        <a:pt x="109" y="42"/>
                        <a:pt x="109" y="42"/>
                      </a:cubicBezTo>
                      <a:cubicBezTo>
                        <a:pt x="109" y="42"/>
                        <a:pt x="109" y="42"/>
                        <a:pt x="110" y="43"/>
                      </a:cubicBezTo>
                      <a:cubicBezTo>
                        <a:pt x="112" y="43"/>
                        <a:pt x="113" y="42"/>
                        <a:pt x="114" y="42"/>
                      </a:cubicBezTo>
                      <a:cubicBezTo>
                        <a:pt x="114" y="42"/>
                        <a:pt x="116" y="44"/>
                        <a:pt x="116" y="44"/>
                      </a:cubicBezTo>
                      <a:cubicBezTo>
                        <a:pt x="116" y="44"/>
                        <a:pt x="117" y="45"/>
                        <a:pt x="117" y="45"/>
                      </a:cubicBezTo>
                      <a:cubicBezTo>
                        <a:pt x="118" y="45"/>
                        <a:pt x="120" y="46"/>
                        <a:pt x="120" y="46"/>
                      </a:cubicBezTo>
                      <a:cubicBezTo>
                        <a:pt x="120" y="49"/>
                        <a:pt x="120" y="49"/>
                        <a:pt x="120" y="49"/>
                      </a:cubicBezTo>
                      <a:cubicBezTo>
                        <a:pt x="120" y="49"/>
                        <a:pt x="122" y="49"/>
                        <a:pt x="122" y="49"/>
                      </a:cubicBezTo>
                      <a:cubicBezTo>
                        <a:pt x="123" y="49"/>
                        <a:pt x="124" y="50"/>
                        <a:pt x="124" y="50"/>
                      </a:cubicBezTo>
                      <a:cubicBezTo>
                        <a:pt x="124" y="50"/>
                        <a:pt x="124" y="53"/>
                        <a:pt x="123" y="53"/>
                      </a:cubicBezTo>
                      <a:cubicBezTo>
                        <a:pt x="123" y="54"/>
                        <a:pt x="122" y="55"/>
                        <a:pt x="122" y="55"/>
                      </a:cubicBezTo>
                      <a:cubicBezTo>
                        <a:pt x="122" y="55"/>
                        <a:pt x="123" y="57"/>
                        <a:pt x="124" y="57"/>
                      </a:cubicBezTo>
                      <a:cubicBezTo>
                        <a:pt x="124" y="57"/>
                        <a:pt x="126" y="57"/>
                        <a:pt x="126" y="57"/>
                      </a:cubicBezTo>
                      <a:cubicBezTo>
                        <a:pt x="127" y="57"/>
                        <a:pt x="128" y="59"/>
                        <a:pt x="128" y="59"/>
                      </a:cubicBezTo>
                      <a:cubicBezTo>
                        <a:pt x="128" y="59"/>
                        <a:pt x="129" y="60"/>
                        <a:pt x="129" y="61"/>
                      </a:cubicBezTo>
                      <a:cubicBezTo>
                        <a:pt x="129" y="62"/>
                        <a:pt x="128" y="64"/>
                        <a:pt x="128" y="64"/>
                      </a:cubicBezTo>
                      <a:cubicBezTo>
                        <a:pt x="128" y="64"/>
                        <a:pt x="128" y="65"/>
                        <a:pt x="128" y="66"/>
                      </a:cubicBezTo>
                      <a:cubicBezTo>
                        <a:pt x="128" y="66"/>
                        <a:pt x="127" y="67"/>
                        <a:pt x="127" y="67"/>
                      </a:cubicBezTo>
                      <a:cubicBezTo>
                        <a:pt x="125" y="67"/>
                        <a:pt x="125" y="67"/>
                        <a:pt x="125" y="67"/>
                      </a:cubicBezTo>
                      <a:cubicBezTo>
                        <a:pt x="125" y="67"/>
                        <a:pt x="125" y="70"/>
                        <a:pt x="124" y="70"/>
                      </a:cubicBezTo>
                      <a:cubicBezTo>
                        <a:pt x="124" y="70"/>
                        <a:pt x="123" y="70"/>
                        <a:pt x="123" y="70"/>
                      </a:cubicBezTo>
                      <a:cubicBezTo>
                        <a:pt x="122" y="70"/>
                        <a:pt x="121" y="71"/>
                        <a:pt x="121" y="71"/>
                      </a:cubicBezTo>
                      <a:cubicBezTo>
                        <a:pt x="121" y="72"/>
                        <a:pt x="121" y="72"/>
                        <a:pt x="121" y="72"/>
                      </a:cubicBezTo>
                      <a:cubicBezTo>
                        <a:pt x="120" y="74"/>
                        <a:pt x="120" y="74"/>
                        <a:pt x="120" y="74"/>
                      </a:cubicBezTo>
                      <a:cubicBezTo>
                        <a:pt x="120" y="74"/>
                        <a:pt x="120" y="74"/>
                        <a:pt x="119" y="74"/>
                      </a:cubicBezTo>
                      <a:cubicBezTo>
                        <a:pt x="119" y="74"/>
                        <a:pt x="119" y="74"/>
                        <a:pt x="118" y="74"/>
                      </a:cubicBezTo>
                      <a:cubicBezTo>
                        <a:pt x="118" y="75"/>
                        <a:pt x="117" y="75"/>
                        <a:pt x="117" y="75"/>
                      </a:cubicBezTo>
                      <a:cubicBezTo>
                        <a:pt x="117" y="75"/>
                        <a:pt x="116" y="74"/>
                        <a:pt x="115" y="74"/>
                      </a:cubicBezTo>
                      <a:cubicBezTo>
                        <a:pt x="115" y="74"/>
                        <a:pt x="114" y="74"/>
                        <a:pt x="114" y="75"/>
                      </a:cubicBezTo>
                      <a:cubicBezTo>
                        <a:pt x="113" y="76"/>
                        <a:pt x="113" y="77"/>
                        <a:pt x="112" y="77"/>
                      </a:cubicBezTo>
                      <a:cubicBezTo>
                        <a:pt x="112" y="77"/>
                        <a:pt x="111" y="78"/>
                        <a:pt x="111" y="78"/>
                      </a:cubicBezTo>
                      <a:cubicBezTo>
                        <a:pt x="111" y="78"/>
                        <a:pt x="111" y="80"/>
                        <a:pt x="110" y="80"/>
                      </a:cubicBezTo>
                      <a:cubicBezTo>
                        <a:pt x="110" y="81"/>
                        <a:pt x="109" y="82"/>
                        <a:pt x="109" y="82"/>
                      </a:cubicBezTo>
                      <a:cubicBezTo>
                        <a:pt x="109" y="82"/>
                        <a:pt x="109" y="83"/>
                        <a:pt x="109" y="83"/>
                      </a:cubicBezTo>
                      <a:cubicBezTo>
                        <a:pt x="109" y="84"/>
                        <a:pt x="109" y="85"/>
                        <a:pt x="108" y="86"/>
                      </a:cubicBezTo>
                      <a:cubicBezTo>
                        <a:pt x="107" y="86"/>
                        <a:pt x="105" y="88"/>
                        <a:pt x="105" y="88"/>
                      </a:cubicBezTo>
                      <a:cubicBezTo>
                        <a:pt x="105" y="88"/>
                        <a:pt x="105" y="88"/>
                        <a:pt x="105" y="89"/>
                      </a:cubicBezTo>
                      <a:cubicBezTo>
                        <a:pt x="106" y="89"/>
                        <a:pt x="106" y="90"/>
                        <a:pt x="106" y="90"/>
                      </a:cubicBezTo>
                      <a:cubicBezTo>
                        <a:pt x="106" y="92"/>
                        <a:pt x="106" y="92"/>
                        <a:pt x="106" y="92"/>
                      </a:cubicBezTo>
                      <a:cubicBezTo>
                        <a:pt x="106" y="92"/>
                        <a:pt x="105" y="93"/>
                        <a:pt x="105" y="94"/>
                      </a:cubicBezTo>
                      <a:cubicBezTo>
                        <a:pt x="106" y="94"/>
                        <a:pt x="106" y="94"/>
                        <a:pt x="106" y="94"/>
                      </a:cubicBezTo>
                      <a:cubicBezTo>
                        <a:pt x="107" y="96"/>
                        <a:pt x="107" y="96"/>
                        <a:pt x="107" y="96"/>
                      </a:cubicBezTo>
                      <a:cubicBezTo>
                        <a:pt x="108" y="98"/>
                        <a:pt x="108" y="98"/>
                        <a:pt x="108" y="98"/>
                      </a:cubicBezTo>
                      <a:cubicBezTo>
                        <a:pt x="109" y="98"/>
                        <a:pt x="109" y="98"/>
                        <a:pt x="109" y="98"/>
                      </a:cubicBezTo>
                      <a:cubicBezTo>
                        <a:pt x="109" y="98"/>
                        <a:pt x="110" y="100"/>
                        <a:pt x="110" y="101"/>
                      </a:cubicBezTo>
                      <a:cubicBezTo>
                        <a:pt x="110" y="101"/>
                        <a:pt x="110" y="103"/>
                        <a:pt x="110" y="103"/>
                      </a:cubicBezTo>
                      <a:cubicBezTo>
                        <a:pt x="108" y="105"/>
                        <a:pt x="108" y="105"/>
                        <a:pt x="108" y="105"/>
                      </a:cubicBezTo>
                      <a:cubicBezTo>
                        <a:pt x="107" y="107"/>
                        <a:pt x="107" y="107"/>
                        <a:pt x="107" y="107"/>
                      </a:cubicBezTo>
                      <a:cubicBezTo>
                        <a:pt x="107" y="107"/>
                        <a:pt x="106" y="107"/>
                        <a:pt x="106" y="107"/>
                      </a:cubicBezTo>
                      <a:cubicBezTo>
                        <a:pt x="105" y="107"/>
                        <a:pt x="104" y="107"/>
                        <a:pt x="104" y="107"/>
                      </a:cubicBezTo>
                      <a:cubicBezTo>
                        <a:pt x="103" y="108"/>
                        <a:pt x="103" y="108"/>
                        <a:pt x="103" y="108"/>
                      </a:cubicBezTo>
                      <a:cubicBezTo>
                        <a:pt x="101" y="108"/>
                        <a:pt x="101" y="108"/>
                        <a:pt x="101" y="108"/>
                      </a:cubicBezTo>
                      <a:cubicBezTo>
                        <a:pt x="99" y="109"/>
                        <a:pt x="99" y="109"/>
                        <a:pt x="99" y="109"/>
                      </a:cubicBezTo>
                      <a:cubicBezTo>
                        <a:pt x="96" y="109"/>
                        <a:pt x="96" y="109"/>
                        <a:pt x="96" y="109"/>
                      </a:cubicBezTo>
                      <a:cubicBezTo>
                        <a:pt x="95" y="107"/>
                        <a:pt x="95" y="107"/>
                        <a:pt x="95" y="107"/>
                      </a:cubicBezTo>
                      <a:cubicBezTo>
                        <a:pt x="94" y="105"/>
                        <a:pt x="94" y="105"/>
                        <a:pt x="94" y="105"/>
                      </a:cubicBezTo>
                      <a:cubicBezTo>
                        <a:pt x="93" y="104"/>
                        <a:pt x="93" y="104"/>
                        <a:pt x="93" y="104"/>
                      </a:cubicBezTo>
                      <a:cubicBezTo>
                        <a:pt x="92" y="104"/>
                        <a:pt x="92" y="104"/>
                        <a:pt x="92" y="104"/>
                      </a:cubicBezTo>
                      <a:cubicBezTo>
                        <a:pt x="89" y="103"/>
                        <a:pt x="89" y="103"/>
                        <a:pt x="89" y="103"/>
                      </a:cubicBezTo>
                      <a:cubicBezTo>
                        <a:pt x="90" y="101"/>
                        <a:pt x="90" y="101"/>
                        <a:pt x="90" y="101"/>
                      </a:cubicBezTo>
                      <a:cubicBezTo>
                        <a:pt x="90" y="101"/>
                        <a:pt x="89" y="99"/>
                        <a:pt x="89" y="99"/>
                      </a:cubicBezTo>
                      <a:cubicBezTo>
                        <a:pt x="88" y="99"/>
                        <a:pt x="87" y="99"/>
                        <a:pt x="87" y="99"/>
                      </a:cubicBezTo>
                      <a:cubicBezTo>
                        <a:pt x="85" y="97"/>
                        <a:pt x="85" y="97"/>
                        <a:pt x="85" y="97"/>
                      </a:cubicBezTo>
                      <a:cubicBezTo>
                        <a:pt x="85" y="97"/>
                        <a:pt x="85" y="96"/>
                        <a:pt x="84" y="95"/>
                      </a:cubicBezTo>
                      <a:cubicBezTo>
                        <a:pt x="83" y="95"/>
                        <a:pt x="83" y="94"/>
                        <a:pt x="82" y="94"/>
                      </a:cubicBezTo>
                      <a:cubicBezTo>
                        <a:pt x="81" y="94"/>
                        <a:pt x="79" y="94"/>
                        <a:pt x="79" y="94"/>
                      </a:cubicBezTo>
                      <a:cubicBezTo>
                        <a:pt x="79" y="94"/>
                        <a:pt x="78" y="92"/>
                        <a:pt x="77" y="92"/>
                      </a:cubicBezTo>
                      <a:cubicBezTo>
                        <a:pt x="77" y="92"/>
                        <a:pt x="73" y="92"/>
                        <a:pt x="73" y="92"/>
                      </a:cubicBezTo>
                      <a:cubicBezTo>
                        <a:pt x="73" y="92"/>
                        <a:pt x="74" y="89"/>
                        <a:pt x="74" y="89"/>
                      </a:cubicBezTo>
                      <a:cubicBezTo>
                        <a:pt x="74" y="88"/>
                        <a:pt x="74" y="85"/>
                        <a:pt x="74" y="85"/>
                      </a:cubicBezTo>
                      <a:cubicBezTo>
                        <a:pt x="74" y="84"/>
                        <a:pt x="74" y="84"/>
                        <a:pt x="74" y="84"/>
                      </a:cubicBezTo>
                      <a:cubicBezTo>
                        <a:pt x="74" y="84"/>
                        <a:pt x="73" y="83"/>
                        <a:pt x="74" y="81"/>
                      </a:cubicBezTo>
                      <a:cubicBezTo>
                        <a:pt x="75" y="79"/>
                        <a:pt x="74" y="80"/>
                        <a:pt x="75" y="78"/>
                      </a:cubicBezTo>
                      <a:cubicBezTo>
                        <a:pt x="76" y="75"/>
                        <a:pt x="76" y="74"/>
                        <a:pt x="76" y="74"/>
                      </a:cubicBezTo>
                      <a:cubicBezTo>
                        <a:pt x="74" y="73"/>
                        <a:pt x="74" y="73"/>
                        <a:pt x="74" y="73"/>
                      </a:cubicBezTo>
                      <a:cubicBezTo>
                        <a:pt x="74" y="73"/>
                        <a:pt x="73" y="72"/>
                        <a:pt x="72" y="73"/>
                      </a:cubicBezTo>
                      <a:cubicBezTo>
                        <a:pt x="72" y="75"/>
                        <a:pt x="71" y="75"/>
                        <a:pt x="71" y="75"/>
                      </a:cubicBezTo>
                      <a:cubicBezTo>
                        <a:pt x="69" y="78"/>
                        <a:pt x="69" y="78"/>
                        <a:pt x="69" y="78"/>
                      </a:cubicBezTo>
                      <a:cubicBezTo>
                        <a:pt x="69" y="81"/>
                        <a:pt x="69" y="81"/>
                        <a:pt x="69" y="81"/>
                      </a:cubicBezTo>
                      <a:cubicBezTo>
                        <a:pt x="69" y="81"/>
                        <a:pt x="70" y="82"/>
                        <a:pt x="67" y="82"/>
                      </a:cubicBezTo>
                      <a:cubicBezTo>
                        <a:pt x="65" y="82"/>
                        <a:pt x="63" y="82"/>
                        <a:pt x="63" y="82"/>
                      </a:cubicBezTo>
                      <a:cubicBezTo>
                        <a:pt x="63" y="82"/>
                        <a:pt x="65" y="84"/>
                        <a:pt x="63" y="84"/>
                      </a:cubicBezTo>
                      <a:cubicBezTo>
                        <a:pt x="60" y="84"/>
                        <a:pt x="57" y="84"/>
                        <a:pt x="57" y="84"/>
                      </a:cubicBezTo>
                      <a:cubicBezTo>
                        <a:pt x="55" y="82"/>
                        <a:pt x="55" y="82"/>
                        <a:pt x="55" y="82"/>
                      </a:cubicBezTo>
                      <a:cubicBezTo>
                        <a:pt x="51" y="83"/>
                        <a:pt x="51" y="83"/>
                        <a:pt x="51" y="83"/>
                      </a:cubicBezTo>
                      <a:cubicBezTo>
                        <a:pt x="51" y="83"/>
                        <a:pt x="51" y="82"/>
                        <a:pt x="51" y="80"/>
                      </a:cubicBezTo>
                      <a:cubicBezTo>
                        <a:pt x="51" y="79"/>
                        <a:pt x="50" y="77"/>
                        <a:pt x="51" y="77"/>
                      </a:cubicBezTo>
                      <a:cubicBezTo>
                        <a:pt x="52" y="77"/>
                        <a:pt x="53" y="76"/>
                        <a:pt x="53" y="76"/>
                      </a:cubicBezTo>
                      <a:cubicBezTo>
                        <a:pt x="52" y="73"/>
                        <a:pt x="52" y="73"/>
                        <a:pt x="52" y="73"/>
                      </a:cubicBezTo>
                      <a:cubicBezTo>
                        <a:pt x="52" y="73"/>
                        <a:pt x="52" y="73"/>
                        <a:pt x="52" y="73"/>
                      </a:cubicBezTo>
                      <a:cubicBezTo>
                        <a:pt x="52" y="73"/>
                        <a:pt x="51" y="73"/>
                        <a:pt x="51" y="72"/>
                      </a:cubicBezTo>
                      <a:cubicBezTo>
                        <a:pt x="51" y="71"/>
                        <a:pt x="52" y="69"/>
                        <a:pt x="52" y="69"/>
                      </a:cubicBezTo>
                      <a:cubicBezTo>
                        <a:pt x="53" y="68"/>
                        <a:pt x="53" y="66"/>
                        <a:pt x="53" y="66"/>
                      </a:cubicBezTo>
                      <a:cubicBezTo>
                        <a:pt x="52" y="66"/>
                        <a:pt x="52" y="66"/>
                        <a:pt x="52" y="66"/>
                      </a:cubicBezTo>
                      <a:cubicBezTo>
                        <a:pt x="52" y="66"/>
                        <a:pt x="50" y="67"/>
                        <a:pt x="50" y="65"/>
                      </a:cubicBezTo>
                      <a:cubicBezTo>
                        <a:pt x="50" y="64"/>
                        <a:pt x="49" y="62"/>
                        <a:pt x="49" y="62"/>
                      </a:cubicBezTo>
                      <a:cubicBezTo>
                        <a:pt x="49" y="62"/>
                        <a:pt x="47" y="61"/>
                        <a:pt x="47" y="61"/>
                      </a:cubicBezTo>
                      <a:cubicBezTo>
                        <a:pt x="46" y="61"/>
                        <a:pt x="46" y="61"/>
                        <a:pt x="45" y="62"/>
                      </a:cubicBezTo>
                      <a:cubicBezTo>
                        <a:pt x="45" y="62"/>
                        <a:pt x="42" y="61"/>
                        <a:pt x="42" y="61"/>
                      </a:cubicBezTo>
                      <a:cubicBezTo>
                        <a:pt x="42" y="61"/>
                        <a:pt x="39" y="61"/>
                        <a:pt x="39" y="61"/>
                      </a:cubicBezTo>
                      <a:cubicBezTo>
                        <a:pt x="38" y="61"/>
                        <a:pt x="37" y="63"/>
                        <a:pt x="37" y="63"/>
                      </a:cubicBezTo>
                      <a:cubicBezTo>
                        <a:pt x="35" y="60"/>
                        <a:pt x="35" y="60"/>
                        <a:pt x="35" y="60"/>
                      </a:cubicBezTo>
                      <a:cubicBezTo>
                        <a:pt x="36" y="57"/>
                        <a:pt x="36" y="57"/>
                        <a:pt x="36" y="57"/>
                      </a:cubicBezTo>
                      <a:cubicBezTo>
                        <a:pt x="36" y="57"/>
                        <a:pt x="34" y="55"/>
                        <a:pt x="34" y="54"/>
                      </a:cubicBezTo>
                      <a:cubicBezTo>
                        <a:pt x="34" y="54"/>
                        <a:pt x="33" y="52"/>
                        <a:pt x="33" y="52"/>
                      </a:cubicBezTo>
                      <a:cubicBezTo>
                        <a:pt x="31" y="52"/>
                        <a:pt x="31" y="52"/>
                        <a:pt x="31" y="52"/>
                      </a:cubicBezTo>
                      <a:cubicBezTo>
                        <a:pt x="30" y="51"/>
                        <a:pt x="30" y="51"/>
                        <a:pt x="30" y="51"/>
                      </a:cubicBezTo>
                      <a:cubicBezTo>
                        <a:pt x="30" y="51"/>
                        <a:pt x="28" y="51"/>
                        <a:pt x="27" y="51"/>
                      </a:cubicBezTo>
                      <a:cubicBezTo>
                        <a:pt x="26" y="51"/>
                        <a:pt x="26" y="51"/>
                        <a:pt x="25" y="51"/>
                      </a:cubicBezTo>
                      <a:cubicBezTo>
                        <a:pt x="25" y="51"/>
                        <a:pt x="23" y="49"/>
                        <a:pt x="23" y="49"/>
                      </a:cubicBezTo>
                      <a:cubicBezTo>
                        <a:pt x="23" y="48"/>
                        <a:pt x="23" y="47"/>
                        <a:pt x="23" y="46"/>
                      </a:cubicBezTo>
                      <a:cubicBezTo>
                        <a:pt x="22" y="45"/>
                        <a:pt x="21" y="43"/>
                        <a:pt x="21" y="42"/>
                      </a:cubicBezTo>
                      <a:cubicBezTo>
                        <a:pt x="21" y="42"/>
                        <a:pt x="22" y="40"/>
                        <a:pt x="22" y="40"/>
                      </a:cubicBezTo>
                      <a:cubicBezTo>
                        <a:pt x="21" y="39"/>
                        <a:pt x="19" y="37"/>
                        <a:pt x="19" y="37"/>
                      </a:cubicBezTo>
                      <a:cubicBezTo>
                        <a:pt x="18" y="35"/>
                        <a:pt x="18" y="35"/>
                        <a:pt x="18" y="35"/>
                      </a:cubicBezTo>
                      <a:cubicBezTo>
                        <a:pt x="18" y="35"/>
                        <a:pt x="15" y="37"/>
                        <a:pt x="14" y="37"/>
                      </a:cubicBezTo>
                      <a:cubicBezTo>
                        <a:pt x="13" y="37"/>
                        <a:pt x="11" y="36"/>
                        <a:pt x="11" y="37"/>
                      </a:cubicBezTo>
                      <a:cubicBezTo>
                        <a:pt x="11" y="37"/>
                        <a:pt x="12" y="39"/>
                        <a:pt x="11" y="39"/>
                      </a:cubicBezTo>
                      <a:cubicBezTo>
                        <a:pt x="10" y="39"/>
                        <a:pt x="8" y="39"/>
                        <a:pt x="7" y="38"/>
                      </a:cubicBezTo>
                      <a:cubicBezTo>
                        <a:pt x="6" y="37"/>
                        <a:pt x="6" y="36"/>
                        <a:pt x="6" y="35"/>
                      </a:cubicBezTo>
                      <a:cubicBezTo>
                        <a:pt x="5" y="35"/>
                        <a:pt x="5" y="33"/>
                        <a:pt x="4" y="33"/>
                      </a:cubicBezTo>
                      <a:cubicBezTo>
                        <a:pt x="3" y="33"/>
                        <a:pt x="2" y="33"/>
                        <a:pt x="2" y="32"/>
                      </a:cubicBezTo>
                      <a:cubicBezTo>
                        <a:pt x="2" y="32"/>
                        <a:pt x="2" y="29"/>
                        <a:pt x="2" y="29"/>
                      </a:cubicBezTo>
                      <a:cubicBezTo>
                        <a:pt x="2" y="27"/>
                        <a:pt x="2" y="27"/>
                        <a:pt x="2" y="27"/>
                      </a:cubicBezTo>
                      <a:cubicBezTo>
                        <a:pt x="2" y="27"/>
                        <a:pt x="2" y="24"/>
                        <a:pt x="1" y="24"/>
                      </a:cubicBezTo>
                      <a:cubicBezTo>
                        <a:pt x="1" y="23"/>
                        <a:pt x="0" y="22"/>
                        <a:pt x="0" y="22"/>
                      </a:cubicBezTo>
                      <a:cubicBezTo>
                        <a:pt x="0" y="19"/>
                        <a:pt x="0" y="19"/>
                        <a:pt x="0" y="19"/>
                      </a:cubicBezTo>
                      <a:lnTo>
                        <a:pt x="1" y="18"/>
                      </a:lnTo>
                      <a:close/>
                    </a:path>
                  </a:pathLst>
                </a:custGeom>
                <a:solidFill>
                  <a:srgbClr val="E6EFF1"/>
                </a:solidFill>
                <a:ln w="12700" cap="rnd" cmpd="sng">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Lato Light"/>
                  </a:endParaRPr>
                </a:p>
              </p:txBody>
            </p:sp>
            <p:sp>
              <p:nvSpPr>
                <p:cNvPr id="27" name="Freeform 31">
                  <a:extLst>
                    <a:ext uri="{FF2B5EF4-FFF2-40B4-BE49-F238E27FC236}">
                      <a16:creationId xmlns:a16="http://schemas.microsoft.com/office/drawing/2014/main" id="{CED501BF-9EDB-0BCB-7D33-16955D373FF7}"/>
                    </a:ext>
                  </a:extLst>
                </p:cNvPr>
                <p:cNvSpPr>
                  <a:spLocks/>
                </p:cNvSpPr>
                <p:nvPr/>
              </p:nvSpPr>
              <p:spPr bwMode="auto">
                <a:xfrm>
                  <a:off x="4134948" y="3914346"/>
                  <a:ext cx="691825" cy="371656"/>
                </a:xfrm>
                <a:custGeom>
                  <a:avLst/>
                  <a:gdLst>
                    <a:gd name="T0" fmla="*/ 56 w 240"/>
                    <a:gd name="T1" fmla="*/ 20 h 133"/>
                    <a:gd name="T2" fmla="*/ 62 w 240"/>
                    <a:gd name="T3" fmla="*/ 12 h 133"/>
                    <a:gd name="T4" fmla="*/ 73 w 240"/>
                    <a:gd name="T5" fmla="*/ 5 h 133"/>
                    <a:gd name="T6" fmla="*/ 85 w 240"/>
                    <a:gd name="T7" fmla="*/ 3 h 133"/>
                    <a:gd name="T8" fmla="*/ 87 w 240"/>
                    <a:gd name="T9" fmla="*/ 11 h 133"/>
                    <a:gd name="T10" fmla="*/ 93 w 240"/>
                    <a:gd name="T11" fmla="*/ 10 h 133"/>
                    <a:gd name="T12" fmla="*/ 99 w 240"/>
                    <a:gd name="T13" fmla="*/ 6 h 133"/>
                    <a:gd name="T14" fmla="*/ 103 w 240"/>
                    <a:gd name="T15" fmla="*/ 3 h 133"/>
                    <a:gd name="T16" fmla="*/ 110 w 240"/>
                    <a:gd name="T17" fmla="*/ 10 h 133"/>
                    <a:gd name="T18" fmla="*/ 118 w 240"/>
                    <a:gd name="T19" fmla="*/ 12 h 133"/>
                    <a:gd name="T20" fmla="*/ 126 w 240"/>
                    <a:gd name="T21" fmla="*/ 15 h 133"/>
                    <a:gd name="T22" fmla="*/ 133 w 240"/>
                    <a:gd name="T23" fmla="*/ 17 h 133"/>
                    <a:gd name="T24" fmla="*/ 142 w 240"/>
                    <a:gd name="T25" fmla="*/ 18 h 133"/>
                    <a:gd name="T26" fmla="*/ 146 w 240"/>
                    <a:gd name="T27" fmla="*/ 25 h 133"/>
                    <a:gd name="T28" fmla="*/ 146 w 240"/>
                    <a:gd name="T29" fmla="*/ 31 h 133"/>
                    <a:gd name="T30" fmla="*/ 154 w 240"/>
                    <a:gd name="T31" fmla="*/ 38 h 133"/>
                    <a:gd name="T32" fmla="*/ 164 w 240"/>
                    <a:gd name="T33" fmla="*/ 44 h 133"/>
                    <a:gd name="T34" fmla="*/ 169 w 240"/>
                    <a:gd name="T35" fmla="*/ 31 h 133"/>
                    <a:gd name="T36" fmla="*/ 176 w 240"/>
                    <a:gd name="T37" fmla="*/ 28 h 133"/>
                    <a:gd name="T38" fmla="*/ 194 w 240"/>
                    <a:gd name="T39" fmla="*/ 29 h 133"/>
                    <a:gd name="T40" fmla="*/ 193 w 240"/>
                    <a:gd name="T41" fmla="*/ 39 h 133"/>
                    <a:gd name="T42" fmla="*/ 203 w 240"/>
                    <a:gd name="T43" fmla="*/ 46 h 133"/>
                    <a:gd name="T44" fmla="*/ 213 w 240"/>
                    <a:gd name="T45" fmla="*/ 45 h 133"/>
                    <a:gd name="T46" fmla="*/ 228 w 240"/>
                    <a:gd name="T47" fmla="*/ 54 h 133"/>
                    <a:gd name="T48" fmla="*/ 237 w 240"/>
                    <a:gd name="T49" fmla="*/ 60 h 133"/>
                    <a:gd name="T50" fmla="*/ 236 w 240"/>
                    <a:gd name="T51" fmla="*/ 68 h 133"/>
                    <a:gd name="T52" fmla="*/ 229 w 240"/>
                    <a:gd name="T53" fmla="*/ 70 h 133"/>
                    <a:gd name="T54" fmla="*/ 223 w 240"/>
                    <a:gd name="T55" fmla="*/ 78 h 133"/>
                    <a:gd name="T56" fmla="*/ 216 w 240"/>
                    <a:gd name="T57" fmla="*/ 85 h 133"/>
                    <a:gd name="T58" fmla="*/ 215 w 240"/>
                    <a:gd name="T59" fmla="*/ 97 h 133"/>
                    <a:gd name="T60" fmla="*/ 208 w 240"/>
                    <a:gd name="T61" fmla="*/ 104 h 133"/>
                    <a:gd name="T62" fmla="*/ 203 w 240"/>
                    <a:gd name="T63" fmla="*/ 109 h 133"/>
                    <a:gd name="T64" fmla="*/ 198 w 240"/>
                    <a:gd name="T65" fmla="*/ 111 h 133"/>
                    <a:gd name="T66" fmla="*/ 193 w 240"/>
                    <a:gd name="T67" fmla="*/ 111 h 133"/>
                    <a:gd name="T68" fmla="*/ 189 w 240"/>
                    <a:gd name="T69" fmla="*/ 110 h 133"/>
                    <a:gd name="T70" fmla="*/ 184 w 240"/>
                    <a:gd name="T71" fmla="*/ 111 h 133"/>
                    <a:gd name="T72" fmla="*/ 181 w 240"/>
                    <a:gd name="T73" fmla="*/ 115 h 133"/>
                    <a:gd name="T74" fmla="*/ 179 w 240"/>
                    <a:gd name="T75" fmla="*/ 121 h 133"/>
                    <a:gd name="T76" fmla="*/ 177 w 240"/>
                    <a:gd name="T77" fmla="*/ 123 h 133"/>
                    <a:gd name="T78" fmla="*/ 163 w 240"/>
                    <a:gd name="T79" fmla="*/ 115 h 133"/>
                    <a:gd name="T80" fmla="*/ 147 w 240"/>
                    <a:gd name="T81" fmla="*/ 118 h 133"/>
                    <a:gd name="T82" fmla="*/ 134 w 240"/>
                    <a:gd name="T83" fmla="*/ 112 h 133"/>
                    <a:gd name="T84" fmla="*/ 119 w 240"/>
                    <a:gd name="T85" fmla="*/ 110 h 133"/>
                    <a:gd name="T86" fmla="*/ 106 w 240"/>
                    <a:gd name="T87" fmla="*/ 108 h 133"/>
                    <a:gd name="T88" fmla="*/ 104 w 240"/>
                    <a:gd name="T89" fmla="*/ 121 h 133"/>
                    <a:gd name="T90" fmla="*/ 97 w 240"/>
                    <a:gd name="T91" fmla="*/ 131 h 133"/>
                    <a:gd name="T92" fmla="*/ 86 w 240"/>
                    <a:gd name="T93" fmla="*/ 131 h 133"/>
                    <a:gd name="T94" fmla="*/ 74 w 240"/>
                    <a:gd name="T95" fmla="*/ 131 h 133"/>
                    <a:gd name="T96" fmla="*/ 63 w 240"/>
                    <a:gd name="T97" fmla="*/ 122 h 133"/>
                    <a:gd name="T98" fmla="*/ 55 w 240"/>
                    <a:gd name="T99" fmla="*/ 114 h 133"/>
                    <a:gd name="T100" fmla="*/ 45 w 240"/>
                    <a:gd name="T101" fmla="*/ 107 h 133"/>
                    <a:gd name="T102" fmla="*/ 39 w 240"/>
                    <a:gd name="T103" fmla="*/ 100 h 133"/>
                    <a:gd name="T104" fmla="*/ 24 w 240"/>
                    <a:gd name="T105" fmla="*/ 93 h 133"/>
                    <a:gd name="T106" fmla="*/ 17 w 240"/>
                    <a:gd name="T107" fmla="*/ 79 h 133"/>
                    <a:gd name="T108" fmla="*/ 16 w 240"/>
                    <a:gd name="T109" fmla="*/ 66 h 133"/>
                    <a:gd name="T110" fmla="*/ 4 w 240"/>
                    <a:gd name="T111" fmla="*/ 55 h 133"/>
                    <a:gd name="T112" fmla="*/ 5 w 240"/>
                    <a:gd name="T113" fmla="*/ 44 h 133"/>
                    <a:gd name="T114" fmla="*/ 10 w 240"/>
                    <a:gd name="T115" fmla="*/ 45 h 133"/>
                    <a:gd name="T116" fmla="*/ 23 w 240"/>
                    <a:gd name="T117" fmla="*/ 38 h 133"/>
                    <a:gd name="T118" fmla="*/ 35 w 240"/>
                    <a:gd name="T119" fmla="*/ 32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40" h="133">
                      <a:moveTo>
                        <a:pt x="43" y="27"/>
                      </a:moveTo>
                      <a:cubicBezTo>
                        <a:pt x="44" y="27"/>
                        <a:pt x="50" y="22"/>
                        <a:pt x="50" y="22"/>
                      </a:cubicBezTo>
                      <a:cubicBezTo>
                        <a:pt x="56" y="20"/>
                        <a:pt x="56" y="20"/>
                        <a:pt x="56" y="20"/>
                      </a:cubicBezTo>
                      <a:cubicBezTo>
                        <a:pt x="58" y="18"/>
                        <a:pt x="58" y="18"/>
                        <a:pt x="58" y="18"/>
                      </a:cubicBezTo>
                      <a:cubicBezTo>
                        <a:pt x="60" y="14"/>
                        <a:pt x="60" y="14"/>
                        <a:pt x="60" y="14"/>
                      </a:cubicBezTo>
                      <a:cubicBezTo>
                        <a:pt x="60" y="14"/>
                        <a:pt x="59" y="12"/>
                        <a:pt x="62" y="12"/>
                      </a:cubicBezTo>
                      <a:cubicBezTo>
                        <a:pt x="65" y="12"/>
                        <a:pt x="74" y="10"/>
                        <a:pt x="74" y="10"/>
                      </a:cubicBezTo>
                      <a:cubicBezTo>
                        <a:pt x="75" y="8"/>
                        <a:pt x="75" y="8"/>
                        <a:pt x="75" y="8"/>
                      </a:cubicBezTo>
                      <a:cubicBezTo>
                        <a:pt x="73" y="5"/>
                        <a:pt x="73" y="5"/>
                        <a:pt x="73" y="5"/>
                      </a:cubicBezTo>
                      <a:cubicBezTo>
                        <a:pt x="73" y="5"/>
                        <a:pt x="73" y="1"/>
                        <a:pt x="73" y="1"/>
                      </a:cubicBezTo>
                      <a:cubicBezTo>
                        <a:pt x="74" y="0"/>
                        <a:pt x="78" y="0"/>
                        <a:pt x="80" y="0"/>
                      </a:cubicBezTo>
                      <a:cubicBezTo>
                        <a:pt x="82" y="1"/>
                        <a:pt x="84" y="2"/>
                        <a:pt x="85" y="3"/>
                      </a:cubicBezTo>
                      <a:cubicBezTo>
                        <a:pt x="85" y="4"/>
                        <a:pt x="85" y="3"/>
                        <a:pt x="85" y="5"/>
                      </a:cubicBezTo>
                      <a:cubicBezTo>
                        <a:pt x="85" y="7"/>
                        <a:pt x="85" y="9"/>
                        <a:pt x="85" y="9"/>
                      </a:cubicBezTo>
                      <a:cubicBezTo>
                        <a:pt x="85" y="9"/>
                        <a:pt x="86" y="10"/>
                        <a:pt x="87" y="11"/>
                      </a:cubicBezTo>
                      <a:cubicBezTo>
                        <a:pt x="89" y="11"/>
                        <a:pt x="91" y="13"/>
                        <a:pt x="91" y="12"/>
                      </a:cubicBezTo>
                      <a:cubicBezTo>
                        <a:pt x="91" y="12"/>
                        <a:pt x="92" y="11"/>
                        <a:pt x="93" y="10"/>
                      </a:cubicBezTo>
                      <a:cubicBezTo>
                        <a:pt x="93" y="10"/>
                        <a:pt x="93" y="10"/>
                        <a:pt x="93" y="10"/>
                      </a:cubicBezTo>
                      <a:cubicBezTo>
                        <a:pt x="93" y="12"/>
                        <a:pt x="94" y="11"/>
                        <a:pt x="95" y="11"/>
                      </a:cubicBezTo>
                      <a:cubicBezTo>
                        <a:pt x="96" y="11"/>
                        <a:pt x="100" y="9"/>
                        <a:pt x="100" y="9"/>
                      </a:cubicBezTo>
                      <a:cubicBezTo>
                        <a:pt x="100" y="9"/>
                        <a:pt x="99" y="6"/>
                        <a:pt x="99" y="6"/>
                      </a:cubicBezTo>
                      <a:cubicBezTo>
                        <a:pt x="99" y="5"/>
                        <a:pt x="99" y="4"/>
                        <a:pt x="99" y="3"/>
                      </a:cubicBezTo>
                      <a:cubicBezTo>
                        <a:pt x="100" y="2"/>
                        <a:pt x="100" y="2"/>
                        <a:pt x="100" y="2"/>
                      </a:cubicBezTo>
                      <a:cubicBezTo>
                        <a:pt x="101" y="2"/>
                        <a:pt x="103" y="3"/>
                        <a:pt x="103" y="3"/>
                      </a:cubicBezTo>
                      <a:cubicBezTo>
                        <a:pt x="103" y="3"/>
                        <a:pt x="105" y="4"/>
                        <a:pt x="106" y="4"/>
                      </a:cubicBezTo>
                      <a:cubicBezTo>
                        <a:pt x="108" y="4"/>
                        <a:pt x="107" y="6"/>
                        <a:pt x="107" y="6"/>
                      </a:cubicBezTo>
                      <a:cubicBezTo>
                        <a:pt x="107" y="6"/>
                        <a:pt x="108" y="9"/>
                        <a:pt x="110" y="10"/>
                      </a:cubicBezTo>
                      <a:cubicBezTo>
                        <a:pt x="112" y="11"/>
                        <a:pt x="112" y="12"/>
                        <a:pt x="112" y="13"/>
                      </a:cubicBezTo>
                      <a:cubicBezTo>
                        <a:pt x="113" y="13"/>
                        <a:pt x="115" y="13"/>
                        <a:pt x="115" y="13"/>
                      </a:cubicBezTo>
                      <a:cubicBezTo>
                        <a:pt x="118" y="12"/>
                        <a:pt x="118" y="12"/>
                        <a:pt x="118" y="12"/>
                      </a:cubicBezTo>
                      <a:cubicBezTo>
                        <a:pt x="118" y="12"/>
                        <a:pt x="120" y="13"/>
                        <a:pt x="121" y="15"/>
                      </a:cubicBezTo>
                      <a:cubicBezTo>
                        <a:pt x="121" y="16"/>
                        <a:pt x="124" y="16"/>
                        <a:pt x="125" y="15"/>
                      </a:cubicBezTo>
                      <a:cubicBezTo>
                        <a:pt x="126" y="15"/>
                        <a:pt x="126" y="15"/>
                        <a:pt x="126" y="15"/>
                      </a:cubicBezTo>
                      <a:cubicBezTo>
                        <a:pt x="127" y="16"/>
                        <a:pt x="127" y="16"/>
                        <a:pt x="127" y="16"/>
                      </a:cubicBezTo>
                      <a:cubicBezTo>
                        <a:pt x="127" y="16"/>
                        <a:pt x="129" y="20"/>
                        <a:pt x="132" y="17"/>
                      </a:cubicBezTo>
                      <a:cubicBezTo>
                        <a:pt x="135" y="14"/>
                        <a:pt x="133" y="17"/>
                        <a:pt x="133" y="17"/>
                      </a:cubicBezTo>
                      <a:cubicBezTo>
                        <a:pt x="133" y="17"/>
                        <a:pt x="135" y="20"/>
                        <a:pt x="136" y="20"/>
                      </a:cubicBezTo>
                      <a:cubicBezTo>
                        <a:pt x="138" y="20"/>
                        <a:pt x="138" y="20"/>
                        <a:pt x="138" y="20"/>
                      </a:cubicBezTo>
                      <a:cubicBezTo>
                        <a:pt x="142" y="18"/>
                        <a:pt x="142" y="18"/>
                        <a:pt x="142" y="18"/>
                      </a:cubicBezTo>
                      <a:cubicBezTo>
                        <a:pt x="145" y="17"/>
                        <a:pt x="145" y="17"/>
                        <a:pt x="145" y="17"/>
                      </a:cubicBezTo>
                      <a:cubicBezTo>
                        <a:pt x="145" y="17"/>
                        <a:pt x="148" y="17"/>
                        <a:pt x="147" y="22"/>
                      </a:cubicBezTo>
                      <a:cubicBezTo>
                        <a:pt x="147" y="26"/>
                        <a:pt x="146" y="25"/>
                        <a:pt x="146" y="25"/>
                      </a:cubicBezTo>
                      <a:cubicBezTo>
                        <a:pt x="144" y="28"/>
                        <a:pt x="144" y="28"/>
                        <a:pt x="144" y="28"/>
                      </a:cubicBezTo>
                      <a:cubicBezTo>
                        <a:pt x="144" y="31"/>
                        <a:pt x="144" y="31"/>
                        <a:pt x="144" y="31"/>
                      </a:cubicBezTo>
                      <a:cubicBezTo>
                        <a:pt x="144" y="31"/>
                        <a:pt x="145" y="31"/>
                        <a:pt x="146" y="31"/>
                      </a:cubicBezTo>
                      <a:cubicBezTo>
                        <a:pt x="147" y="31"/>
                        <a:pt x="148" y="35"/>
                        <a:pt x="148" y="35"/>
                      </a:cubicBezTo>
                      <a:cubicBezTo>
                        <a:pt x="151" y="36"/>
                        <a:pt x="151" y="36"/>
                        <a:pt x="151" y="36"/>
                      </a:cubicBezTo>
                      <a:cubicBezTo>
                        <a:pt x="151" y="36"/>
                        <a:pt x="152" y="37"/>
                        <a:pt x="154" y="38"/>
                      </a:cubicBezTo>
                      <a:cubicBezTo>
                        <a:pt x="155" y="39"/>
                        <a:pt x="156" y="41"/>
                        <a:pt x="156" y="41"/>
                      </a:cubicBezTo>
                      <a:cubicBezTo>
                        <a:pt x="156" y="41"/>
                        <a:pt x="157" y="45"/>
                        <a:pt x="158" y="46"/>
                      </a:cubicBezTo>
                      <a:cubicBezTo>
                        <a:pt x="158" y="48"/>
                        <a:pt x="164" y="44"/>
                        <a:pt x="164" y="44"/>
                      </a:cubicBezTo>
                      <a:cubicBezTo>
                        <a:pt x="165" y="39"/>
                        <a:pt x="165" y="39"/>
                        <a:pt x="165" y="39"/>
                      </a:cubicBezTo>
                      <a:cubicBezTo>
                        <a:pt x="171" y="37"/>
                        <a:pt x="171" y="37"/>
                        <a:pt x="171" y="37"/>
                      </a:cubicBezTo>
                      <a:cubicBezTo>
                        <a:pt x="169" y="31"/>
                        <a:pt x="169" y="31"/>
                        <a:pt x="169" y="31"/>
                      </a:cubicBezTo>
                      <a:cubicBezTo>
                        <a:pt x="167" y="27"/>
                        <a:pt x="167" y="27"/>
                        <a:pt x="167" y="27"/>
                      </a:cubicBezTo>
                      <a:cubicBezTo>
                        <a:pt x="167" y="27"/>
                        <a:pt x="171" y="28"/>
                        <a:pt x="172" y="27"/>
                      </a:cubicBezTo>
                      <a:cubicBezTo>
                        <a:pt x="173" y="27"/>
                        <a:pt x="176" y="28"/>
                        <a:pt x="176" y="28"/>
                      </a:cubicBezTo>
                      <a:cubicBezTo>
                        <a:pt x="187" y="33"/>
                        <a:pt x="187" y="33"/>
                        <a:pt x="187" y="33"/>
                      </a:cubicBezTo>
                      <a:cubicBezTo>
                        <a:pt x="187" y="33"/>
                        <a:pt x="190" y="32"/>
                        <a:pt x="192" y="32"/>
                      </a:cubicBezTo>
                      <a:cubicBezTo>
                        <a:pt x="194" y="31"/>
                        <a:pt x="194" y="29"/>
                        <a:pt x="194" y="29"/>
                      </a:cubicBezTo>
                      <a:cubicBezTo>
                        <a:pt x="194" y="29"/>
                        <a:pt x="195" y="30"/>
                        <a:pt x="197" y="32"/>
                      </a:cubicBezTo>
                      <a:cubicBezTo>
                        <a:pt x="198" y="35"/>
                        <a:pt x="196" y="34"/>
                        <a:pt x="196" y="35"/>
                      </a:cubicBezTo>
                      <a:cubicBezTo>
                        <a:pt x="195" y="36"/>
                        <a:pt x="193" y="39"/>
                        <a:pt x="193" y="39"/>
                      </a:cubicBezTo>
                      <a:cubicBezTo>
                        <a:pt x="193" y="39"/>
                        <a:pt x="194" y="41"/>
                        <a:pt x="196" y="41"/>
                      </a:cubicBezTo>
                      <a:cubicBezTo>
                        <a:pt x="197" y="41"/>
                        <a:pt x="196" y="42"/>
                        <a:pt x="198" y="44"/>
                      </a:cubicBezTo>
                      <a:cubicBezTo>
                        <a:pt x="199" y="45"/>
                        <a:pt x="203" y="46"/>
                        <a:pt x="203" y="46"/>
                      </a:cubicBezTo>
                      <a:cubicBezTo>
                        <a:pt x="206" y="46"/>
                        <a:pt x="206" y="46"/>
                        <a:pt x="206" y="46"/>
                      </a:cubicBezTo>
                      <a:cubicBezTo>
                        <a:pt x="209" y="43"/>
                        <a:pt x="209" y="43"/>
                        <a:pt x="209" y="43"/>
                      </a:cubicBezTo>
                      <a:cubicBezTo>
                        <a:pt x="209" y="43"/>
                        <a:pt x="212" y="44"/>
                        <a:pt x="213" y="45"/>
                      </a:cubicBezTo>
                      <a:cubicBezTo>
                        <a:pt x="214" y="46"/>
                        <a:pt x="219" y="48"/>
                        <a:pt x="219" y="48"/>
                      </a:cubicBezTo>
                      <a:cubicBezTo>
                        <a:pt x="227" y="46"/>
                        <a:pt x="227" y="46"/>
                        <a:pt x="227" y="46"/>
                      </a:cubicBezTo>
                      <a:cubicBezTo>
                        <a:pt x="228" y="54"/>
                        <a:pt x="228" y="54"/>
                        <a:pt x="228" y="54"/>
                      </a:cubicBezTo>
                      <a:cubicBezTo>
                        <a:pt x="228" y="54"/>
                        <a:pt x="230" y="54"/>
                        <a:pt x="232" y="57"/>
                      </a:cubicBezTo>
                      <a:cubicBezTo>
                        <a:pt x="234" y="59"/>
                        <a:pt x="233" y="57"/>
                        <a:pt x="233" y="57"/>
                      </a:cubicBezTo>
                      <a:cubicBezTo>
                        <a:pt x="233" y="57"/>
                        <a:pt x="237" y="59"/>
                        <a:pt x="237" y="60"/>
                      </a:cubicBezTo>
                      <a:cubicBezTo>
                        <a:pt x="237" y="62"/>
                        <a:pt x="238" y="64"/>
                        <a:pt x="238" y="64"/>
                      </a:cubicBezTo>
                      <a:cubicBezTo>
                        <a:pt x="240" y="68"/>
                        <a:pt x="240" y="68"/>
                        <a:pt x="240" y="68"/>
                      </a:cubicBezTo>
                      <a:cubicBezTo>
                        <a:pt x="239" y="68"/>
                        <a:pt x="237" y="68"/>
                        <a:pt x="236" y="68"/>
                      </a:cubicBezTo>
                      <a:cubicBezTo>
                        <a:pt x="236" y="68"/>
                        <a:pt x="235" y="69"/>
                        <a:pt x="234" y="69"/>
                      </a:cubicBezTo>
                      <a:cubicBezTo>
                        <a:pt x="233" y="69"/>
                        <a:pt x="232" y="69"/>
                        <a:pt x="232" y="69"/>
                      </a:cubicBezTo>
                      <a:cubicBezTo>
                        <a:pt x="229" y="70"/>
                        <a:pt x="229" y="70"/>
                        <a:pt x="229" y="70"/>
                      </a:cubicBezTo>
                      <a:cubicBezTo>
                        <a:pt x="227" y="72"/>
                        <a:pt x="227" y="72"/>
                        <a:pt x="227" y="72"/>
                      </a:cubicBezTo>
                      <a:cubicBezTo>
                        <a:pt x="225" y="74"/>
                        <a:pt x="225" y="74"/>
                        <a:pt x="225" y="74"/>
                      </a:cubicBezTo>
                      <a:cubicBezTo>
                        <a:pt x="223" y="78"/>
                        <a:pt x="223" y="78"/>
                        <a:pt x="223" y="78"/>
                      </a:cubicBezTo>
                      <a:cubicBezTo>
                        <a:pt x="223" y="80"/>
                        <a:pt x="223" y="80"/>
                        <a:pt x="223" y="80"/>
                      </a:cubicBezTo>
                      <a:cubicBezTo>
                        <a:pt x="220" y="83"/>
                        <a:pt x="220" y="83"/>
                        <a:pt x="220" y="83"/>
                      </a:cubicBezTo>
                      <a:cubicBezTo>
                        <a:pt x="220" y="83"/>
                        <a:pt x="217" y="85"/>
                        <a:pt x="216" y="85"/>
                      </a:cubicBezTo>
                      <a:cubicBezTo>
                        <a:pt x="215" y="85"/>
                        <a:pt x="215" y="89"/>
                        <a:pt x="215" y="89"/>
                      </a:cubicBezTo>
                      <a:cubicBezTo>
                        <a:pt x="216" y="92"/>
                        <a:pt x="216" y="92"/>
                        <a:pt x="216" y="92"/>
                      </a:cubicBezTo>
                      <a:cubicBezTo>
                        <a:pt x="215" y="97"/>
                        <a:pt x="215" y="97"/>
                        <a:pt x="215" y="97"/>
                      </a:cubicBezTo>
                      <a:cubicBezTo>
                        <a:pt x="210" y="99"/>
                        <a:pt x="210" y="99"/>
                        <a:pt x="210" y="99"/>
                      </a:cubicBezTo>
                      <a:cubicBezTo>
                        <a:pt x="209" y="102"/>
                        <a:pt x="209" y="102"/>
                        <a:pt x="209" y="102"/>
                      </a:cubicBezTo>
                      <a:cubicBezTo>
                        <a:pt x="208" y="104"/>
                        <a:pt x="208" y="104"/>
                        <a:pt x="208" y="104"/>
                      </a:cubicBezTo>
                      <a:cubicBezTo>
                        <a:pt x="208" y="104"/>
                        <a:pt x="206" y="105"/>
                        <a:pt x="206" y="105"/>
                      </a:cubicBezTo>
                      <a:cubicBezTo>
                        <a:pt x="205" y="104"/>
                        <a:pt x="205" y="107"/>
                        <a:pt x="205" y="107"/>
                      </a:cubicBezTo>
                      <a:cubicBezTo>
                        <a:pt x="203" y="109"/>
                        <a:pt x="203" y="109"/>
                        <a:pt x="203" y="109"/>
                      </a:cubicBezTo>
                      <a:cubicBezTo>
                        <a:pt x="202" y="109"/>
                        <a:pt x="202" y="109"/>
                        <a:pt x="202" y="109"/>
                      </a:cubicBezTo>
                      <a:cubicBezTo>
                        <a:pt x="200" y="110"/>
                        <a:pt x="200" y="110"/>
                        <a:pt x="200" y="110"/>
                      </a:cubicBezTo>
                      <a:cubicBezTo>
                        <a:pt x="200" y="110"/>
                        <a:pt x="199" y="111"/>
                        <a:pt x="198" y="111"/>
                      </a:cubicBezTo>
                      <a:cubicBezTo>
                        <a:pt x="198" y="112"/>
                        <a:pt x="197" y="111"/>
                        <a:pt x="197" y="111"/>
                      </a:cubicBezTo>
                      <a:cubicBezTo>
                        <a:pt x="197" y="111"/>
                        <a:pt x="195" y="110"/>
                        <a:pt x="194" y="110"/>
                      </a:cubicBezTo>
                      <a:cubicBezTo>
                        <a:pt x="194" y="110"/>
                        <a:pt x="194" y="111"/>
                        <a:pt x="193" y="111"/>
                      </a:cubicBezTo>
                      <a:cubicBezTo>
                        <a:pt x="193" y="111"/>
                        <a:pt x="193" y="111"/>
                        <a:pt x="192" y="112"/>
                      </a:cubicBezTo>
                      <a:cubicBezTo>
                        <a:pt x="192" y="112"/>
                        <a:pt x="191" y="111"/>
                        <a:pt x="190" y="111"/>
                      </a:cubicBezTo>
                      <a:cubicBezTo>
                        <a:pt x="189" y="111"/>
                        <a:pt x="189" y="110"/>
                        <a:pt x="189" y="110"/>
                      </a:cubicBezTo>
                      <a:cubicBezTo>
                        <a:pt x="188" y="110"/>
                        <a:pt x="187" y="110"/>
                        <a:pt x="187" y="110"/>
                      </a:cubicBezTo>
                      <a:cubicBezTo>
                        <a:pt x="186" y="110"/>
                        <a:pt x="185" y="110"/>
                        <a:pt x="185" y="110"/>
                      </a:cubicBezTo>
                      <a:cubicBezTo>
                        <a:pt x="185" y="110"/>
                        <a:pt x="184" y="111"/>
                        <a:pt x="184" y="111"/>
                      </a:cubicBezTo>
                      <a:cubicBezTo>
                        <a:pt x="182" y="112"/>
                        <a:pt x="182" y="112"/>
                        <a:pt x="182" y="112"/>
                      </a:cubicBezTo>
                      <a:cubicBezTo>
                        <a:pt x="182" y="112"/>
                        <a:pt x="182" y="113"/>
                        <a:pt x="182" y="114"/>
                      </a:cubicBezTo>
                      <a:cubicBezTo>
                        <a:pt x="182" y="114"/>
                        <a:pt x="182" y="115"/>
                        <a:pt x="181" y="115"/>
                      </a:cubicBezTo>
                      <a:cubicBezTo>
                        <a:pt x="181" y="115"/>
                        <a:pt x="180" y="117"/>
                        <a:pt x="180" y="117"/>
                      </a:cubicBezTo>
                      <a:cubicBezTo>
                        <a:pt x="180" y="117"/>
                        <a:pt x="180" y="120"/>
                        <a:pt x="179" y="120"/>
                      </a:cubicBezTo>
                      <a:cubicBezTo>
                        <a:pt x="179" y="120"/>
                        <a:pt x="179" y="121"/>
                        <a:pt x="179" y="121"/>
                      </a:cubicBezTo>
                      <a:cubicBezTo>
                        <a:pt x="179" y="123"/>
                        <a:pt x="179" y="123"/>
                        <a:pt x="179" y="123"/>
                      </a:cubicBezTo>
                      <a:cubicBezTo>
                        <a:pt x="179" y="124"/>
                        <a:pt x="179" y="124"/>
                        <a:pt x="179" y="124"/>
                      </a:cubicBezTo>
                      <a:cubicBezTo>
                        <a:pt x="177" y="123"/>
                        <a:pt x="177" y="123"/>
                        <a:pt x="177" y="123"/>
                      </a:cubicBezTo>
                      <a:cubicBezTo>
                        <a:pt x="175" y="117"/>
                        <a:pt x="175" y="117"/>
                        <a:pt x="175" y="117"/>
                      </a:cubicBezTo>
                      <a:cubicBezTo>
                        <a:pt x="175" y="117"/>
                        <a:pt x="172" y="118"/>
                        <a:pt x="169" y="118"/>
                      </a:cubicBezTo>
                      <a:cubicBezTo>
                        <a:pt x="166" y="117"/>
                        <a:pt x="164" y="115"/>
                        <a:pt x="163" y="115"/>
                      </a:cubicBezTo>
                      <a:cubicBezTo>
                        <a:pt x="163" y="114"/>
                        <a:pt x="159" y="115"/>
                        <a:pt x="159" y="115"/>
                      </a:cubicBezTo>
                      <a:cubicBezTo>
                        <a:pt x="158" y="119"/>
                        <a:pt x="158" y="119"/>
                        <a:pt x="158" y="119"/>
                      </a:cubicBezTo>
                      <a:cubicBezTo>
                        <a:pt x="147" y="118"/>
                        <a:pt x="147" y="118"/>
                        <a:pt x="147" y="118"/>
                      </a:cubicBezTo>
                      <a:cubicBezTo>
                        <a:pt x="143" y="116"/>
                        <a:pt x="143" y="116"/>
                        <a:pt x="143" y="116"/>
                      </a:cubicBezTo>
                      <a:cubicBezTo>
                        <a:pt x="136" y="113"/>
                        <a:pt x="136" y="113"/>
                        <a:pt x="136" y="113"/>
                      </a:cubicBezTo>
                      <a:cubicBezTo>
                        <a:pt x="134" y="112"/>
                        <a:pt x="134" y="112"/>
                        <a:pt x="134" y="112"/>
                      </a:cubicBezTo>
                      <a:cubicBezTo>
                        <a:pt x="134" y="112"/>
                        <a:pt x="130" y="112"/>
                        <a:pt x="129" y="112"/>
                      </a:cubicBezTo>
                      <a:cubicBezTo>
                        <a:pt x="128" y="112"/>
                        <a:pt x="124" y="111"/>
                        <a:pt x="124" y="111"/>
                      </a:cubicBezTo>
                      <a:cubicBezTo>
                        <a:pt x="124" y="111"/>
                        <a:pt x="120" y="110"/>
                        <a:pt x="119" y="110"/>
                      </a:cubicBezTo>
                      <a:cubicBezTo>
                        <a:pt x="118" y="110"/>
                        <a:pt x="116" y="110"/>
                        <a:pt x="116" y="110"/>
                      </a:cubicBezTo>
                      <a:cubicBezTo>
                        <a:pt x="111" y="109"/>
                        <a:pt x="111" y="109"/>
                        <a:pt x="111" y="109"/>
                      </a:cubicBezTo>
                      <a:cubicBezTo>
                        <a:pt x="111" y="109"/>
                        <a:pt x="108" y="107"/>
                        <a:pt x="106" y="108"/>
                      </a:cubicBezTo>
                      <a:cubicBezTo>
                        <a:pt x="105" y="108"/>
                        <a:pt x="106" y="111"/>
                        <a:pt x="106" y="111"/>
                      </a:cubicBezTo>
                      <a:cubicBezTo>
                        <a:pt x="106" y="111"/>
                        <a:pt x="105" y="116"/>
                        <a:pt x="106" y="117"/>
                      </a:cubicBezTo>
                      <a:cubicBezTo>
                        <a:pt x="106" y="119"/>
                        <a:pt x="104" y="121"/>
                        <a:pt x="104" y="121"/>
                      </a:cubicBezTo>
                      <a:cubicBezTo>
                        <a:pt x="101" y="122"/>
                        <a:pt x="101" y="122"/>
                        <a:pt x="101" y="122"/>
                      </a:cubicBezTo>
                      <a:cubicBezTo>
                        <a:pt x="101" y="122"/>
                        <a:pt x="99" y="125"/>
                        <a:pt x="98" y="125"/>
                      </a:cubicBezTo>
                      <a:cubicBezTo>
                        <a:pt x="97" y="125"/>
                        <a:pt x="97" y="131"/>
                        <a:pt x="97" y="131"/>
                      </a:cubicBezTo>
                      <a:cubicBezTo>
                        <a:pt x="93" y="132"/>
                        <a:pt x="93" y="132"/>
                        <a:pt x="93" y="132"/>
                      </a:cubicBezTo>
                      <a:cubicBezTo>
                        <a:pt x="89" y="129"/>
                        <a:pt x="89" y="129"/>
                        <a:pt x="89" y="129"/>
                      </a:cubicBezTo>
                      <a:cubicBezTo>
                        <a:pt x="86" y="131"/>
                        <a:pt x="86" y="131"/>
                        <a:pt x="86" y="131"/>
                      </a:cubicBezTo>
                      <a:cubicBezTo>
                        <a:pt x="85" y="133"/>
                        <a:pt x="85" y="133"/>
                        <a:pt x="85" y="133"/>
                      </a:cubicBezTo>
                      <a:cubicBezTo>
                        <a:pt x="85" y="133"/>
                        <a:pt x="80" y="132"/>
                        <a:pt x="80" y="132"/>
                      </a:cubicBezTo>
                      <a:cubicBezTo>
                        <a:pt x="79" y="132"/>
                        <a:pt x="74" y="131"/>
                        <a:pt x="74" y="131"/>
                      </a:cubicBezTo>
                      <a:cubicBezTo>
                        <a:pt x="74" y="131"/>
                        <a:pt x="71" y="128"/>
                        <a:pt x="70" y="127"/>
                      </a:cubicBezTo>
                      <a:cubicBezTo>
                        <a:pt x="69" y="126"/>
                        <a:pt x="65" y="124"/>
                        <a:pt x="64" y="123"/>
                      </a:cubicBezTo>
                      <a:cubicBezTo>
                        <a:pt x="63" y="123"/>
                        <a:pt x="63" y="122"/>
                        <a:pt x="63" y="122"/>
                      </a:cubicBezTo>
                      <a:cubicBezTo>
                        <a:pt x="61" y="120"/>
                        <a:pt x="62" y="120"/>
                        <a:pt x="60" y="119"/>
                      </a:cubicBezTo>
                      <a:cubicBezTo>
                        <a:pt x="58" y="118"/>
                        <a:pt x="56" y="118"/>
                        <a:pt x="56" y="117"/>
                      </a:cubicBezTo>
                      <a:cubicBezTo>
                        <a:pt x="56" y="116"/>
                        <a:pt x="57" y="114"/>
                        <a:pt x="55" y="114"/>
                      </a:cubicBezTo>
                      <a:cubicBezTo>
                        <a:pt x="52" y="115"/>
                        <a:pt x="51" y="116"/>
                        <a:pt x="50" y="115"/>
                      </a:cubicBezTo>
                      <a:cubicBezTo>
                        <a:pt x="48" y="113"/>
                        <a:pt x="48" y="113"/>
                        <a:pt x="47" y="111"/>
                      </a:cubicBezTo>
                      <a:cubicBezTo>
                        <a:pt x="47" y="109"/>
                        <a:pt x="47" y="107"/>
                        <a:pt x="45" y="107"/>
                      </a:cubicBezTo>
                      <a:cubicBezTo>
                        <a:pt x="43" y="107"/>
                        <a:pt x="42" y="106"/>
                        <a:pt x="42" y="106"/>
                      </a:cubicBezTo>
                      <a:cubicBezTo>
                        <a:pt x="42" y="106"/>
                        <a:pt x="41" y="107"/>
                        <a:pt x="40" y="105"/>
                      </a:cubicBezTo>
                      <a:cubicBezTo>
                        <a:pt x="39" y="102"/>
                        <a:pt x="42" y="104"/>
                        <a:pt x="39" y="100"/>
                      </a:cubicBezTo>
                      <a:cubicBezTo>
                        <a:pt x="35" y="97"/>
                        <a:pt x="36" y="98"/>
                        <a:pt x="34" y="96"/>
                      </a:cubicBezTo>
                      <a:cubicBezTo>
                        <a:pt x="32" y="94"/>
                        <a:pt x="26" y="96"/>
                        <a:pt x="26" y="96"/>
                      </a:cubicBezTo>
                      <a:cubicBezTo>
                        <a:pt x="26" y="96"/>
                        <a:pt x="26" y="95"/>
                        <a:pt x="24" y="93"/>
                      </a:cubicBezTo>
                      <a:cubicBezTo>
                        <a:pt x="22" y="91"/>
                        <a:pt x="23" y="92"/>
                        <a:pt x="21" y="90"/>
                      </a:cubicBezTo>
                      <a:cubicBezTo>
                        <a:pt x="19" y="87"/>
                        <a:pt x="19" y="88"/>
                        <a:pt x="19" y="85"/>
                      </a:cubicBezTo>
                      <a:cubicBezTo>
                        <a:pt x="18" y="82"/>
                        <a:pt x="19" y="81"/>
                        <a:pt x="17" y="79"/>
                      </a:cubicBezTo>
                      <a:cubicBezTo>
                        <a:pt x="15" y="77"/>
                        <a:pt x="14" y="75"/>
                        <a:pt x="14" y="75"/>
                      </a:cubicBezTo>
                      <a:cubicBezTo>
                        <a:pt x="14" y="75"/>
                        <a:pt x="12" y="73"/>
                        <a:pt x="14" y="70"/>
                      </a:cubicBezTo>
                      <a:cubicBezTo>
                        <a:pt x="16" y="68"/>
                        <a:pt x="16" y="68"/>
                        <a:pt x="16" y="66"/>
                      </a:cubicBezTo>
                      <a:cubicBezTo>
                        <a:pt x="16" y="65"/>
                        <a:pt x="17" y="63"/>
                        <a:pt x="14" y="61"/>
                      </a:cubicBezTo>
                      <a:cubicBezTo>
                        <a:pt x="11" y="59"/>
                        <a:pt x="11" y="59"/>
                        <a:pt x="8" y="57"/>
                      </a:cubicBezTo>
                      <a:cubicBezTo>
                        <a:pt x="6" y="56"/>
                        <a:pt x="5" y="56"/>
                        <a:pt x="4" y="55"/>
                      </a:cubicBezTo>
                      <a:cubicBezTo>
                        <a:pt x="3" y="54"/>
                        <a:pt x="1" y="47"/>
                        <a:pt x="1" y="47"/>
                      </a:cubicBezTo>
                      <a:cubicBezTo>
                        <a:pt x="0" y="44"/>
                        <a:pt x="0" y="44"/>
                        <a:pt x="0" y="44"/>
                      </a:cubicBezTo>
                      <a:cubicBezTo>
                        <a:pt x="5" y="44"/>
                        <a:pt x="5" y="44"/>
                        <a:pt x="5" y="44"/>
                      </a:cubicBezTo>
                      <a:cubicBezTo>
                        <a:pt x="6" y="48"/>
                        <a:pt x="6" y="48"/>
                        <a:pt x="6" y="48"/>
                      </a:cubicBezTo>
                      <a:cubicBezTo>
                        <a:pt x="7" y="51"/>
                        <a:pt x="7" y="51"/>
                        <a:pt x="7" y="51"/>
                      </a:cubicBezTo>
                      <a:cubicBezTo>
                        <a:pt x="10" y="45"/>
                        <a:pt x="10" y="45"/>
                        <a:pt x="10" y="45"/>
                      </a:cubicBezTo>
                      <a:cubicBezTo>
                        <a:pt x="14" y="40"/>
                        <a:pt x="14" y="40"/>
                        <a:pt x="14" y="40"/>
                      </a:cubicBezTo>
                      <a:cubicBezTo>
                        <a:pt x="14" y="40"/>
                        <a:pt x="14" y="40"/>
                        <a:pt x="17" y="40"/>
                      </a:cubicBezTo>
                      <a:cubicBezTo>
                        <a:pt x="19" y="40"/>
                        <a:pt x="22" y="38"/>
                        <a:pt x="23" y="38"/>
                      </a:cubicBezTo>
                      <a:cubicBezTo>
                        <a:pt x="25" y="38"/>
                        <a:pt x="28" y="39"/>
                        <a:pt x="29" y="39"/>
                      </a:cubicBezTo>
                      <a:cubicBezTo>
                        <a:pt x="31" y="38"/>
                        <a:pt x="32" y="38"/>
                        <a:pt x="32" y="36"/>
                      </a:cubicBezTo>
                      <a:cubicBezTo>
                        <a:pt x="33" y="35"/>
                        <a:pt x="31" y="33"/>
                        <a:pt x="35" y="32"/>
                      </a:cubicBezTo>
                      <a:cubicBezTo>
                        <a:pt x="38" y="30"/>
                        <a:pt x="39" y="30"/>
                        <a:pt x="39" y="30"/>
                      </a:cubicBezTo>
                      <a:lnTo>
                        <a:pt x="43" y="27"/>
                      </a:lnTo>
                      <a:close/>
                    </a:path>
                  </a:pathLst>
                </a:custGeom>
                <a:solidFill>
                  <a:srgbClr val="E6EFF1"/>
                </a:solidFill>
                <a:ln w="12700" cap="rnd" cmpd="sng">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Lato Light"/>
                  </a:endParaRPr>
                </a:p>
              </p:txBody>
            </p:sp>
            <p:sp>
              <p:nvSpPr>
                <p:cNvPr id="29" name="Freeform 41">
                  <a:extLst>
                    <a:ext uri="{FF2B5EF4-FFF2-40B4-BE49-F238E27FC236}">
                      <a16:creationId xmlns:a16="http://schemas.microsoft.com/office/drawing/2014/main" id="{CC1F7EB2-1482-DC66-E2AE-1E75093E4D85}"/>
                    </a:ext>
                  </a:extLst>
                </p:cNvPr>
                <p:cNvSpPr>
                  <a:spLocks/>
                </p:cNvSpPr>
                <p:nvPr/>
              </p:nvSpPr>
              <p:spPr bwMode="auto">
                <a:xfrm>
                  <a:off x="4869839" y="2981165"/>
                  <a:ext cx="522342" cy="390508"/>
                </a:xfrm>
                <a:custGeom>
                  <a:avLst/>
                  <a:gdLst>
                    <a:gd name="T0" fmla="*/ 24 w 181"/>
                    <a:gd name="T1" fmla="*/ 22 h 140"/>
                    <a:gd name="T2" fmla="*/ 34 w 181"/>
                    <a:gd name="T3" fmla="*/ 20 h 140"/>
                    <a:gd name="T4" fmla="*/ 48 w 181"/>
                    <a:gd name="T5" fmla="*/ 17 h 140"/>
                    <a:gd name="T6" fmla="*/ 55 w 181"/>
                    <a:gd name="T7" fmla="*/ 16 h 140"/>
                    <a:gd name="T8" fmla="*/ 62 w 181"/>
                    <a:gd name="T9" fmla="*/ 15 h 140"/>
                    <a:gd name="T10" fmla="*/ 73 w 181"/>
                    <a:gd name="T11" fmla="*/ 13 h 140"/>
                    <a:gd name="T12" fmla="*/ 81 w 181"/>
                    <a:gd name="T13" fmla="*/ 13 h 140"/>
                    <a:gd name="T14" fmla="*/ 92 w 181"/>
                    <a:gd name="T15" fmla="*/ 15 h 140"/>
                    <a:gd name="T16" fmla="*/ 101 w 181"/>
                    <a:gd name="T17" fmla="*/ 12 h 140"/>
                    <a:gd name="T18" fmla="*/ 105 w 181"/>
                    <a:gd name="T19" fmla="*/ 3 h 140"/>
                    <a:gd name="T20" fmla="*/ 112 w 181"/>
                    <a:gd name="T21" fmla="*/ 6 h 140"/>
                    <a:gd name="T22" fmla="*/ 117 w 181"/>
                    <a:gd name="T23" fmla="*/ 10 h 140"/>
                    <a:gd name="T24" fmla="*/ 128 w 181"/>
                    <a:gd name="T25" fmla="*/ 11 h 140"/>
                    <a:gd name="T26" fmla="*/ 135 w 181"/>
                    <a:gd name="T27" fmla="*/ 10 h 140"/>
                    <a:gd name="T28" fmla="*/ 139 w 181"/>
                    <a:gd name="T29" fmla="*/ 14 h 140"/>
                    <a:gd name="T30" fmla="*/ 146 w 181"/>
                    <a:gd name="T31" fmla="*/ 17 h 140"/>
                    <a:gd name="T32" fmla="*/ 153 w 181"/>
                    <a:gd name="T33" fmla="*/ 22 h 140"/>
                    <a:gd name="T34" fmla="*/ 158 w 181"/>
                    <a:gd name="T35" fmla="*/ 27 h 140"/>
                    <a:gd name="T36" fmla="*/ 167 w 181"/>
                    <a:gd name="T37" fmla="*/ 28 h 140"/>
                    <a:gd name="T38" fmla="*/ 170 w 181"/>
                    <a:gd name="T39" fmla="*/ 28 h 140"/>
                    <a:gd name="T40" fmla="*/ 172 w 181"/>
                    <a:gd name="T41" fmla="*/ 37 h 140"/>
                    <a:gd name="T42" fmla="*/ 170 w 181"/>
                    <a:gd name="T43" fmla="*/ 47 h 140"/>
                    <a:gd name="T44" fmla="*/ 180 w 181"/>
                    <a:gd name="T45" fmla="*/ 47 h 140"/>
                    <a:gd name="T46" fmla="*/ 177 w 181"/>
                    <a:gd name="T47" fmla="*/ 53 h 140"/>
                    <a:gd name="T48" fmla="*/ 170 w 181"/>
                    <a:gd name="T49" fmla="*/ 57 h 140"/>
                    <a:gd name="T50" fmla="*/ 167 w 181"/>
                    <a:gd name="T51" fmla="*/ 67 h 140"/>
                    <a:gd name="T52" fmla="*/ 157 w 181"/>
                    <a:gd name="T53" fmla="*/ 74 h 140"/>
                    <a:gd name="T54" fmla="*/ 156 w 181"/>
                    <a:gd name="T55" fmla="*/ 82 h 140"/>
                    <a:gd name="T56" fmla="*/ 158 w 181"/>
                    <a:gd name="T57" fmla="*/ 95 h 140"/>
                    <a:gd name="T58" fmla="*/ 157 w 181"/>
                    <a:gd name="T59" fmla="*/ 104 h 140"/>
                    <a:gd name="T60" fmla="*/ 164 w 181"/>
                    <a:gd name="T61" fmla="*/ 107 h 140"/>
                    <a:gd name="T62" fmla="*/ 157 w 181"/>
                    <a:gd name="T63" fmla="*/ 114 h 140"/>
                    <a:gd name="T64" fmla="*/ 156 w 181"/>
                    <a:gd name="T65" fmla="*/ 108 h 140"/>
                    <a:gd name="T66" fmla="*/ 146 w 181"/>
                    <a:gd name="T67" fmla="*/ 113 h 140"/>
                    <a:gd name="T68" fmla="*/ 144 w 181"/>
                    <a:gd name="T69" fmla="*/ 119 h 140"/>
                    <a:gd name="T70" fmla="*/ 136 w 181"/>
                    <a:gd name="T71" fmla="*/ 121 h 140"/>
                    <a:gd name="T72" fmla="*/ 133 w 181"/>
                    <a:gd name="T73" fmla="*/ 128 h 140"/>
                    <a:gd name="T74" fmla="*/ 122 w 181"/>
                    <a:gd name="T75" fmla="*/ 134 h 140"/>
                    <a:gd name="T76" fmla="*/ 106 w 181"/>
                    <a:gd name="T77" fmla="*/ 137 h 140"/>
                    <a:gd name="T78" fmla="*/ 97 w 181"/>
                    <a:gd name="T79" fmla="*/ 140 h 140"/>
                    <a:gd name="T80" fmla="*/ 93 w 181"/>
                    <a:gd name="T81" fmla="*/ 131 h 140"/>
                    <a:gd name="T82" fmla="*/ 79 w 181"/>
                    <a:gd name="T83" fmla="*/ 124 h 140"/>
                    <a:gd name="T84" fmla="*/ 73 w 181"/>
                    <a:gd name="T85" fmla="*/ 121 h 140"/>
                    <a:gd name="T86" fmla="*/ 69 w 181"/>
                    <a:gd name="T87" fmla="*/ 121 h 140"/>
                    <a:gd name="T88" fmla="*/ 66 w 181"/>
                    <a:gd name="T89" fmla="*/ 107 h 140"/>
                    <a:gd name="T90" fmla="*/ 68 w 181"/>
                    <a:gd name="T91" fmla="*/ 97 h 140"/>
                    <a:gd name="T92" fmla="*/ 61 w 181"/>
                    <a:gd name="T93" fmla="*/ 90 h 140"/>
                    <a:gd name="T94" fmla="*/ 56 w 181"/>
                    <a:gd name="T95" fmla="*/ 86 h 140"/>
                    <a:gd name="T96" fmla="*/ 45 w 181"/>
                    <a:gd name="T97" fmla="*/ 89 h 140"/>
                    <a:gd name="T98" fmla="*/ 31 w 181"/>
                    <a:gd name="T99" fmla="*/ 90 h 140"/>
                    <a:gd name="T100" fmla="*/ 22 w 181"/>
                    <a:gd name="T101" fmla="*/ 86 h 140"/>
                    <a:gd name="T102" fmla="*/ 13 w 181"/>
                    <a:gd name="T103" fmla="*/ 79 h 140"/>
                    <a:gd name="T104" fmla="*/ 11 w 181"/>
                    <a:gd name="T105" fmla="*/ 69 h 140"/>
                    <a:gd name="T106" fmla="*/ 4 w 181"/>
                    <a:gd name="T107" fmla="*/ 60 h 140"/>
                    <a:gd name="T108" fmla="*/ 1 w 181"/>
                    <a:gd name="T109" fmla="*/ 49 h 140"/>
                    <a:gd name="T110" fmla="*/ 1 w 181"/>
                    <a:gd name="T111" fmla="*/ 42 h 140"/>
                    <a:gd name="T112" fmla="*/ 7 w 181"/>
                    <a:gd name="T113" fmla="*/ 35 h 140"/>
                    <a:gd name="T114" fmla="*/ 12 w 181"/>
                    <a:gd name="T115" fmla="*/ 31 h 140"/>
                    <a:gd name="T116" fmla="*/ 18 w 181"/>
                    <a:gd name="T117" fmla="*/ 26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81" h="140">
                      <a:moveTo>
                        <a:pt x="18" y="26"/>
                      </a:moveTo>
                      <a:cubicBezTo>
                        <a:pt x="24" y="22"/>
                        <a:pt x="24" y="22"/>
                        <a:pt x="24" y="22"/>
                      </a:cubicBezTo>
                      <a:cubicBezTo>
                        <a:pt x="27" y="19"/>
                        <a:pt x="27" y="19"/>
                        <a:pt x="27" y="19"/>
                      </a:cubicBezTo>
                      <a:cubicBezTo>
                        <a:pt x="34" y="20"/>
                        <a:pt x="34" y="20"/>
                        <a:pt x="34" y="20"/>
                      </a:cubicBezTo>
                      <a:cubicBezTo>
                        <a:pt x="34" y="20"/>
                        <a:pt x="39" y="18"/>
                        <a:pt x="40" y="18"/>
                      </a:cubicBezTo>
                      <a:cubicBezTo>
                        <a:pt x="41" y="18"/>
                        <a:pt x="48" y="17"/>
                        <a:pt x="48" y="17"/>
                      </a:cubicBezTo>
                      <a:cubicBezTo>
                        <a:pt x="52" y="14"/>
                        <a:pt x="52" y="14"/>
                        <a:pt x="52" y="14"/>
                      </a:cubicBezTo>
                      <a:cubicBezTo>
                        <a:pt x="52" y="14"/>
                        <a:pt x="55" y="15"/>
                        <a:pt x="55" y="16"/>
                      </a:cubicBezTo>
                      <a:cubicBezTo>
                        <a:pt x="56" y="17"/>
                        <a:pt x="59" y="20"/>
                        <a:pt x="60" y="20"/>
                      </a:cubicBezTo>
                      <a:cubicBezTo>
                        <a:pt x="61" y="19"/>
                        <a:pt x="62" y="15"/>
                        <a:pt x="62" y="15"/>
                      </a:cubicBezTo>
                      <a:cubicBezTo>
                        <a:pt x="68" y="14"/>
                        <a:pt x="68" y="14"/>
                        <a:pt x="68" y="14"/>
                      </a:cubicBezTo>
                      <a:cubicBezTo>
                        <a:pt x="73" y="13"/>
                        <a:pt x="73" y="13"/>
                        <a:pt x="73" y="13"/>
                      </a:cubicBezTo>
                      <a:cubicBezTo>
                        <a:pt x="73" y="13"/>
                        <a:pt x="73" y="12"/>
                        <a:pt x="74" y="12"/>
                      </a:cubicBezTo>
                      <a:cubicBezTo>
                        <a:pt x="75" y="13"/>
                        <a:pt x="81" y="13"/>
                        <a:pt x="81" y="13"/>
                      </a:cubicBezTo>
                      <a:cubicBezTo>
                        <a:pt x="87" y="13"/>
                        <a:pt x="87" y="13"/>
                        <a:pt x="87" y="13"/>
                      </a:cubicBezTo>
                      <a:cubicBezTo>
                        <a:pt x="87" y="13"/>
                        <a:pt x="91" y="15"/>
                        <a:pt x="92" y="15"/>
                      </a:cubicBezTo>
                      <a:cubicBezTo>
                        <a:pt x="92" y="14"/>
                        <a:pt x="95" y="10"/>
                        <a:pt x="95" y="10"/>
                      </a:cubicBezTo>
                      <a:cubicBezTo>
                        <a:pt x="101" y="12"/>
                        <a:pt x="101" y="12"/>
                        <a:pt x="101" y="12"/>
                      </a:cubicBezTo>
                      <a:cubicBezTo>
                        <a:pt x="102" y="8"/>
                        <a:pt x="102" y="8"/>
                        <a:pt x="102" y="8"/>
                      </a:cubicBezTo>
                      <a:cubicBezTo>
                        <a:pt x="102" y="8"/>
                        <a:pt x="105" y="3"/>
                        <a:pt x="105" y="3"/>
                      </a:cubicBezTo>
                      <a:cubicBezTo>
                        <a:pt x="106" y="3"/>
                        <a:pt x="110" y="0"/>
                        <a:pt x="110" y="0"/>
                      </a:cubicBezTo>
                      <a:cubicBezTo>
                        <a:pt x="112" y="6"/>
                        <a:pt x="112" y="6"/>
                        <a:pt x="112" y="6"/>
                      </a:cubicBezTo>
                      <a:cubicBezTo>
                        <a:pt x="116" y="9"/>
                        <a:pt x="116" y="9"/>
                        <a:pt x="116" y="9"/>
                      </a:cubicBezTo>
                      <a:cubicBezTo>
                        <a:pt x="117" y="10"/>
                        <a:pt x="117" y="10"/>
                        <a:pt x="117" y="10"/>
                      </a:cubicBezTo>
                      <a:cubicBezTo>
                        <a:pt x="121" y="13"/>
                        <a:pt x="121" y="13"/>
                        <a:pt x="121" y="13"/>
                      </a:cubicBezTo>
                      <a:cubicBezTo>
                        <a:pt x="128" y="11"/>
                        <a:pt x="128" y="11"/>
                        <a:pt x="128" y="11"/>
                      </a:cubicBezTo>
                      <a:cubicBezTo>
                        <a:pt x="132" y="10"/>
                        <a:pt x="132" y="10"/>
                        <a:pt x="132" y="10"/>
                      </a:cubicBezTo>
                      <a:cubicBezTo>
                        <a:pt x="135" y="10"/>
                        <a:pt x="135" y="10"/>
                        <a:pt x="135" y="10"/>
                      </a:cubicBezTo>
                      <a:cubicBezTo>
                        <a:pt x="136" y="12"/>
                        <a:pt x="136" y="12"/>
                        <a:pt x="136" y="12"/>
                      </a:cubicBezTo>
                      <a:cubicBezTo>
                        <a:pt x="139" y="14"/>
                        <a:pt x="139" y="14"/>
                        <a:pt x="139" y="14"/>
                      </a:cubicBezTo>
                      <a:cubicBezTo>
                        <a:pt x="144" y="14"/>
                        <a:pt x="144" y="14"/>
                        <a:pt x="144" y="14"/>
                      </a:cubicBezTo>
                      <a:cubicBezTo>
                        <a:pt x="146" y="17"/>
                        <a:pt x="146" y="17"/>
                        <a:pt x="146" y="17"/>
                      </a:cubicBezTo>
                      <a:cubicBezTo>
                        <a:pt x="150" y="18"/>
                        <a:pt x="150" y="18"/>
                        <a:pt x="150" y="18"/>
                      </a:cubicBezTo>
                      <a:cubicBezTo>
                        <a:pt x="153" y="22"/>
                        <a:pt x="153" y="22"/>
                        <a:pt x="153" y="22"/>
                      </a:cubicBezTo>
                      <a:cubicBezTo>
                        <a:pt x="156" y="23"/>
                        <a:pt x="156" y="23"/>
                        <a:pt x="156" y="23"/>
                      </a:cubicBezTo>
                      <a:cubicBezTo>
                        <a:pt x="158" y="27"/>
                        <a:pt x="158" y="27"/>
                        <a:pt x="158" y="27"/>
                      </a:cubicBezTo>
                      <a:cubicBezTo>
                        <a:pt x="162" y="27"/>
                        <a:pt x="162" y="27"/>
                        <a:pt x="162" y="27"/>
                      </a:cubicBezTo>
                      <a:cubicBezTo>
                        <a:pt x="167" y="28"/>
                        <a:pt x="167" y="28"/>
                        <a:pt x="167" y="28"/>
                      </a:cubicBezTo>
                      <a:cubicBezTo>
                        <a:pt x="170" y="28"/>
                        <a:pt x="170" y="28"/>
                        <a:pt x="170" y="28"/>
                      </a:cubicBezTo>
                      <a:cubicBezTo>
                        <a:pt x="170" y="28"/>
                        <a:pt x="170" y="28"/>
                        <a:pt x="170" y="28"/>
                      </a:cubicBezTo>
                      <a:cubicBezTo>
                        <a:pt x="171" y="28"/>
                        <a:pt x="171" y="28"/>
                        <a:pt x="171" y="28"/>
                      </a:cubicBezTo>
                      <a:cubicBezTo>
                        <a:pt x="172" y="37"/>
                        <a:pt x="172" y="37"/>
                        <a:pt x="172" y="37"/>
                      </a:cubicBezTo>
                      <a:cubicBezTo>
                        <a:pt x="170" y="42"/>
                        <a:pt x="170" y="42"/>
                        <a:pt x="170" y="42"/>
                      </a:cubicBezTo>
                      <a:cubicBezTo>
                        <a:pt x="170" y="47"/>
                        <a:pt x="170" y="47"/>
                        <a:pt x="170" y="47"/>
                      </a:cubicBezTo>
                      <a:cubicBezTo>
                        <a:pt x="173" y="48"/>
                        <a:pt x="173" y="48"/>
                        <a:pt x="173" y="48"/>
                      </a:cubicBezTo>
                      <a:cubicBezTo>
                        <a:pt x="180" y="47"/>
                        <a:pt x="180" y="47"/>
                        <a:pt x="180" y="47"/>
                      </a:cubicBezTo>
                      <a:cubicBezTo>
                        <a:pt x="181" y="51"/>
                        <a:pt x="181" y="51"/>
                        <a:pt x="181" y="51"/>
                      </a:cubicBezTo>
                      <a:cubicBezTo>
                        <a:pt x="177" y="53"/>
                        <a:pt x="177" y="53"/>
                        <a:pt x="177" y="53"/>
                      </a:cubicBezTo>
                      <a:cubicBezTo>
                        <a:pt x="178" y="58"/>
                        <a:pt x="178" y="58"/>
                        <a:pt x="178" y="58"/>
                      </a:cubicBezTo>
                      <a:cubicBezTo>
                        <a:pt x="170" y="57"/>
                        <a:pt x="170" y="57"/>
                        <a:pt x="170" y="57"/>
                      </a:cubicBezTo>
                      <a:cubicBezTo>
                        <a:pt x="167" y="60"/>
                        <a:pt x="167" y="60"/>
                        <a:pt x="167" y="60"/>
                      </a:cubicBezTo>
                      <a:cubicBezTo>
                        <a:pt x="167" y="67"/>
                        <a:pt x="167" y="67"/>
                        <a:pt x="167" y="67"/>
                      </a:cubicBezTo>
                      <a:cubicBezTo>
                        <a:pt x="159" y="70"/>
                        <a:pt x="159" y="70"/>
                        <a:pt x="159" y="70"/>
                      </a:cubicBezTo>
                      <a:cubicBezTo>
                        <a:pt x="157" y="74"/>
                        <a:pt x="157" y="74"/>
                        <a:pt x="157" y="74"/>
                      </a:cubicBezTo>
                      <a:cubicBezTo>
                        <a:pt x="157" y="78"/>
                        <a:pt x="157" y="78"/>
                        <a:pt x="157" y="78"/>
                      </a:cubicBezTo>
                      <a:cubicBezTo>
                        <a:pt x="156" y="82"/>
                        <a:pt x="156" y="82"/>
                        <a:pt x="156" y="82"/>
                      </a:cubicBezTo>
                      <a:cubicBezTo>
                        <a:pt x="157" y="89"/>
                        <a:pt x="157" y="89"/>
                        <a:pt x="157" y="89"/>
                      </a:cubicBezTo>
                      <a:cubicBezTo>
                        <a:pt x="158" y="95"/>
                        <a:pt x="158" y="95"/>
                        <a:pt x="158" y="95"/>
                      </a:cubicBezTo>
                      <a:cubicBezTo>
                        <a:pt x="158" y="95"/>
                        <a:pt x="156" y="100"/>
                        <a:pt x="155" y="103"/>
                      </a:cubicBezTo>
                      <a:cubicBezTo>
                        <a:pt x="155" y="105"/>
                        <a:pt x="157" y="104"/>
                        <a:pt x="157" y="104"/>
                      </a:cubicBezTo>
                      <a:cubicBezTo>
                        <a:pt x="162" y="106"/>
                        <a:pt x="162" y="106"/>
                        <a:pt x="162" y="106"/>
                      </a:cubicBezTo>
                      <a:cubicBezTo>
                        <a:pt x="164" y="107"/>
                        <a:pt x="164" y="107"/>
                        <a:pt x="164" y="107"/>
                      </a:cubicBezTo>
                      <a:cubicBezTo>
                        <a:pt x="162" y="113"/>
                        <a:pt x="162" y="113"/>
                        <a:pt x="162" y="113"/>
                      </a:cubicBezTo>
                      <a:cubicBezTo>
                        <a:pt x="157" y="114"/>
                        <a:pt x="157" y="114"/>
                        <a:pt x="157" y="114"/>
                      </a:cubicBezTo>
                      <a:cubicBezTo>
                        <a:pt x="158" y="110"/>
                        <a:pt x="158" y="110"/>
                        <a:pt x="158" y="110"/>
                      </a:cubicBezTo>
                      <a:cubicBezTo>
                        <a:pt x="156" y="108"/>
                        <a:pt x="156" y="108"/>
                        <a:pt x="156" y="108"/>
                      </a:cubicBezTo>
                      <a:cubicBezTo>
                        <a:pt x="153" y="111"/>
                        <a:pt x="153" y="111"/>
                        <a:pt x="153" y="111"/>
                      </a:cubicBezTo>
                      <a:cubicBezTo>
                        <a:pt x="146" y="113"/>
                        <a:pt x="146" y="113"/>
                        <a:pt x="146" y="113"/>
                      </a:cubicBezTo>
                      <a:cubicBezTo>
                        <a:pt x="146" y="115"/>
                        <a:pt x="146" y="115"/>
                        <a:pt x="146" y="115"/>
                      </a:cubicBezTo>
                      <a:cubicBezTo>
                        <a:pt x="144" y="119"/>
                        <a:pt x="144" y="119"/>
                        <a:pt x="144" y="119"/>
                      </a:cubicBezTo>
                      <a:cubicBezTo>
                        <a:pt x="144" y="119"/>
                        <a:pt x="140" y="119"/>
                        <a:pt x="138" y="119"/>
                      </a:cubicBezTo>
                      <a:cubicBezTo>
                        <a:pt x="137" y="118"/>
                        <a:pt x="136" y="121"/>
                        <a:pt x="136" y="121"/>
                      </a:cubicBezTo>
                      <a:cubicBezTo>
                        <a:pt x="138" y="128"/>
                        <a:pt x="138" y="128"/>
                        <a:pt x="138" y="128"/>
                      </a:cubicBezTo>
                      <a:cubicBezTo>
                        <a:pt x="133" y="128"/>
                        <a:pt x="133" y="128"/>
                        <a:pt x="133" y="128"/>
                      </a:cubicBezTo>
                      <a:cubicBezTo>
                        <a:pt x="129" y="133"/>
                        <a:pt x="129" y="133"/>
                        <a:pt x="129" y="133"/>
                      </a:cubicBezTo>
                      <a:cubicBezTo>
                        <a:pt x="122" y="134"/>
                        <a:pt x="122" y="134"/>
                        <a:pt x="122" y="134"/>
                      </a:cubicBezTo>
                      <a:cubicBezTo>
                        <a:pt x="116" y="133"/>
                        <a:pt x="116" y="133"/>
                        <a:pt x="116" y="133"/>
                      </a:cubicBezTo>
                      <a:cubicBezTo>
                        <a:pt x="106" y="137"/>
                        <a:pt x="106" y="137"/>
                        <a:pt x="106" y="137"/>
                      </a:cubicBezTo>
                      <a:cubicBezTo>
                        <a:pt x="97" y="139"/>
                        <a:pt x="97" y="139"/>
                        <a:pt x="97" y="139"/>
                      </a:cubicBezTo>
                      <a:cubicBezTo>
                        <a:pt x="97" y="140"/>
                        <a:pt x="97" y="140"/>
                        <a:pt x="97" y="140"/>
                      </a:cubicBezTo>
                      <a:cubicBezTo>
                        <a:pt x="96" y="134"/>
                        <a:pt x="96" y="134"/>
                        <a:pt x="96" y="134"/>
                      </a:cubicBezTo>
                      <a:cubicBezTo>
                        <a:pt x="93" y="131"/>
                        <a:pt x="93" y="131"/>
                        <a:pt x="93" y="131"/>
                      </a:cubicBezTo>
                      <a:cubicBezTo>
                        <a:pt x="93" y="131"/>
                        <a:pt x="90" y="125"/>
                        <a:pt x="90" y="124"/>
                      </a:cubicBezTo>
                      <a:cubicBezTo>
                        <a:pt x="90" y="124"/>
                        <a:pt x="79" y="124"/>
                        <a:pt x="79" y="124"/>
                      </a:cubicBezTo>
                      <a:cubicBezTo>
                        <a:pt x="79" y="124"/>
                        <a:pt x="77" y="121"/>
                        <a:pt x="76" y="119"/>
                      </a:cubicBezTo>
                      <a:cubicBezTo>
                        <a:pt x="76" y="118"/>
                        <a:pt x="73" y="121"/>
                        <a:pt x="73" y="121"/>
                      </a:cubicBezTo>
                      <a:cubicBezTo>
                        <a:pt x="69" y="122"/>
                        <a:pt x="69" y="122"/>
                        <a:pt x="69" y="122"/>
                      </a:cubicBezTo>
                      <a:cubicBezTo>
                        <a:pt x="69" y="121"/>
                        <a:pt x="69" y="121"/>
                        <a:pt x="69" y="121"/>
                      </a:cubicBezTo>
                      <a:cubicBezTo>
                        <a:pt x="66" y="117"/>
                        <a:pt x="66" y="117"/>
                        <a:pt x="66" y="117"/>
                      </a:cubicBezTo>
                      <a:cubicBezTo>
                        <a:pt x="66" y="107"/>
                        <a:pt x="66" y="107"/>
                        <a:pt x="66" y="107"/>
                      </a:cubicBezTo>
                      <a:cubicBezTo>
                        <a:pt x="66" y="104"/>
                        <a:pt x="66" y="104"/>
                        <a:pt x="66" y="104"/>
                      </a:cubicBezTo>
                      <a:cubicBezTo>
                        <a:pt x="68" y="97"/>
                        <a:pt x="68" y="97"/>
                        <a:pt x="68" y="97"/>
                      </a:cubicBezTo>
                      <a:cubicBezTo>
                        <a:pt x="68" y="97"/>
                        <a:pt x="66" y="96"/>
                        <a:pt x="65" y="94"/>
                      </a:cubicBezTo>
                      <a:cubicBezTo>
                        <a:pt x="63" y="92"/>
                        <a:pt x="61" y="90"/>
                        <a:pt x="61" y="90"/>
                      </a:cubicBezTo>
                      <a:cubicBezTo>
                        <a:pt x="59" y="90"/>
                        <a:pt x="59" y="90"/>
                        <a:pt x="59" y="90"/>
                      </a:cubicBezTo>
                      <a:cubicBezTo>
                        <a:pt x="56" y="86"/>
                        <a:pt x="56" y="86"/>
                        <a:pt x="56" y="86"/>
                      </a:cubicBezTo>
                      <a:cubicBezTo>
                        <a:pt x="49" y="88"/>
                        <a:pt x="49" y="88"/>
                        <a:pt x="49" y="88"/>
                      </a:cubicBezTo>
                      <a:cubicBezTo>
                        <a:pt x="45" y="89"/>
                        <a:pt x="45" y="89"/>
                        <a:pt x="45" y="89"/>
                      </a:cubicBezTo>
                      <a:cubicBezTo>
                        <a:pt x="43" y="91"/>
                        <a:pt x="43" y="91"/>
                        <a:pt x="43" y="91"/>
                      </a:cubicBezTo>
                      <a:cubicBezTo>
                        <a:pt x="31" y="90"/>
                        <a:pt x="31" y="90"/>
                        <a:pt x="31" y="90"/>
                      </a:cubicBezTo>
                      <a:cubicBezTo>
                        <a:pt x="25" y="87"/>
                        <a:pt x="25" y="87"/>
                        <a:pt x="25" y="87"/>
                      </a:cubicBezTo>
                      <a:cubicBezTo>
                        <a:pt x="22" y="86"/>
                        <a:pt x="22" y="86"/>
                        <a:pt x="22" y="86"/>
                      </a:cubicBezTo>
                      <a:cubicBezTo>
                        <a:pt x="18" y="83"/>
                        <a:pt x="18" y="83"/>
                        <a:pt x="18" y="83"/>
                      </a:cubicBezTo>
                      <a:cubicBezTo>
                        <a:pt x="13" y="79"/>
                        <a:pt x="13" y="79"/>
                        <a:pt x="13" y="79"/>
                      </a:cubicBezTo>
                      <a:cubicBezTo>
                        <a:pt x="12" y="73"/>
                        <a:pt x="12" y="73"/>
                        <a:pt x="12" y="73"/>
                      </a:cubicBezTo>
                      <a:cubicBezTo>
                        <a:pt x="11" y="69"/>
                        <a:pt x="11" y="69"/>
                        <a:pt x="11" y="69"/>
                      </a:cubicBezTo>
                      <a:cubicBezTo>
                        <a:pt x="6" y="64"/>
                        <a:pt x="6" y="64"/>
                        <a:pt x="6" y="64"/>
                      </a:cubicBezTo>
                      <a:cubicBezTo>
                        <a:pt x="4" y="60"/>
                        <a:pt x="4" y="60"/>
                        <a:pt x="4" y="60"/>
                      </a:cubicBezTo>
                      <a:cubicBezTo>
                        <a:pt x="4" y="54"/>
                        <a:pt x="4" y="54"/>
                        <a:pt x="4" y="54"/>
                      </a:cubicBezTo>
                      <a:cubicBezTo>
                        <a:pt x="1" y="49"/>
                        <a:pt x="1" y="49"/>
                        <a:pt x="1" y="49"/>
                      </a:cubicBezTo>
                      <a:cubicBezTo>
                        <a:pt x="2" y="44"/>
                        <a:pt x="2" y="44"/>
                        <a:pt x="2" y="44"/>
                      </a:cubicBezTo>
                      <a:cubicBezTo>
                        <a:pt x="2" y="44"/>
                        <a:pt x="0" y="43"/>
                        <a:pt x="1" y="42"/>
                      </a:cubicBezTo>
                      <a:cubicBezTo>
                        <a:pt x="3" y="42"/>
                        <a:pt x="6" y="41"/>
                        <a:pt x="6" y="41"/>
                      </a:cubicBezTo>
                      <a:cubicBezTo>
                        <a:pt x="7" y="35"/>
                        <a:pt x="7" y="35"/>
                        <a:pt x="7" y="35"/>
                      </a:cubicBezTo>
                      <a:cubicBezTo>
                        <a:pt x="8" y="33"/>
                        <a:pt x="8" y="33"/>
                        <a:pt x="8" y="33"/>
                      </a:cubicBezTo>
                      <a:cubicBezTo>
                        <a:pt x="12" y="31"/>
                        <a:pt x="12" y="31"/>
                        <a:pt x="12" y="31"/>
                      </a:cubicBezTo>
                      <a:cubicBezTo>
                        <a:pt x="14" y="26"/>
                        <a:pt x="14" y="26"/>
                        <a:pt x="14" y="26"/>
                      </a:cubicBezTo>
                      <a:lnTo>
                        <a:pt x="18" y="26"/>
                      </a:lnTo>
                      <a:close/>
                    </a:path>
                  </a:pathLst>
                </a:custGeom>
                <a:solidFill>
                  <a:srgbClr val="E6EFF1"/>
                </a:solidFill>
                <a:ln w="12700" cap="rnd" cmpd="sng">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Lato Light"/>
                  </a:endParaRPr>
                </a:p>
              </p:txBody>
            </p:sp>
            <p:sp>
              <p:nvSpPr>
                <p:cNvPr id="30" name="Freeform 53">
                  <a:extLst>
                    <a:ext uri="{FF2B5EF4-FFF2-40B4-BE49-F238E27FC236}">
                      <a16:creationId xmlns:a16="http://schemas.microsoft.com/office/drawing/2014/main" id="{6F84D4BE-392E-A311-037F-46EA382D93FD}"/>
                    </a:ext>
                  </a:extLst>
                </p:cNvPr>
                <p:cNvSpPr>
                  <a:spLocks noEditPoints="1"/>
                </p:cNvSpPr>
                <p:nvPr/>
              </p:nvSpPr>
              <p:spPr bwMode="auto">
                <a:xfrm>
                  <a:off x="4867060" y="2480238"/>
                  <a:ext cx="507060" cy="335298"/>
                </a:xfrm>
                <a:custGeom>
                  <a:avLst/>
                  <a:gdLst>
                    <a:gd name="T0" fmla="*/ 39 w 176"/>
                    <a:gd name="T1" fmla="*/ 45 h 120"/>
                    <a:gd name="T2" fmla="*/ 46 w 176"/>
                    <a:gd name="T3" fmla="*/ 36 h 120"/>
                    <a:gd name="T4" fmla="*/ 51 w 176"/>
                    <a:gd name="T5" fmla="*/ 29 h 120"/>
                    <a:gd name="T6" fmla="*/ 59 w 176"/>
                    <a:gd name="T7" fmla="*/ 23 h 120"/>
                    <a:gd name="T8" fmla="*/ 69 w 176"/>
                    <a:gd name="T9" fmla="*/ 17 h 120"/>
                    <a:gd name="T10" fmla="*/ 81 w 176"/>
                    <a:gd name="T11" fmla="*/ 15 h 120"/>
                    <a:gd name="T12" fmla="*/ 89 w 176"/>
                    <a:gd name="T13" fmla="*/ 6 h 120"/>
                    <a:gd name="T14" fmla="*/ 97 w 176"/>
                    <a:gd name="T15" fmla="*/ 7 h 120"/>
                    <a:gd name="T16" fmla="*/ 109 w 176"/>
                    <a:gd name="T17" fmla="*/ 4 h 120"/>
                    <a:gd name="T18" fmla="*/ 128 w 176"/>
                    <a:gd name="T19" fmla="*/ 7 h 120"/>
                    <a:gd name="T20" fmla="*/ 154 w 176"/>
                    <a:gd name="T21" fmla="*/ 3 h 120"/>
                    <a:gd name="T22" fmla="*/ 157 w 176"/>
                    <a:gd name="T23" fmla="*/ 15 h 120"/>
                    <a:gd name="T24" fmla="*/ 162 w 176"/>
                    <a:gd name="T25" fmla="*/ 70 h 120"/>
                    <a:gd name="T26" fmla="*/ 171 w 176"/>
                    <a:gd name="T27" fmla="*/ 80 h 120"/>
                    <a:gd name="T28" fmla="*/ 168 w 176"/>
                    <a:gd name="T29" fmla="*/ 90 h 120"/>
                    <a:gd name="T30" fmla="*/ 165 w 176"/>
                    <a:gd name="T31" fmla="*/ 105 h 120"/>
                    <a:gd name="T32" fmla="*/ 146 w 176"/>
                    <a:gd name="T33" fmla="*/ 109 h 120"/>
                    <a:gd name="T34" fmla="*/ 124 w 176"/>
                    <a:gd name="T35" fmla="*/ 99 h 120"/>
                    <a:gd name="T36" fmla="*/ 102 w 176"/>
                    <a:gd name="T37" fmla="*/ 94 h 120"/>
                    <a:gd name="T38" fmla="*/ 78 w 176"/>
                    <a:gd name="T39" fmla="*/ 107 h 120"/>
                    <a:gd name="T40" fmla="*/ 77 w 176"/>
                    <a:gd name="T41" fmla="*/ 87 h 120"/>
                    <a:gd name="T42" fmla="*/ 71 w 176"/>
                    <a:gd name="T43" fmla="*/ 83 h 120"/>
                    <a:gd name="T44" fmla="*/ 61 w 176"/>
                    <a:gd name="T45" fmla="*/ 86 h 120"/>
                    <a:gd name="T46" fmla="*/ 48 w 176"/>
                    <a:gd name="T47" fmla="*/ 75 h 120"/>
                    <a:gd name="T48" fmla="*/ 48 w 176"/>
                    <a:gd name="T49" fmla="*/ 67 h 120"/>
                    <a:gd name="T50" fmla="*/ 53 w 176"/>
                    <a:gd name="T51" fmla="*/ 62 h 120"/>
                    <a:gd name="T52" fmla="*/ 42 w 176"/>
                    <a:gd name="T53" fmla="*/ 59 h 120"/>
                    <a:gd name="T54" fmla="*/ 45 w 176"/>
                    <a:gd name="T55" fmla="*/ 51 h 120"/>
                    <a:gd name="T56" fmla="*/ 23 w 176"/>
                    <a:gd name="T57" fmla="*/ 103 h 120"/>
                    <a:gd name="T58" fmla="*/ 22 w 176"/>
                    <a:gd name="T59" fmla="*/ 105 h 120"/>
                    <a:gd name="T60" fmla="*/ 64 w 176"/>
                    <a:gd name="T61" fmla="*/ 98 h 120"/>
                    <a:gd name="T62" fmla="*/ 9 w 176"/>
                    <a:gd name="T63" fmla="*/ 91 h 120"/>
                    <a:gd name="T64" fmla="*/ 4 w 176"/>
                    <a:gd name="T65" fmla="*/ 87 h 120"/>
                    <a:gd name="T66" fmla="*/ 3 w 176"/>
                    <a:gd name="T67" fmla="*/ 91 h 120"/>
                    <a:gd name="T68" fmla="*/ 5 w 176"/>
                    <a:gd name="T69" fmla="*/ 98 h 120"/>
                    <a:gd name="T70" fmla="*/ 10 w 176"/>
                    <a:gd name="T71" fmla="*/ 103 h 120"/>
                    <a:gd name="T72" fmla="*/ 14 w 176"/>
                    <a:gd name="T73" fmla="*/ 110 h 120"/>
                    <a:gd name="T74" fmla="*/ 13 w 176"/>
                    <a:gd name="T75" fmla="*/ 119 h 120"/>
                    <a:gd name="T76" fmla="*/ 17 w 176"/>
                    <a:gd name="T77" fmla="*/ 109 h 120"/>
                    <a:gd name="T78" fmla="*/ 23 w 176"/>
                    <a:gd name="T79" fmla="*/ 99 h 120"/>
                    <a:gd name="T80" fmla="*/ 29 w 176"/>
                    <a:gd name="T81" fmla="*/ 97 h 120"/>
                    <a:gd name="T82" fmla="*/ 33 w 176"/>
                    <a:gd name="T83" fmla="*/ 89 h 120"/>
                    <a:gd name="T84" fmla="*/ 37 w 176"/>
                    <a:gd name="T85" fmla="*/ 84 h 120"/>
                    <a:gd name="T86" fmla="*/ 41 w 176"/>
                    <a:gd name="T87" fmla="*/ 81 h 120"/>
                    <a:gd name="T88" fmla="*/ 28 w 176"/>
                    <a:gd name="T89" fmla="*/ 77 h 120"/>
                    <a:gd name="T90" fmla="*/ 19 w 176"/>
                    <a:gd name="T91" fmla="*/ 81 h 120"/>
                    <a:gd name="T92" fmla="*/ 12 w 176"/>
                    <a:gd name="T93" fmla="*/ 86 h 120"/>
                    <a:gd name="T94" fmla="*/ 35 w 176"/>
                    <a:gd name="T95" fmla="*/ 76 h 120"/>
                    <a:gd name="T96" fmla="*/ 43 w 176"/>
                    <a:gd name="T97" fmla="*/ 76 h 120"/>
                    <a:gd name="T98" fmla="*/ 36 w 176"/>
                    <a:gd name="T99" fmla="*/ 75 h 120"/>
                    <a:gd name="T100" fmla="*/ 27 w 176"/>
                    <a:gd name="T101" fmla="*/ 59 h 120"/>
                    <a:gd name="T102" fmla="*/ 27 w 176"/>
                    <a:gd name="T103" fmla="*/ 65 h 120"/>
                    <a:gd name="T104" fmla="*/ 22 w 176"/>
                    <a:gd name="T105" fmla="*/ 70 h 120"/>
                    <a:gd name="T106" fmla="*/ 14 w 176"/>
                    <a:gd name="T107" fmla="*/ 68 h 120"/>
                    <a:gd name="T108" fmla="*/ 3 w 176"/>
                    <a:gd name="T109" fmla="*/ 64 h 120"/>
                    <a:gd name="T110" fmla="*/ 16 w 176"/>
                    <a:gd name="T111" fmla="*/ 54 h 120"/>
                    <a:gd name="T112" fmla="*/ 36 w 176"/>
                    <a:gd name="T113" fmla="*/ 52 h 120"/>
                    <a:gd name="T114" fmla="*/ 33 w 176"/>
                    <a:gd name="T115" fmla="*/ 57 h 120"/>
                    <a:gd name="T116" fmla="*/ 36 w 176"/>
                    <a:gd name="T117" fmla="*/ 52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76" h="120">
                      <a:moveTo>
                        <a:pt x="39" y="52"/>
                      </a:moveTo>
                      <a:cubicBezTo>
                        <a:pt x="40" y="50"/>
                        <a:pt x="40" y="50"/>
                        <a:pt x="40" y="50"/>
                      </a:cubicBezTo>
                      <a:cubicBezTo>
                        <a:pt x="41" y="48"/>
                        <a:pt x="41" y="48"/>
                        <a:pt x="41" y="48"/>
                      </a:cubicBezTo>
                      <a:cubicBezTo>
                        <a:pt x="41" y="45"/>
                        <a:pt x="41" y="45"/>
                        <a:pt x="41" y="45"/>
                      </a:cubicBezTo>
                      <a:cubicBezTo>
                        <a:pt x="39" y="45"/>
                        <a:pt x="39" y="45"/>
                        <a:pt x="39" y="45"/>
                      </a:cubicBezTo>
                      <a:cubicBezTo>
                        <a:pt x="38" y="42"/>
                        <a:pt x="38" y="42"/>
                        <a:pt x="38" y="42"/>
                      </a:cubicBezTo>
                      <a:cubicBezTo>
                        <a:pt x="38" y="42"/>
                        <a:pt x="39" y="41"/>
                        <a:pt x="40" y="41"/>
                      </a:cubicBezTo>
                      <a:cubicBezTo>
                        <a:pt x="40" y="40"/>
                        <a:pt x="43" y="40"/>
                        <a:pt x="43" y="40"/>
                      </a:cubicBezTo>
                      <a:cubicBezTo>
                        <a:pt x="45" y="38"/>
                        <a:pt x="45" y="38"/>
                        <a:pt x="45" y="38"/>
                      </a:cubicBezTo>
                      <a:cubicBezTo>
                        <a:pt x="45" y="38"/>
                        <a:pt x="44" y="36"/>
                        <a:pt x="46" y="36"/>
                      </a:cubicBezTo>
                      <a:cubicBezTo>
                        <a:pt x="47" y="36"/>
                        <a:pt x="49" y="36"/>
                        <a:pt x="50" y="36"/>
                      </a:cubicBezTo>
                      <a:cubicBezTo>
                        <a:pt x="51" y="36"/>
                        <a:pt x="52" y="35"/>
                        <a:pt x="52" y="35"/>
                      </a:cubicBezTo>
                      <a:cubicBezTo>
                        <a:pt x="54" y="35"/>
                        <a:pt x="55" y="36"/>
                        <a:pt x="54" y="35"/>
                      </a:cubicBezTo>
                      <a:cubicBezTo>
                        <a:pt x="54" y="35"/>
                        <a:pt x="54" y="34"/>
                        <a:pt x="53" y="33"/>
                      </a:cubicBezTo>
                      <a:cubicBezTo>
                        <a:pt x="52" y="32"/>
                        <a:pt x="49" y="30"/>
                        <a:pt x="51" y="29"/>
                      </a:cubicBezTo>
                      <a:cubicBezTo>
                        <a:pt x="52" y="28"/>
                        <a:pt x="53" y="28"/>
                        <a:pt x="54" y="29"/>
                      </a:cubicBezTo>
                      <a:cubicBezTo>
                        <a:pt x="55" y="29"/>
                        <a:pt x="56" y="31"/>
                        <a:pt x="56" y="31"/>
                      </a:cubicBezTo>
                      <a:cubicBezTo>
                        <a:pt x="56" y="27"/>
                        <a:pt x="56" y="27"/>
                        <a:pt x="56" y="27"/>
                      </a:cubicBezTo>
                      <a:cubicBezTo>
                        <a:pt x="56" y="27"/>
                        <a:pt x="59" y="27"/>
                        <a:pt x="60" y="26"/>
                      </a:cubicBezTo>
                      <a:cubicBezTo>
                        <a:pt x="60" y="25"/>
                        <a:pt x="59" y="23"/>
                        <a:pt x="59" y="23"/>
                      </a:cubicBezTo>
                      <a:cubicBezTo>
                        <a:pt x="59" y="23"/>
                        <a:pt x="59" y="23"/>
                        <a:pt x="62" y="23"/>
                      </a:cubicBezTo>
                      <a:cubicBezTo>
                        <a:pt x="65" y="22"/>
                        <a:pt x="64" y="22"/>
                        <a:pt x="66" y="22"/>
                      </a:cubicBezTo>
                      <a:cubicBezTo>
                        <a:pt x="67" y="22"/>
                        <a:pt x="70" y="22"/>
                        <a:pt x="70" y="22"/>
                      </a:cubicBezTo>
                      <a:cubicBezTo>
                        <a:pt x="70" y="22"/>
                        <a:pt x="72" y="21"/>
                        <a:pt x="71" y="20"/>
                      </a:cubicBezTo>
                      <a:cubicBezTo>
                        <a:pt x="71" y="19"/>
                        <a:pt x="69" y="17"/>
                        <a:pt x="69" y="17"/>
                      </a:cubicBezTo>
                      <a:cubicBezTo>
                        <a:pt x="69" y="17"/>
                        <a:pt x="70" y="14"/>
                        <a:pt x="70" y="15"/>
                      </a:cubicBezTo>
                      <a:cubicBezTo>
                        <a:pt x="70" y="17"/>
                        <a:pt x="73" y="19"/>
                        <a:pt x="73" y="19"/>
                      </a:cubicBezTo>
                      <a:cubicBezTo>
                        <a:pt x="75" y="17"/>
                        <a:pt x="75" y="17"/>
                        <a:pt x="75" y="17"/>
                      </a:cubicBezTo>
                      <a:cubicBezTo>
                        <a:pt x="78" y="16"/>
                        <a:pt x="78" y="16"/>
                        <a:pt x="78" y="16"/>
                      </a:cubicBezTo>
                      <a:cubicBezTo>
                        <a:pt x="81" y="15"/>
                        <a:pt x="81" y="15"/>
                        <a:pt x="81" y="15"/>
                      </a:cubicBezTo>
                      <a:cubicBezTo>
                        <a:pt x="81" y="15"/>
                        <a:pt x="84" y="15"/>
                        <a:pt x="86" y="15"/>
                      </a:cubicBezTo>
                      <a:cubicBezTo>
                        <a:pt x="87" y="15"/>
                        <a:pt x="90" y="14"/>
                        <a:pt x="90" y="14"/>
                      </a:cubicBezTo>
                      <a:cubicBezTo>
                        <a:pt x="91" y="12"/>
                        <a:pt x="91" y="12"/>
                        <a:pt x="91" y="12"/>
                      </a:cubicBezTo>
                      <a:cubicBezTo>
                        <a:pt x="87" y="8"/>
                        <a:pt x="87" y="8"/>
                        <a:pt x="87" y="8"/>
                      </a:cubicBezTo>
                      <a:cubicBezTo>
                        <a:pt x="87" y="8"/>
                        <a:pt x="89" y="5"/>
                        <a:pt x="89" y="6"/>
                      </a:cubicBezTo>
                      <a:cubicBezTo>
                        <a:pt x="90" y="7"/>
                        <a:pt x="90" y="9"/>
                        <a:pt x="91" y="9"/>
                      </a:cubicBezTo>
                      <a:cubicBezTo>
                        <a:pt x="92" y="9"/>
                        <a:pt x="93" y="10"/>
                        <a:pt x="94" y="9"/>
                      </a:cubicBezTo>
                      <a:cubicBezTo>
                        <a:pt x="94" y="8"/>
                        <a:pt x="94" y="5"/>
                        <a:pt x="94" y="5"/>
                      </a:cubicBezTo>
                      <a:cubicBezTo>
                        <a:pt x="94" y="5"/>
                        <a:pt x="93" y="4"/>
                        <a:pt x="94" y="4"/>
                      </a:cubicBezTo>
                      <a:cubicBezTo>
                        <a:pt x="95" y="5"/>
                        <a:pt x="97" y="7"/>
                        <a:pt x="97" y="7"/>
                      </a:cubicBezTo>
                      <a:cubicBezTo>
                        <a:pt x="100" y="7"/>
                        <a:pt x="100" y="7"/>
                        <a:pt x="100" y="7"/>
                      </a:cubicBezTo>
                      <a:cubicBezTo>
                        <a:pt x="103" y="4"/>
                        <a:pt x="103" y="4"/>
                        <a:pt x="103" y="4"/>
                      </a:cubicBezTo>
                      <a:cubicBezTo>
                        <a:pt x="104" y="6"/>
                        <a:pt x="104" y="6"/>
                        <a:pt x="104" y="6"/>
                      </a:cubicBezTo>
                      <a:cubicBezTo>
                        <a:pt x="104" y="6"/>
                        <a:pt x="106" y="5"/>
                        <a:pt x="107" y="5"/>
                      </a:cubicBezTo>
                      <a:cubicBezTo>
                        <a:pt x="108" y="5"/>
                        <a:pt x="108" y="4"/>
                        <a:pt x="109" y="4"/>
                      </a:cubicBezTo>
                      <a:cubicBezTo>
                        <a:pt x="110" y="4"/>
                        <a:pt x="112" y="5"/>
                        <a:pt x="112" y="5"/>
                      </a:cubicBezTo>
                      <a:cubicBezTo>
                        <a:pt x="117" y="6"/>
                        <a:pt x="117" y="6"/>
                        <a:pt x="117" y="6"/>
                      </a:cubicBezTo>
                      <a:cubicBezTo>
                        <a:pt x="119" y="3"/>
                        <a:pt x="119" y="3"/>
                        <a:pt x="119" y="3"/>
                      </a:cubicBezTo>
                      <a:cubicBezTo>
                        <a:pt x="124" y="5"/>
                        <a:pt x="124" y="5"/>
                        <a:pt x="124" y="5"/>
                      </a:cubicBezTo>
                      <a:cubicBezTo>
                        <a:pt x="128" y="7"/>
                        <a:pt x="128" y="7"/>
                        <a:pt x="128" y="7"/>
                      </a:cubicBezTo>
                      <a:cubicBezTo>
                        <a:pt x="133" y="7"/>
                        <a:pt x="133" y="7"/>
                        <a:pt x="133" y="7"/>
                      </a:cubicBezTo>
                      <a:cubicBezTo>
                        <a:pt x="133" y="7"/>
                        <a:pt x="137" y="5"/>
                        <a:pt x="138" y="5"/>
                      </a:cubicBezTo>
                      <a:cubicBezTo>
                        <a:pt x="140" y="4"/>
                        <a:pt x="144" y="4"/>
                        <a:pt x="144" y="4"/>
                      </a:cubicBezTo>
                      <a:cubicBezTo>
                        <a:pt x="144" y="4"/>
                        <a:pt x="145" y="4"/>
                        <a:pt x="147" y="4"/>
                      </a:cubicBezTo>
                      <a:cubicBezTo>
                        <a:pt x="149" y="3"/>
                        <a:pt x="154" y="3"/>
                        <a:pt x="154" y="3"/>
                      </a:cubicBezTo>
                      <a:cubicBezTo>
                        <a:pt x="157" y="0"/>
                        <a:pt x="157" y="0"/>
                        <a:pt x="157" y="0"/>
                      </a:cubicBezTo>
                      <a:cubicBezTo>
                        <a:pt x="162" y="2"/>
                        <a:pt x="162" y="2"/>
                        <a:pt x="162" y="2"/>
                      </a:cubicBezTo>
                      <a:cubicBezTo>
                        <a:pt x="162" y="4"/>
                        <a:pt x="162" y="4"/>
                        <a:pt x="162" y="4"/>
                      </a:cubicBezTo>
                      <a:cubicBezTo>
                        <a:pt x="157" y="8"/>
                        <a:pt x="157" y="8"/>
                        <a:pt x="157" y="8"/>
                      </a:cubicBezTo>
                      <a:cubicBezTo>
                        <a:pt x="157" y="15"/>
                        <a:pt x="157" y="15"/>
                        <a:pt x="157" y="15"/>
                      </a:cubicBezTo>
                      <a:cubicBezTo>
                        <a:pt x="156" y="25"/>
                        <a:pt x="153" y="30"/>
                        <a:pt x="152" y="36"/>
                      </a:cubicBezTo>
                      <a:cubicBezTo>
                        <a:pt x="151" y="39"/>
                        <a:pt x="149" y="40"/>
                        <a:pt x="152" y="45"/>
                      </a:cubicBezTo>
                      <a:cubicBezTo>
                        <a:pt x="154" y="47"/>
                        <a:pt x="154" y="54"/>
                        <a:pt x="158" y="58"/>
                      </a:cubicBezTo>
                      <a:cubicBezTo>
                        <a:pt x="160" y="60"/>
                        <a:pt x="158" y="65"/>
                        <a:pt x="161" y="67"/>
                      </a:cubicBezTo>
                      <a:cubicBezTo>
                        <a:pt x="161" y="67"/>
                        <a:pt x="161" y="68"/>
                        <a:pt x="162" y="70"/>
                      </a:cubicBezTo>
                      <a:cubicBezTo>
                        <a:pt x="164" y="72"/>
                        <a:pt x="164" y="71"/>
                        <a:pt x="165" y="72"/>
                      </a:cubicBezTo>
                      <a:cubicBezTo>
                        <a:pt x="165" y="72"/>
                        <a:pt x="167" y="73"/>
                        <a:pt x="168" y="74"/>
                      </a:cubicBezTo>
                      <a:cubicBezTo>
                        <a:pt x="169" y="75"/>
                        <a:pt x="169" y="77"/>
                        <a:pt x="169" y="78"/>
                      </a:cubicBezTo>
                      <a:cubicBezTo>
                        <a:pt x="169" y="79"/>
                        <a:pt x="170" y="80"/>
                        <a:pt x="170" y="80"/>
                      </a:cubicBezTo>
                      <a:cubicBezTo>
                        <a:pt x="170" y="80"/>
                        <a:pt x="171" y="79"/>
                        <a:pt x="171" y="80"/>
                      </a:cubicBezTo>
                      <a:cubicBezTo>
                        <a:pt x="171" y="81"/>
                        <a:pt x="170" y="79"/>
                        <a:pt x="171" y="81"/>
                      </a:cubicBezTo>
                      <a:cubicBezTo>
                        <a:pt x="173" y="83"/>
                        <a:pt x="176" y="83"/>
                        <a:pt x="176" y="83"/>
                      </a:cubicBezTo>
                      <a:cubicBezTo>
                        <a:pt x="175" y="87"/>
                        <a:pt x="175" y="87"/>
                        <a:pt x="175" y="87"/>
                      </a:cubicBezTo>
                      <a:cubicBezTo>
                        <a:pt x="173" y="88"/>
                        <a:pt x="173" y="88"/>
                        <a:pt x="173" y="88"/>
                      </a:cubicBezTo>
                      <a:cubicBezTo>
                        <a:pt x="173" y="88"/>
                        <a:pt x="168" y="88"/>
                        <a:pt x="168" y="90"/>
                      </a:cubicBezTo>
                      <a:cubicBezTo>
                        <a:pt x="168" y="91"/>
                        <a:pt x="168" y="95"/>
                        <a:pt x="168" y="95"/>
                      </a:cubicBezTo>
                      <a:cubicBezTo>
                        <a:pt x="165" y="98"/>
                        <a:pt x="165" y="98"/>
                        <a:pt x="165" y="98"/>
                      </a:cubicBezTo>
                      <a:cubicBezTo>
                        <a:pt x="165" y="98"/>
                        <a:pt x="167" y="102"/>
                        <a:pt x="167" y="103"/>
                      </a:cubicBezTo>
                      <a:cubicBezTo>
                        <a:pt x="167" y="104"/>
                        <a:pt x="168" y="104"/>
                        <a:pt x="168" y="104"/>
                      </a:cubicBezTo>
                      <a:cubicBezTo>
                        <a:pt x="165" y="105"/>
                        <a:pt x="165" y="105"/>
                        <a:pt x="165" y="105"/>
                      </a:cubicBezTo>
                      <a:cubicBezTo>
                        <a:pt x="161" y="105"/>
                        <a:pt x="161" y="105"/>
                        <a:pt x="161" y="105"/>
                      </a:cubicBezTo>
                      <a:cubicBezTo>
                        <a:pt x="153" y="103"/>
                        <a:pt x="153" y="103"/>
                        <a:pt x="153" y="103"/>
                      </a:cubicBezTo>
                      <a:cubicBezTo>
                        <a:pt x="151" y="106"/>
                        <a:pt x="151" y="106"/>
                        <a:pt x="151" y="106"/>
                      </a:cubicBezTo>
                      <a:cubicBezTo>
                        <a:pt x="149" y="106"/>
                        <a:pt x="149" y="106"/>
                        <a:pt x="149" y="106"/>
                      </a:cubicBezTo>
                      <a:cubicBezTo>
                        <a:pt x="149" y="106"/>
                        <a:pt x="148" y="108"/>
                        <a:pt x="146" y="109"/>
                      </a:cubicBezTo>
                      <a:cubicBezTo>
                        <a:pt x="145" y="110"/>
                        <a:pt x="144" y="111"/>
                        <a:pt x="143" y="111"/>
                      </a:cubicBezTo>
                      <a:cubicBezTo>
                        <a:pt x="141" y="112"/>
                        <a:pt x="139" y="110"/>
                        <a:pt x="139" y="110"/>
                      </a:cubicBezTo>
                      <a:cubicBezTo>
                        <a:pt x="136" y="109"/>
                        <a:pt x="136" y="109"/>
                        <a:pt x="136" y="109"/>
                      </a:cubicBezTo>
                      <a:cubicBezTo>
                        <a:pt x="133" y="105"/>
                        <a:pt x="133" y="105"/>
                        <a:pt x="133" y="105"/>
                      </a:cubicBezTo>
                      <a:cubicBezTo>
                        <a:pt x="124" y="99"/>
                        <a:pt x="124" y="99"/>
                        <a:pt x="124" y="99"/>
                      </a:cubicBezTo>
                      <a:cubicBezTo>
                        <a:pt x="119" y="97"/>
                        <a:pt x="119" y="97"/>
                        <a:pt x="119" y="97"/>
                      </a:cubicBezTo>
                      <a:cubicBezTo>
                        <a:pt x="115" y="96"/>
                        <a:pt x="115" y="96"/>
                        <a:pt x="115" y="96"/>
                      </a:cubicBezTo>
                      <a:cubicBezTo>
                        <a:pt x="110" y="96"/>
                        <a:pt x="110" y="96"/>
                        <a:pt x="110" y="96"/>
                      </a:cubicBezTo>
                      <a:cubicBezTo>
                        <a:pt x="106" y="94"/>
                        <a:pt x="106" y="94"/>
                        <a:pt x="106" y="94"/>
                      </a:cubicBezTo>
                      <a:cubicBezTo>
                        <a:pt x="102" y="94"/>
                        <a:pt x="102" y="94"/>
                        <a:pt x="102" y="94"/>
                      </a:cubicBezTo>
                      <a:cubicBezTo>
                        <a:pt x="97" y="92"/>
                        <a:pt x="97" y="92"/>
                        <a:pt x="97" y="92"/>
                      </a:cubicBezTo>
                      <a:cubicBezTo>
                        <a:pt x="93" y="95"/>
                        <a:pt x="93" y="95"/>
                        <a:pt x="93" y="95"/>
                      </a:cubicBezTo>
                      <a:cubicBezTo>
                        <a:pt x="88" y="98"/>
                        <a:pt x="88" y="98"/>
                        <a:pt x="88" y="98"/>
                      </a:cubicBezTo>
                      <a:cubicBezTo>
                        <a:pt x="83" y="103"/>
                        <a:pt x="83" y="103"/>
                        <a:pt x="83" y="103"/>
                      </a:cubicBezTo>
                      <a:cubicBezTo>
                        <a:pt x="83" y="103"/>
                        <a:pt x="80" y="106"/>
                        <a:pt x="78" y="107"/>
                      </a:cubicBezTo>
                      <a:cubicBezTo>
                        <a:pt x="77" y="106"/>
                        <a:pt x="77" y="106"/>
                        <a:pt x="77" y="106"/>
                      </a:cubicBezTo>
                      <a:cubicBezTo>
                        <a:pt x="77" y="106"/>
                        <a:pt x="77" y="103"/>
                        <a:pt x="78" y="101"/>
                      </a:cubicBezTo>
                      <a:cubicBezTo>
                        <a:pt x="79" y="100"/>
                        <a:pt x="79" y="98"/>
                        <a:pt x="79" y="97"/>
                      </a:cubicBezTo>
                      <a:cubicBezTo>
                        <a:pt x="79" y="96"/>
                        <a:pt x="79" y="94"/>
                        <a:pt x="78" y="92"/>
                      </a:cubicBezTo>
                      <a:cubicBezTo>
                        <a:pt x="78" y="90"/>
                        <a:pt x="77" y="87"/>
                        <a:pt x="77" y="87"/>
                      </a:cubicBezTo>
                      <a:cubicBezTo>
                        <a:pt x="80" y="85"/>
                        <a:pt x="80" y="85"/>
                        <a:pt x="80" y="85"/>
                      </a:cubicBezTo>
                      <a:cubicBezTo>
                        <a:pt x="78" y="80"/>
                        <a:pt x="78" y="80"/>
                        <a:pt x="78" y="80"/>
                      </a:cubicBezTo>
                      <a:cubicBezTo>
                        <a:pt x="76" y="80"/>
                        <a:pt x="76" y="80"/>
                        <a:pt x="76" y="80"/>
                      </a:cubicBezTo>
                      <a:cubicBezTo>
                        <a:pt x="73" y="80"/>
                        <a:pt x="73" y="80"/>
                        <a:pt x="73" y="80"/>
                      </a:cubicBezTo>
                      <a:cubicBezTo>
                        <a:pt x="71" y="83"/>
                        <a:pt x="71" y="83"/>
                        <a:pt x="71" y="83"/>
                      </a:cubicBezTo>
                      <a:cubicBezTo>
                        <a:pt x="71" y="83"/>
                        <a:pt x="72" y="85"/>
                        <a:pt x="72" y="86"/>
                      </a:cubicBezTo>
                      <a:cubicBezTo>
                        <a:pt x="71" y="87"/>
                        <a:pt x="69" y="87"/>
                        <a:pt x="69" y="87"/>
                      </a:cubicBezTo>
                      <a:cubicBezTo>
                        <a:pt x="68" y="88"/>
                        <a:pt x="68" y="91"/>
                        <a:pt x="68" y="91"/>
                      </a:cubicBezTo>
                      <a:cubicBezTo>
                        <a:pt x="64" y="87"/>
                        <a:pt x="64" y="87"/>
                        <a:pt x="64" y="87"/>
                      </a:cubicBezTo>
                      <a:cubicBezTo>
                        <a:pt x="64" y="87"/>
                        <a:pt x="62" y="87"/>
                        <a:pt x="61" y="86"/>
                      </a:cubicBezTo>
                      <a:cubicBezTo>
                        <a:pt x="60" y="86"/>
                        <a:pt x="58" y="86"/>
                        <a:pt x="58" y="86"/>
                      </a:cubicBezTo>
                      <a:cubicBezTo>
                        <a:pt x="58" y="86"/>
                        <a:pt x="58" y="86"/>
                        <a:pt x="57" y="86"/>
                      </a:cubicBezTo>
                      <a:cubicBezTo>
                        <a:pt x="55" y="86"/>
                        <a:pt x="55" y="86"/>
                        <a:pt x="54" y="84"/>
                      </a:cubicBezTo>
                      <a:cubicBezTo>
                        <a:pt x="53" y="82"/>
                        <a:pt x="50" y="77"/>
                        <a:pt x="50" y="77"/>
                      </a:cubicBezTo>
                      <a:cubicBezTo>
                        <a:pt x="50" y="77"/>
                        <a:pt x="49" y="75"/>
                        <a:pt x="48" y="75"/>
                      </a:cubicBezTo>
                      <a:cubicBezTo>
                        <a:pt x="48" y="75"/>
                        <a:pt x="47" y="77"/>
                        <a:pt x="47" y="77"/>
                      </a:cubicBezTo>
                      <a:cubicBezTo>
                        <a:pt x="46" y="77"/>
                        <a:pt x="46" y="75"/>
                        <a:pt x="46" y="74"/>
                      </a:cubicBezTo>
                      <a:cubicBezTo>
                        <a:pt x="46" y="73"/>
                        <a:pt x="46" y="72"/>
                        <a:pt x="46" y="70"/>
                      </a:cubicBezTo>
                      <a:cubicBezTo>
                        <a:pt x="46" y="68"/>
                        <a:pt x="45" y="66"/>
                        <a:pt x="46" y="66"/>
                      </a:cubicBezTo>
                      <a:cubicBezTo>
                        <a:pt x="46" y="66"/>
                        <a:pt x="47" y="67"/>
                        <a:pt x="48" y="67"/>
                      </a:cubicBezTo>
                      <a:cubicBezTo>
                        <a:pt x="49" y="67"/>
                        <a:pt x="49" y="65"/>
                        <a:pt x="49" y="65"/>
                      </a:cubicBezTo>
                      <a:cubicBezTo>
                        <a:pt x="50" y="65"/>
                        <a:pt x="51" y="66"/>
                        <a:pt x="51" y="66"/>
                      </a:cubicBezTo>
                      <a:cubicBezTo>
                        <a:pt x="52" y="66"/>
                        <a:pt x="53" y="66"/>
                        <a:pt x="53" y="66"/>
                      </a:cubicBezTo>
                      <a:cubicBezTo>
                        <a:pt x="54" y="65"/>
                        <a:pt x="54" y="65"/>
                        <a:pt x="54" y="64"/>
                      </a:cubicBezTo>
                      <a:cubicBezTo>
                        <a:pt x="54" y="63"/>
                        <a:pt x="53" y="62"/>
                        <a:pt x="53" y="62"/>
                      </a:cubicBezTo>
                      <a:cubicBezTo>
                        <a:pt x="52" y="62"/>
                        <a:pt x="46" y="65"/>
                        <a:pt x="46" y="65"/>
                      </a:cubicBezTo>
                      <a:cubicBezTo>
                        <a:pt x="42" y="65"/>
                        <a:pt x="42" y="65"/>
                        <a:pt x="42" y="65"/>
                      </a:cubicBezTo>
                      <a:cubicBezTo>
                        <a:pt x="44" y="63"/>
                        <a:pt x="44" y="63"/>
                        <a:pt x="44" y="63"/>
                      </a:cubicBezTo>
                      <a:cubicBezTo>
                        <a:pt x="42" y="61"/>
                        <a:pt x="42" y="61"/>
                        <a:pt x="42" y="61"/>
                      </a:cubicBezTo>
                      <a:cubicBezTo>
                        <a:pt x="42" y="59"/>
                        <a:pt x="42" y="59"/>
                        <a:pt x="42" y="59"/>
                      </a:cubicBezTo>
                      <a:cubicBezTo>
                        <a:pt x="40" y="58"/>
                        <a:pt x="40" y="58"/>
                        <a:pt x="40" y="58"/>
                      </a:cubicBezTo>
                      <a:cubicBezTo>
                        <a:pt x="41" y="56"/>
                        <a:pt x="41" y="56"/>
                        <a:pt x="41" y="56"/>
                      </a:cubicBezTo>
                      <a:cubicBezTo>
                        <a:pt x="43" y="56"/>
                        <a:pt x="43" y="56"/>
                        <a:pt x="43" y="56"/>
                      </a:cubicBezTo>
                      <a:cubicBezTo>
                        <a:pt x="45" y="55"/>
                        <a:pt x="45" y="55"/>
                        <a:pt x="45" y="55"/>
                      </a:cubicBezTo>
                      <a:cubicBezTo>
                        <a:pt x="45" y="51"/>
                        <a:pt x="45" y="51"/>
                        <a:pt x="45" y="51"/>
                      </a:cubicBezTo>
                      <a:cubicBezTo>
                        <a:pt x="43" y="52"/>
                        <a:pt x="43" y="52"/>
                        <a:pt x="43" y="52"/>
                      </a:cubicBezTo>
                      <a:cubicBezTo>
                        <a:pt x="44" y="54"/>
                        <a:pt x="44" y="54"/>
                        <a:pt x="44" y="54"/>
                      </a:cubicBezTo>
                      <a:cubicBezTo>
                        <a:pt x="40" y="54"/>
                        <a:pt x="40" y="54"/>
                        <a:pt x="40" y="54"/>
                      </a:cubicBezTo>
                      <a:cubicBezTo>
                        <a:pt x="39" y="52"/>
                        <a:pt x="39" y="52"/>
                        <a:pt x="39" y="52"/>
                      </a:cubicBezTo>
                      <a:close/>
                      <a:moveTo>
                        <a:pt x="23" y="103"/>
                      </a:moveTo>
                      <a:cubicBezTo>
                        <a:pt x="23" y="103"/>
                        <a:pt x="23" y="103"/>
                        <a:pt x="23" y="103"/>
                      </a:cubicBezTo>
                      <a:cubicBezTo>
                        <a:pt x="23" y="103"/>
                        <a:pt x="25" y="103"/>
                        <a:pt x="25" y="103"/>
                      </a:cubicBezTo>
                      <a:cubicBezTo>
                        <a:pt x="25" y="103"/>
                        <a:pt x="26" y="104"/>
                        <a:pt x="25" y="104"/>
                      </a:cubicBezTo>
                      <a:cubicBezTo>
                        <a:pt x="25" y="105"/>
                        <a:pt x="26" y="105"/>
                        <a:pt x="25" y="105"/>
                      </a:cubicBezTo>
                      <a:cubicBezTo>
                        <a:pt x="24" y="105"/>
                        <a:pt x="22" y="106"/>
                        <a:pt x="22" y="105"/>
                      </a:cubicBezTo>
                      <a:cubicBezTo>
                        <a:pt x="22" y="105"/>
                        <a:pt x="23" y="104"/>
                        <a:pt x="23" y="104"/>
                      </a:cubicBezTo>
                      <a:cubicBezTo>
                        <a:pt x="23" y="103"/>
                        <a:pt x="23" y="103"/>
                        <a:pt x="23" y="103"/>
                      </a:cubicBezTo>
                      <a:close/>
                      <a:moveTo>
                        <a:pt x="64" y="95"/>
                      </a:moveTo>
                      <a:cubicBezTo>
                        <a:pt x="64" y="95"/>
                        <a:pt x="64" y="95"/>
                        <a:pt x="64" y="95"/>
                      </a:cubicBezTo>
                      <a:cubicBezTo>
                        <a:pt x="64" y="95"/>
                        <a:pt x="63" y="98"/>
                        <a:pt x="64" y="98"/>
                      </a:cubicBezTo>
                      <a:cubicBezTo>
                        <a:pt x="64" y="98"/>
                        <a:pt x="65" y="98"/>
                        <a:pt x="66" y="98"/>
                      </a:cubicBezTo>
                      <a:cubicBezTo>
                        <a:pt x="67" y="97"/>
                        <a:pt x="67" y="97"/>
                        <a:pt x="67" y="97"/>
                      </a:cubicBezTo>
                      <a:cubicBezTo>
                        <a:pt x="67" y="96"/>
                        <a:pt x="67" y="95"/>
                        <a:pt x="67" y="95"/>
                      </a:cubicBezTo>
                      <a:cubicBezTo>
                        <a:pt x="64" y="95"/>
                        <a:pt x="64" y="95"/>
                        <a:pt x="64" y="95"/>
                      </a:cubicBezTo>
                      <a:close/>
                      <a:moveTo>
                        <a:pt x="9" y="91"/>
                      </a:moveTo>
                      <a:cubicBezTo>
                        <a:pt x="9" y="91"/>
                        <a:pt x="9" y="91"/>
                        <a:pt x="9" y="91"/>
                      </a:cubicBezTo>
                      <a:cubicBezTo>
                        <a:pt x="8" y="92"/>
                        <a:pt x="8" y="92"/>
                        <a:pt x="8" y="92"/>
                      </a:cubicBezTo>
                      <a:cubicBezTo>
                        <a:pt x="8" y="92"/>
                        <a:pt x="7" y="89"/>
                        <a:pt x="7" y="88"/>
                      </a:cubicBezTo>
                      <a:cubicBezTo>
                        <a:pt x="7" y="88"/>
                        <a:pt x="5" y="87"/>
                        <a:pt x="5" y="87"/>
                      </a:cubicBezTo>
                      <a:cubicBezTo>
                        <a:pt x="5" y="87"/>
                        <a:pt x="4" y="87"/>
                        <a:pt x="4" y="87"/>
                      </a:cubicBezTo>
                      <a:cubicBezTo>
                        <a:pt x="3" y="87"/>
                        <a:pt x="3" y="88"/>
                        <a:pt x="3" y="88"/>
                      </a:cubicBezTo>
                      <a:cubicBezTo>
                        <a:pt x="2" y="88"/>
                        <a:pt x="2" y="88"/>
                        <a:pt x="2" y="88"/>
                      </a:cubicBezTo>
                      <a:cubicBezTo>
                        <a:pt x="2" y="88"/>
                        <a:pt x="1" y="88"/>
                        <a:pt x="1" y="88"/>
                      </a:cubicBezTo>
                      <a:cubicBezTo>
                        <a:pt x="0" y="89"/>
                        <a:pt x="1" y="90"/>
                        <a:pt x="1" y="90"/>
                      </a:cubicBezTo>
                      <a:cubicBezTo>
                        <a:pt x="1" y="90"/>
                        <a:pt x="2" y="90"/>
                        <a:pt x="3" y="91"/>
                      </a:cubicBezTo>
                      <a:cubicBezTo>
                        <a:pt x="4" y="91"/>
                        <a:pt x="4" y="91"/>
                        <a:pt x="4" y="91"/>
                      </a:cubicBezTo>
                      <a:cubicBezTo>
                        <a:pt x="4" y="91"/>
                        <a:pt x="6" y="93"/>
                        <a:pt x="7" y="94"/>
                      </a:cubicBezTo>
                      <a:cubicBezTo>
                        <a:pt x="7" y="94"/>
                        <a:pt x="7" y="95"/>
                        <a:pt x="7" y="95"/>
                      </a:cubicBezTo>
                      <a:cubicBezTo>
                        <a:pt x="4" y="97"/>
                        <a:pt x="4" y="97"/>
                        <a:pt x="4" y="97"/>
                      </a:cubicBezTo>
                      <a:cubicBezTo>
                        <a:pt x="4" y="97"/>
                        <a:pt x="5" y="98"/>
                        <a:pt x="5" y="98"/>
                      </a:cubicBezTo>
                      <a:cubicBezTo>
                        <a:pt x="6" y="98"/>
                        <a:pt x="4" y="99"/>
                        <a:pt x="4" y="99"/>
                      </a:cubicBezTo>
                      <a:cubicBezTo>
                        <a:pt x="4" y="99"/>
                        <a:pt x="4" y="101"/>
                        <a:pt x="4" y="101"/>
                      </a:cubicBezTo>
                      <a:cubicBezTo>
                        <a:pt x="4" y="101"/>
                        <a:pt x="5" y="102"/>
                        <a:pt x="7" y="102"/>
                      </a:cubicBezTo>
                      <a:cubicBezTo>
                        <a:pt x="9" y="103"/>
                        <a:pt x="9" y="102"/>
                        <a:pt x="9" y="102"/>
                      </a:cubicBezTo>
                      <a:cubicBezTo>
                        <a:pt x="10" y="103"/>
                        <a:pt x="10" y="103"/>
                        <a:pt x="10" y="103"/>
                      </a:cubicBezTo>
                      <a:cubicBezTo>
                        <a:pt x="10" y="104"/>
                        <a:pt x="10" y="104"/>
                        <a:pt x="10" y="104"/>
                      </a:cubicBezTo>
                      <a:cubicBezTo>
                        <a:pt x="11" y="105"/>
                        <a:pt x="11" y="105"/>
                        <a:pt x="11" y="105"/>
                      </a:cubicBezTo>
                      <a:cubicBezTo>
                        <a:pt x="14" y="106"/>
                        <a:pt x="14" y="106"/>
                        <a:pt x="14" y="106"/>
                      </a:cubicBezTo>
                      <a:cubicBezTo>
                        <a:pt x="14" y="107"/>
                        <a:pt x="14" y="107"/>
                        <a:pt x="14" y="107"/>
                      </a:cubicBezTo>
                      <a:cubicBezTo>
                        <a:pt x="14" y="110"/>
                        <a:pt x="14" y="110"/>
                        <a:pt x="14" y="110"/>
                      </a:cubicBezTo>
                      <a:cubicBezTo>
                        <a:pt x="14" y="110"/>
                        <a:pt x="13" y="110"/>
                        <a:pt x="12" y="110"/>
                      </a:cubicBezTo>
                      <a:cubicBezTo>
                        <a:pt x="12" y="111"/>
                        <a:pt x="12" y="112"/>
                        <a:pt x="11" y="112"/>
                      </a:cubicBezTo>
                      <a:cubicBezTo>
                        <a:pt x="11" y="112"/>
                        <a:pt x="11" y="114"/>
                        <a:pt x="10" y="115"/>
                      </a:cubicBezTo>
                      <a:cubicBezTo>
                        <a:pt x="10" y="116"/>
                        <a:pt x="11" y="117"/>
                        <a:pt x="11" y="118"/>
                      </a:cubicBezTo>
                      <a:cubicBezTo>
                        <a:pt x="11" y="120"/>
                        <a:pt x="12" y="119"/>
                        <a:pt x="13" y="119"/>
                      </a:cubicBezTo>
                      <a:cubicBezTo>
                        <a:pt x="13" y="119"/>
                        <a:pt x="14" y="118"/>
                        <a:pt x="14" y="118"/>
                      </a:cubicBezTo>
                      <a:cubicBezTo>
                        <a:pt x="15" y="118"/>
                        <a:pt x="16" y="116"/>
                        <a:pt x="17" y="115"/>
                      </a:cubicBezTo>
                      <a:cubicBezTo>
                        <a:pt x="17" y="114"/>
                        <a:pt x="17" y="113"/>
                        <a:pt x="17" y="113"/>
                      </a:cubicBezTo>
                      <a:cubicBezTo>
                        <a:pt x="16" y="112"/>
                        <a:pt x="17" y="110"/>
                        <a:pt x="17" y="110"/>
                      </a:cubicBezTo>
                      <a:cubicBezTo>
                        <a:pt x="17" y="109"/>
                        <a:pt x="17" y="109"/>
                        <a:pt x="17" y="109"/>
                      </a:cubicBezTo>
                      <a:cubicBezTo>
                        <a:pt x="16" y="105"/>
                        <a:pt x="16" y="105"/>
                        <a:pt x="16" y="105"/>
                      </a:cubicBezTo>
                      <a:cubicBezTo>
                        <a:pt x="18" y="101"/>
                        <a:pt x="18" y="101"/>
                        <a:pt x="18" y="101"/>
                      </a:cubicBezTo>
                      <a:cubicBezTo>
                        <a:pt x="20" y="101"/>
                        <a:pt x="20" y="101"/>
                        <a:pt x="20" y="101"/>
                      </a:cubicBezTo>
                      <a:cubicBezTo>
                        <a:pt x="23" y="99"/>
                        <a:pt x="23" y="99"/>
                        <a:pt x="23" y="99"/>
                      </a:cubicBezTo>
                      <a:cubicBezTo>
                        <a:pt x="23" y="99"/>
                        <a:pt x="23" y="99"/>
                        <a:pt x="23" y="99"/>
                      </a:cubicBezTo>
                      <a:cubicBezTo>
                        <a:pt x="23" y="99"/>
                        <a:pt x="24" y="99"/>
                        <a:pt x="25" y="98"/>
                      </a:cubicBezTo>
                      <a:cubicBezTo>
                        <a:pt x="27" y="98"/>
                        <a:pt x="26" y="99"/>
                        <a:pt x="27" y="99"/>
                      </a:cubicBezTo>
                      <a:cubicBezTo>
                        <a:pt x="27" y="100"/>
                        <a:pt x="28" y="100"/>
                        <a:pt x="29" y="100"/>
                      </a:cubicBezTo>
                      <a:cubicBezTo>
                        <a:pt x="29" y="100"/>
                        <a:pt x="30" y="98"/>
                        <a:pt x="30" y="98"/>
                      </a:cubicBezTo>
                      <a:cubicBezTo>
                        <a:pt x="30" y="97"/>
                        <a:pt x="29" y="97"/>
                        <a:pt x="29" y="97"/>
                      </a:cubicBezTo>
                      <a:cubicBezTo>
                        <a:pt x="28" y="95"/>
                        <a:pt x="28" y="95"/>
                        <a:pt x="28" y="95"/>
                      </a:cubicBezTo>
                      <a:cubicBezTo>
                        <a:pt x="31" y="94"/>
                        <a:pt x="31" y="94"/>
                        <a:pt x="31" y="94"/>
                      </a:cubicBezTo>
                      <a:cubicBezTo>
                        <a:pt x="32" y="93"/>
                        <a:pt x="32" y="93"/>
                        <a:pt x="32" y="93"/>
                      </a:cubicBezTo>
                      <a:cubicBezTo>
                        <a:pt x="34" y="91"/>
                        <a:pt x="34" y="91"/>
                        <a:pt x="34" y="91"/>
                      </a:cubicBezTo>
                      <a:cubicBezTo>
                        <a:pt x="33" y="89"/>
                        <a:pt x="33" y="89"/>
                        <a:pt x="33" y="89"/>
                      </a:cubicBezTo>
                      <a:cubicBezTo>
                        <a:pt x="33" y="89"/>
                        <a:pt x="35" y="89"/>
                        <a:pt x="36" y="89"/>
                      </a:cubicBezTo>
                      <a:cubicBezTo>
                        <a:pt x="36" y="89"/>
                        <a:pt x="36" y="88"/>
                        <a:pt x="36" y="88"/>
                      </a:cubicBezTo>
                      <a:cubicBezTo>
                        <a:pt x="35" y="86"/>
                        <a:pt x="35" y="86"/>
                        <a:pt x="35" y="86"/>
                      </a:cubicBezTo>
                      <a:cubicBezTo>
                        <a:pt x="35" y="86"/>
                        <a:pt x="37" y="86"/>
                        <a:pt x="38" y="85"/>
                      </a:cubicBezTo>
                      <a:cubicBezTo>
                        <a:pt x="38" y="85"/>
                        <a:pt x="37" y="84"/>
                        <a:pt x="37" y="84"/>
                      </a:cubicBezTo>
                      <a:cubicBezTo>
                        <a:pt x="37" y="83"/>
                        <a:pt x="38" y="82"/>
                        <a:pt x="38" y="82"/>
                      </a:cubicBezTo>
                      <a:cubicBezTo>
                        <a:pt x="38" y="82"/>
                        <a:pt x="40" y="84"/>
                        <a:pt x="41" y="84"/>
                      </a:cubicBezTo>
                      <a:cubicBezTo>
                        <a:pt x="42" y="85"/>
                        <a:pt x="42" y="84"/>
                        <a:pt x="43" y="84"/>
                      </a:cubicBezTo>
                      <a:cubicBezTo>
                        <a:pt x="43" y="83"/>
                        <a:pt x="42" y="82"/>
                        <a:pt x="42" y="82"/>
                      </a:cubicBezTo>
                      <a:cubicBezTo>
                        <a:pt x="41" y="81"/>
                        <a:pt x="41" y="81"/>
                        <a:pt x="41" y="81"/>
                      </a:cubicBezTo>
                      <a:cubicBezTo>
                        <a:pt x="38" y="80"/>
                        <a:pt x="38" y="80"/>
                        <a:pt x="38" y="80"/>
                      </a:cubicBezTo>
                      <a:cubicBezTo>
                        <a:pt x="34" y="78"/>
                        <a:pt x="34" y="78"/>
                        <a:pt x="34" y="78"/>
                      </a:cubicBezTo>
                      <a:cubicBezTo>
                        <a:pt x="34" y="78"/>
                        <a:pt x="31" y="78"/>
                        <a:pt x="31" y="77"/>
                      </a:cubicBezTo>
                      <a:cubicBezTo>
                        <a:pt x="30" y="77"/>
                        <a:pt x="30" y="77"/>
                        <a:pt x="30" y="77"/>
                      </a:cubicBezTo>
                      <a:cubicBezTo>
                        <a:pt x="30" y="77"/>
                        <a:pt x="28" y="77"/>
                        <a:pt x="28" y="77"/>
                      </a:cubicBezTo>
                      <a:cubicBezTo>
                        <a:pt x="27" y="77"/>
                        <a:pt x="26" y="78"/>
                        <a:pt x="25" y="79"/>
                      </a:cubicBezTo>
                      <a:cubicBezTo>
                        <a:pt x="25" y="79"/>
                        <a:pt x="24" y="80"/>
                        <a:pt x="23" y="80"/>
                      </a:cubicBezTo>
                      <a:cubicBezTo>
                        <a:pt x="23" y="80"/>
                        <a:pt x="22" y="78"/>
                        <a:pt x="22" y="78"/>
                      </a:cubicBezTo>
                      <a:cubicBezTo>
                        <a:pt x="20" y="78"/>
                        <a:pt x="20" y="78"/>
                        <a:pt x="20" y="78"/>
                      </a:cubicBezTo>
                      <a:cubicBezTo>
                        <a:pt x="20" y="78"/>
                        <a:pt x="19" y="80"/>
                        <a:pt x="19" y="81"/>
                      </a:cubicBezTo>
                      <a:cubicBezTo>
                        <a:pt x="19" y="81"/>
                        <a:pt x="17" y="81"/>
                        <a:pt x="16" y="81"/>
                      </a:cubicBezTo>
                      <a:cubicBezTo>
                        <a:pt x="15" y="82"/>
                        <a:pt x="14" y="82"/>
                        <a:pt x="13" y="83"/>
                      </a:cubicBezTo>
                      <a:cubicBezTo>
                        <a:pt x="12" y="83"/>
                        <a:pt x="14" y="84"/>
                        <a:pt x="14" y="84"/>
                      </a:cubicBezTo>
                      <a:cubicBezTo>
                        <a:pt x="14" y="86"/>
                        <a:pt x="14" y="86"/>
                        <a:pt x="14" y="86"/>
                      </a:cubicBezTo>
                      <a:cubicBezTo>
                        <a:pt x="12" y="86"/>
                        <a:pt x="12" y="86"/>
                        <a:pt x="12" y="86"/>
                      </a:cubicBezTo>
                      <a:cubicBezTo>
                        <a:pt x="11" y="85"/>
                        <a:pt x="11" y="85"/>
                        <a:pt x="11" y="85"/>
                      </a:cubicBezTo>
                      <a:cubicBezTo>
                        <a:pt x="9" y="87"/>
                        <a:pt x="9" y="87"/>
                        <a:pt x="9" y="87"/>
                      </a:cubicBezTo>
                      <a:cubicBezTo>
                        <a:pt x="8" y="89"/>
                        <a:pt x="8" y="89"/>
                        <a:pt x="8" y="89"/>
                      </a:cubicBezTo>
                      <a:cubicBezTo>
                        <a:pt x="8" y="89"/>
                        <a:pt x="9" y="91"/>
                        <a:pt x="9" y="91"/>
                      </a:cubicBezTo>
                      <a:close/>
                      <a:moveTo>
                        <a:pt x="35" y="76"/>
                      </a:moveTo>
                      <a:cubicBezTo>
                        <a:pt x="35" y="76"/>
                        <a:pt x="35" y="76"/>
                        <a:pt x="35" y="76"/>
                      </a:cubicBezTo>
                      <a:cubicBezTo>
                        <a:pt x="36" y="77"/>
                        <a:pt x="36" y="77"/>
                        <a:pt x="36" y="77"/>
                      </a:cubicBezTo>
                      <a:cubicBezTo>
                        <a:pt x="36" y="77"/>
                        <a:pt x="37" y="78"/>
                        <a:pt x="39" y="78"/>
                      </a:cubicBezTo>
                      <a:cubicBezTo>
                        <a:pt x="42" y="78"/>
                        <a:pt x="42" y="80"/>
                        <a:pt x="44" y="78"/>
                      </a:cubicBezTo>
                      <a:cubicBezTo>
                        <a:pt x="44" y="77"/>
                        <a:pt x="44" y="77"/>
                        <a:pt x="43" y="76"/>
                      </a:cubicBezTo>
                      <a:cubicBezTo>
                        <a:pt x="43" y="75"/>
                        <a:pt x="42" y="75"/>
                        <a:pt x="42" y="74"/>
                      </a:cubicBezTo>
                      <a:cubicBezTo>
                        <a:pt x="42" y="74"/>
                        <a:pt x="42" y="74"/>
                        <a:pt x="40" y="72"/>
                      </a:cubicBezTo>
                      <a:cubicBezTo>
                        <a:pt x="39" y="71"/>
                        <a:pt x="39" y="72"/>
                        <a:pt x="38" y="72"/>
                      </a:cubicBezTo>
                      <a:cubicBezTo>
                        <a:pt x="37" y="72"/>
                        <a:pt x="36" y="72"/>
                        <a:pt x="35" y="72"/>
                      </a:cubicBezTo>
                      <a:cubicBezTo>
                        <a:pt x="34" y="73"/>
                        <a:pt x="36" y="74"/>
                        <a:pt x="36" y="75"/>
                      </a:cubicBezTo>
                      <a:cubicBezTo>
                        <a:pt x="36" y="75"/>
                        <a:pt x="35" y="76"/>
                        <a:pt x="35" y="76"/>
                      </a:cubicBezTo>
                      <a:close/>
                      <a:moveTo>
                        <a:pt x="22" y="57"/>
                      </a:moveTo>
                      <a:cubicBezTo>
                        <a:pt x="22" y="57"/>
                        <a:pt x="22" y="57"/>
                        <a:pt x="22" y="57"/>
                      </a:cubicBezTo>
                      <a:cubicBezTo>
                        <a:pt x="22" y="56"/>
                        <a:pt x="24" y="56"/>
                        <a:pt x="25" y="57"/>
                      </a:cubicBezTo>
                      <a:cubicBezTo>
                        <a:pt x="25" y="57"/>
                        <a:pt x="27" y="58"/>
                        <a:pt x="27" y="59"/>
                      </a:cubicBezTo>
                      <a:cubicBezTo>
                        <a:pt x="27" y="59"/>
                        <a:pt x="28" y="59"/>
                        <a:pt x="28" y="60"/>
                      </a:cubicBezTo>
                      <a:cubicBezTo>
                        <a:pt x="28" y="60"/>
                        <a:pt x="29" y="61"/>
                        <a:pt x="29" y="62"/>
                      </a:cubicBezTo>
                      <a:cubicBezTo>
                        <a:pt x="30" y="63"/>
                        <a:pt x="31" y="64"/>
                        <a:pt x="31" y="64"/>
                      </a:cubicBezTo>
                      <a:cubicBezTo>
                        <a:pt x="31" y="64"/>
                        <a:pt x="32" y="65"/>
                        <a:pt x="31" y="65"/>
                      </a:cubicBezTo>
                      <a:cubicBezTo>
                        <a:pt x="30" y="65"/>
                        <a:pt x="27" y="65"/>
                        <a:pt x="27" y="65"/>
                      </a:cubicBezTo>
                      <a:cubicBezTo>
                        <a:pt x="27" y="65"/>
                        <a:pt x="26" y="66"/>
                        <a:pt x="26" y="66"/>
                      </a:cubicBezTo>
                      <a:cubicBezTo>
                        <a:pt x="26" y="67"/>
                        <a:pt x="28" y="68"/>
                        <a:pt x="27" y="68"/>
                      </a:cubicBezTo>
                      <a:cubicBezTo>
                        <a:pt x="26" y="69"/>
                        <a:pt x="26" y="69"/>
                        <a:pt x="25" y="69"/>
                      </a:cubicBezTo>
                      <a:cubicBezTo>
                        <a:pt x="24" y="68"/>
                        <a:pt x="23" y="66"/>
                        <a:pt x="23" y="66"/>
                      </a:cubicBezTo>
                      <a:cubicBezTo>
                        <a:pt x="22" y="67"/>
                        <a:pt x="22" y="70"/>
                        <a:pt x="22" y="70"/>
                      </a:cubicBezTo>
                      <a:cubicBezTo>
                        <a:pt x="22" y="71"/>
                        <a:pt x="23" y="72"/>
                        <a:pt x="22" y="73"/>
                      </a:cubicBezTo>
                      <a:cubicBezTo>
                        <a:pt x="22" y="73"/>
                        <a:pt x="19" y="74"/>
                        <a:pt x="19" y="74"/>
                      </a:cubicBezTo>
                      <a:cubicBezTo>
                        <a:pt x="19" y="74"/>
                        <a:pt x="18" y="74"/>
                        <a:pt x="18" y="74"/>
                      </a:cubicBezTo>
                      <a:cubicBezTo>
                        <a:pt x="17" y="74"/>
                        <a:pt x="15" y="72"/>
                        <a:pt x="14" y="71"/>
                      </a:cubicBezTo>
                      <a:cubicBezTo>
                        <a:pt x="14" y="70"/>
                        <a:pt x="14" y="68"/>
                        <a:pt x="14" y="68"/>
                      </a:cubicBezTo>
                      <a:cubicBezTo>
                        <a:pt x="13" y="67"/>
                        <a:pt x="12" y="66"/>
                        <a:pt x="12" y="66"/>
                      </a:cubicBezTo>
                      <a:cubicBezTo>
                        <a:pt x="12" y="66"/>
                        <a:pt x="13" y="65"/>
                        <a:pt x="11" y="66"/>
                      </a:cubicBezTo>
                      <a:cubicBezTo>
                        <a:pt x="8" y="66"/>
                        <a:pt x="9" y="67"/>
                        <a:pt x="8" y="67"/>
                      </a:cubicBezTo>
                      <a:cubicBezTo>
                        <a:pt x="7" y="66"/>
                        <a:pt x="7" y="65"/>
                        <a:pt x="5" y="65"/>
                      </a:cubicBezTo>
                      <a:cubicBezTo>
                        <a:pt x="4" y="65"/>
                        <a:pt x="3" y="64"/>
                        <a:pt x="3" y="64"/>
                      </a:cubicBezTo>
                      <a:cubicBezTo>
                        <a:pt x="3" y="64"/>
                        <a:pt x="6" y="62"/>
                        <a:pt x="7" y="62"/>
                      </a:cubicBezTo>
                      <a:cubicBezTo>
                        <a:pt x="8" y="62"/>
                        <a:pt x="7" y="62"/>
                        <a:pt x="9" y="62"/>
                      </a:cubicBezTo>
                      <a:cubicBezTo>
                        <a:pt x="12" y="61"/>
                        <a:pt x="13" y="63"/>
                        <a:pt x="13" y="61"/>
                      </a:cubicBezTo>
                      <a:cubicBezTo>
                        <a:pt x="14" y="59"/>
                        <a:pt x="14" y="58"/>
                        <a:pt x="15" y="57"/>
                      </a:cubicBezTo>
                      <a:cubicBezTo>
                        <a:pt x="15" y="56"/>
                        <a:pt x="16" y="54"/>
                        <a:pt x="16" y="54"/>
                      </a:cubicBezTo>
                      <a:cubicBezTo>
                        <a:pt x="16" y="53"/>
                        <a:pt x="19" y="53"/>
                        <a:pt x="19" y="53"/>
                      </a:cubicBezTo>
                      <a:cubicBezTo>
                        <a:pt x="20" y="56"/>
                        <a:pt x="20" y="56"/>
                        <a:pt x="20" y="56"/>
                      </a:cubicBezTo>
                      <a:cubicBezTo>
                        <a:pt x="20" y="56"/>
                        <a:pt x="20" y="57"/>
                        <a:pt x="21" y="57"/>
                      </a:cubicBezTo>
                      <a:cubicBezTo>
                        <a:pt x="22" y="57"/>
                        <a:pt x="22" y="57"/>
                        <a:pt x="22" y="57"/>
                      </a:cubicBezTo>
                      <a:close/>
                      <a:moveTo>
                        <a:pt x="36" y="52"/>
                      </a:moveTo>
                      <a:cubicBezTo>
                        <a:pt x="36" y="52"/>
                        <a:pt x="36" y="52"/>
                        <a:pt x="36" y="52"/>
                      </a:cubicBezTo>
                      <a:cubicBezTo>
                        <a:pt x="35" y="53"/>
                        <a:pt x="35" y="53"/>
                        <a:pt x="35" y="53"/>
                      </a:cubicBezTo>
                      <a:cubicBezTo>
                        <a:pt x="31" y="53"/>
                        <a:pt x="31" y="53"/>
                        <a:pt x="31" y="53"/>
                      </a:cubicBezTo>
                      <a:cubicBezTo>
                        <a:pt x="31" y="55"/>
                        <a:pt x="31" y="55"/>
                        <a:pt x="31" y="55"/>
                      </a:cubicBezTo>
                      <a:cubicBezTo>
                        <a:pt x="33" y="57"/>
                        <a:pt x="33" y="57"/>
                        <a:pt x="33" y="57"/>
                      </a:cubicBezTo>
                      <a:cubicBezTo>
                        <a:pt x="33" y="57"/>
                        <a:pt x="34" y="56"/>
                        <a:pt x="35" y="56"/>
                      </a:cubicBezTo>
                      <a:cubicBezTo>
                        <a:pt x="36" y="56"/>
                        <a:pt x="38" y="56"/>
                        <a:pt x="38" y="56"/>
                      </a:cubicBezTo>
                      <a:cubicBezTo>
                        <a:pt x="39" y="55"/>
                        <a:pt x="39" y="55"/>
                        <a:pt x="39" y="55"/>
                      </a:cubicBezTo>
                      <a:cubicBezTo>
                        <a:pt x="38" y="52"/>
                        <a:pt x="38" y="52"/>
                        <a:pt x="38" y="52"/>
                      </a:cubicBezTo>
                      <a:lnTo>
                        <a:pt x="36" y="52"/>
                      </a:lnTo>
                      <a:close/>
                    </a:path>
                  </a:pathLst>
                </a:custGeom>
                <a:solidFill>
                  <a:srgbClr val="E6EFF1"/>
                </a:solidFill>
                <a:ln w="12700" cap="rnd" cmpd="sng">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Lato Light"/>
                  </a:endParaRPr>
                </a:p>
              </p:txBody>
            </p:sp>
            <p:sp>
              <p:nvSpPr>
                <p:cNvPr id="31" name="Freeform 195">
                  <a:extLst>
                    <a:ext uri="{FF2B5EF4-FFF2-40B4-BE49-F238E27FC236}">
                      <a16:creationId xmlns:a16="http://schemas.microsoft.com/office/drawing/2014/main" id="{817F40B1-2F28-E291-7E98-B812ABA36137}"/>
                    </a:ext>
                  </a:extLst>
                </p:cNvPr>
                <p:cNvSpPr>
                  <a:spLocks/>
                </p:cNvSpPr>
                <p:nvPr/>
              </p:nvSpPr>
              <p:spPr bwMode="auto">
                <a:xfrm>
                  <a:off x="5343557" y="4733066"/>
                  <a:ext cx="702939" cy="513047"/>
                </a:xfrm>
                <a:custGeom>
                  <a:avLst/>
                  <a:gdLst>
                    <a:gd name="T0" fmla="*/ 7 w 244"/>
                    <a:gd name="T1" fmla="*/ 36 h 184"/>
                    <a:gd name="T2" fmla="*/ 21 w 244"/>
                    <a:gd name="T3" fmla="*/ 52 h 184"/>
                    <a:gd name="T4" fmla="*/ 77 w 244"/>
                    <a:gd name="T5" fmla="*/ 49 h 184"/>
                    <a:gd name="T6" fmla="*/ 144 w 244"/>
                    <a:gd name="T7" fmla="*/ 21 h 184"/>
                    <a:gd name="T8" fmla="*/ 203 w 244"/>
                    <a:gd name="T9" fmla="*/ 3 h 184"/>
                    <a:gd name="T10" fmla="*/ 238 w 244"/>
                    <a:gd name="T11" fmla="*/ 8 h 184"/>
                    <a:gd name="T12" fmla="*/ 241 w 244"/>
                    <a:gd name="T13" fmla="*/ 22 h 184"/>
                    <a:gd name="T14" fmla="*/ 232 w 244"/>
                    <a:gd name="T15" fmla="*/ 27 h 184"/>
                    <a:gd name="T16" fmla="*/ 225 w 244"/>
                    <a:gd name="T17" fmla="*/ 36 h 184"/>
                    <a:gd name="T18" fmla="*/ 225 w 244"/>
                    <a:gd name="T19" fmla="*/ 56 h 184"/>
                    <a:gd name="T20" fmla="*/ 222 w 244"/>
                    <a:gd name="T21" fmla="*/ 69 h 184"/>
                    <a:gd name="T22" fmla="*/ 220 w 244"/>
                    <a:gd name="T23" fmla="*/ 76 h 184"/>
                    <a:gd name="T24" fmla="*/ 216 w 244"/>
                    <a:gd name="T25" fmla="*/ 83 h 184"/>
                    <a:gd name="T26" fmla="*/ 232 w 244"/>
                    <a:gd name="T27" fmla="*/ 92 h 184"/>
                    <a:gd name="T28" fmla="*/ 244 w 244"/>
                    <a:gd name="T29" fmla="*/ 102 h 184"/>
                    <a:gd name="T30" fmla="*/ 231 w 244"/>
                    <a:gd name="T31" fmla="*/ 108 h 184"/>
                    <a:gd name="T32" fmla="*/ 211 w 244"/>
                    <a:gd name="T33" fmla="*/ 106 h 184"/>
                    <a:gd name="T34" fmla="*/ 201 w 244"/>
                    <a:gd name="T35" fmla="*/ 115 h 184"/>
                    <a:gd name="T36" fmla="*/ 188 w 244"/>
                    <a:gd name="T37" fmla="*/ 126 h 184"/>
                    <a:gd name="T38" fmla="*/ 181 w 244"/>
                    <a:gd name="T39" fmla="*/ 135 h 184"/>
                    <a:gd name="T40" fmla="*/ 179 w 244"/>
                    <a:gd name="T41" fmla="*/ 147 h 184"/>
                    <a:gd name="T42" fmla="*/ 174 w 244"/>
                    <a:gd name="T43" fmla="*/ 158 h 184"/>
                    <a:gd name="T44" fmla="*/ 155 w 244"/>
                    <a:gd name="T45" fmla="*/ 165 h 184"/>
                    <a:gd name="T46" fmla="*/ 139 w 244"/>
                    <a:gd name="T47" fmla="*/ 167 h 184"/>
                    <a:gd name="T48" fmla="*/ 116 w 244"/>
                    <a:gd name="T49" fmla="*/ 164 h 184"/>
                    <a:gd name="T50" fmla="*/ 104 w 244"/>
                    <a:gd name="T51" fmla="*/ 163 h 184"/>
                    <a:gd name="T52" fmla="*/ 92 w 244"/>
                    <a:gd name="T53" fmla="*/ 169 h 184"/>
                    <a:gd name="T54" fmla="*/ 70 w 244"/>
                    <a:gd name="T55" fmla="*/ 177 h 184"/>
                    <a:gd name="T56" fmla="*/ 57 w 244"/>
                    <a:gd name="T57" fmla="*/ 184 h 184"/>
                    <a:gd name="T58" fmla="*/ 51 w 244"/>
                    <a:gd name="T59" fmla="*/ 183 h 184"/>
                    <a:gd name="T60" fmla="*/ 48 w 244"/>
                    <a:gd name="T61" fmla="*/ 172 h 184"/>
                    <a:gd name="T62" fmla="*/ 50 w 244"/>
                    <a:gd name="T63" fmla="*/ 165 h 184"/>
                    <a:gd name="T64" fmla="*/ 24 w 244"/>
                    <a:gd name="T65" fmla="*/ 143 h 184"/>
                    <a:gd name="T66" fmla="*/ 21 w 244"/>
                    <a:gd name="T67" fmla="*/ 138 h 184"/>
                    <a:gd name="T68" fmla="*/ 20 w 244"/>
                    <a:gd name="T69" fmla="*/ 133 h 184"/>
                    <a:gd name="T70" fmla="*/ 20 w 244"/>
                    <a:gd name="T71" fmla="*/ 125 h 184"/>
                    <a:gd name="T72" fmla="*/ 16 w 244"/>
                    <a:gd name="T73" fmla="*/ 113 h 184"/>
                    <a:gd name="T74" fmla="*/ 19 w 244"/>
                    <a:gd name="T75" fmla="*/ 106 h 184"/>
                    <a:gd name="T76" fmla="*/ 25 w 244"/>
                    <a:gd name="T77" fmla="*/ 99 h 184"/>
                    <a:gd name="T78" fmla="*/ 33 w 244"/>
                    <a:gd name="T79" fmla="*/ 84 h 184"/>
                    <a:gd name="T80" fmla="*/ 21 w 244"/>
                    <a:gd name="T81" fmla="*/ 77 h 184"/>
                    <a:gd name="T82" fmla="*/ 11 w 244"/>
                    <a:gd name="T83" fmla="*/ 73 h 184"/>
                    <a:gd name="T84" fmla="*/ 2 w 244"/>
                    <a:gd name="T85" fmla="*/ 60 h 184"/>
                    <a:gd name="T86" fmla="*/ 1 w 244"/>
                    <a:gd name="T87" fmla="*/ 47 h 184"/>
                    <a:gd name="T88" fmla="*/ 7 w 244"/>
                    <a:gd name="T89" fmla="*/ 39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44" h="184">
                      <a:moveTo>
                        <a:pt x="7" y="38"/>
                      </a:moveTo>
                      <a:cubicBezTo>
                        <a:pt x="7" y="36"/>
                        <a:pt x="7" y="36"/>
                        <a:pt x="7" y="36"/>
                      </a:cubicBezTo>
                      <a:cubicBezTo>
                        <a:pt x="7" y="36"/>
                        <a:pt x="7" y="36"/>
                        <a:pt x="7" y="36"/>
                      </a:cubicBezTo>
                      <a:cubicBezTo>
                        <a:pt x="14" y="34"/>
                        <a:pt x="20" y="38"/>
                        <a:pt x="23" y="38"/>
                      </a:cubicBezTo>
                      <a:cubicBezTo>
                        <a:pt x="29" y="39"/>
                        <a:pt x="16" y="46"/>
                        <a:pt x="18" y="46"/>
                      </a:cubicBezTo>
                      <a:cubicBezTo>
                        <a:pt x="20" y="45"/>
                        <a:pt x="18" y="51"/>
                        <a:pt x="21" y="52"/>
                      </a:cubicBezTo>
                      <a:cubicBezTo>
                        <a:pt x="26" y="53"/>
                        <a:pt x="30" y="49"/>
                        <a:pt x="36" y="49"/>
                      </a:cubicBezTo>
                      <a:cubicBezTo>
                        <a:pt x="41" y="48"/>
                        <a:pt x="47" y="51"/>
                        <a:pt x="49" y="49"/>
                      </a:cubicBezTo>
                      <a:cubicBezTo>
                        <a:pt x="53" y="44"/>
                        <a:pt x="69" y="54"/>
                        <a:pt x="77" y="49"/>
                      </a:cubicBezTo>
                      <a:cubicBezTo>
                        <a:pt x="82" y="45"/>
                        <a:pt x="102" y="43"/>
                        <a:pt x="109" y="43"/>
                      </a:cubicBezTo>
                      <a:cubicBezTo>
                        <a:pt x="127" y="42"/>
                        <a:pt x="128" y="42"/>
                        <a:pt x="136" y="37"/>
                      </a:cubicBezTo>
                      <a:cubicBezTo>
                        <a:pt x="136" y="37"/>
                        <a:pt x="141" y="26"/>
                        <a:pt x="144" y="21"/>
                      </a:cubicBezTo>
                      <a:cubicBezTo>
                        <a:pt x="146" y="17"/>
                        <a:pt x="152" y="15"/>
                        <a:pt x="158" y="11"/>
                      </a:cubicBezTo>
                      <a:cubicBezTo>
                        <a:pt x="163" y="7"/>
                        <a:pt x="176" y="3"/>
                        <a:pt x="179" y="2"/>
                      </a:cubicBezTo>
                      <a:cubicBezTo>
                        <a:pt x="182" y="2"/>
                        <a:pt x="203" y="3"/>
                        <a:pt x="203" y="3"/>
                      </a:cubicBezTo>
                      <a:cubicBezTo>
                        <a:pt x="214" y="0"/>
                        <a:pt x="214" y="0"/>
                        <a:pt x="214" y="0"/>
                      </a:cubicBezTo>
                      <a:cubicBezTo>
                        <a:pt x="214" y="0"/>
                        <a:pt x="216" y="8"/>
                        <a:pt x="219" y="9"/>
                      </a:cubicBezTo>
                      <a:cubicBezTo>
                        <a:pt x="228" y="10"/>
                        <a:pt x="235" y="10"/>
                        <a:pt x="238" y="8"/>
                      </a:cubicBezTo>
                      <a:cubicBezTo>
                        <a:pt x="239" y="8"/>
                        <a:pt x="239" y="10"/>
                        <a:pt x="240" y="11"/>
                      </a:cubicBezTo>
                      <a:cubicBezTo>
                        <a:pt x="241" y="13"/>
                        <a:pt x="242" y="17"/>
                        <a:pt x="242" y="17"/>
                      </a:cubicBezTo>
                      <a:cubicBezTo>
                        <a:pt x="241" y="22"/>
                        <a:pt x="241" y="22"/>
                        <a:pt x="241" y="22"/>
                      </a:cubicBezTo>
                      <a:cubicBezTo>
                        <a:pt x="240" y="23"/>
                        <a:pt x="240" y="23"/>
                        <a:pt x="240" y="23"/>
                      </a:cubicBezTo>
                      <a:cubicBezTo>
                        <a:pt x="235" y="26"/>
                        <a:pt x="235" y="26"/>
                        <a:pt x="235" y="26"/>
                      </a:cubicBezTo>
                      <a:cubicBezTo>
                        <a:pt x="235" y="26"/>
                        <a:pt x="233" y="26"/>
                        <a:pt x="232" y="27"/>
                      </a:cubicBezTo>
                      <a:cubicBezTo>
                        <a:pt x="231" y="27"/>
                        <a:pt x="229" y="28"/>
                        <a:pt x="229" y="28"/>
                      </a:cubicBezTo>
                      <a:cubicBezTo>
                        <a:pt x="229" y="28"/>
                        <a:pt x="227" y="30"/>
                        <a:pt x="227" y="31"/>
                      </a:cubicBezTo>
                      <a:cubicBezTo>
                        <a:pt x="226" y="33"/>
                        <a:pt x="225" y="36"/>
                        <a:pt x="225" y="36"/>
                      </a:cubicBezTo>
                      <a:cubicBezTo>
                        <a:pt x="223" y="41"/>
                        <a:pt x="223" y="41"/>
                        <a:pt x="223" y="41"/>
                      </a:cubicBezTo>
                      <a:cubicBezTo>
                        <a:pt x="223" y="48"/>
                        <a:pt x="223" y="48"/>
                        <a:pt x="223" y="48"/>
                      </a:cubicBezTo>
                      <a:cubicBezTo>
                        <a:pt x="225" y="56"/>
                        <a:pt x="225" y="56"/>
                        <a:pt x="225" y="56"/>
                      </a:cubicBezTo>
                      <a:cubicBezTo>
                        <a:pt x="227" y="65"/>
                        <a:pt x="227" y="65"/>
                        <a:pt x="227" y="65"/>
                      </a:cubicBezTo>
                      <a:cubicBezTo>
                        <a:pt x="227" y="65"/>
                        <a:pt x="224" y="68"/>
                        <a:pt x="223" y="68"/>
                      </a:cubicBezTo>
                      <a:cubicBezTo>
                        <a:pt x="223" y="68"/>
                        <a:pt x="222" y="69"/>
                        <a:pt x="222" y="69"/>
                      </a:cubicBezTo>
                      <a:cubicBezTo>
                        <a:pt x="222" y="71"/>
                        <a:pt x="222" y="71"/>
                        <a:pt x="222" y="71"/>
                      </a:cubicBezTo>
                      <a:cubicBezTo>
                        <a:pt x="221" y="74"/>
                        <a:pt x="221" y="74"/>
                        <a:pt x="221" y="74"/>
                      </a:cubicBezTo>
                      <a:cubicBezTo>
                        <a:pt x="220" y="76"/>
                        <a:pt x="220" y="76"/>
                        <a:pt x="220" y="76"/>
                      </a:cubicBezTo>
                      <a:cubicBezTo>
                        <a:pt x="220" y="76"/>
                        <a:pt x="219" y="78"/>
                        <a:pt x="218" y="78"/>
                      </a:cubicBezTo>
                      <a:cubicBezTo>
                        <a:pt x="217" y="79"/>
                        <a:pt x="215" y="81"/>
                        <a:pt x="215" y="81"/>
                      </a:cubicBezTo>
                      <a:cubicBezTo>
                        <a:pt x="216" y="83"/>
                        <a:pt x="216" y="83"/>
                        <a:pt x="216" y="83"/>
                      </a:cubicBezTo>
                      <a:cubicBezTo>
                        <a:pt x="227" y="85"/>
                        <a:pt x="227" y="85"/>
                        <a:pt x="227" y="85"/>
                      </a:cubicBezTo>
                      <a:cubicBezTo>
                        <a:pt x="227" y="87"/>
                        <a:pt x="227" y="87"/>
                        <a:pt x="227" y="87"/>
                      </a:cubicBezTo>
                      <a:cubicBezTo>
                        <a:pt x="232" y="92"/>
                        <a:pt x="232" y="92"/>
                        <a:pt x="232" y="92"/>
                      </a:cubicBezTo>
                      <a:cubicBezTo>
                        <a:pt x="235" y="97"/>
                        <a:pt x="235" y="97"/>
                        <a:pt x="235" y="97"/>
                      </a:cubicBezTo>
                      <a:cubicBezTo>
                        <a:pt x="240" y="99"/>
                        <a:pt x="240" y="99"/>
                        <a:pt x="240" y="99"/>
                      </a:cubicBezTo>
                      <a:cubicBezTo>
                        <a:pt x="240" y="99"/>
                        <a:pt x="244" y="102"/>
                        <a:pt x="244" y="102"/>
                      </a:cubicBezTo>
                      <a:cubicBezTo>
                        <a:pt x="243" y="103"/>
                        <a:pt x="238" y="105"/>
                        <a:pt x="238" y="105"/>
                      </a:cubicBezTo>
                      <a:cubicBezTo>
                        <a:pt x="235" y="107"/>
                        <a:pt x="235" y="107"/>
                        <a:pt x="235" y="107"/>
                      </a:cubicBezTo>
                      <a:cubicBezTo>
                        <a:pt x="235" y="107"/>
                        <a:pt x="233" y="107"/>
                        <a:pt x="231" y="108"/>
                      </a:cubicBezTo>
                      <a:cubicBezTo>
                        <a:pt x="230" y="109"/>
                        <a:pt x="224" y="112"/>
                        <a:pt x="224" y="112"/>
                      </a:cubicBezTo>
                      <a:cubicBezTo>
                        <a:pt x="216" y="107"/>
                        <a:pt x="216" y="107"/>
                        <a:pt x="216" y="107"/>
                      </a:cubicBezTo>
                      <a:cubicBezTo>
                        <a:pt x="211" y="106"/>
                        <a:pt x="211" y="106"/>
                        <a:pt x="211" y="106"/>
                      </a:cubicBezTo>
                      <a:cubicBezTo>
                        <a:pt x="209" y="109"/>
                        <a:pt x="209" y="109"/>
                        <a:pt x="209" y="109"/>
                      </a:cubicBezTo>
                      <a:cubicBezTo>
                        <a:pt x="204" y="110"/>
                        <a:pt x="204" y="110"/>
                        <a:pt x="204" y="110"/>
                      </a:cubicBezTo>
                      <a:cubicBezTo>
                        <a:pt x="201" y="115"/>
                        <a:pt x="201" y="115"/>
                        <a:pt x="201" y="115"/>
                      </a:cubicBezTo>
                      <a:cubicBezTo>
                        <a:pt x="201" y="115"/>
                        <a:pt x="194" y="117"/>
                        <a:pt x="192" y="118"/>
                      </a:cubicBezTo>
                      <a:cubicBezTo>
                        <a:pt x="191" y="119"/>
                        <a:pt x="187" y="122"/>
                        <a:pt x="187" y="122"/>
                      </a:cubicBezTo>
                      <a:cubicBezTo>
                        <a:pt x="188" y="126"/>
                        <a:pt x="188" y="126"/>
                        <a:pt x="188" y="126"/>
                      </a:cubicBezTo>
                      <a:cubicBezTo>
                        <a:pt x="184" y="129"/>
                        <a:pt x="184" y="129"/>
                        <a:pt x="184" y="129"/>
                      </a:cubicBezTo>
                      <a:cubicBezTo>
                        <a:pt x="184" y="129"/>
                        <a:pt x="181" y="130"/>
                        <a:pt x="180" y="132"/>
                      </a:cubicBezTo>
                      <a:cubicBezTo>
                        <a:pt x="180" y="134"/>
                        <a:pt x="181" y="135"/>
                        <a:pt x="181" y="135"/>
                      </a:cubicBezTo>
                      <a:cubicBezTo>
                        <a:pt x="179" y="135"/>
                        <a:pt x="176" y="136"/>
                        <a:pt x="175" y="137"/>
                      </a:cubicBezTo>
                      <a:cubicBezTo>
                        <a:pt x="174" y="137"/>
                        <a:pt x="174" y="139"/>
                        <a:pt x="175" y="141"/>
                      </a:cubicBezTo>
                      <a:cubicBezTo>
                        <a:pt x="175" y="142"/>
                        <a:pt x="177" y="144"/>
                        <a:pt x="179" y="147"/>
                      </a:cubicBezTo>
                      <a:cubicBezTo>
                        <a:pt x="180" y="150"/>
                        <a:pt x="181" y="150"/>
                        <a:pt x="181" y="151"/>
                      </a:cubicBezTo>
                      <a:cubicBezTo>
                        <a:pt x="181" y="152"/>
                        <a:pt x="180" y="155"/>
                        <a:pt x="179" y="156"/>
                      </a:cubicBezTo>
                      <a:cubicBezTo>
                        <a:pt x="177" y="158"/>
                        <a:pt x="175" y="158"/>
                        <a:pt x="174" y="158"/>
                      </a:cubicBezTo>
                      <a:cubicBezTo>
                        <a:pt x="173" y="159"/>
                        <a:pt x="170" y="161"/>
                        <a:pt x="169" y="161"/>
                      </a:cubicBezTo>
                      <a:cubicBezTo>
                        <a:pt x="168" y="162"/>
                        <a:pt x="163" y="163"/>
                        <a:pt x="162" y="163"/>
                      </a:cubicBezTo>
                      <a:cubicBezTo>
                        <a:pt x="161" y="163"/>
                        <a:pt x="155" y="165"/>
                        <a:pt x="155" y="165"/>
                      </a:cubicBezTo>
                      <a:cubicBezTo>
                        <a:pt x="150" y="167"/>
                        <a:pt x="150" y="167"/>
                        <a:pt x="150" y="167"/>
                      </a:cubicBezTo>
                      <a:cubicBezTo>
                        <a:pt x="147" y="169"/>
                        <a:pt x="147" y="169"/>
                        <a:pt x="147" y="169"/>
                      </a:cubicBezTo>
                      <a:cubicBezTo>
                        <a:pt x="139" y="167"/>
                        <a:pt x="139" y="167"/>
                        <a:pt x="139" y="167"/>
                      </a:cubicBezTo>
                      <a:cubicBezTo>
                        <a:pt x="129" y="164"/>
                        <a:pt x="129" y="164"/>
                        <a:pt x="129" y="164"/>
                      </a:cubicBezTo>
                      <a:cubicBezTo>
                        <a:pt x="129" y="164"/>
                        <a:pt x="124" y="168"/>
                        <a:pt x="123" y="168"/>
                      </a:cubicBezTo>
                      <a:cubicBezTo>
                        <a:pt x="122" y="168"/>
                        <a:pt x="116" y="164"/>
                        <a:pt x="116" y="164"/>
                      </a:cubicBezTo>
                      <a:cubicBezTo>
                        <a:pt x="113" y="159"/>
                        <a:pt x="113" y="159"/>
                        <a:pt x="113" y="159"/>
                      </a:cubicBezTo>
                      <a:cubicBezTo>
                        <a:pt x="113" y="159"/>
                        <a:pt x="107" y="160"/>
                        <a:pt x="106" y="160"/>
                      </a:cubicBezTo>
                      <a:cubicBezTo>
                        <a:pt x="105" y="160"/>
                        <a:pt x="104" y="162"/>
                        <a:pt x="104" y="163"/>
                      </a:cubicBezTo>
                      <a:cubicBezTo>
                        <a:pt x="103" y="163"/>
                        <a:pt x="101" y="163"/>
                        <a:pt x="99" y="163"/>
                      </a:cubicBezTo>
                      <a:cubicBezTo>
                        <a:pt x="96" y="163"/>
                        <a:pt x="94" y="165"/>
                        <a:pt x="94" y="165"/>
                      </a:cubicBezTo>
                      <a:cubicBezTo>
                        <a:pt x="92" y="169"/>
                        <a:pt x="92" y="169"/>
                        <a:pt x="92" y="169"/>
                      </a:cubicBezTo>
                      <a:cubicBezTo>
                        <a:pt x="92" y="169"/>
                        <a:pt x="87" y="171"/>
                        <a:pt x="87" y="171"/>
                      </a:cubicBezTo>
                      <a:cubicBezTo>
                        <a:pt x="86" y="172"/>
                        <a:pt x="77" y="175"/>
                        <a:pt x="77" y="175"/>
                      </a:cubicBezTo>
                      <a:cubicBezTo>
                        <a:pt x="70" y="177"/>
                        <a:pt x="70" y="177"/>
                        <a:pt x="70" y="177"/>
                      </a:cubicBezTo>
                      <a:cubicBezTo>
                        <a:pt x="70" y="177"/>
                        <a:pt x="68" y="178"/>
                        <a:pt x="67" y="177"/>
                      </a:cubicBezTo>
                      <a:cubicBezTo>
                        <a:pt x="66" y="177"/>
                        <a:pt x="63" y="180"/>
                        <a:pt x="63" y="180"/>
                      </a:cubicBezTo>
                      <a:cubicBezTo>
                        <a:pt x="57" y="184"/>
                        <a:pt x="57" y="184"/>
                        <a:pt x="57" y="184"/>
                      </a:cubicBezTo>
                      <a:cubicBezTo>
                        <a:pt x="51" y="184"/>
                        <a:pt x="51" y="184"/>
                        <a:pt x="51" y="184"/>
                      </a:cubicBezTo>
                      <a:cubicBezTo>
                        <a:pt x="51" y="184"/>
                        <a:pt x="51" y="183"/>
                        <a:pt x="51" y="183"/>
                      </a:cubicBezTo>
                      <a:cubicBezTo>
                        <a:pt x="51" y="183"/>
                        <a:pt x="51" y="183"/>
                        <a:pt x="51" y="183"/>
                      </a:cubicBezTo>
                      <a:cubicBezTo>
                        <a:pt x="51" y="182"/>
                        <a:pt x="51" y="182"/>
                        <a:pt x="51" y="182"/>
                      </a:cubicBezTo>
                      <a:cubicBezTo>
                        <a:pt x="51" y="181"/>
                        <a:pt x="50" y="180"/>
                        <a:pt x="50" y="178"/>
                      </a:cubicBezTo>
                      <a:cubicBezTo>
                        <a:pt x="49" y="176"/>
                        <a:pt x="48" y="174"/>
                        <a:pt x="48" y="172"/>
                      </a:cubicBezTo>
                      <a:cubicBezTo>
                        <a:pt x="48" y="171"/>
                        <a:pt x="49" y="170"/>
                        <a:pt x="49" y="169"/>
                      </a:cubicBezTo>
                      <a:cubicBezTo>
                        <a:pt x="49" y="169"/>
                        <a:pt x="49" y="169"/>
                        <a:pt x="49" y="169"/>
                      </a:cubicBezTo>
                      <a:cubicBezTo>
                        <a:pt x="50" y="168"/>
                        <a:pt x="50" y="167"/>
                        <a:pt x="50" y="165"/>
                      </a:cubicBezTo>
                      <a:cubicBezTo>
                        <a:pt x="49" y="161"/>
                        <a:pt x="45" y="161"/>
                        <a:pt x="44" y="157"/>
                      </a:cubicBezTo>
                      <a:cubicBezTo>
                        <a:pt x="43" y="154"/>
                        <a:pt x="39" y="151"/>
                        <a:pt x="39" y="150"/>
                      </a:cubicBezTo>
                      <a:cubicBezTo>
                        <a:pt x="32" y="146"/>
                        <a:pt x="28" y="147"/>
                        <a:pt x="24" y="143"/>
                      </a:cubicBezTo>
                      <a:cubicBezTo>
                        <a:pt x="23" y="142"/>
                        <a:pt x="22" y="141"/>
                        <a:pt x="22" y="140"/>
                      </a:cubicBezTo>
                      <a:cubicBezTo>
                        <a:pt x="23" y="139"/>
                        <a:pt x="23" y="139"/>
                        <a:pt x="23" y="139"/>
                      </a:cubicBezTo>
                      <a:cubicBezTo>
                        <a:pt x="23" y="139"/>
                        <a:pt x="22" y="139"/>
                        <a:pt x="21" y="138"/>
                      </a:cubicBezTo>
                      <a:cubicBezTo>
                        <a:pt x="20" y="137"/>
                        <a:pt x="19" y="136"/>
                        <a:pt x="18" y="135"/>
                      </a:cubicBezTo>
                      <a:cubicBezTo>
                        <a:pt x="18" y="135"/>
                        <a:pt x="18" y="135"/>
                        <a:pt x="18" y="135"/>
                      </a:cubicBezTo>
                      <a:cubicBezTo>
                        <a:pt x="19" y="135"/>
                        <a:pt x="20" y="133"/>
                        <a:pt x="20" y="133"/>
                      </a:cubicBezTo>
                      <a:cubicBezTo>
                        <a:pt x="21" y="130"/>
                        <a:pt x="21" y="130"/>
                        <a:pt x="21" y="130"/>
                      </a:cubicBezTo>
                      <a:cubicBezTo>
                        <a:pt x="22" y="128"/>
                        <a:pt x="22" y="128"/>
                        <a:pt x="22" y="128"/>
                      </a:cubicBezTo>
                      <a:cubicBezTo>
                        <a:pt x="22" y="128"/>
                        <a:pt x="21" y="125"/>
                        <a:pt x="20" y="125"/>
                      </a:cubicBezTo>
                      <a:cubicBezTo>
                        <a:pt x="20" y="124"/>
                        <a:pt x="17" y="123"/>
                        <a:pt x="17" y="123"/>
                      </a:cubicBezTo>
                      <a:cubicBezTo>
                        <a:pt x="17" y="118"/>
                        <a:pt x="17" y="118"/>
                        <a:pt x="17" y="118"/>
                      </a:cubicBezTo>
                      <a:cubicBezTo>
                        <a:pt x="16" y="113"/>
                        <a:pt x="16" y="113"/>
                        <a:pt x="16" y="113"/>
                      </a:cubicBezTo>
                      <a:cubicBezTo>
                        <a:pt x="14" y="110"/>
                        <a:pt x="14" y="110"/>
                        <a:pt x="14" y="110"/>
                      </a:cubicBezTo>
                      <a:cubicBezTo>
                        <a:pt x="14" y="110"/>
                        <a:pt x="16" y="108"/>
                        <a:pt x="17" y="107"/>
                      </a:cubicBezTo>
                      <a:cubicBezTo>
                        <a:pt x="17" y="107"/>
                        <a:pt x="18" y="106"/>
                        <a:pt x="19" y="106"/>
                      </a:cubicBezTo>
                      <a:cubicBezTo>
                        <a:pt x="20" y="105"/>
                        <a:pt x="22" y="105"/>
                        <a:pt x="23" y="105"/>
                      </a:cubicBezTo>
                      <a:cubicBezTo>
                        <a:pt x="24" y="105"/>
                        <a:pt x="26" y="103"/>
                        <a:pt x="26" y="103"/>
                      </a:cubicBezTo>
                      <a:cubicBezTo>
                        <a:pt x="26" y="103"/>
                        <a:pt x="26" y="100"/>
                        <a:pt x="25" y="99"/>
                      </a:cubicBezTo>
                      <a:cubicBezTo>
                        <a:pt x="25" y="97"/>
                        <a:pt x="27" y="95"/>
                        <a:pt x="27" y="95"/>
                      </a:cubicBezTo>
                      <a:cubicBezTo>
                        <a:pt x="27" y="95"/>
                        <a:pt x="30" y="91"/>
                        <a:pt x="31" y="90"/>
                      </a:cubicBezTo>
                      <a:cubicBezTo>
                        <a:pt x="32" y="89"/>
                        <a:pt x="33" y="84"/>
                        <a:pt x="33" y="84"/>
                      </a:cubicBezTo>
                      <a:cubicBezTo>
                        <a:pt x="29" y="84"/>
                        <a:pt x="29" y="84"/>
                        <a:pt x="29" y="84"/>
                      </a:cubicBezTo>
                      <a:cubicBezTo>
                        <a:pt x="25" y="83"/>
                        <a:pt x="25" y="83"/>
                        <a:pt x="25" y="83"/>
                      </a:cubicBezTo>
                      <a:cubicBezTo>
                        <a:pt x="25" y="83"/>
                        <a:pt x="21" y="77"/>
                        <a:pt x="21" y="77"/>
                      </a:cubicBezTo>
                      <a:cubicBezTo>
                        <a:pt x="21" y="76"/>
                        <a:pt x="19" y="76"/>
                        <a:pt x="19" y="76"/>
                      </a:cubicBezTo>
                      <a:cubicBezTo>
                        <a:pt x="19" y="76"/>
                        <a:pt x="15" y="74"/>
                        <a:pt x="15" y="74"/>
                      </a:cubicBezTo>
                      <a:cubicBezTo>
                        <a:pt x="14" y="74"/>
                        <a:pt x="11" y="73"/>
                        <a:pt x="11" y="73"/>
                      </a:cubicBezTo>
                      <a:cubicBezTo>
                        <a:pt x="11" y="73"/>
                        <a:pt x="7" y="68"/>
                        <a:pt x="6" y="66"/>
                      </a:cubicBezTo>
                      <a:cubicBezTo>
                        <a:pt x="5" y="64"/>
                        <a:pt x="4" y="63"/>
                        <a:pt x="4" y="63"/>
                      </a:cubicBezTo>
                      <a:cubicBezTo>
                        <a:pt x="4" y="63"/>
                        <a:pt x="3" y="61"/>
                        <a:pt x="2" y="60"/>
                      </a:cubicBezTo>
                      <a:cubicBezTo>
                        <a:pt x="1" y="59"/>
                        <a:pt x="1" y="57"/>
                        <a:pt x="1" y="57"/>
                      </a:cubicBezTo>
                      <a:cubicBezTo>
                        <a:pt x="1" y="57"/>
                        <a:pt x="2" y="54"/>
                        <a:pt x="1" y="52"/>
                      </a:cubicBezTo>
                      <a:cubicBezTo>
                        <a:pt x="1" y="51"/>
                        <a:pt x="0" y="47"/>
                        <a:pt x="1" y="47"/>
                      </a:cubicBezTo>
                      <a:cubicBezTo>
                        <a:pt x="2" y="45"/>
                        <a:pt x="3" y="43"/>
                        <a:pt x="5" y="42"/>
                      </a:cubicBezTo>
                      <a:cubicBezTo>
                        <a:pt x="6" y="42"/>
                        <a:pt x="6" y="42"/>
                        <a:pt x="7" y="42"/>
                      </a:cubicBezTo>
                      <a:cubicBezTo>
                        <a:pt x="8" y="42"/>
                        <a:pt x="7" y="39"/>
                        <a:pt x="7" y="39"/>
                      </a:cubicBezTo>
                      <a:lnTo>
                        <a:pt x="7" y="38"/>
                      </a:lnTo>
                      <a:close/>
                    </a:path>
                  </a:pathLst>
                </a:custGeom>
                <a:solidFill>
                  <a:srgbClr val="E6EFF1"/>
                </a:solidFill>
                <a:ln w="12700" cap="rnd" cmpd="sng">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Lato Light"/>
                  </a:endParaRPr>
                </a:p>
              </p:txBody>
            </p:sp>
            <p:sp>
              <p:nvSpPr>
                <p:cNvPr id="226" name="Freeform 221">
                  <a:extLst>
                    <a:ext uri="{FF2B5EF4-FFF2-40B4-BE49-F238E27FC236}">
                      <a16:creationId xmlns:a16="http://schemas.microsoft.com/office/drawing/2014/main" id="{27386561-0E02-9609-8C17-38586549D5D0}"/>
                    </a:ext>
                  </a:extLst>
                </p:cNvPr>
                <p:cNvSpPr>
                  <a:spLocks noEditPoints="1"/>
                </p:cNvSpPr>
                <p:nvPr/>
              </p:nvSpPr>
              <p:spPr bwMode="auto">
                <a:xfrm>
                  <a:off x="3876555" y="4213287"/>
                  <a:ext cx="802962" cy="395895"/>
                </a:xfrm>
                <a:custGeom>
                  <a:avLst/>
                  <a:gdLst>
                    <a:gd name="T0" fmla="*/ 196 w 279"/>
                    <a:gd name="T1" fmla="*/ 4 h 142"/>
                    <a:gd name="T2" fmla="*/ 219 w 279"/>
                    <a:gd name="T3" fmla="*/ 5 h 142"/>
                    <a:gd name="T4" fmla="*/ 249 w 279"/>
                    <a:gd name="T5" fmla="*/ 8 h 142"/>
                    <a:gd name="T6" fmla="*/ 268 w 279"/>
                    <a:gd name="T7" fmla="*/ 17 h 142"/>
                    <a:gd name="T8" fmla="*/ 266 w 279"/>
                    <a:gd name="T9" fmla="*/ 29 h 142"/>
                    <a:gd name="T10" fmla="*/ 271 w 279"/>
                    <a:gd name="T11" fmla="*/ 39 h 142"/>
                    <a:gd name="T12" fmla="*/ 277 w 279"/>
                    <a:gd name="T13" fmla="*/ 56 h 142"/>
                    <a:gd name="T14" fmla="*/ 259 w 279"/>
                    <a:gd name="T15" fmla="*/ 63 h 142"/>
                    <a:gd name="T16" fmla="*/ 260 w 279"/>
                    <a:gd name="T17" fmla="*/ 82 h 142"/>
                    <a:gd name="T18" fmla="*/ 255 w 279"/>
                    <a:gd name="T19" fmla="*/ 104 h 142"/>
                    <a:gd name="T20" fmla="*/ 238 w 279"/>
                    <a:gd name="T21" fmla="*/ 121 h 142"/>
                    <a:gd name="T22" fmla="*/ 206 w 279"/>
                    <a:gd name="T23" fmla="*/ 128 h 142"/>
                    <a:gd name="T24" fmla="*/ 191 w 279"/>
                    <a:gd name="T25" fmla="*/ 142 h 142"/>
                    <a:gd name="T26" fmla="*/ 146 w 279"/>
                    <a:gd name="T27" fmla="*/ 138 h 142"/>
                    <a:gd name="T28" fmla="*/ 104 w 279"/>
                    <a:gd name="T29" fmla="*/ 126 h 142"/>
                    <a:gd name="T30" fmla="*/ 94 w 279"/>
                    <a:gd name="T31" fmla="*/ 112 h 142"/>
                    <a:gd name="T32" fmla="*/ 60 w 279"/>
                    <a:gd name="T33" fmla="*/ 121 h 142"/>
                    <a:gd name="T34" fmla="*/ 39 w 279"/>
                    <a:gd name="T35" fmla="*/ 126 h 142"/>
                    <a:gd name="T36" fmla="*/ 37 w 279"/>
                    <a:gd name="T37" fmla="*/ 118 h 142"/>
                    <a:gd name="T38" fmla="*/ 31 w 279"/>
                    <a:gd name="T39" fmla="*/ 120 h 142"/>
                    <a:gd name="T40" fmla="*/ 26 w 279"/>
                    <a:gd name="T41" fmla="*/ 124 h 142"/>
                    <a:gd name="T42" fmla="*/ 17 w 279"/>
                    <a:gd name="T43" fmla="*/ 120 h 142"/>
                    <a:gd name="T44" fmla="*/ 2 w 279"/>
                    <a:gd name="T45" fmla="*/ 114 h 142"/>
                    <a:gd name="T46" fmla="*/ 2 w 279"/>
                    <a:gd name="T47" fmla="*/ 113 h 142"/>
                    <a:gd name="T48" fmla="*/ 4 w 279"/>
                    <a:gd name="T49" fmla="*/ 113 h 142"/>
                    <a:gd name="T50" fmla="*/ 5 w 279"/>
                    <a:gd name="T51" fmla="*/ 112 h 142"/>
                    <a:gd name="T52" fmla="*/ 4 w 279"/>
                    <a:gd name="T53" fmla="*/ 111 h 142"/>
                    <a:gd name="T54" fmla="*/ 4 w 279"/>
                    <a:gd name="T55" fmla="*/ 110 h 142"/>
                    <a:gd name="T56" fmla="*/ 3 w 279"/>
                    <a:gd name="T57" fmla="*/ 109 h 142"/>
                    <a:gd name="T58" fmla="*/ 3 w 279"/>
                    <a:gd name="T59" fmla="*/ 108 h 142"/>
                    <a:gd name="T60" fmla="*/ 2 w 279"/>
                    <a:gd name="T61" fmla="*/ 106 h 142"/>
                    <a:gd name="T62" fmla="*/ 2 w 279"/>
                    <a:gd name="T63" fmla="*/ 104 h 142"/>
                    <a:gd name="T64" fmla="*/ 7 w 279"/>
                    <a:gd name="T65" fmla="*/ 94 h 142"/>
                    <a:gd name="T66" fmla="*/ 6 w 279"/>
                    <a:gd name="T67" fmla="*/ 91 h 142"/>
                    <a:gd name="T68" fmla="*/ 6 w 279"/>
                    <a:gd name="T69" fmla="*/ 91 h 142"/>
                    <a:gd name="T70" fmla="*/ 6 w 279"/>
                    <a:gd name="T71" fmla="*/ 90 h 142"/>
                    <a:gd name="T72" fmla="*/ 6 w 279"/>
                    <a:gd name="T73" fmla="*/ 90 h 142"/>
                    <a:gd name="T74" fmla="*/ 23 w 279"/>
                    <a:gd name="T75" fmla="*/ 94 h 142"/>
                    <a:gd name="T76" fmla="*/ 32 w 279"/>
                    <a:gd name="T77" fmla="*/ 101 h 142"/>
                    <a:gd name="T78" fmla="*/ 38 w 279"/>
                    <a:gd name="T79" fmla="*/ 88 h 142"/>
                    <a:gd name="T80" fmla="*/ 55 w 279"/>
                    <a:gd name="T81" fmla="*/ 95 h 142"/>
                    <a:gd name="T82" fmla="*/ 73 w 279"/>
                    <a:gd name="T83" fmla="*/ 88 h 142"/>
                    <a:gd name="T84" fmla="*/ 95 w 279"/>
                    <a:gd name="T85" fmla="*/ 82 h 142"/>
                    <a:gd name="T86" fmla="*/ 110 w 279"/>
                    <a:gd name="T87" fmla="*/ 80 h 142"/>
                    <a:gd name="T88" fmla="*/ 123 w 279"/>
                    <a:gd name="T89" fmla="*/ 85 h 142"/>
                    <a:gd name="T90" fmla="*/ 130 w 279"/>
                    <a:gd name="T91" fmla="*/ 76 h 142"/>
                    <a:gd name="T92" fmla="*/ 123 w 279"/>
                    <a:gd name="T93" fmla="*/ 62 h 142"/>
                    <a:gd name="T94" fmla="*/ 126 w 279"/>
                    <a:gd name="T95" fmla="*/ 48 h 142"/>
                    <a:gd name="T96" fmla="*/ 141 w 279"/>
                    <a:gd name="T97" fmla="*/ 38 h 142"/>
                    <a:gd name="T98" fmla="*/ 152 w 279"/>
                    <a:gd name="T99" fmla="*/ 29 h 142"/>
                    <a:gd name="T100" fmla="*/ 160 w 279"/>
                    <a:gd name="T101" fmla="*/ 20 h 142"/>
                    <a:gd name="T102" fmla="*/ 183 w 279"/>
                    <a:gd name="T103" fmla="*/ 25 h 142"/>
                    <a:gd name="T104" fmla="*/ 1 w 279"/>
                    <a:gd name="T105" fmla="*/ 114 h 142"/>
                    <a:gd name="T106" fmla="*/ 1 w 279"/>
                    <a:gd name="T107" fmla="*/ 114 h 142"/>
                    <a:gd name="T108" fmla="*/ 2 w 279"/>
                    <a:gd name="T109" fmla="*/ 112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79" h="142">
                      <a:moveTo>
                        <a:pt x="187" y="24"/>
                      </a:moveTo>
                      <a:cubicBezTo>
                        <a:pt x="187" y="24"/>
                        <a:pt x="187" y="18"/>
                        <a:pt x="188" y="18"/>
                      </a:cubicBezTo>
                      <a:cubicBezTo>
                        <a:pt x="189" y="18"/>
                        <a:pt x="191" y="15"/>
                        <a:pt x="191" y="15"/>
                      </a:cubicBezTo>
                      <a:cubicBezTo>
                        <a:pt x="194" y="14"/>
                        <a:pt x="194" y="14"/>
                        <a:pt x="194" y="14"/>
                      </a:cubicBezTo>
                      <a:cubicBezTo>
                        <a:pt x="194" y="14"/>
                        <a:pt x="196" y="12"/>
                        <a:pt x="196" y="10"/>
                      </a:cubicBezTo>
                      <a:cubicBezTo>
                        <a:pt x="195" y="9"/>
                        <a:pt x="196" y="4"/>
                        <a:pt x="196" y="4"/>
                      </a:cubicBezTo>
                      <a:cubicBezTo>
                        <a:pt x="196" y="4"/>
                        <a:pt x="195" y="1"/>
                        <a:pt x="196" y="1"/>
                      </a:cubicBezTo>
                      <a:cubicBezTo>
                        <a:pt x="198" y="0"/>
                        <a:pt x="201" y="2"/>
                        <a:pt x="201" y="2"/>
                      </a:cubicBezTo>
                      <a:cubicBezTo>
                        <a:pt x="206" y="3"/>
                        <a:pt x="206" y="3"/>
                        <a:pt x="206" y="3"/>
                      </a:cubicBezTo>
                      <a:cubicBezTo>
                        <a:pt x="206" y="3"/>
                        <a:pt x="208" y="3"/>
                        <a:pt x="209" y="3"/>
                      </a:cubicBezTo>
                      <a:cubicBezTo>
                        <a:pt x="210" y="3"/>
                        <a:pt x="214" y="4"/>
                        <a:pt x="214" y="4"/>
                      </a:cubicBezTo>
                      <a:cubicBezTo>
                        <a:pt x="214" y="4"/>
                        <a:pt x="218" y="5"/>
                        <a:pt x="219" y="5"/>
                      </a:cubicBezTo>
                      <a:cubicBezTo>
                        <a:pt x="220" y="5"/>
                        <a:pt x="224" y="5"/>
                        <a:pt x="224" y="5"/>
                      </a:cubicBezTo>
                      <a:cubicBezTo>
                        <a:pt x="226" y="6"/>
                        <a:pt x="226" y="6"/>
                        <a:pt x="226" y="6"/>
                      </a:cubicBezTo>
                      <a:cubicBezTo>
                        <a:pt x="233" y="9"/>
                        <a:pt x="233" y="9"/>
                        <a:pt x="233" y="9"/>
                      </a:cubicBezTo>
                      <a:cubicBezTo>
                        <a:pt x="237" y="11"/>
                        <a:pt x="237" y="11"/>
                        <a:pt x="237" y="11"/>
                      </a:cubicBezTo>
                      <a:cubicBezTo>
                        <a:pt x="248" y="12"/>
                        <a:pt x="248" y="12"/>
                        <a:pt x="248" y="12"/>
                      </a:cubicBezTo>
                      <a:cubicBezTo>
                        <a:pt x="249" y="8"/>
                        <a:pt x="249" y="8"/>
                        <a:pt x="249" y="8"/>
                      </a:cubicBezTo>
                      <a:cubicBezTo>
                        <a:pt x="249" y="8"/>
                        <a:pt x="253" y="7"/>
                        <a:pt x="253" y="8"/>
                      </a:cubicBezTo>
                      <a:cubicBezTo>
                        <a:pt x="254" y="8"/>
                        <a:pt x="256" y="10"/>
                        <a:pt x="259" y="11"/>
                      </a:cubicBezTo>
                      <a:cubicBezTo>
                        <a:pt x="262" y="11"/>
                        <a:pt x="265" y="10"/>
                        <a:pt x="265" y="10"/>
                      </a:cubicBezTo>
                      <a:cubicBezTo>
                        <a:pt x="267" y="16"/>
                        <a:pt x="267" y="16"/>
                        <a:pt x="267" y="16"/>
                      </a:cubicBezTo>
                      <a:cubicBezTo>
                        <a:pt x="269" y="17"/>
                        <a:pt x="269" y="17"/>
                        <a:pt x="269" y="17"/>
                      </a:cubicBezTo>
                      <a:cubicBezTo>
                        <a:pt x="268" y="17"/>
                        <a:pt x="268" y="17"/>
                        <a:pt x="268" y="17"/>
                      </a:cubicBezTo>
                      <a:cubicBezTo>
                        <a:pt x="268" y="20"/>
                        <a:pt x="268" y="20"/>
                        <a:pt x="268" y="20"/>
                      </a:cubicBezTo>
                      <a:cubicBezTo>
                        <a:pt x="269" y="21"/>
                        <a:pt x="269" y="21"/>
                        <a:pt x="269" y="21"/>
                      </a:cubicBezTo>
                      <a:cubicBezTo>
                        <a:pt x="269" y="21"/>
                        <a:pt x="268" y="23"/>
                        <a:pt x="268" y="23"/>
                      </a:cubicBezTo>
                      <a:cubicBezTo>
                        <a:pt x="268" y="23"/>
                        <a:pt x="268" y="25"/>
                        <a:pt x="268" y="25"/>
                      </a:cubicBezTo>
                      <a:cubicBezTo>
                        <a:pt x="266" y="27"/>
                        <a:pt x="266" y="27"/>
                        <a:pt x="266" y="27"/>
                      </a:cubicBezTo>
                      <a:cubicBezTo>
                        <a:pt x="266" y="29"/>
                        <a:pt x="266" y="29"/>
                        <a:pt x="266" y="29"/>
                      </a:cubicBezTo>
                      <a:cubicBezTo>
                        <a:pt x="266" y="29"/>
                        <a:pt x="266" y="32"/>
                        <a:pt x="266" y="32"/>
                      </a:cubicBezTo>
                      <a:cubicBezTo>
                        <a:pt x="266" y="32"/>
                        <a:pt x="267" y="33"/>
                        <a:pt x="268" y="33"/>
                      </a:cubicBezTo>
                      <a:cubicBezTo>
                        <a:pt x="268" y="33"/>
                        <a:pt x="268" y="34"/>
                        <a:pt x="268" y="34"/>
                      </a:cubicBezTo>
                      <a:cubicBezTo>
                        <a:pt x="268" y="34"/>
                        <a:pt x="269" y="35"/>
                        <a:pt x="270" y="36"/>
                      </a:cubicBezTo>
                      <a:cubicBezTo>
                        <a:pt x="270" y="36"/>
                        <a:pt x="270" y="36"/>
                        <a:pt x="270" y="36"/>
                      </a:cubicBezTo>
                      <a:cubicBezTo>
                        <a:pt x="270" y="36"/>
                        <a:pt x="271" y="38"/>
                        <a:pt x="271" y="39"/>
                      </a:cubicBezTo>
                      <a:cubicBezTo>
                        <a:pt x="272" y="40"/>
                        <a:pt x="272" y="41"/>
                        <a:pt x="272" y="41"/>
                      </a:cubicBezTo>
                      <a:cubicBezTo>
                        <a:pt x="272" y="41"/>
                        <a:pt x="273" y="43"/>
                        <a:pt x="274" y="43"/>
                      </a:cubicBezTo>
                      <a:cubicBezTo>
                        <a:pt x="274" y="43"/>
                        <a:pt x="275" y="43"/>
                        <a:pt x="276" y="43"/>
                      </a:cubicBezTo>
                      <a:cubicBezTo>
                        <a:pt x="276" y="43"/>
                        <a:pt x="277" y="43"/>
                        <a:pt x="277" y="43"/>
                      </a:cubicBezTo>
                      <a:cubicBezTo>
                        <a:pt x="277" y="44"/>
                        <a:pt x="276" y="50"/>
                        <a:pt x="276" y="50"/>
                      </a:cubicBezTo>
                      <a:cubicBezTo>
                        <a:pt x="277" y="56"/>
                        <a:pt x="277" y="56"/>
                        <a:pt x="277" y="56"/>
                      </a:cubicBezTo>
                      <a:cubicBezTo>
                        <a:pt x="277" y="56"/>
                        <a:pt x="276" y="59"/>
                        <a:pt x="276" y="60"/>
                      </a:cubicBezTo>
                      <a:cubicBezTo>
                        <a:pt x="277" y="62"/>
                        <a:pt x="279" y="64"/>
                        <a:pt x="276" y="65"/>
                      </a:cubicBezTo>
                      <a:cubicBezTo>
                        <a:pt x="274" y="65"/>
                        <a:pt x="271" y="67"/>
                        <a:pt x="270" y="65"/>
                      </a:cubicBezTo>
                      <a:cubicBezTo>
                        <a:pt x="270" y="65"/>
                        <a:pt x="269" y="63"/>
                        <a:pt x="269" y="66"/>
                      </a:cubicBezTo>
                      <a:cubicBezTo>
                        <a:pt x="270" y="67"/>
                        <a:pt x="267" y="66"/>
                        <a:pt x="267" y="66"/>
                      </a:cubicBezTo>
                      <a:cubicBezTo>
                        <a:pt x="259" y="63"/>
                        <a:pt x="259" y="63"/>
                        <a:pt x="259" y="63"/>
                      </a:cubicBezTo>
                      <a:cubicBezTo>
                        <a:pt x="257" y="65"/>
                        <a:pt x="257" y="65"/>
                        <a:pt x="257" y="65"/>
                      </a:cubicBezTo>
                      <a:cubicBezTo>
                        <a:pt x="253" y="68"/>
                        <a:pt x="253" y="68"/>
                        <a:pt x="253" y="68"/>
                      </a:cubicBezTo>
                      <a:cubicBezTo>
                        <a:pt x="259" y="70"/>
                        <a:pt x="259" y="70"/>
                        <a:pt x="259" y="70"/>
                      </a:cubicBezTo>
                      <a:cubicBezTo>
                        <a:pt x="261" y="70"/>
                        <a:pt x="261" y="70"/>
                        <a:pt x="261" y="70"/>
                      </a:cubicBezTo>
                      <a:cubicBezTo>
                        <a:pt x="266" y="78"/>
                        <a:pt x="266" y="78"/>
                        <a:pt x="266" y="78"/>
                      </a:cubicBezTo>
                      <a:cubicBezTo>
                        <a:pt x="260" y="82"/>
                        <a:pt x="260" y="82"/>
                        <a:pt x="260" y="82"/>
                      </a:cubicBezTo>
                      <a:cubicBezTo>
                        <a:pt x="260" y="82"/>
                        <a:pt x="257" y="84"/>
                        <a:pt x="256" y="84"/>
                      </a:cubicBezTo>
                      <a:cubicBezTo>
                        <a:pt x="255" y="84"/>
                        <a:pt x="254" y="85"/>
                        <a:pt x="254" y="85"/>
                      </a:cubicBezTo>
                      <a:cubicBezTo>
                        <a:pt x="257" y="91"/>
                        <a:pt x="257" y="91"/>
                        <a:pt x="257" y="91"/>
                      </a:cubicBezTo>
                      <a:cubicBezTo>
                        <a:pt x="257" y="93"/>
                        <a:pt x="257" y="93"/>
                        <a:pt x="257" y="93"/>
                      </a:cubicBezTo>
                      <a:cubicBezTo>
                        <a:pt x="258" y="99"/>
                        <a:pt x="258" y="99"/>
                        <a:pt x="258" y="99"/>
                      </a:cubicBezTo>
                      <a:cubicBezTo>
                        <a:pt x="255" y="104"/>
                        <a:pt x="255" y="104"/>
                        <a:pt x="255" y="104"/>
                      </a:cubicBezTo>
                      <a:cubicBezTo>
                        <a:pt x="252" y="105"/>
                        <a:pt x="252" y="105"/>
                        <a:pt x="252" y="105"/>
                      </a:cubicBezTo>
                      <a:cubicBezTo>
                        <a:pt x="249" y="112"/>
                        <a:pt x="249" y="112"/>
                        <a:pt x="249" y="112"/>
                      </a:cubicBezTo>
                      <a:cubicBezTo>
                        <a:pt x="244" y="115"/>
                        <a:pt x="244" y="115"/>
                        <a:pt x="244" y="115"/>
                      </a:cubicBezTo>
                      <a:cubicBezTo>
                        <a:pt x="243" y="119"/>
                        <a:pt x="243" y="119"/>
                        <a:pt x="243" y="119"/>
                      </a:cubicBezTo>
                      <a:cubicBezTo>
                        <a:pt x="244" y="125"/>
                        <a:pt x="244" y="125"/>
                        <a:pt x="244" y="125"/>
                      </a:cubicBezTo>
                      <a:cubicBezTo>
                        <a:pt x="238" y="121"/>
                        <a:pt x="238" y="121"/>
                        <a:pt x="238" y="121"/>
                      </a:cubicBezTo>
                      <a:cubicBezTo>
                        <a:pt x="233" y="123"/>
                        <a:pt x="233" y="123"/>
                        <a:pt x="233" y="123"/>
                      </a:cubicBezTo>
                      <a:cubicBezTo>
                        <a:pt x="230" y="124"/>
                        <a:pt x="230" y="124"/>
                        <a:pt x="230" y="124"/>
                      </a:cubicBezTo>
                      <a:cubicBezTo>
                        <a:pt x="224" y="128"/>
                        <a:pt x="224" y="128"/>
                        <a:pt x="224" y="128"/>
                      </a:cubicBezTo>
                      <a:cubicBezTo>
                        <a:pt x="219" y="126"/>
                        <a:pt x="219" y="126"/>
                        <a:pt x="219" y="126"/>
                      </a:cubicBezTo>
                      <a:cubicBezTo>
                        <a:pt x="212" y="128"/>
                        <a:pt x="212" y="128"/>
                        <a:pt x="212" y="128"/>
                      </a:cubicBezTo>
                      <a:cubicBezTo>
                        <a:pt x="206" y="128"/>
                        <a:pt x="206" y="128"/>
                        <a:pt x="206" y="128"/>
                      </a:cubicBezTo>
                      <a:cubicBezTo>
                        <a:pt x="203" y="130"/>
                        <a:pt x="203" y="130"/>
                        <a:pt x="203" y="130"/>
                      </a:cubicBezTo>
                      <a:cubicBezTo>
                        <a:pt x="201" y="134"/>
                        <a:pt x="201" y="134"/>
                        <a:pt x="201" y="134"/>
                      </a:cubicBezTo>
                      <a:cubicBezTo>
                        <a:pt x="200" y="136"/>
                        <a:pt x="200" y="136"/>
                        <a:pt x="200" y="136"/>
                      </a:cubicBezTo>
                      <a:cubicBezTo>
                        <a:pt x="196" y="137"/>
                        <a:pt x="196" y="137"/>
                        <a:pt x="196" y="137"/>
                      </a:cubicBezTo>
                      <a:cubicBezTo>
                        <a:pt x="194" y="140"/>
                        <a:pt x="194" y="140"/>
                        <a:pt x="194" y="140"/>
                      </a:cubicBezTo>
                      <a:cubicBezTo>
                        <a:pt x="191" y="142"/>
                        <a:pt x="191" y="142"/>
                        <a:pt x="191" y="142"/>
                      </a:cubicBezTo>
                      <a:cubicBezTo>
                        <a:pt x="189" y="142"/>
                        <a:pt x="189" y="142"/>
                        <a:pt x="189" y="142"/>
                      </a:cubicBezTo>
                      <a:cubicBezTo>
                        <a:pt x="180" y="142"/>
                        <a:pt x="180" y="142"/>
                        <a:pt x="180" y="142"/>
                      </a:cubicBezTo>
                      <a:cubicBezTo>
                        <a:pt x="170" y="141"/>
                        <a:pt x="170" y="141"/>
                        <a:pt x="170" y="141"/>
                      </a:cubicBezTo>
                      <a:cubicBezTo>
                        <a:pt x="161" y="138"/>
                        <a:pt x="161" y="138"/>
                        <a:pt x="161" y="138"/>
                      </a:cubicBezTo>
                      <a:cubicBezTo>
                        <a:pt x="154" y="139"/>
                        <a:pt x="154" y="139"/>
                        <a:pt x="154" y="139"/>
                      </a:cubicBezTo>
                      <a:cubicBezTo>
                        <a:pt x="154" y="139"/>
                        <a:pt x="149" y="138"/>
                        <a:pt x="146" y="138"/>
                      </a:cubicBezTo>
                      <a:cubicBezTo>
                        <a:pt x="142" y="138"/>
                        <a:pt x="134" y="136"/>
                        <a:pt x="134" y="136"/>
                      </a:cubicBezTo>
                      <a:cubicBezTo>
                        <a:pt x="124" y="133"/>
                        <a:pt x="124" y="133"/>
                        <a:pt x="124" y="133"/>
                      </a:cubicBezTo>
                      <a:cubicBezTo>
                        <a:pt x="118" y="133"/>
                        <a:pt x="118" y="133"/>
                        <a:pt x="118" y="133"/>
                      </a:cubicBezTo>
                      <a:cubicBezTo>
                        <a:pt x="109" y="132"/>
                        <a:pt x="109" y="132"/>
                        <a:pt x="109" y="132"/>
                      </a:cubicBezTo>
                      <a:cubicBezTo>
                        <a:pt x="109" y="132"/>
                        <a:pt x="108" y="130"/>
                        <a:pt x="107" y="129"/>
                      </a:cubicBezTo>
                      <a:cubicBezTo>
                        <a:pt x="107" y="128"/>
                        <a:pt x="104" y="126"/>
                        <a:pt x="104" y="126"/>
                      </a:cubicBezTo>
                      <a:cubicBezTo>
                        <a:pt x="104" y="124"/>
                        <a:pt x="104" y="124"/>
                        <a:pt x="104" y="124"/>
                      </a:cubicBezTo>
                      <a:cubicBezTo>
                        <a:pt x="102" y="119"/>
                        <a:pt x="102" y="119"/>
                        <a:pt x="102" y="119"/>
                      </a:cubicBezTo>
                      <a:cubicBezTo>
                        <a:pt x="100" y="115"/>
                        <a:pt x="100" y="115"/>
                        <a:pt x="100" y="115"/>
                      </a:cubicBezTo>
                      <a:cubicBezTo>
                        <a:pt x="102" y="112"/>
                        <a:pt x="102" y="112"/>
                        <a:pt x="102" y="112"/>
                      </a:cubicBezTo>
                      <a:cubicBezTo>
                        <a:pt x="100" y="111"/>
                        <a:pt x="100" y="111"/>
                        <a:pt x="100" y="111"/>
                      </a:cubicBezTo>
                      <a:cubicBezTo>
                        <a:pt x="100" y="111"/>
                        <a:pt x="96" y="112"/>
                        <a:pt x="94" y="112"/>
                      </a:cubicBezTo>
                      <a:cubicBezTo>
                        <a:pt x="93" y="113"/>
                        <a:pt x="87" y="114"/>
                        <a:pt x="87" y="114"/>
                      </a:cubicBezTo>
                      <a:cubicBezTo>
                        <a:pt x="85" y="115"/>
                        <a:pt x="85" y="115"/>
                        <a:pt x="85" y="115"/>
                      </a:cubicBezTo>
                      <a:cubicBezTo>
                        <a:pt x="77" y="115"/>
                        <a:pt x="77" y="115"/>
                        <a:pt x="77" y="115"/>
                      </a:cubicBezTo>
                      <a:cubicBezTo>
                        <a:pt x="69" y="116"/>
                        <a:pt x="69" y="116"/>
                        <a:pt x="69" y="116"/>
                      </a:cubicBezTo>
                      <a:cubicBezTo>
                        <a:pt x="66" y="118"/>
                        <a:pt x="66" y="118"/>
                        <a:pt x="66" y="118"/>
                      </a:cubicBezTo>
                      <a:cubicBezTo>
                        <a:pt x="60" y="121"/>
                        <a:pt x="60" y="121"/>
                        <a:pt x="60" y="121"/>
                      </a:cubicBezTo>
                      <a:cubicBezTo>
                        <a:pt x="60" y="125"/>
                        <a:pt x="60" y="125"/>
                        <a:pt x="60" y="125"/>
                      </a:cubicBezTo>
                      <a:cubicBezTo>
                        <a:pt x="57" y="129"/>
                        <a:pt x="57" y="129"/>
                        <a:pt x="57" y="129"/>
                      </a:cubicBezTo>
                      <a:cubicBezTo>
                        <a:pt x="52" y="129"/>
                        <a:pt x="52" y="129"/>
                        <a:pt x="52" y="129"/>
                      </a:cubicBezTo>
                      <a:cubicBezTo>
                        <a:pt x="47" y="125"/>
                        <a:pt x="47" y="125"/>
                        <a:pt x="47" y="125"/>
                      </a:cubicBezTo>
                      <a:cubicBezTo>
                        <a:pt x="45" y="127"/>
                        <a:pt x="45" y="127"/>
                        <a:pt x="45" y="127"/>
                      </a:cubicBezTo>
                      <a:cubicBezTo>
                        <a:pt x="39" y="126"/>
                        <a:pt x="39" y="126"/>
                        <a:pt x="39" y="126"/>
                      </a:cubicBezTo>
                      <a:cubicBezTo>
                        <a:pt x="38" y="127"/>
                        <a:pt x="38" y="127"/>
                        <a:pt x="38" y="127"/>
                      </a:cubicBezTo>
                      <a:cubicBezTo>
                        <a:pt x="38" y="127"/>
                        <a:pt x="38" y="126"/>
                        <a:pt x="38" y="126"/>
                      </a:cubicBezTo>
                      <a:cubicBezTo>
                        <a:pt x="38" y="125"/>
                        <a:pt x="39" y="122"/>
                        <a:pt x="39" y="122"/>
                      </a:cubicBezTo>
                      <a:cubicBezTo>
                        <a:pt x="39" y="122"/>
                        <a:pt x="39" y="121"/>
                        <a:pt x="39" y="120"/>
                      </a:cubicBezTo>
                      <a:cubicBezTo>
                        <a:pt x="39" y="120"/>
                        <a:pt x="38" y="119"/>
                        <a:pt x="38" y="119"/>
                      </a:cubicBezTo>
                      <a:cubicBezTo>
                        <a:pt x="37" y="118"/>
                        <a:pt x="37" y="118"/>
                        <a:pt x="37" y="118"/>
                      </a:cubicBezTo>
                      <a:cubicBezTo>
                        <a:pt x="37" y="118"/>
                        <a:pt x="36" y="116"/>
                        <a:pt x="36" y="116"/>
                      </a:cubicBezTo>
                      <a:cubicBezTo>
                        <a:pt x="35" y="117"/>
                        <a:pt x="34" y="117"/>
                        <a:pt x="34" y="117"/>
                      </a:cubicBezTo>
                      <a:cubicBezTo>
                        <a:pt x="34" y="117"/>
                        <a:pt x="34" y="119"/>
                        <a:pt x="34" y="119"/>
                      </a:cubicBezTo>
                      <a:cubicBezTo>
                        <a:pt x="33" y="120"/>
                        <a:pt x="32" y="120"/>
                        <a:pt x="32" y="120"/>
                      </a:cubicBezTo>
                      <a:cubicBezTo>
                        <a:pt x="32" y="120"/>
                        <a:pt x="32" y="120"/>
                        <a:pt x="32" y="120"/>
                      </a:cubicBezTo>
                      <a:cubicBezTo>
                        <a:pt x="31" y="120"/>
                        <a:pt x="31" y="120"/>
                        <a:pt x="31" y="120"/>
                      </a:cubicBezTo>
                      <a:cubicBezTo>
                        <a:pt x="30" y="122"/>
                        <a:pt x="30" y="122"/>
                        <a:pt x="30" y="122"/>
                      </a:cubicBezTo>
                      <a:cubicBezTo>
                        <a:pt x="29" y="123"/>
                        <a:pt x="29" y="123"/>
                        <a:pt x="29" y="123"/>
                      </a:cubicBezTo>
                      <a:cubicBezTo>
                        <a:pt x="29" y="123"/>
                        <a:pt x="29" y="123"/>
                        <a:pt x="29" y="123"/>
                      </a:cubicBezTo>
                      <a:cubicBezTo>
                        <a:pt x="29" y="123"/>
                        <a:pt x="29" y="123"/>
                        <a:pt x="29" y="123"/>
                      </a:cubicBezTo>
                      <a:cubicBezTo>
                        <a:pt x="29" y="123"/>
                        <a:pt x="28" y="123"/>
                        <a:pt x="28" y="124"/>
                      </a:cubicBezTo>
                      <a:cubicBezTo>
                        <a:pt x="28" y="124"/>
                        <a:pt x="27" y="124"/>
                        <a:pt x="26" y="124"/>
                      </a:cubicBezTo>
                      <a:cubicBezTo>
                        <a:pt x="26" y="124"/>
                        <a:pt x="24" y="124"/>
                        <a:pt x="24" y="124"/>
                      </a:cubicBezTo>
                      <a:cubicBezTo>
                        <a:pt x="23" y="123"/>
                        <a:pt x="23" y="123"/>
                        <a:pt x="23" y="123"/>
                      </a:cubicBezTo>
                      <a:cubicBezTo>
                        <a:pt x="20" y="122"/>
                        <a:pt x="20" y="122"/>
                        <a:pt x="20" y="122"/>
                      </a:cubicBezTo>
                      <a:cubicBezTo>
                        <a:pt x="20" y="122"/>
                        <a:pt x="20" y="122"/>
                        <a:pt x="20" y="122"/>
                      </a:cubicBezTo>
                      <a:cubicBezTo>
                        <a:pt x="18" y="121"/>
                        <a:pt x="18" y="121"/>
                        <a:pt x="18" y="121"/>
                      </a:cubicBezTo>
                      <a:cubicBezTo>
                        <a:pt x="17" y="120"/>
                        <a:pt x="17" y="120"/>
                        <a:pt x="17" y="120"/>
                      </a:cubicBezTo>
                      <a:cubicBezTo>
                        <a:pt x="17" y="118"/>
                        <a:pt x="17" y="118"/>
                        <a:pt x="17" y="118"/>
                      </a:cubicBezTo>
                      <a:cubicBezTo>
                        <a:pt x="15" y="116"/>
                        <a:pt x="15" y="116"/>
                        <a:pt x="15" y="116"/>
                      </a:cubicBezTo>
                      <a:cubicBezTo>
                        <a:pt x="11" y="115"/>
                        <a:pt x="11" y="115"/>
                        <a:pt x="11" y="115"/>
                      </a:cubicBezTo>
                      <a:cubicBezTo>
                        <a:pt x="8" y="114"/>
                        <a:pt x="8" y="114"/>
                        <a:pt x="8" y="114"/>
                      </a:cubicBezTo>
                      <a:cubicBezTo>
                        <a:pt x="6" y="114"/>
                        <a:pt x="6" y="114"/>
                        <a:pt x="6" y="114"/>
                      </a:cubicBezTo>
                      <a:cubicBezTo>
                        <a:pt x="6" y="114"/>
                        <a:pt x="2" y="114"/>
                        <a:pt x="2" y="114"/>
                      </a:cubicBezTo>
                      <a:cubicBezTo>
                        <a:pt x="2" y="114"/>
                        <a:pt x="1" y="114"/>
                        <a:pt x="1" y="114"/>
                      </a:cubicBezTo>
                      <a:cubicBezTo>
                        <a:pt x="1" y="114"/>
                        <a:pt x="1" y="114"/>
                        <a:pt x="1" y="114"/>
                      </a:cubicBezTo>
                      <a:cubicBezTo>
                        <a:pt x="1" y="114"/>
                        <a:pt x="1" y="114"/>
                        <a:pt x="1" y="114"/>
                      </a:cubicBezTo>
                      <a:cubicBezTo>
                        <a:pt x="1" y="114"/>
                        <a:pt x="1" y="114"/>
                        <a:pt x="1" y="114"/>
                      </a:cubicBezTo>
                      <a:cubicBezTo>
                        <a:pt x="2" y="114"/>
                        <a:pt x="2" y="114"/>
                        <a:pt x="2" y="114"/>
                      </a:cubicBezTo>
                      <a:cubicBezTo>
                        <a:pt x="2" y="114"/>
                        <a:pt x="2" y="113"/>
                        <a:pt x="2" y="113"/>
                      </a:cubicBezTo>
                      <a:cubicBezTo>
                        <a:pt x="2" y="113"/>
                        <a:pt x="2" y="113"/>
                        <a:pt x="2" y="113"/>
                      </a:cubicBezTo>
                      <a:cubicBezTo>
                        <a:pt x="2" y="113"/>
                        <a:pt x="3" y="114"/>
                        <a:pt x="3" y="114"/>
                      </a:cubicBezTo>
                      <a:cubicBezTo>
                        <a:pt x="3" y="114"/>
                        <a:pt x="3" y="114"/>
                        <a:pt x="3" y="114"/>
                      </a:cubicBezTo>
                      <a:cubicBezTo>
                        <a:pt x="3" y="114"/>
                        <a:pt x="3" y="114"/>
                        <a:pt x="3" y="114"/>
                      </a:cubicBezTo>
                      <a:cubicBezTo>
                        <a:pt x="3" y="114"/>
                        <a:pt x="4" y="113"/>
                        <a:pt x="4" y="113"/>
                      </a:cubicBezTo>
                      <a:cubicBezTo>
                        <a:pt x="4" y="113"/>
                        <a:pt x="4" y="113"/>
                        <a:pt x="4" y="113"/>
                      </a:cubicBezTo>
                      <a:cubicBezTo>
                        <a:pt x="4" y="113"/>
                        <a:pt x="4" y="113"/>
                        <a:pt x="4" y="113"/>
                      </a:cubicBezTo>
                      <a:cubicBezTo>
                        <a:pt x="4" y="113"/>
                        <a:pt x="4" y="113"/>
                        <a:pt x="4" y="113"/>
                      </a:cubicBezTo>
                      <a:cubicBezTo>
                        <a:pt x="4" y="113"/>
                        <a:pt x="4" y="113"/>
                        <a:pt x="4" y="113"/>
                      </a:cubicBezTo>
                      <a:cubicBezTo>
                        <a:pt x="4" y="113"/>
                        <a:pt x="4" y="113"/>
                        <a:pt x="4" y="113"/>
                      </a:cubicBezTo>
                      <a:cubicBezTo>
                        <a:pt x="4" y="113"/>
                        <a:pt x="4" y="113"/>
                        <a:pt x="5" y="113"/>
                      </a:cubicBezTo>
                      <a:cubicBezTo>
                        <a:pt x="5" y="113"/>
                        <a:pt x="5" y="113"/>
                        <a:pt x="5" y="112"/>
                      </a:cubicBezTo>
                      <a:cubicBezTo>
                        <a:pt x="5" y="112"/>
                        <a:pt x="5" y="112"/>
                        <a:pt x="5" y="112"/>
                      </a:cubicBezTo>
                      <a:cubicBezTo>
                        <a:pt x="5" y="112"/>
                        <a:pt x="5" y="112"/>
                        <a:pt x="4" y="112"/>
                      </a:cubicBezTo>
                      <a:cubicBezTo>
                        <a:pt x="4" y="112"/>
                        <a:pt x="4" y="112"/>
                        <a:pt x="4" y="112"/>
                      </a:cubicBezTo>
                      <a:cubicBezTo>
                        <a:pt x="4" y="112"/>
                        <a:pt x="4" y="112"/>
                        <a:pt x="4" y="111"/>
                      </a:cubicBezTo>
                      <a:cubicBezTo>
                        <a:pt x="4" y="111"/>
                        <a:pt x="5" y="111"/>
                        <a:pt x="5" y="111"/>
                      </a:cubicBezTo>
                      <a:cubicBezTo>
                        <a:pt x="5" y="111"/>
                        <a:pt x="5" y="111"/>
                        <a:pt x="4" y="111"/>
                      </a:cubicBezTo>
                      <a:cubicBezTo>
                        <a:pt x="4" y="111"/>
                        <a:pt x="4" y="111"/>
                        <a:pt x="4" y="111"/>
                      </a:cubicBezTo>
                      <a:cubicBezTo>
                        <a:pt x="4" y="110"/>
                        <a:pt x="4" y="111"/>
                        <a:pt x="4" y="111"/>
                      </a:cubicBezTo>
                      <a:cubicBezTo>
                        <a:pt x="4" y="110"/>
                        <a:pt x="4" y="110"/>
                        <a:pt x="4" y="110"/>
                      </a:cubicBezTo>
                      <a:cubicBezTo>
                        <a:pt x="4" y="110"/>
                        <a:pt x="4" y="110"/>
                        <a:pt x="4" y="110"/>
                      </a:cubicBezTo>
                      <a:cubicBezTo>
                        <a:pt x="4" y="110"/>
                        <a:pt x="4" y="110"/>
                        <a:pt x="4" y="110"/>
                      </a:cubicBezTo>
                      <a:cubicBezTo>
                        <a:pt x="4" y="110"/>
                        <a:pt x="4" y="110"/>
                        <a:pt x="4" y="110"/>
                      </a:cubicBezTo>
                      <a:cubicBezTo>
                        <a:pt x="4" y="110"/>
                        <a:pt x="4" y="110"/>
                        <a:pt x="4" y="110"/>
                      </a:cubicBezTo>
                      <a:cubicBezTo>
                        <a:pt x="3" y="110"/>
                        <a:pt x="3" y="110"/>
                        <a:pt x="3" y="110"/>
                      </a:cubicBezTo>
                      <a:cubicBezTo>
                        <a:pt x="3" y="110"/>
                        <a:pt x="3" y="110"/>
                        <a:pt x="3" y="110"/>
                      </a:cubicBezTo>
                      <a:cubicBezTo>
                        <a:pt x="3" y="109"/>
                        <a:pt x="3" y="109"/>
                        <a:pt x="3" y="109"/>
                      </a:cubicBezTo>
                      <a:cubicBezTo>
                        <a:pt x="3" y="109"/>
                        <a:pt x="3" y="109"/>
                        <a:pt x="3" y="109"/>
                      </a:cubicBezTo>
                      <a:cubicBezTo>
                        <a:pt x="3" y="109"/>
                        <a:pt x="3" y="109"/>
                        <a:pt x="3" y="109"/>
                      </a:cubicBezTo>
                      <a:cubicBezTo>
                        <a:pt x="3" y="109"/>
                        <a:pt x="3" y="108"/>
                        <a:pt x="3" y="108"/>
                      </a:cubicBezTo>
                      <a:cubicBezTo>
                        <a:pt x="3" y="108"/>
                        <a:pt x="3" y="108"/>
                        <a:pt x="3" y="108"/>
                      </a:cubicBezTo>
                      <a:cubicBezTo>
                        <a:pt x="3" y="108"/>
                        <a:pt x="3" y="108"/>
                        <a:pt x="3" y="108"/>
                      </a:cubicBezTo>
                      <a:cubicBezTo>
                        <a:pt x="3" y="108"/>
                        <a:pt x="3" y="108"/>
                        <a:pt x="3" y="108"/>
                      </a:cubicBezTo>
                      <a:cubicBezTo>
                        <a:pt x="3" y="108"/>
                        <a:pt x="3" y="108"/>
                        <a:pt x="3" y="108"/>
                      </a:cubicBezTo>
                      <a:cubicBezTo>
                        <a:pt x="3" y="108"/>
                        <a:pt x="3" y="108"/>
                        <a:pt x="3" y="108"/>
                      </a:cubicBezTo>
                      <a:cubicBezTo>
                        <a:pt x="3" y="107"/>
                        <a:pt x="3" y="108"/>
                        <a:pt x="3" y="107"/>
                      </a:cubicBezTo>
                      <a:cubicBezTo>
                        <a:pt x="3" y="107"/>
                        <a:pt x="3" y="107"/>
                        <a:pt x="3" y="107"/>
                      </a:cubicBezTo>
                      <a:cubicBezTo>
                        <a:pt x="3" y="107"/>
                        <a:pt x="3" y="107"/>
                        <a:pt x="3" y="107"/>
                      </a:cubicBezTo>
                      <a:cubicBezTo>
                        <a:pt x="3" y="107"/>
                        <a:pt x="2" y="107"/>
                        <a:pt x="2" y="106"/>
                      </a:cubicBezTo>
                      <a:cubicBezTo>
                        <a:pt x="2" y="106"/>
                        <a:pt x="2" y="106"/>
                        <a:pt x="2" y="106"/>
                      </a:cubicBezTo>
                      <a:cubicBezTo>
                        <a:pt x="2" y="106"/>
                        <a:pt x="2" y="106"/>
                        <a:pt x="2" y="106"/>
                      </a:cubicBezTo>
                      <a:cubicBezTo>
                        <a:pt x="2" y="106"/>
                        <a:pt x="2" y="106"/>
                        <a:pt x="2" y="106"/>
                      </a:cubicBezTo>
                      <a:cubicBezTo>
                        <a:pt x="2" y="107"/>
                        <a:pt x="2" y="107"/>
                        <a:pt x="2" y="107"/>
                      </a:cubicBezTo>
                      <a:cubicBezTo>
                        <a:pt x="2" y="108"/>
                        <a:pt x="2" y="108"/>
                        <a:pt x="2" y="108"/>
                      </a:cubicBezTo>
                      <a:cubicBezTo>
                        <a:pt x="1" y="108"/>
                        <a:pt x="1" y="108"/>
                        <a:pt x="1" y="108"/>
                      </a:cubicBezTo>
                      <a:cubicBezTo>
                        <a:pt x="1" y="107"/>
                        <a:pt x="1" y="107"/>
                        <a:pt x="1" y="107"/>
                      </a:cubicBezTo>
                      <a:cubicBezTo>
                        <a:pt x="2" y="104"/>
                        <a:pt x="2" y="104"/>
                        <a:pt x="2" y="104"/>
                      </a:cubicBezTo>
                      <a:cubicBezTo>
                        <a:pt x="4" y="102"/>
                        <a:pt x="4" y="102"/>
                        <a:pt x="4" y="102"/>
                      </a:cubicBezTo>
                      <a:cubicBezTo>
                        <a:pt x="4" y="102"/>
                        <a:pt x="4" y="100"/>
                        <a:pt x="5" y="100"/>
                      </a:cubicBezTo>
                      <a:cubicBezTo>
                        <a:pt x="5" y="99"/>
                        <a:pt x="5" y="98"/>
                        <a:pt x="5" y="98"/>
                      </a:cubicBezTo>
                      <a:cubicBezTo>
                        <a:pt x="7" y="97"/>
                        <a:pt x="7" y="97"/>
                        <a:pt x="7" y="97"/>
                      </a:cubicBezTo>
                      <a:cubicBezTo>
                        <a:pt x="7" y="97"/>
                        <a:pt x="8" y="96"/>
                        <a:pt x="8" y="96"/>
                      </a:cubicBezTo>
                      <a:cubicBezTo>
                        <a:pt x="8" y="95"/>
                        <a:pt x="7" y="94"/>
                        <a:pt x="7" y="94"/>
                      </a:cubicBezTo>
                      <a:cubicBezTo>
                        <a:pt x="7" y="93"/>
                        <a:pt x="8" y="92"/>
                        <a:pt x="8" y="92"/>
                      </a:cubicBezTo>
                      <a:cubicBezTo>
                        <a:pt x="7" y="92"/>
                        <a:pt x="7" y="91"/>
                        <a:pt x="6" y="91"/>
                      </a:cubicBezTo>
                      <a:cubicBezTo>
                        <a:pt x="6" y="91"/>
                        <a:pt x="6" y="91"/>
                        <a:pt x="6" y="91"/>
                      </a:cubicBezTo>
                      <a:cubicBezTo>
                        <a:pt x="6" y="91"/>
                        <a:pt x="6" y="91"/>
                        <a:pt x="6" y="91"/>
                      </a:cubicBezTo>
                      <a:cubicBezTo>
                        <a:pt x="6" y="91"/>
                        <a:pt x="6" y="91"/>
                        <a:pt x="6" y="91"/>
                      </a:cubicBezTo>
                      <a:cubicBezTo>
                        <a:pt x="6" y="91"/>
                        <a:pt x="6" y="91"/>
                        <a:pt x="6" y="91"/>
                      </a:cubicBezTo>
                      <a:cubicBezTo>
                        <a:pt x="6" y="91"/>
                        <a:pt x="6" y="91"/>
                        <a:pt x="6" y="91"/>
                      </a:cubicBezTo>
                      <a:cubicBezTo>
                        <a:pt x="6" y="91"/>
                        <a:pt x="6" y="91"/>
                        <a:pt x="6" y="91"/>
                      </a:cubicBezTo>
                      <a:cubicBezTo>
                        <a:pt x="6" y="91"/>
                        <a:pt x="6" y="91"/>
                        <a:pt x="6" y="91"/>
                      </a:cubicBezTo>
                      <a:cubicBezTo>
                        <a:pt x="6" y="91"/>
                        <a:pt x="6" y="91"/>
                        <a:pt x="6" y="91"/>
                      </a:cubicBezTo>
                      <a:cubicBezTo>
                        <a:pt x="6" y="91"/>
                        <a:pt x="6" y="91"/>
                        <a:pt x="6" y="91"/>
                      </a:cubicBezTo>
                      <a:cubicBezTo>
                        <a:pt x="6" y="91"/>
                        <a:pt x="6" y="91"/>
                        <a:pt x="6" y="91"/>
                      </a:cubicBezTo>
                      <a:cubicBezTo>
                        <a:pt x="6" y="91"/>
                        <a:pt x="6" y="91"/>
                        <a:pt x="6" y="91"/>
                      </a:cubicBezTo>
                      <a:cubicBezTo>
                        <a:pt x="6" y="91"/>
                        <a:pt x="6" y="91"/>
                        <a:pt x="6" y="91"/>
                      </a:cubicBezTo>
                      <a:cubicBezTo>
                        <a:pt x="6" y="91"/>
                        <a:pt x="6" y="91"/>
                        <a:pt x="6" y="91"/>
                      </a:cubicBezTo>
                      <a:cubicBezTo>
                        <a:pt x="6" y="91"/>
                        <a:pt x="6" y="91"/>
                        <a:pt x="6" y="91"/>
                      </a:cubicBezTo>
                      <a:cubicBezTo>
                        <a:pt x="6" y="91"/>
                        <a:pt x="6" y="91"/>
                        <a:pt x="6" y="90"/>
                      </a:cubicBezTo>
                      <a:cubicBezTo>
                        <a:pt x="6" y="90"/>
                        <a:pt x="6" y="90"/>
                        <a:pt x="6" y="90"/>
                      </a:cubicBezTo>
                      <a:cubicBezTo>
                        <a:pt x="6" y="90"/>
                        <a:pt x="6" y="90"/>
                        <a:pt x="6" y="90"/>
                      </a:cubicBezTo>
                      <a:cubicBezTo>
                        <a:pt x="6" y="90"/>
                        <a:pt x="6" y="90"/>
                        <a:pt x="6" y="90"/>
                      </a:cubicBezTo>
                      <a:cubicBezTo>
                        <a:pt x="6" y="90"/>
                        <a:pt x="6" y="90"/>
                        <a:pt x="6" y="90"/>
                      </a:cubicBezTo>
                      <a:cubicBezTo>
                        <a:pt x="6" y="90"/>
                        <a:pt x="6" y="90"/>
                        <a:pt x="6" y="90"/>
                      </a:cubicBezTo>
                      <a:cubicBezTo>
                        <a:pt x="6" y="90"/>
                        <a:pt x="6" y="90"/>
                        <a:pt x="6" y="90"/>
                      </a:cubicBezTo>
                      <a:cubicBezTo>
                        <a:pt x="6" y="90"/>
                        <a:pt x="6" y="90"/>
                        <a:pt x="6" y="90"/>
                      </a:cubicBezTo>
                      <a:cubicBezTo>
                        <a:pt x="8" y="88"/>
                        <a:pt x="10" y="86"/>
                        <a:pt x="10" y="86"/>
                      </a:cubicBezTo>
                      <a:cubicBezTo>
                        <a:pt x="10" y="86"/>
                        <a:pt x="12" y="85"/>
                        <a:pt x="14" y="86"/>
                      </a:cubicBezTo>
                      <a:cubicBezTo>
                        <a:pt x="15" y="87"/>
                        <a:pt x="17" y="89"/>
                        <a:pt x="18" y="90"/>
                      </a:cubicBezTo>
                      <a:cubicBezTo>
                        <a:pt x="18" y="90"/>
                        <a:pt x="19" y="91"/>
                        <a:pt x="20" y="91"/>
                      </a:cubicBezTo>
                      <a:cubicBezTo>
                        <a:pt x="21" y="91"/>
                        <a:pt x="22" y="92"/>
                        <a:pt x="22" y="92"/>
                      </a:cubicBezTo>
                      <a:cubicBezTo>
                        <a:pt x="22" y="93"/>
                        <a:pt x="23" y="92"/>
                        <a:pt x="23" y="94"/>
                      </a:cubicBezTo>
                      <a:cubicBezTo>
                        <a:pt x="22" y="96"/>
                        <a:pt x="22" y="98"/>
                        <a:pt x="23" y="98"/>
                      </a:cubicBezTo>
                      <a:cubicBezTo>
                        <a:pt x="25" y="97"/>
                        <a:pt x="26" y="96"/>
                        <a:pt x="26" y="97"/>
                      </a:cubicBezTo>
                      <a:cubicBezTo>
                        <a:pt x="26" y="98"/>
                        <a:pt x="27" y="97"/>
                        <a:pt x="26" y="99"/>
                      </a:cubicBezTo>
                      <a:cubicBezTo>
                        <a:pt x="26" y="101"/>
                        <a:pt x="25" y="102"/>
                        <a:pt x="26" y="102"/>
                      </a:cubicBezTo>
                      <a:cubicBezTo>
                        <a:pt x="28" y="103"/>
                        <a:pt x="30" y="104"/>
                        <a:pt x="31" y="103"/>
                      </a:cubicBezTo>
                      <a:cubicBezTo>
                        <a:pt x="32" y="101"/>
                        <a:pt x="31" y="103"/>
                        <a:pt x="32" y="101"/>
                      </a:cubicBezTo>
                      <a:cubicBezTo>
                        <a:pt x="33" y="98"/>
                        <a:pt x="33" y="99"/>
                        <a:pt x="34" y="98"/>
                      </a:cubicBezTo>
                      <a:cubicBezTo>
                        <a:pt x="34" y="96"/>
                        <a:pt x="34" y="97"/>
                        <a:pt x="35" y="95"/>
                      </a:cubicBezTo>
                      <a:cubicBezTo>
                        <a:pt x="35" y="93"/>
                        <a:pt x="36" y="94"/>
                        <a:pt x="35" y="93"/>
                      </a:cubicBezTo>
                      <a:cubicBezTo>
                        <a:pt x="35" y="93"/>
                        <a:pt x="35" y="92"/>
                        <a:pt x="34" y="91"/>
                      </a:cubicBezTo>
                      <a:cubicBezTo>
                        <a:pt x="34" y="89"/>
                        <a:pt x="32" y="90"/>
                        <a:pt x="35" y="89"/>
                      </a:cubicBezTo>
                      <a:cubicBezTo>
                        <a:pt x="37" y="88"/>
                        <a:pt x="38" y="88"/>
                        <a:pt x="38" y="88"/>
                      </a:cubicBezTo>
                      <a:cubicBezTo>
                        <a:pt x="38" y="87"/>
                        <a:pt x="41" y="87"/>
                        <a:pt x="41" y="87"/>
                      </a:cubicBezTo>
                      <a:cubicBezTo>
                        <a:pt x="41" y="87"/>
                        <a:pt x="44" y="87"/>
                        <a:pt x="44" y="87"/>
                      </a:cubicBezTo>
                      <a:cubicBezTo>
                        <a:pt x="45" y="87"/>
                        <a:pt x="49" y="87"/>
                        <a:pt x="49" y="88"/>
                      </a:cubicBezTo>
                      <a:cubicBezTo>
                        <a:pt x="49" y="89"/>
                        <a:pt x="51" y="89"/>
                        <a:pt x="51" y="89"/>
                      </a:cubicBezTo>
                      <a:cubicBezTo>
                        <a:pt x="51" y="89"/>
                        <a:pt x="53" y="89"/>
                        <a:pt x="54" y="91"/>
                      </a:cubicBezTo>
                      <a:cubicBezTo>
                        <a:pt x="54" y="94"/>
                        <a:pt x="54" y="96"/>
                        <a:pt x="55" y="95"/>
                      </a:cubicBezTo>
                      <a:cubicBezTo>
                        <a:pt x="56" y="95"/>
                        <a:pt x="58" y="97"/>
                        <a:pt x="58" y="96"/>
                      </a:cubicBezTo>
                      <a:cubicBezTo>
                        <a:pt x="59" y="95"/>
                        <a:pt x="60" y="94"/>
                        <a:pt x="61" y="94"/>
                      </a:cubicBezTo>
                      <a:cubicBezTo>
                        <a:pt x="62" y="94"/>
                        <a:pt x="60" y="93"/>
                        <a:pt x="63" y="93"/>
                      </a:cubicBezTo>
                      <a:cubicBezTo>
                        <a:pt x="67" y="94"/>
                        <a:pt x="66" y="95"/>
                        <a:pt x="68" y="93"/>
                      </a:cubicBezTo>
                      <a:cubicBezTo>
                        <a:pt x="69" y="91"/>
                        <a:pt x="69" y="91"/>
                        <a:pt x="71" y="90"/>
                      </a:cubicBezTo>
                      <a:cubicBezTo>
                        <a:pt x="72" y="89"/>
                        <a:pt x="72" y="89"/>
                        <a:pt x="73" y="88"/>
                      </a:cubicBezTo>
                      <a:cubicBezTo>
                        <a:pt x="73" y="88"/>
                        <a:pt x="77" y="88"/>
                        <a:pt x="77" y="88"/>
                      </a:cubicBezTo>
                      <a:cubicBezTo>
                        <a:pt x="78" y="87"/>
                        <a:pt x="79" y="85"/>
                        <a:pt x="80" y="85"/>
                      </a:cubicBezTo>
                      <a:cubicBezTo>
                        <a:pt x="80" y="85"/>
                        <a:pt x="84" y="85"/>
                        <a:pt x="85" y="85"/>
                      </a:cubicBezTo>
                      <a:cubicBezTo>
                        <a:pt x="86" y="85"/>
                        <a:pt x="88" y="85"/>
                        <a:pt x="89" y="84"/>
                      </a:cubicBezTo>
                      <a:cubicBezTo>
                        <a:pt x="89" y="83"/>
                        <a:pt x="89" y="83"/>
                        <a:pt x="90" y="82"/>
                      </a:cubicBezTo>
                      <a:cubicBezTo>
                        <a:pt x="92" y="82"/>
                        <a:pt x="93" y="82"/>
                        <a:pt x="95" y="82"/>
                      </a:cubicBezTo>
                      <a:cubicBezTo>
                        <a:pt x="97" y="82"/>
                        <a:pt x="97" y="82"/>
                        <a:pt x="98" y="82"/>
                      </a:cubicBezTo>
                      <a:cubicBezTo>
                        <a:pt x="99" y="82"/>
                        <a:pt x="100" y="84"/>
                        <a:pt x="100" y="81"/>
                      </a:cubicBezTo>
                      <a:cubicBezTo>
                        <a:pt x="99" y="78"/>
                        <a:pt x="98" y="78"/>
                        <a:pt x="99" y="77"/>
                      </a:cubicBezTo>
                      <a:cubicBezTo>
                        <a:pt x="101" y="77"/>
                        <a:pt x="103" y="77"/>
                        <a:pt x="103" y="77"/>
                      </a:cubicBezTo>
                      <a:cubicBezTo>
                        <a:pt x="104" y="77"/>
                        <a:pt x="108" y="78"/>
                        <a:pt x="109" y="78"/>
                      </a:cubicBezTo>
                      <a:cubicBezTo>
                        <a:pt x="109" y="78"/>
                        <a:pt x="110" y="80"/>
                        <a:pt x="110" y="80"/>
                      </a:cubicBezTo>
                      <a:cubicBezTo>
                        <a:pt x="111" y="80"/>
                        <a:pt x="112" y="81"/>
                        <a:pt x="113" y="80"/>
                      </a:cubicBezTo>
                      <a:cubicBezTo>
                        <a:pt x="113" y="80"/>
                        <a:pt x="114" y="78"/>
                        <a:pt x="115" y="78"/>
                      </a:cubicBezTo>
                      <a:cubicBezTo>
                        <a:pt x="116" y="78"/>
                        <a:pt x="119" y="78"/>
                        <a:pt x="119" y="78"/>
                      </a:cubicBezTo>
                      <a:cubicBezTo>
                        <a:pt x="119" y="78"/>
                        <a:pt x="123" y="79"/>
                        <a:pt x="123" y="79"/>
                      </a:cubicBezTo>
                      <a:cubicBezTo>
                        <a:pt x="123" y="79"/>
                        <a:pt x="122" y="81"/>
                        <a:pt x="122" y="82"/>
                      </a:cubicBezTo>
                      <a:cubicBezTo>
                        <a:pt x="122" y="83"/>
                        <a:pt x="122" y="84"/>
                        <a:pt x="123" y="85"/>
                      </a:cubicBezTo>
                      <a:cubicBezTo>
                        <a:pt x="123" y="85"/>
                        <a:pt x="125" y="87"/>
                        <a:pt x="125" y="87"/>
                      </a:cubicBezTo>
                      <a:cubicBezTo>
                        <a:pt x="125" y="87"/>
                        <a:pt x="130" y="89"/>
                        <a:pt x="130" y="89"/>
                      </a:cubicBezTo>
                      <a:cubicBezTo>
                        <a:pt x="130" y="89"/>
                        <a:pt x="131" y="90"/>
                        <a:pt x="131" y="86"/>
                      </a:cubicBezTo>
                      <a:cubicBezTo>
                        <a:pt x="131" y="82"/>
                        <a:pt x="131" y="81"/>
                        <a:pt x="131" y="81"/>
                      </a:cubicBezTo>
                      <a:cubicBezTo>
                        <a:pt x="131" y="77"/>
                        <a:pt x="131" y="77"/>
                        <a:pt x="131" y="77"/>
                      </a:cubicBezTo>
                      <a:cubicBezTo>
                        <a:pt x="131" y="77"/>
                        <a:pt x="131" y="76"/>
                        <a:pt x="130" y="76"/>
                      </a:cubicBezTo>
                      <a:cubicBezTo>
                        <a:pt x="130" y="76"/>
                        <a:pt x="129" y="76"/>
                        <a:pt x="129" y="76"/>
                      </a:cubicBezTo>
                      <a:cubicBezTo>
                        <a:pt x="129" y="76"/>
                        <a:pt x="125" y="75"/>
                        <a:pt x="124" y="75"/>
                      </a:cubicBezTo>
                      <a:cubicBezTo>
                        <a:pt x="123" y="75"/>
                        <a:pt x="124" y="73"/>
                        <a:pt x="124" y="72"/>
                      </a:cubicBezTo>
                      <a:cubicBezTo>
                        <a:pt x="124" y="72"/>
                        <a:pt x="126" y="70"/>
                        <a:pt x="126" y="70"/>
                      </a:cubicBezTo>
                      <a:cubicBezTo>
                        <a:pt x="126" y="67"/>
                        <a:pt x="126" y="67"/>
                        <a:pt x="126" y="67"/>
                      </a:cubicBezTo>
                      <a:cubicBezTo>
                        <a:pt x="123" y="62"/>
                        <a:pt x="123" y="62"/>
                        <a:pt x="123" y="62"/>
                      </a:cubicBezTo>
                      <a:cubicBezTo>
                        <a:pt x="120" y="59"/>
                        <a:pt x="120" y="59"/>
                        <a:pt x="120" y="59"/>
                      </a:cubicBezTo>
                      <a:cubicBezTo>
                        <a:pt x="118" y="54"/>
                        <a:pt x="118" y="54"/>
                        <a:pt x="118" y="54"/>
                      </a:cubicBezTo>
                      <a:cubicBezTo>
                        <a:pt x="118" y="54"/>
                        <a:pt x="118" y="54"/>
                        <a:pt x="118" y="54"/>
                      </a:cubicBezTo>
                      <a:cubicBezTo>
                        <a:pt x="118" y="54"/>
                        <a:pt x="118" y="54"/>
                        <a:pt x="118" y="54"/>
                      </a:cubicBezTo>
                      <a:cubicBezTo>
                        <a:pt x="121" y="52"/>
                        <a:pt x="121" y="52"/>
                        <a:pt x="121" y="52"/>
                      </a:cubicBezTo>
                      <a:cubicBezTo>
                        <a:pt x="123" y="50"/>
                        <a:pt x="126" y="48"/>
                        <a:pt x="126" y="48"/>
                      </a:cubicBezTo>
                      <a:cubicBezTo>
                        <a:pt x="126" y="48"/>
                        <a:pt x="126" y="48"/>
                        <a:pt x="127" y="48"/>
                      </a:cubicBezTo>
                      <a:cubicBezTo>
                        <a:pt x="129" y="46"/>
                        <a:pt x="129" y="46"/>
                        <a:pt x="129" y="46"/>
                      </a:cubicBezTo>
                      <a:cubicBezTo>
                        <a:pt x="129" y="46"/>
                        <a:pt x="134" y="44"/>
                        <a:pt x="134" y="44"/>
                      </a:cubicBezTo>
                      <a:cubicBezTo>
                        <a:pt x="134" y="44"/>
                        <a:pt x="135" y="43"/>
                        <a:pt x="135" y="43"/>
                      </a:cubicBezTo>
                      <a:cubicBezTo>
                        <a:pt x="136" y="43"/>
                        <a:pt x="136" y="43"/>
                        <a:pt x="136" y="43"/>
                      </a:cubicBezTo>
                      <a:cubicBezTo>
                        <a:pt x="141" y="38"/>
                        <a:pt x="141" y="38"/>
                        <a:pt x="141" y="38"/>
                      </a:cubicBezTo>
                      <a:cubicBezTo>
                        <a:pt x="141" y="33"/>
                        <a:pt x="141" y="33"/>
                        <a:pt x="141" y="33"/>
                      </a:cubicBezTo>
                      <a:cubicBezTo>
                        <a:pt x="142" y="31"/>
                        <a:pt x="142" y="31"/>
                        <a:pt x="142" y="31"/>
                      </a:cubicBezTo>
                      <a:cubicBezTo>
                        <a:pt x="142" y="30"/>
                        <a:pt x="142" y="28"/>
                        <a:pt x="142" y="28"/>
                      </a:cubicBezTo>
                      <a:cubicBezTo>
                        <a:pt x="148" y="28"/>
                        <a:pt x="148" y="28"/>
                        <a:pt x="148" y="28"/>
                      </a:cubicBezTo>
                      <a:cubicBezTo>
                        <a:pt x="148" y="28"/>
                        <a:pt x="149" y="29"/>
                        <a:pt x="150" y="30"/>
                      </a:cubicBezTo>
                      <a:cubicBezTo>
                        <a:pt x="151" y="30"/>
                        <a:pt x="152" y="29"/>
                        <a:pt x="152" y="29"/>
                      </a:cubicBezTo>
                      <a:cubicBezTo>
                        <a:pt x="153" y="29"/>
                        <a:pt x="154" y="27"/>
                        <a:pt x="154" y="27"/>
                      </a:cubicBezTo>
                      <a:cubicBezTo>
                        <a:pt x="154" y="24"/>
                        <a:pt x="154" y="24"/>
                        <a:pt x="154" y="24"/>
                      </a:cubicBezTo>
                      <a:cubicBezTo>
                        <a:pt x="153" y="19"/>
                        <a:pt x="153" y="19"/>
                        <a:pt x="153" y="19"/>
                      </a:cubicBezTo>
                      <a:cubicBezTo>
                        <a:pt x="153" y="16"/>
                        <a:pt x="153" y="16"/>
                        <a:pt x="153" y="16"/>
                      </a:cubicBezTo>
                      <a:cubicBezTo>
                        <a:pt x="153" y="16"/>
                        <a:pt x="153" y="16"/>
                        <a:pt x="153" y="16"/>
                      </a:cubicBezTo>
                      <a:cubicBezTo>
                        <a:pt x="154" y="16"/>
                        <a:pt x="158" y="19"/>
                        <a:pt x="160" y="20"/>
                      </a:cubicBezTo>
                      <a:cubicBezTo>
                        <a:pt x="161" y="21"/>
                        <a:pt x="164" y="24"/>
                        <a:pt x="164" y="24"/>
                      </a:cubicBezTo>
                      <a:cubicBezTo>
                        <a:pt x="164" y="24"/>
                        <a:pt x="169" y="25"/>
                        <a:pt x="170" y="25"/>
                      </a:cubicBezTo>
                      <a:cubicBezTo>
                        <a:pt x="170" y="25"/>
                        <a:pt x="175" y="26"/>
                        <a:pt x="175" y="26"/>
                      </a:cubicBezTo>
                      <a:cubicBezTo>
                        <a:pt x="176" y="24"/>
                        <a:pt x="176" y="24"/>
                        <a:pt x="176" y="24"/>
                      </a:cubicBezTo>
                      <a:cubicBezTo>
                        <a:pt x="179" y="22"/>
                        <a:pt x="179" y="22"/>
                        <a:pt x="179" y="22"/>
                      </a:cubicBezTo>
                      <a:cubicBezTo>
                        <a:pt x="183" y="25"/>
                        <a:pt x="183" y="25"/>
                        <a:pt x="183" y="25"/>
                      </a:cubicBezTo>
                      <a:cubicBezTo>
                        <a:pt x="187" y="24"/>
                        <a:pt x="187" y="24"/>
                        <a:pt x="187" y="24"/>
                      </a:cubicBezTo>
                      <a:close/>
                      <a:moveTo>
                        <a:pt x="5" y="91"/>
                      </a:moveTo>
                      <a:cubicBezTo>
                        <a:pt x="5" y="91"/>
                        <a:pt x="5" y="91"/>
                        <a:pt x="5" y="91"/>
                      </a:cubicBezTo>
                      <a:cubicBezTo>
                        <a:pt x="5" y="91"/>
                        <a:pt x="5" y="91"/>
                        <a:pt x="5" y="91"/>
                      </a:cubicBezTo>
                      <a:cubicBezTo>
                        <a:pt x="5" y="91"/>
                        <a:pt x="5" y="91"/>
                        <a:pt x="5" y="91"/>
                      </a:cubicBezTo>
                      <a:close/>
                      <a:moveTo>
                        <a:pt x="1" y="114"/>
                      </a:moveTo>
                      <a:cubicBezTo>
                        <a:pt x="1" y="114"/>
                        <a:pt x="1" y="114"/>
                        <a:pt x="1" y="114"/>
                      </a:cubicBezTo>
                      <a:cubicBezTo>
                        <a:pt x="1" y="114"/>
                        <a:pt x="1" y="114"/>
                        <a:pt x="1" y="114"/>
                      </a:cubicBezTo>
                      <a:cubicBezTo>
                        <a:pt x="1" y="114"/>
                        <a:pt x="1" y="114"/>
                        <a:pt x="1" y="114"/>
                      </a:cubicBezTo>
                      <a:cubicBezTo>
                        <a:pt x="1" y="114"/>
                        <a:pt x="1" y="114"/>
                        <a:pt x="1" y="114"/>
                      </a:cubicBezTo>
                      <a:close/>
                      <a:moveTo>
                        <a:pt x="1" y="114"/>
                      </a:moveTo>
                      <a:cubicBezTo>
                        <a:pt x="1" y="114"/>
                        <a:pt x="1" y="114"/>
                        <a:pt x="1" y="114"/>
                      </a:cubicBezTo>
                      <a:cubicBezTo>
                        <a:pt x="1" y="114"/>
                        <a:pt x="1" y="113"/>
                        <a:pt x="1" y="113"/>
                      </a:cubicBezTo>
                      <a:cubicBezTo>
                        <a:pt x="1" y="113"/>
                        <a:pt x="1" y="113"/>
                        <a:pt x="1" y="113"/>
                      </a:cubicBezTo>
                      <a:cubicBezTo>
                        <a:pt x="1" y="113"/>
                        <a:pt x="2" y="113"/>
                        <a:pt x="2" y="112"/>
                      </a:cubicBezTo>
                      <a:cubicBezTo>
                        <a:pt x="2" y="112"/>
                        <a:pt x="2" y="112"/>
                        <a:pt x="2" y="112"/>
                      </a:cubicBezTo>
                      <a:cubicBezTo>
                        <a:pt x="2" y="112"/>
                        <a:pt x="2" y="112"/>
                        <a:pt x="2" y="112"/>
                      </a:cubicBezTo>
                      <a:cubicBezTo>
                        <a:pt x="2" y="112"/>
                        <a:pt x="2" y="112"/>
                        <a:pt x="2" y="112"/>
                      </a:cubicBezTo>
                      <a:cubicBezTo>
                        <a:pt x="1" y="112"/>
                        <a:pt x="1" y="112"/>
                        <a:pt x="1" y="112"/>
                      </a:cubicBezTo>
                      <a:cubicBezTo>
                        <a:pt x="0" y="114"/>
                        <a:pt x="0" y="114"/>
                        <a:pt x="0" y="114"/>
                      </a:cubicBezTo>
                      <a:lnTo>
                        <a:pt x="1" y="114"/>
                      </a:lnTo>
                      <a:close/>
                    </a:path>
                  </a:pathLst>
                </a:custGeom>
                <a:solidFill>
                  <a:srgbClr val="E6EFF1"/>
                </a:solidFill>
                <a:ln w="12700" cap="rnd" cmpd="sng">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Lato Light"/>
                  </a:endParaRPr>
                </a:p>
              </p:txBody>
            </p:sp>
            <p:sp>
              <p:nvSpPr>
                <p:cNvPr id="227" name="Freeform 11">
                  <a:extLst>
                    <a:ext uri="{FF2B5EF4-FFF2-40B4-BE49-F238E27FC236}">
                      <a16:creationId xmlns:a16="http://schemas.microsoft.com/office/drawing/2014/main" id="{7659FAF6-900A-1D12-0B19-5C58C8F1E595}"/>
                    </a:ext>
                  </a:extLst>
                </p:cNvPr>
                <p:cNvSpPr>
                  <a:spLocks noEditPoints="1"/>
                </p:cNvSpPr>
                <p:nvPr/>
              </p:nvSpPr>
              <p:spPr bwMode="auto">
                <a:xfrm>
                  <a:off x="2392882" y="3894147"/>
                  <a:ext cx="1497565" cy="1504131"/>
                </a:xfrm>
                <a:custGeom>
                  <a:avLst/>
                  <a:gdLst>
                    <a:gd name="T0" fmla="*/ 269 w 520"/>
                    <a:gd name="T1" fmla="*/ 424 h 538"/>
                    <a:gd name="T2" fmla="*/ 326 w 520"/>
                    <a:gd name="T3" fmla="*/ 423 h 538"/>
                    <a:gd name="T4" fmla="*/ 401 w 520"/>
                    <a:gd name="T5" fmla="*/ 437 h 538"/>
                    <a:gd name="T6" fmla="*/ 432 w 520"/>
                    <a:gd name="T7" fmla="*/ 408 h 538"/>
                    <a:gd name="T8" fmla="*/ 434 w 520"/>
                    <a:gd name="T9" fmla="*/ 407 h 538"/>
                    <a:gd name="T10" fmla="*/ 435 w 520"/>
                    <a:gd name="T11" fmla="*/ 406 h 538"/>
                    <a:gd name="T12" fmla="*/ 436 w 520"/>
                    <a:gd name="T13" fmla="*/ 406 h 538"/>
                    <a:gd name="T14" fmla="*/ 421 w 520"/>
                    <a:gd name="T15" fmla="*/ 359 h 538"/>
                    <a:gd name="T16" fmla="*/ 425 w 520"/>
                    <a:gd name="T17" fmla="*/ 310 h 538"/>
                    <a:gd name="T18" fmla="*/ 418 w 520"/>
                    <a:gd name="T19" fmla="*/ 279 h 538"/>
                    <a:gd name="T20" fmla="*/ 414 w 520"/>
                    <a:gd name="T21" fmla="*/ 263 h 538"/>
                    <a:gd name="T22" fmla="*/ 395 w 520"/>
                    <a:gd name="T23" fmla="*/ 272 h 538"/>
                    <a:gd name="T24" fmla="*/ 384 w 520"/>
                    <a:gd name="T25" fmla="*/ 274 h 538"/>
                    <a:gd name="T26" fmla="*/ 389 w 520"/>
                    <a:gd name="T27" fmla="*/ 259 h 538"/>
                    <a:gd name="T28" fmla="*/ 402 w 520"/>
                    <a:gd name="T29" fmla="*/ 242 h 538"/>
                    <a:gd name="T30" fmla="*/ 411 w 520"/>
                    <a:gd name="T31" fmla="*/ 230 h 538"/>
                    <a:gd name="T32" fmla="*/ 424 w 520"/>
                    <a:gd name="T33" fmla="*/ 215 h 538"/>
                    <a:gd name="T34" fmla="*/ 422 w 520"/>
                    <a:gd name="T35" fmla="*/ 208 h 538"/>
                    <a:gd name="T36" fmla="*/ 434 w 520"/>
                    <a:gd name="T37" fmla="*/ 208 h 538"/>
                    <a:gd name="T38" fmla="*/ 443 w 520"/>
                    <a:gd name="T39" fmla="*/ 202 h 538"/>
                    <a:gd name="T40" fmla="*/ 451 w 520"/>
                    <a:gd name="T41" fmla="*/ 160 h 538"/>
                    <a:gd name="T42" fmla="*/ 430 w 520"/>
                    <a:gd name="T43" fmla="*/ 116 h 538"/>
                    <a:gd name="T44" fmla="*/ 401 w 520"/>
                    <a:gd name="T45" fmla="*/ 94 h 538"/>
                    <a:gd name="T46" fmla="*/ 391 w 520"/>
                    <a:gd name="T47" fmla="*/ 95 h 538"/>
                    <a:gd name="T48" fmla="*/ 383 w 520"/>
                    <a:gd name="T49" fmla="*/ 91 h 538"/>
                    <a:gd name="T50" fmla="*/ 367 w 520"/>
                    <a:gd name="T51" fmla="*/ 82 h 538"/>
                    <a:gd name="T52" fmla="*/ 355 w 520"/>
                    <a:gd name="T53" fmla="*/ 61 h 538"/>
                    <a:gd name="T54" fmla="*/ 335 w 520"/>
                    <a:gd name="T55" fmla="*/ 65 h 538"/>
                    <a:gd name="T56" fmla="*/ 330 w 520"/>
                    <a:gd name="T57" fmla="*/ 48 h 538"/>
                    <a:gd name="T58" fmla="*/ 311 w 520"/>
                    <a:gd name="T59" fmla="*/ 35 h 538"/>
                    <a:gd name="T60" fmla="*/ 291 w 520"/>
                    <a:gd name="T61" fmla="*/ 20 h 538"/>
                    <a:gd name="T62" fmla="*/ 281 w 520"/>
                    <a:gd name="T63" fmla="*/ 1 h 538"/>
                    <a:gd name="T64" fmla="*/ 229 w 520"/>
                    <a:gd name="T65" fmla="*/ 53 h 538"/>
                    <a:gd name="T66" fmla="*/ 145 w 520"/>
                    <a:gd name="T67" fmla="*/ 76 h 538"/>
                    <a:gd name="T68" fmla="*/ 117 w 520"/>
                    <a:gd name="T69" fmla="*/ 65 h 538"/>
                    <a:gd name="T70" fmla="*/ 107 w 520"/>
                    <a:gd name="T71" fmla="*/ 111 h 538"/>
                    <a:gd name="T72" fmla="*/ 46 w 520"/>
                    <a:gd name="T73" fmla="*/ 99 h 538"/>
                    <a:gd name="T74" fmla="*/ 16 w 520"/>
                    <a:gd name="T75" fmla="*/ 117 h 538"/>
                    <a:gd name="T76" fmla="*/ 19 w 520"/>
                    <a:gd name="T77" fmla="*/ 145 h 538"/>
                    <a:gd name="T78" fmla="*/ 58 w 520"/>
                    <a:gd name="T79" fmla="*/ 167 h 538"/>
                    <a:gd name="T80" fmla="*/ 91 w 520"/>
                    <a:gd name="T81" fmla="*/ 200 h 538"/>
                    <a:gd name="T82" fmla="*/ 95 w 520"/>
                    <a:gd name="T83" fmla="*/ 228 h 538"/>
                    <a:gd name="T84" fmla="*/ 109 w 520"/>
                    <a:gd name="T85" fmla="*/ 250 h 538"/>
                    <a:gd name="T86" fmla="*/ 109 w 520"/>
                    <a:gd name="T87" fmla="*/ 265 h 538"/>
                    <a:gd name="T88" fmla="*/ 114 w 520"/>
                    <a:gd name="T89" fmla="*/ 284 h 538"/>
                    <a:gd name="T90" fmla="*/ 92 w 520"/>
                    <a:gd name="T91" fmla="*/ 371 h 538"/>
                    <a:gd name="T92" fmla="*/ 159 w 520"/>
                    <a:gd name="T93" fmla="*/ 443 h 538"/>
                    <a:gd name="T94" fmla="*/ 193 w 520"/>
                    <a:gd name="T95" fmla="*/ 453 h 538"/>
                    <a:gd name="T96" fmla="*/ 197 w 520"/>
                    <a:gd name="T97" fmla="*/ 450 h 538"/>
                    <a:gd name="T98" fmla="*/ 203 w 520"/>
                    <a:gd name="T99" fmla="*/ 453 h 538"/>
                    <a:gd name="T100" fmla="*/ 208 w 520"/>
                    <a:gd name="T101" fmla="*/ 456 h 538"/>
                    <a:gd name="T102" fmla="*/ 203 w 520"/>
                    <a:gd name="T103" fmla="*/ 460 h 538"/>
                    <a:gd name="T104" fmla="*/ 198 w 520"/>
                    <a:gd name="T105" fmla="*/ 462 h 538"/>
                    <a:gd name="T106" fmla="*/ 243 w 520"/>
                    <a:gd name="T107" fmla="*/ 471 h 538"/>
                    <a:gd name="T108" fmla="*/ 193 w 520"/>
                    <a:gd name="T109" fmla="*/ 458 h 538"/>
                    <a:gd name="T110" fmla="*/ 449 w 520"/>
                    <a:gd name="T111" fmla="*/ 200 h 538"/>
                    <a:gd name="T112" fmla="*/ 511 w 520"/>
                    <a:gd name="T113" fmla="*/ 523 h 538"/>
                    <a:gd name="T114" fmla="*/ 517 w 520"/>
                    <a:gd name="T115" fmla="*/ 468 h 538"/>
                    <a:gd name="T116" fmla="*/ 485 w 520"/>
                    <a:gd name="T117" fmla="*/ 478 h 538"/>
                    <a:gd name="T118" fmla="*/ 493 w 520"/>
                    <a:gd name="T119" fmla="*/ 520 h 5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20" h="538">
                      <a:moveTo>
                        <a:pt x="259" y="471"/>
                      </a:moveTo>
                      <a:cubicBezTo>
                        <a:pt x="261" y="468"/>
                        <a:pt x="261" y="468"/>
                        <a:pt x="261" y="468"/>
                      </a:cubicBezTo>
                      <a:cubicBezTo>
                        <a:pt x="261" y="468"/>
                        <a:pt x="261" y="462"/>
                        <a:pt x="259" y="461"/>
                      </a:cubicBezTo>
                      <a:cubicBezTo>
                        <a:pt x="258" y="460"/>
                        <a:pt x="257" y="459"/>
                        <a:pt x="257" y="459"/>
                      </a:cubicBezTo>
                      <a:cubicBezTo>
                        <a:pt x="257" y="459"/>
                        <a:pt x="257" y="455"/>
                        <a:pt x="257" y="453"/>
                      </a:cubicBezTo>
                      <a:cubicBezTo>
                        <a:pt x="257" y="452"/>
                        <a:pt x="257" y="448"/>
                        <a:pt x="257" y="447"/>
                      </a:cubicBezTo>
                      <a:cubicBezTo>
                        <a:pt x="257" y="446"/>
                        <a:pt x="258" y="442"/>
                        <a:pt x="258" y="441"/>
                      </a:cubicBezTo>
                      <a:cubicBezTo>
                        <a:pt x="258" y="441"/>
                        <a:pt x="257" y="441"/>
                        <a:pt x="259" y="439"/>
                      </a:cubicBezTo>
                      <a:cubicBezTo>
                        <a:pt x="261" y="436"/>
                        <a:pt x="261" y="434"/>
                        <a:pt x="261" y="434"/>
                      </a:cubicBezTo>
                      <a:cubicBezTo>
                        <a:pt x="265" y="429"/>
                        <a:pt x="265" y="429"/>
                        <a:pt x="265" y="429"/>
                      </a:cubicBezTo>
                      <a:cubicBezTo>
                        <a:pt x="265" y="429"/>
                        <a:pt x="268" y="424"/>
                        <a:pt x="269" y="424"/>
                      </a:cubicBezTo>
                      <a:cubicBezTo>
                        <a:pt x="270" y="425"/>
                        <a:pt x="274" y="424"/>
                        <a:pt x="275" y="424"/>
                      </a:cubicBezTo>
                      <a:cubicBezTo>
                        <a:pt x="276" y="424"/>
                        <a:pt x="280" y="428"/>
                        <a:pt x="282" y="424"/>
                      </a:cubicBezTo>
                      <a:cubicBezTo>
                        <a:pt x="284" y="421"/>
                        <a:pt x="285" y="419"/>
                        <a:pt x="285" y="418"/>
                      </a:cubicBezTo>
                      <a:cubicBezTo>
                        <a:pt x="286" y="417"/>
                        <a:pt x="287" y="414"/>
                        <a:pt x="290" y="414"/>
                      </a:cubicBezTo>
                      <a:cubicBezTo>
                        <a:pt x="293" y="413"/>
                        <a:pt x="300" y="413"/>
                        <a:pt x="300" y="413"/>
                      </a:cubicBezTo>
                      <a:cubicBezTo>
                        <a:pt x="303" y="414"/>
                        <a:pt x="303" y="414"/>
                        <a:pt x="303" y="414"/>
                      </a:cubicBezTo>
                      <a:cubicBezTo>
                        <a:pt x="311" y="417"/>
                        <a:pt x="311" y="417"/>
                        <a:pt x="311" y="417"/>
                      </a:cubicBezTo>
                      <a:cubicBezTo>
                        <a:pt x="311" y="417"/>
                        <a:pt x="314" y="417"/>
                        <a:pt x="316" y="417"/>
                      </a:cubicBezTo>
                      <a:cubicBezTo>
                        <a:pt x="317" y="417"/>
                        <a:pt x="318" y="417"/>
                        <a:pt x="318" y="417"/>
                      </a:cubicBezTo>
                      <a:cubicBezTo>
                        <a:pt x="321" y="421"/>
                        <a:pt x="321" y="421"/>
                        <a:pt x="321" y="421"/>
                      </a:cubicBezTo>
                      <a:cubicBezTo>
                        <a:pt x="321" y="421"/>
                        <a:pt x="325" y="423"/>
                        <a:pt x="326" y="423"/>
                      </a:cubicBezTo>
                      <a:cubicBezTo>
                        <a:pt x="327" y="423"/>
                        <a:pt x="335" y="421"/>
                        <a:pt x="335" y="421"/>
                      </a:cubicBezTo>
                      <a:cubicBezTo>
                        <a:pt x="335" y="421"/>
                        <a:pt x="338" y="420"/>
                        <a:pt x="339" y="421"/>
                      </a:cubicBezTo>
                      <a:cubicBezTo>
                        <a:pt x="340" y="422"/>
                        <a:pt x="343" y="423"/>
                        <a:pt x="344" y="424"/>
                      </a:cubicBezTo>
                      <a:cubicBezTo>
                        <a:pt x="344" y="425"/>
                        <a:pt x="352" y="429"/>
                        <a:pt x="354" y="430"/>
                      </a:cubicBezTo>
                      <a:cubicBezTo>
                        <a:pt x="355" y="431"/>
                        <a:pt x="359" y="430"/>
                        <a:pt x="359" y="430"/>
                      </a:cubicBezTo>
                      <a:cubicBezTo>
                        <a:pt x="361" y="435"/>
                        <a:pt x="361" y="435"/>
                        <a:pt x="361" y="435"/>
                      </a:cubicBezTo>
                      <a:cubicBezTo>
                        <a:pt x="371" y="438"/>
                        <a:pt x="371" y="438"/>
                        <a:pt x="371" y="438"/>
                      </a:cubicBezTo>
                      <a:cubicBezTo>
                        <a:pt x="375" y="438"/>
                        <a:pt x="375" y="438"/>
                        <a:pt x="375" y="438"/>
                      </a:cubicBezTo>
                      <a:cubicBezTo>
                        <a:pt x="389" y="443"/>
                        <a:pt x="389" y="443"/>
                        <a:pt x="389" y="443"/>
                      </a:cubicBezTo>
                      <a:cubicBezTo>
                        <a:pt x="398" y="436"/>
                        <a:pt x="398" y="436"/>
                        <a:pt x="398" y="436"/>
                      </a:cubicBezTo>
                      <a:cubicBezTo>
                        <a:pt x="398" y="436"/>
                        <a:pt x="400" y="437"/>
                        <a:pt x="401" y="437"/>
                      </a:cubicBezTo>
                      <a:cubicBezTo>
                        <a:pt x="402" y="437"/>
                        <a:pt x="404" y="429"/>
                        <a:pt x="404" y="429"/>
                      </a:cubicBezTo>
                      <a:cubicBezTo>
                        <a:pt x="404" y="429"/>
                        <a:pt x="404" y="427"/>
                        <a:pt x="405" y="427"/>
                      </a:cubicBezTo>
                      <a:cubicBezTo>
                        <a:pt x="407" y="427"/>
                        <a:pt x="414" y="424"/>
                        <a:pt x="414" y="424"/>
                      </a:cubicBezTo>
                      <a:cubicBezTo>
                        <a:pt x="414" y="423"/>
                        <a:pt x="413" y="419"/>
                        <a:pt x="416" y="418"/>
                      </a:cubicBezTo>
                      <a:cubicBezTo>
                        <a:pt x="418" y="417"/>
                        <a:pt x="422" y="414"/>
                        <a:pt x="422" y="414"/>
                      </a:cubicBezTo>
                      <a:cubicBezTo>
                        <a:pt x="423" y="413"/>
                        <a:pt x="421" y="411"/>
                        <a:pt x="424" y="410"/>
                      </a:cubicBezTo>
                      <a:cubicBezTo>
                        <a:pt x="426" y="410"/>
                        <a:pt x="429" y="409"/>
                        <a:pt x="431" y="409"/>
                      </a:cubicBezTo>
                      <a:cubicBezTo>
                        <a:pt x="431" y="409"/>
                        <a:pt x="431" y="409"/>
                        <a:pt x="431" y="409"/>
                      </a:cubicBezTo>
                      <a:cubicBezTo>
                        <a:pt x="431" y="408"/>
                        <a:pt x="431" y="408"/>
                        <a:pt x="431" y="408"/>
                      </a:cubicBezTo>
                      <a:cubicBezTo>
                        <a:pt x="431" y="408"/>
                        <a:pt x="431" y="408"/>
                        <a:pt x="431" y="408"/>
                      </a:cubicBezTo>
                      <a:cubicBezTo>
                        <a:pt x="432" y="408"/>
                        <a:pt x="432" y="408"/>
                        <a:pt x="432" y="408"/>
                      </a:cubicBezTo>
                      <a:cubicBezTo>
                        <a:pt x="432" y="408"/>
                        <a:pt x="432" y="408"/>
                        <a:pt x="432" y="408"/>
                      </a:cubicBezTo>
                      <a:cubicBezTo>
                        <a:pt x="432" y="408"/>
                        <a:pt x="432" y="408"/>
                        <a:pt x="432" y="408"/>
                      </a:cubicBezTo>
                      <a:cubicBezTo>
                        <a:pt x="432" y="408"/>
                        <a:pt x="432" y="408"/>
                        <a:pt x="432" y="408"/>
                      </a:cubicBezTo>
                      <a:cubicBezTo>
                        <a:pt x="432" y="408"/>
                        <a:pt x="432" y="408"/>
                        <a:pt x="432" y="408"/>
                      </a:cubicBezTo>
                      <a:cubicBezTo>
                        <a:pt x="432" y="408"/>
                        <a:pt x="432" y="408"/>
                        <a:pt x="432" y="408"/>
                      </a:cubicBezTo>
                      <a:cubicBezTo>
                        <a:pt x="433" y="407"/>
                        <a:pt x="433" y="407"/>
                        <a:pt x="433" y="407"/>
                      </a:cubicBezTo>
                      <a:cubicBezTo>
                        <a:pt x="433" y="407"/>
                        <a:pt x="433" y="407"/>
                        <a:pt x="433" y="407"/>
                      </a:cubicBezTo>
                      <a:cubicBezTo>
                        <a:pt x="433" y="407"/>
                        <a:pt x="433" y="407"/>
                        <a:pt x="433" y="407"/>
                      </a:cubicBezTo>
                      <a:cubicBezTo>
                        <a:pt x="434" y="407"/>
                        <a:pt x="434" y="407"/>
                        <a:pt x="434" y="407"/>
                      </a:cubicBezTo>
                      <a:cubicBezTo>
                        <a:pt x="434" y="407"/>
                        <a:pt x="434" y="407"/>
                        <a:pt x="434" y="407"/>
                      </a:cubicBezTo>
                      <a:cubicBezTo>
                        <a:pt x="434" y="407"/>
                        <a:pt x="434" y="407"/>
                        <a:pt x="434" y="407"/>
                      </a:cubicBezTo>
                      <a:cubicBezTo>
                        <a:pt x="434" y="407"/>
                        <a:pt x="434" y="407"/>
                        <a:pt x="434" y="407"/>
                      </a:cubicBezTo>
                      <a:cubicBezTo>
                        <a:pt x="434" y="407"/>
                        <a:pt x="434" y="407"/>
                        <a:pt x="434" y="407"/>
                      </a:cubicBezTo>
                      <a:cubicBezTo>
                        <a:pt x="434" y="407"/>
                        <a:pt x="434" y="407"/>
                        <a:pt x="434" y="407"/>
                      </a:cubicBezTo>
                      <a:cubicBezTo>
                        <a:pt x="434" y="407"/>
                        <a:pt x="434" y="407"/>
                        <a:pt x="434" y="407"/>
                      </a:cubicBezTo>
                      <a:cubicBezTo>
                        <a:pt x="434" y="407"/>
                        <a:pt x="434" y="407"/>
                        <a:pt x="434" y="407"/>
                      </a:cubicBezTo>
                      <a:cubicBezTo>
                        <a:pt x="435" y="407"/>
                        <a:pt x="435" y="407"/>
                        <a:pt x="435" y="407"/>
                      </a:cubicBezTo>
                      <a:cubicBezTo>
                        <a:pt x="435" y="407"/>
                        <a:pt x="435" y="407"/>
                        <a:pt x="435" y="407"/>
                      </a:cubicBezTo>
                      <a:cubicBezTo>
                        <a:pt x="435" y="407"/>
                        <a:pt x="435" y="407"/>
                        <a:pt x="435" y="407"/>
                      </a:cubicBezTo>
                      <a:cubicBezTo>
                        <a:pt x="435" y="407"/>
                        <a:pt x="435" y="407"/>
                        <a:pt x="435" y="407"/>
                      </a:cubicBezTo>
                      <a:cubicBezTo>
                        <a:pt x="435" y="406"/>
                        <a:pt x="435" y="406"/>
                        <a:pt x="435" y="406"/>
                      </a:cubicBezTo>
                      <a:cubicBezTo>
                        <a:pt x="435" y="406"/>
                        <a:pt x="435" y="406"/>
                        <a:pt x="435" y="406"/>
                      </a:cubicBezTo>
                      <a:cubicBezTo>
                        <a:pt x="435" y="406"/>
                        <a:pt x="435" y="406"/>
                        <a:pt x="435" y="406"/>
                      </a:cubicBezTo>
                      <a:cubicBezTo>
                        <a:pt x="435" y="406"/>
                        <a:pt x="435" y="406"/>
                        <a:pt x="435" y="406"/>
                      </a:cubicBezTo>
                      <a:cubicBezTo>
                        <a:pt x="435" y="406"/>
                        <a:pt x="435" y="406"/>
                        <a:pt x="435" y="406"/>
                      </a:cubicBezTo>
                      <a:cubicBezTo>
                        <a:pt x="435" y="406"/>
                        <a:pt x="435" y="406"/>
                        <a:pt x="435" y="406"/>
                      </a:cubicBezTo>
                      <a:cubicBezTo>
                        <a:pt x="436" y="406"/>
                        <a:pt x="436" y="406"/>
                        <a:pt x="436" y="406"/>
                      </a:cubicBezTo>
                      <a:cubicBezTo>
                        <a:pt x="436" y="406"/>
                        <a:pt x="436" y="406"/>
                        <a:pt x="436" y="406"/>
                      </a:cubicBezTo>
                      <a:cubicBezTo>
                        <a:pt x="436" y="406"/>
                        <a:pt x="436" y="406"/>
                        <a:pt x="436" y="406"/>
                      </a:cubicBezTo>
                      <a:cubicBezTo>
                        <a:pt x="436" y="406"/>
                        <a:pt x="436" y="406"/>
                        <a:pt x="436" y="406"/>
                      </a:cubicBezTo>
                      <a:cubicBezTo>
                        <a:pt x="436" y="406"/>
                        <a:pt x="436" y="406"/>
                        <a:pt x="436" y="406"/>
                      </a:cubicBezTo>
                      <a:cubicBezTo>
                        <a:pt x="436" y="406"/>
                        <a:pt x="436" y="406"/>
                        <a:pt x="436" y="406"/>
                      </a:cubicBezTo>
                      <a:cubicBezTo>
                        <a:pt x="436" y="406"/>
                        <a:pt x="436" y="406"/>
                        <a:pt x="436" y="406"/>
                      </a:cubicBezTo>
                      <a:cubicBezTo>
                        <a:pt x="436" y="406"/>
                        <a:pt x="436" y="406"/>
                        <a:pt x="436" y="406"/>
                      </a:cubicBezTo>
                      <a:cubicBezTo>
                        <a:pt x="437" y="405"/>
                        <a:pt x="438" y="405"/>
                        <a:pt x="438" y="405"/>
                      </a:cubicBezTo>
                      <a:cubicBezTo>
                        <a:pt x="444" y="400"/>
                        <a:pt x="444" y="400"/>
                        <a:pt x="444" y="400"/>
                      </a:cubicBezTo>
                      <a:cubicBezTo>
                        <a:pt x="447" y="389"/>
                        <a:pt x="447" y="389"/>
                        <a:pt x="447" y="389"/>
                      </a:cubicBezTo>
                      <a:cubicBezTo>
                        <a:pt x="443" y="386"/>
                        <a:pt x="443" y="386"/>
                        <a:pt x="443" y="386"/>
                      </a:cubicBezTo>
                      <a:cubicBezTo>
                        <a:pt x="434" y="386"/>
                        <a:pt x="434" y="386"/>
                        <a:pt x="434" y="386"/>
                      </a:cubicBezTo>
                      <a:cubicBezTo>
                        <a:pt x="424" y="382"/>
                        <a:pt x="424" y="382"/>
                        <a:pt x="424" y="382"/>
                      </a:cubicBezTo>
                      <a:cubicBezTo>
                        <a:pt x="419" y="374"/>
                        <a:pt x="419" y="374"/>
                        <a:pt x="419" y="374"/>
                      </a:cubicBezTo>
                      <a:cubicBezTo>
                        <a:pt x="416" y="374"/>
                        <a:pt x="416" y="374"/>
                        <a:pt x="416" y="374"/>
                      </a:cubicBezTo>
                      <a:cubicBezTo>
                        <a:pt x="415" y="367"/>
                        <a:pt x="413" y="370"/>
                        <a:pt x="417" y="365"/>
                      </a:cubicBezTo>
                      <a:cubicBezTo>
                        <a:pt x="421" y="359"/>
                        <a:pt x="421" y="359"/>
                        <a:pt x="421" y="359"/>
                      </a:cubicBezTo>
                      <a:cubicBezTo>
                        <a:pt x="420" y="349"/>
                        <a:pt x="420" y="349"/>
                        <a:pt x="420" y="349"/>
                      </a:cubicBezTo>
                      <a:cubicBezTo>
                        <a:pt x="417" y="346"/>
                        <a:pt x="417" y="346"/>
                        <a:pt x="417" y="346"/>
                      </a:cubicBezTo>
                      <a:cubicBezTo>
                        <a:pt x="412" y="343"/>
                        <a:pt x="412" y="343"/>
                        <a:pt x="412" y="343"/>
                      </a:cubicBezTo>
                      <a:cubicBezTo>
                        <a:pt x="412" y="343"/>
                        <a:pt x="409" y="339"/>
                        <a:pt x="408" y="338"/>
                      </a:cubicBezTo>
                      <a:cubicBezTo>
                        <a:pt x="408" y="338"/>
                        <a:pt x="408" y="336"/>
                        <a:pt x="408" y="336"/>
                      </a:cubicBezTo>
                      <a:cubicBezTo>
                        <a:pt x="407" y="335"/>
                        <a:pt x="411" y="335"/>
                        <a:pt x="411" y="335"/>
                      </a:cubicBezTo>
                      <a:cubicBezTo>
                        <a:pt x="412" y="335"/>
                        <a:pt x="415" y="334"/>
                        <a:pt x="416" y="334"/>
                      </a:cubicBezTo>
                      <a:cubicBezTo>
                        <a:pt x="417" y="334"/>
                        <a:pt x="421" y="330"/>
                        <a:pt x="421" y="330"/>
                      </a:cubicBezTo>
                      <a:cubicBezTo>
                        <a:pt x="421" y="330"/>
                        <a:pt x="423" y="326"/>
                        <a:pt x="425" y="325"/>
                      </a:cubicBezTo>
                      <a:cubicBezTo>
                        <a:pt x="426" y="324"/>
                        <a:pt x="428" y="316"/>
                        <a:pt x="428" y="315"/>
                      </a:cubicBezTo>
                      <a:cubicBezTo>
                        <a:pt x="428" y="315"/>
                        <a:pt x="426" y="310"/>
                        <a:pt x="425" y="310"/>
                      </a:cubicBezTo>
                      <a:cubicBezTo>
                        <a:pt x="416" y="306"/>
                        <a:pt x="418" y="304"/>
                        <a:pt x="414" y="302"/>
                      </a:cubicBezTo>
                      <a:cubicBezTo>
                        <a:pt x="414" y="297"/>
                        <a:pt x="414" y="297"/>
                        <a:pt x="414" y="297"/>
                      </a:cubicBezTo>
                      <a:cubicBezTo>
                        <a:pt x="419" y="293"/>
                        <a:pt x="419" y="293"/>
                        <a:pt x="419" y="293"/>
                      </a:cubicBezTo>
                      <a:cubicBezTo>
                        <a:pt x="420" y="292"/>
                        <a:pt x="422" y="291"/>
                        <a:pt x="423" y="291"/>
                      </a:cubicBezTo>
                      <a:cubicBezTo>
                        <a:pt x="424" y="289"/>
                        <a:pt x="424" y="289"/>
                        <a:pt x="424" y="289"/>
                      </a:cubicBezTo>
                      <a:cubicBezTo>
                        <a:pt x="424" y="289"/>
                        <a:pt x="422" y="287"/>
                        <a:pt x="422" y="287"/>
                      </a:cubicBezTo>
                      <a:cubicBezTo>
                        <a:pt x="422" y="287"/>
                        <a:pt x="421" y="286"/>
                        <a:pt x="420" y="286"/>
                      </a:cubicBezTo>
                      <a:cubicBezTo>
                        <a:pt x="420" y="286"/>
                        <a:pt x="419" y="285"/>
                        <a:pt x="419" y="285"/>
                      </a:cubicBezTo>
                      <a:cubicBezTo>
                        <a:pt x="419" y="285"/>
                        <a:pt x="418" y="284"/>
                        <a:pt x="417" y="284"/>
                      </a:cubicBezTo>
                      <a:cubicBezTo>
                        <a:pt x="416" y="284"/>
                        <a:pt x="417" y="282"/>
                        <a:pt x="418" y="282"/>
                      </a:cubicBezTo>
                      <a:cubicBezTo>
                        <a:pt x="418" y="281"/>
                        <a:pt x="418" y="279"/>
                        <a:pt x="418" y="279"/>
                      </a:cubicBezTo>
                      <a:cubicBezTo>
                        <a:pt x="418" y="279"/>
                        <a:pt x="415" y="279"/>
                        <a:pt x="414" y="279"/>
                      </a:cubicBezTo>
                      <a:cubicBezTo>
                        <a:pt x="414" y="278"/>
                        <a:pt x="414" y="278"/>
                        <a:pt x="414" y="278"/>
                      </a:cubicBezTo>
                      <a:cubicBezTo>
                        <a:pt x="414" y="278"/>
                        <a:pt x="415" y="275"/>
                        <a:pt x="416" y="275"/>
                      </a:cubicBezTo>
                      <a:cubicBezTo>
                        <a:pt x="416" y="274"/>
                        <a:pt x="416" y="273"/>
                        <a:pt x="416" y="273"/>
                      </a:cubicBezTo>
                      <a:cubicBezTo>
                        <a:pt x="416" y="273"/>
                        <a:pt x="416" y="272"/>
                        <a:pt x="416" y="270"/>
                      </a:cubicBezTo>
                      <a:cubicBezTo>
                        <a:pt x="417" y="269"/>
                        <a:pt x="416" y="269"/>
                        <a:pt x="416" y="269"/>
                      </a:cubicBezTo>
                      <a:cubicBezTo>
                        <a:pt x="416" y="269"/>
                        <a:pt x="415" y="268"/>
                        <a:pt x="414" y="268"/>
                      </a:cubicBezTo>
                      <a:cubicBezTo>
                        <a:pt x="414" y="268"/>
                        <a:pt x="414" y="268"/>
                        <a:pt x="415" y="267"/>
                      </a:cubicBezTo>
                      <a:cubicBezTo>
                        <a:pt x="416" y="265"/>
                        <a:pt x="416" y="266"/>
                        <a:pt x="416" y="266"/>
                      </a:cubicBezTo>
                      <a:cubicBezTo>
                        <a:pt x="416" y="264"/>
                        <a:pt x="416" y="264"/>
                        <a:pt x="416" y="264"/>
                      </a:cubicBezTo>
                      <a:cubicBezTo>
                        <a:pt x="414" y="263"/>
                        <a:pt x="414" y="263"/>
                        <a:pt x="414" y="263"/>
                      </a:cubicBezTo>
                      <a:cubicBezTo>
                        <a:pt x="411" y="261"/>
                        <a:pt x="411" y="261"/>
                        <a:pt x="411" y="261"/>
                      </a:cubicBezTo>
                      <a:cubicBezTo>
                        <a:pt x="411" y="261"/>
                        <a:pt x="407" y="261"/>
                        <a:pt x="407" y="261"/>
                      </a:cubicBezTo>
                      <a:cubicBezTo>
                        <a:pt x="407" y="261"/>
                        <a:pt x="404" y="261"/>
                        <a:pt x="404" y="261"/>
                      </a:cubicBezTo>
                      <a:cubicBezTo>
                        <a:pt x="402" y="262"/>
                        <a:pt x="402" y="262"/>
                        <a:pt x="402" y="262"/>
                      </a:cubicBezTo>
                      <a:cubicBezTo>
                        <a:pt x="401" y="263"/>
                        <a:pt x="401" y="263"/>
                        <a:pt x="401" y="263"/>
                      </a:cubicBezTo>
                      <a:cubicBezTo>
                        <a:pt x="398" y="264"/>
                        <a:pt x="398" y="264"/>
                        <a:pt x="398" y="264"/>
                      </a:cubicBezTo>
                      <a:cubicBezTo>
                        <a:pt x="395" y="265"/>
                        <a:pt x="395" y="265"/>
                        <a:pt x="395" y="265"/>
                      </a:cubicBezTo>
                      <a:cubicBezTo>
                        <a:pt x="395" y="265"/>
                        <a:pt x="394" y="267"/>
                        <a:pt x="393" y="268"/>
                      </a:cubicBezTo>
                      <a:cubicBezTo>
                        <a:pt x="393" y="268"/>
                        <a:pt x="393" y="269"/>
                        <a:pt x="393" y="269"/>
                      </a:cubicBezTo>
                      <a:cubicBezTo>
                        <a:pt x="395" y="270"/>
                        <a:pt x="395" y="270"/>
                        <a:pt x="395" y="270"/>
                      </a:cubicBezTo>
                      <a:cubicBezTo>
                        <a:pt x="395" y="272"/>
                        <a:pt x="395" y="272"/>
                        <a:pt x="395" y="272"/>
                      </a:cubicBezTo>
                      <a:cubicBezTo>
                        <a:pt x="396" y="272"/>
                        <a:pt x="396" y="272"/>
                        <a:pt x="396" y="272"/>
                      </a:cubicBezTo>
                      <a:cubicBezTo>
                        <a:pt x="395" y="274"/>
                        <a:pt x="395" y="274"/>
                        <a:pt x="395" y="274"/>
                      </a:cubicBezTo>
                      <a:cubicBezTo>
                        <a:pt x="395" y="274"/>
                        <a:pt x="394" y="274"/>
                        <a:pt x="393" y="275"/>
                      </a:cubicBezTo>
                      <a:cubicBezTo>
                        <a:pt x="392" y="276"/>
                        <a:pt x="392" y="277"/>
                        <a:pt x="392" y="277"/>
                      </a:cubicBezTo>
                      <a:cubicBezTo>
                        <a:pt x="389" y="278"/>
                        <a:pt x="389" y="278"/>
                        <a:pt x="389" y="278"/>
                      </a:cubicBezTo>
                      <a:cubicBezTo>
                        <a:pt x="387" y="277"/>
                        <a:pt x="387" y="277"/>
                        <a:pt x="387" y="277"/>
                      </a:cubicBezTo>
                      <a:cubicBezTo>
                        <a:pt x="385" y="278"/>
                        <a:pt x="385" y="278"/>
                        <a:pt x="385" y="278"/>
                      </a:cubicBezTo>
                      <a:cubicBezTo>
                        <a:pt x="384" y="278"/>
                        <a:pt x="384" y="278"/>
                        <a:pt x="384" y="278"/>
                      </a:cubicBezTo>
                      <a:cubicBezTo>
                        <a:pt x="384" y="276"/>
                        <a:pt x="384" y="276"/>
                        <a:pt x="384" y="276"/>
                      </a:cubicBezTo>
                      <a:cubicBezTo>
                        <a:pt x="383" y="275"/>
                        <a:pt x="383" y="275"/>
                        <a:pt x="383" y="275"/>
                      </a:cubicBezTo>
                      <a:cubicBezTo>
                        <a:pt x="384" y="274"/>
                        <a:pt x="384" y="274"/>
                        <a:pt x="384" y="274"/>
                      </a:cubicBezTo>
                      <a:cubicBezTo>
                        <a:pt x="384" y="274"/>
                        <a:pt x="385" y="273"/>
                        <a:pt x="385" y="273"/>
                      </a:cubicBezTo>
                      <a:cubicBezTo>
                        <a:pt x="386" y="273"/>
                        <a:pt x="387" y="272"/>
                        <a:pt x="387" y="272"/>
                      </a:cubicBezTo>
                      <a:cubicBezTo>
                        <a:pt x="389" y="272"/>
                        <a:pt x="389" y="272"/>
                        <a:pt x="389" y="272"/>
                      </a:cubicBezTo>
                      <a:cubicBezTo>
                        <a:pt x="389" y="270"/>
                        <a:pt x="389" y="270"/>
                        <a:pt x="389" y="270"/>
                      </a:cubicBezTo>
                      <a:cubicBezTo>
                        <a:pt x="390" y="268"/>
                        <a:pt x="390" y="268"/>
                        <a:pt x="390" y="268"/>
                      </a:cubicBezTo>
                      <a:cubicBezTo>
                        <a:pt x="390" y="265"/>
                        <a:pt x="390" y="265"/>
                        <a:pt x="390" y="265"/>
                      </a:cubicBezTo>
                      <a:cubicBezTo>
                        <a:pt x="389" y="264"/>
                        <a:pt x="389" y="264"/>
                        <a:pt x="389" y="264"/>
                      </a:cubicBezTo>
                      <a:cubicBezTo>
                        <a:pt x="388" y="263"/>
                        <a:pt x="388" y="263"/>
                        <a:pt x="388" y="263"/>
                      </a:cubicBezTo>
                      <a:cubicBezTo>
                        <a:pt x="388" y="262"/>
                        <a:pt x="388" y="262"/>
                        <a:pt x="388" y="262"/>
                      </a:cubicBezTo>
                      <a:cubicBezTo>
                        <a:pt x="388" y="260"/>
                        <a:pt x="388" y="260"/>
                        <a:pt x="388" y="260"/>
                      </a:cubicBezTo>
                      <a:cubicBezTo>
                        <a:pt x="389" y="259"/>
                        <a:pt x="389" y="259"/>
                        <a:pt x="389" y="259"/>
                      </a:cubicBezTo>
                      <a:cubicBezTo>
                        <a:pt x="389" y="259"/>
                        <a:pt x="390" y="258"/>
                        <a:pt x="390" y="257"/>
                      </a:cubicBezTo>
                      <a:cubicBezTo>
                        <a:pt x="390" y="257"/>
                        <a:pt x="390" y="255"/>
                        <a:pt x="390" y="255"/>
                      </a:cubicBezTo>
                      <a:cubicBezTo>
                        <a:pt x="390" y="255"/>
                        <a:pt x="390" y="254"/>
                        <a:pt x="390" y="254"/>
                      </a:cubicBezTo>
                      <a:cubicBezTo>
                        <a:pt x="394" y="250"/>
                        <a:pt x="394" y="250"/>
                        <a:pt x="394" y="250"/>
                      </a:cubicBezTo>
                      <a:cubicBezTo>
                        <a:pt x="396" y="248"/>
                        <a:pt x="396" y="248"/>
                        <a:pt x="396" y="248"/>
                      </a:cubicBezTo>
                      <a:cubicBezTo>
                        <a:pt x="396" y="248"/>
                        <a:pt x="398" y="248"/>
                        <a:pt x="398" y="247"/>
                      </a:cubicBezTo>
                      <a:cubicBezTo>
                        <a:pt x="398" y="247"/>
                        <a:pt x="400" y="247"/>
                        <a:pt x="400" y="247"/>
                      </a:cubicBezTo>
                      <a:cubicBezTo>
                        <a:pt x="400" y="247"/>
                        <a:pt x="401" y="246"/>
                        <a:pt x="401" y="246"/>
                      </a:cubicBezTo>
                      <a:cubicBezTo>
                        <a:pt x="402" y="245"/>
                        <a:pt x="402" y="244"/>
                        <a:pt x="402" y="244"/>
                      </a:cubicBezTo>
                      <a:cubicBezTo>
                        <a:pt x="402" y="244"/>
                        <a:pt x="402" y="243"/>
                        <a:pt x="402" y="243"/>
                      </a:cubicBezTo>
                      <a:cubicBezTo>
                        <a:pt x="402" y="243"/>
                        <a:pt x="402" y="242"/>
                        <a:pt x="402" y="242"/>
                      </a:cubicBezTo>
                      <a:cubicBezTo>
                        <a:pt x="402" y="242"/>
                        <a:pt x="402" y="241"/>
                        <a:pt x="402" y="241"/>
                      </a:cubicBezTo>
                      <a:cubicBezTo>
                        <a:pt x="402" y="240"/>
                        <a:pt x="403" y="240"/>
                        <a:pt x="403" y="240"/>
                      </a:cubicBezTo>
                      <a:cubicBezTo>
                        <a:pt x="403" y="238"/>
                        <a:pt x="403" y="238"/>
                        <a:pt x="403" y="238"/>
                      </a:cubicBezTo>
                      <a:cubicBezTo>
                        <a:pt x="403" y="238"/>
                        <a:pt x="402" y="237"/>
                        <a:pt x="402" y="236"/>
                      </a:cubicBezTo>
                      <a:cubicBezTo>
                        <a:pt x="402" y="236"/>
                        <a:pt x="402" y="236"/>
                        <a:pt x="402" y="235"/>
                      </a:cubicBezTo>
                      <a:cubicBezTo>
                        <a:pt x="403" y="234"/>
                        <a:pt x="404" y="234"/>
                        <a:pt x="404" y="234"/>
                      </a:cubicBezTo>
                      <a:cubicBezTo>
                        <a:pt x="406" y="234"/>
                        <a:pt x="406" y="234"/>
                        <a:pt x="406" y="234"/>
                      </a:cubicBezTo>
                      <a:cubicBezTo>
                        <a:pt x="406" y="234"/>
                        <a:pt x="407" y="233"/>
                        <a:pt x="408" y="233"/>
                      </a:cubicBezTo>
                      <a:cubicBezTo>
                        <a:pt x="408" y="233"/>
                        <a:pt x="409" y="232"/>
                        <a:pt x="409" y="232"/>
                      </a:cubicBezTo>
                      <a:cubicBezTo>
                        <a:pt x="410" y="230"/>
                        <a:pt x="410" y="230"/>
                        <a:pt x="410" y="230"/>
                      </a:cubicBezTo>
                      <a:cubicBezTo>
                        <a:pt x="411" y="230"/>
                        <a:pt x="411" y="230"/>
                        <a:pt x="411" y="230"/>
                      </a:cubicBezTo>
                      <a:cubicBezTo>
                        <a:pt x="412" y="229"/>
                        <a:pt x="412" y="229"/>
                        <a:pt x="412" y="229"/>
                      </a:cubicBezTo>
                      <a:cubicBezTo>
                        <a:pt x="412" y="227"/>
                        <a:pt x="412" y="227"/>
                        <a:pt x="412" y="227"/>
                      </a:cubicBezTo>
                      <a:cubicBezTo>
                        <a:pt x="414" y="226"/>
                        <a:pt x="414" y="226"/>
                        <a:pt x="414" y="226"/>
                      </a:cubicBezTo>
                      <a:cubicBezTo>
                        <a:pt x="414" y="225"/>
                        <a:pt x="414" y="225"/>
                        <a:pt x="414" y="225"/>
                      </a:cubicBezTo>
                      <a:cubicBezTo>
                        <a:pt x="415" y="224"/>
                        <a:pt x="415" y="224"/>
                        <a:pt x="415" y="224"/>
                      </a:cubicBezTo>
                      <a:cubicBezTo>
                        <a:pt x="416" y="224"/>
                        <a:pt x="416" y="224"/>
                        <a:pt x="416" y="224"/>
                      </a:cubicBezTo>
                      <a:cubicBezTo>
                        <a:pt x="418" y="222"/>
                        <a:pt x="418" y="222"/>
                        <a:pt x="418" y="222"/>
                      </a:cubicBezTo>
                      <a:cubicBezTo>
                        <a:pt x="420" y="221"/>
                        <a:pt x="420" y="221"/>
                        <a:pt x="420" y="221"/>
                      </a:cubicBezTo>
                      <a:cubicBezTo>
                        <a:pt x="420" y="221"/>
                        <a:pt x="421" y="219"/>
                        <a:pt x="421" y="218"/>
                      </a:cubicBezTo>
                      <a:cubicBezTo>
                        <a:pt x="421" y="217"/>
                        <a:pt x="421" y="217"/>
                        <a:pt x="422" y="216"/>
                      </a:cubicBezTo>
                      <a:cubicBezTo>
                        <a:pt x="422" y="216"/>
                        <a:pt x="423" y="216"/>
                        <a:pt x="424" y="215"/>
                      </a:cubicBezTo>
                      <a:cubicBezTo>
                        <a:pt x="424" y="215"/>
                        <a:pt x="424" y="214"/>
                        <a:pt x="424" y="214"/>
                      </a:cubicBezTo>
                      <a:cubicBezTo>
                        <a:pt x="425" y="214"/>
                        <a:pt x="425" y="214"/>
                        <a:pt x="425" y="214"/>
                      </a:cubicBezTo>
                      <a:cubicBezTo>
                        <a:pt x="425" y="212"/>
                        <a:pt x="425" y="212"/>
                        <a:pt x="425" y="212"/>
                      </a:cubicBezTo>
                      <a:cubicBezTo>
                        <a:pt x="425" y="211"/>
                        <a:pt x="425" y="211"/>
                        <a:pt x="425" y="211"/>
                      </a:cubicBezTo>
                      <a:cubicBezTo>
                        <a:pt x="425" y="211"/>
                        <a:pt x="423" y="212"/>
                        <a:pt x="423" y="212"/>
                      </a:cubicBezTo>
                      <a:cubicBezTo>
                        <a:pt x="423" y="212"/>
                        <a:pt x="422" y="212"/>
                        <a:pt x="421" y="212"/>
                      </a:cubicBezTo>
                      <a:cubicBezTo>
                        <a:pt x="421" y="212"/>
                        <a:pt x="420" y="212"/>
                        <a:pt x="419" y="212"/>
                      </a:cubicBezTo>
                      <a:cubicBezTo>
                        <a:pt x="418" y="211"/>
                        <a:pt x="419" y="211"/>
                        <a:pt x="419" y="211"/>
                      </a:cubicBezTo>
                      <a:cubicBezTo>
                        <a:pt x="419" y="211"/>
                        <a:pt x="420" y="211"/>
                        <a:pt x="420" y="210"/>
                      </a:cubicBezTo>
                      <a:cubicBezTo>
                        <a:pt x="420" y="210"/>
                        <a:pt x="421" y="208"/>
                        <a:pt x="421" y="208"/>
                      </a:cubicBezTo>
                      <a:cubicBezTo>
                        <a:pt x="422" y="208"/>
                        <a:pt x="422" y="208"/>
                        <a:pt x="422" y="208"/>
                      </a:cubicBezTo>
                      <a:cubicBezTo>
                        <a:pt x="423" y="207"/>
                        <a:pt x="423" y="207"/>
                        <a:pt x="423" y="207"/>
                      </a:cubicBezTo>
                      <a:cubicBezTo>
                        <a:pt x="423" y="207"/>
                        <a:pt x="424" y="207"/>
                        <a:pt x="424" y="207"/>
                      </a:cubicBezTo>
                      <a:cubicBezTo>
                        <a:pt x="424" y="207"/>
                        <a:pt x="423" y="206"/>
                        <a:pt x="423" y="206"/>
                      </a:cubicBezTo>
                      <a:cubicBezTo>
                        <a:pt x="423" y="204"/>
                        <a:pt x="423" y="204"/>
                        <a:pt x="423" y="204"/>
                      </a:cubicBezTo>
                      <a:cubicBezTo>
                        <a:pt x="425" y="205"/>
                        <a:pt x="425" y="205"/>
                        <a:pt x="425" y="205"/>
                      </a:cubicBezTo>
                      <a:cubicBezTo>
                        <a:pt x="428" y="205"/>
                        <a:pt x="428" y="205"/>
                        <a:pt x="428" y="205"/>
                      </a:cubicBezTo>
                      <a:cubicBezTo>
                        <a:pt x="429" y="204"/>
                        <a:pt x="429" y="204"/>
                        <a:pt x="429" y="204"/>
                      </a:cubicBezTo>
                      <a:cubicBezTo>
                        <a:pt x="429" y="204"/>
                        <a:pt x="430" y="206"/>
                        <a:pt x="430" y="206"/>
                      </a:cubicBezTo>
                      <a:cubicBezTo>
                        <a:pt x="430" y="207"/>
                        <a:pt x="430" y="208"/>
                        <a:pt x="431" y="208"/>
                      </a:cubicBezTo>
                      <a:cubicBezTo>
                        <a:pt x="431" y="208"/>
                        <a:pt x="433" y="209"/>
                        <a:pt x="433" y="209"/>
                      </a:cubicBezTo>
                      <a:cubicBezTo>
                        <a:pt x="433" y="209"/>
                        <a:pt x="433" y="208"/>
                        <a:pt x="434" y="208"/>
                      </a:cubicBezTo>
                      <a:cubicBezTo>
                        <a:pt x="434" y="208"/>
                        <a:pt x="435" y="208"/>
                        <a:pt x="435" y="208"/>
                      </a:cubicBezTo>
                      <a:cubicBezTo>
                        <a:pt x="436" y="208"/>
                        <a:pt x="437" y="208"/>
                        <a:pt x="437" y="208"/>
                      </a:cubicBezTo>
                      <a:cubicBezTo>
                        <a:pt x="437" y="208"/>
                        <a:pt x="438" y="208"/>
                        <a:pt x="439" y="208"/>
                      </a:cubicBezTo>
                      <a:cubicBezTo>
                        <a:pt x="439" y="207"/>
                        <a:pt x="439" y="207"/>
                        <a:pt x="439" y="207"/>
                      </a:cubicBezTo>
                      <a:cubicBezTo>
                        <a:pt x="439" y="207"/>
                        <a:pt x="439" y="206"/>
                        <a:pt x="439" y="206"/>
                      </a:cubicBezTo>
                      <a:cubicBezTo>
                        <a:pt x="439" y="206"/>
                        <a:pt x="440" y="204"/>
                        <a:pt x="440" y="204"/>
                      </a:cubicBezTo>
                      <a:cubicBezTo>
                        <a:pt x="440" y="204"/>
                        <a:pt x="441" y="204"/>
                        <a:pt x="441" y="204"/>
                      </a:cubicBezTo>
                      <a:cubicBezTo>
                        <a:pt x="441" y="204"/>
                        <a:pt x="442" y="204"/>
                        <a:pt x="442" y="204"/>
                      </a:cubicBezTo>
                      <a:cubicBezTo>
                        <a:pt x="442" y="204"/>
                        <a:pt x="442" y="203"/>
                        <a:pt x="442" y="203"/>
                      </a:cubicBezTo>
                      <a:cubicBezTo>
                        <a:pt x="442" y="203"/>
                        <a:pt x="442" y="202"/>
                        <a:pt x="442" y="202"/>
                      </a:cubicBezTo>
                      <a:cubicBezTo>
                        <a:pt x="442" y="202"/>
                        <a:pt x="443" y="202"/>
                        <a:pt x="443" y="202"/>
                      </a:cubicBezTo>
                      <a:cubicBezTo>
                        <a:pt x="443" y="200"/>
                        <a:pt x="443" y="200"/>
                        <a:pt x="443" y="200"/>
                      </a:cubicBezTo>
                      <a:cubicBezTo>
                        <a:pt x="443" y="200"/>
                        <a:pt x="445" y="200"/>
                        <a:pt x="445" y="200"/>
                      </a:cubicBezTo>
                      <a:cubicBezTo>
                        <a:pt x="446" y="200"/>
                        <a:pt x="445" y="200"/>
                        <a:pt x="445" y="200"/>
                      </a:cubicBezTo>
                      <a:cubicBezTo>
                        <a:pt x="448" y="199"/>
                        <a:pt x="448" y="199"/>
                        <a:pt x="448" y="199"/>
                      </a:cubicBezTo>
                      <a:cubicBezTo>
                        <a:pt x="448" y="199"/>
                        <a:pt x="448" y="199"/>
                        <a:pt x="448" y="200"/>
                      </a:cubicBezTo>
                      <a:cubicBezTo>
                        <a:pt x="446" y="197"/>
                        <a:pt x="443" y="193"/>
                        <a:pt x="443" y="193"/>
                      </a:cubicBezTo>
                      <a:cubicBezTo>
                        <a:pt x="445" y="189"/>
                        <a:pt x="445" y="189"/>
                        <a:pt x="445" y="189"/>
                      </a:cubicBezTo>
                      <a:cubicBezTo>
                        <a:pt x="445" y="189"/>
                        <a:pt x="446" y="182"/>
                        <a:pt x="446" y="180"/>
                      </a:cubicBezTo>
                      <a:cubicBezTo>
                        <a:pt x="446" y="179"/>
                        <a:pt x="446" y="173"/>
                        <a:pt x="446" y="173"/>
                      </a:cubicBezTo>
                      <a:cubicBezTo>
                        <a:pt x="446" y="173"/>
                        <a:pt x="442" y="172"/>
                        <a:pt x="445" y="169"/>
                      </a:cubicBezTo>
                      <a:cubicBezTo>
                        <a:pt x="448" y="165"/>
                        <a:pt x="451" y="160"/>
                        <a:pt x="451" y="160"/>
                      </a:cubicBezTo>
                      <a:cubicBezTo>
                        <a:pt x="451" y="150"/>
                        <a:pt x="451" y="150"/>
                        <a:pt x="451" y="150"/>
                      </a:cubicBezTo>
                      <a:cubicBezTo>
                        <a:pt x="451" y="150"/>
                        <a:pt x="448" y="147"/>
                        <a:pt x="452" y="145"/>
                      </a:cubicBezTo>
                      <a:cubicBezTo>
                        <a:pt x="456" y="142"/>
                        <a:pt x="463" y="133"/>
                        <a:pt x="463" y="133"/>
                      </a:cubicBezTo>
                      <a:cubicBezTo>
                        <a:pt x="470" y="125"/>
                        <a:pt x="470" y="125"/>
                        <a:pt x="470" y="125"/>
                      </a:cubicBezTo>
                      <a:cubicBezTo>
                        <a:pt x="458" y="122"/>
                        <a:pt x="458" y="122"/>
                        <a:pt x="458" y="122"/>
                      </a:cubicBezTo>
                      <a:cubicBezTo>
                        <a:pt x="451" y="121"/>
                        <a:pt x="451" y="121"/>
                        <a:pt x="451" y="121"/>
                      </a:cubicBezTo>
                      <a:cubicBezTo>
                        <a:pt x="446" y="118"/>
                        <a:pt x="446" y="118"/>
                        <a:pt x="446" y="118"/>
                      </a:cubicBezTo>
                      <a:cubicBezTo>
                        <a:pt x="443" y="113"/>
                        <a:pt x="443" y="113"/>
                        <a:pt x="443" y="113"/>
                      </a:cubicBezTo>
                      <a:cubicBezTo>
                        <a:pt x="440" y="115"/>
                        <a:pt x="440" y="115"/>
                        <a:pt x="440" y="115"/>
                      </a:cubicBezTo>
                      <a:cubicBezTo>
                        <a:pt x="437" y="117"/>
                        <a:pt x="437" y="117"/>
                        <a:pt x="437" y="117"/>
                      </a:cubicBezTo>
                      <a:cubicBezTo>
                        <a:pt x="430" y="116"/>
                        <a:pt x="430" y="116"/>
                        <a:pt x="430" y="116"/>
                      </a:cubicBezTo>
                      <a:cubicBezTo>
                        <a:pt x="425" y="111"/>
                        <a:pt x="425" y="111"/>
                        <a:pt x="425" y="111"/>
                      </a:cubicBezTo>
                      <a:cubicBezTo>
                        <a:pt x="421" y="114"/>
                        <a:pt x="421" y="114"/>
                        <a:pt x="421" y="114"/>
                      </a:cubicBezTo>
                      <a:cubicBezTo>
                        <a:pt x="417" y="111"/>
                        <a:pt x="417" y="111"/>
                        <a:pt x="417" y="111"/>
                      </a:cubicBezTo>
                      <a:cubicBezTo>
                        <a:pt x="414" y="106"/>
                        <a:pt x="414" y="106"/>
                        <a:pt x="414" y="106"/>
                      </a:cubicBezTo>
                      <a:cubicBezTo>
                        <a:pt x="413" y="102"/>
                        <a:pt x="413" y="102"/>
                        <a:pt x="413" y="102"/>
                      </a:cubicBezTo>
                      <a:cubicBezTo>
                        <a:pt x="408" y="97"/>
                        <a:pt x="408" y="97"/>
                        <a:pt x="408" y="97"/>
                      </a:cubicBezTo>
                      <a:cubicBezTo>
                        <a:pt x="406" y="97"/>
                        <a:pt x="406" y="97"/>
                        <a:pt x="406" y="97"/>
                      </a:cubicBezTo>
                      <a:cubicBezTo>
                        <a:pt x="406" y="98"/>
                        <a:pt x="405" y="98"/>
                        <a:pt x="405" y="98"/>
                      </a:cubicBezTo>
                      <a:cubicBezTo>
                        <a:pt x="405" y="98"/>
                        <a:pt x="402" y="97"/>
                        <a:pt x="402" y="97"/>
                      </a:cubicBezTo>
                      <a:cubicBezTo>
                        <a:pt x="402" y="95"/>
                        <a:pt x="402" y="95"/>
                        <a:pt x="402" y="95"/>
                      </a:cubicBezTo>
                      <a:cubicBezTo>
                        <a:pt x="401" y="94"/>
                        <a:pt x="401" y="94"/>
                        <a:pt x="401" y="94"/>
                      </a:cubicBezTo>
                      <a:cubicBezTo>
                        <a:pt x="399" y="94"/>
                        <a:pt x="399" y="94"/>
                        <a:pt x="399" y="94"/>
                      </a:cubicBezTo>
                      <a:cubicBezTo>
                        <a:pt x="397" y="95"/>
                        <a:pt x="397" y="95"/>
                        <a:pt x="397" y="95"/>
                      </a:cubicBezTo>
                      <a:cubicBezTo>
                        <a:pt x="396" y="96"/>
                        <a:pt x="396" y="96"/>
                        <a:pt x="396" y="96"/>
                      </a:cubicBezTo>
                      <a:cubicBezTo>
                        <a:pt x="396" y="96"/>
                        <a:pt x="396" y="96"/>
                        <a:pt x="396" y="96"/>
                      </a:cubicBezTo>
                      <a:cubicBezTo>
                        <a:pt x="395" y="97"/>
                        <a:pt x="395" y="97"/>
                        <a:pt x="395" y="97"/>
                      </a:cubicBezTo>
                      <a:cubicBezTo>
                        <a:pt x="394" y="97"/>
                        <a:pt x="394" y="97"/>
                        <a:pt x="394" y="97"/>
                      </a:cubicBezTo>
                      <a:cubicBezTo>
                        <a:pt x="394" y="97"/>
                        <a:pt x="394" y="97"/>
                        <a:pt x="394" y="97"/>
                      </a:cubicBezTo>
                      <a:cubicBezTo>
                        <a:pt x="394" y="97"/>
                        <a:pt x="393" y="97"/>
                        <a:pt x="393" y="97"/>
                      </a:cubicBezTo>
                      <a:cubicBezTo>
                        <a:pt x="391" y="97"/>
                        <a:pt x="391" y="97"/>
                        <a:pt x="391" y="97"/>
                      </a:cubicBezTo>
                      <a:cubicBezTo>
                        <a:pt x="391" y="96"/>
                        <a:pt x="391" y="96"/>
                        <a:pt x="391" y="96"/>
                      </a:cubicBezTo>
                      <a:cubicBezTo>
                        <a:pt x="391" y="95"/>
                        <a:pt x="391" y="95"/>
                        <a:pt x="391" y="95"/>
                      </a:cubicBezTo>
                      <a:cubicBezTo>
                        <a:pt x="389" y="94"/>
                        <a:pt x="389" y="94"/>
                        <a:pt x="389" y="94"/>
                      </a:cubicBezTo>
                      <a:cubicBezTo>
                        <a:pt x="388" y="94"/>
                        <a:pt x="388" y="94"/>
                        <a:pt x="388" y="94"/>
                      </a:cubicBezTo>
                      <a:cubicBezTo>
                        <a:pt x="388" y="94"/>
                        <a:pt x="387" y="93"/>
                        <a:pt x="387" y="93"/>
                      </a:cubicBezTo>
                      <a:cubicBezTo>
                        <a:pt x="386" y="93"/>
                        <a:pt x="386" y="92"/>
                        <a:pt x="386" y="92"/>
                      </a:cubicBezTo>
                      <a:cubicBezTo>
                        <a:pt x="385" y="91"/>
                        <a:pt x="385" y="91"/>
                        <a:pt x="385" y="91"/>
                      </a:cubicBezTo>
                      <a:cubicBezTo>
                        <a:pt x="387" y="91"/>
                        <a:pt x="387" y="91"/>
                        <a:pt x="387" y="91"/>
                      </a:cubicBezTo>
                      <a:cubicBezTo>
                        <a:pt x="387" y="91"/>
                        <a:pt x="387" y="90"/>
                        <a:pt x="387" y="90"/>
                      </a:cubicBezTo>
                      <a:cubicBezTo>
                        <a:pt x="387" y="90"/>
                        <a:pt x="387" y="90"/>
                        <a:pt x="387" y="90"/>
                      </a:cubicBezTo>
                      <a:cubicBezTo>
                        <a:pt x="387" y="90"/>
                        <a:pt x="386" y="90"/>
                        <a:pt x="386" y="90"/>
                      </a:cubicBezTo>
                      <a:cubicBezTo>
                        <a:pt x="384" y="90"/>
                        <a:pt x="384" y="90"/>
                        <a:pt x="384" y="90"/>
                      </a:cubicBezTo>
                      <a:cubicBezTo>
                        <a:pt x="383" y="91"/>
                        <a:pt x="383" y="91"/>
                        <a:pt x="383" y="91"/>
                      </a:cubicBezTo>
                      <a:cubicBezTo>
                        <a:pt x="381" y="91"/>
                        <a:pt x="381" y="91"/>
                        <a:pt x="381" y="91"/>
                      </a:cubicBezTo>
                      <a:cubicBezTo>
                        <a:pt x="379" y="92"/>
                        <a:pt x="379" y="92"/>
                        <a:pt x="379" y="92"/>
                      </a:cubicBezTo>
                      <a:cubicBezTo>
                        <a:pt x="376" y="92"/>
                        <a:pt x="376" y="92"/>
                        <a:pt x="376" y="92"/>
                      </a:cubicBezTo>
                      <a:cubicBezTo>
                        <a:pt x="375" y="90"/>
                        <a:pt x="375" y="90"/>
                        <a:pt x="375" y="90"/>
                      </a:cubicBezTo>
                      <a:cubicBezTo>
                        <a:pt x="374" y="88"/>
                        <a:pt x="374" y="88"/>
                        <a:pt x="374" y="88"/>
                      </a:cubicBezTo>
                      <a:cubicBezTo>
                        <a:pt x="373" y="87"/>
                        <a:pt x="373" y="87"/>
                        <a:pt x="373" y="87"/>
                      </a:cubicBezTo>
                      <a:cubicBezTo>
                        <a:pt x="372" y="87"/>
                        <a:pt x="372" y="87"/>
                        <a:pt x="372" y="87"/>
                      </a:cubicBezTo>
                      <a:cubicBezTo>
                        <a:pt x="369" y="86"/>
                        <a:pt x="369" y="86"/>
                        <a:pt x="369" y="86"/>
                      </a:cubicBezTo>
                      <a:cubicBezTo>
                        <a:pt x="370" y="84"/>
                        <a:pt x="370" y="84"/>
                        <a:pt x="370" y="84"/>
                      </a:cubicBezTo>
                      <a:cubicBezTo>
                        <a:pt x="370" y="84"/>
                        <a:pt x="369" y="82"/>
                        <a:pt x="369" y="82"/>
                      </a:cubicBezTo>
                      <a:cubicBezTo>
                        <a:pt x="368" y="82"/>
                        <a:pt x="367" y="82"/>
                        <a:pt x="367" y="82"/>
                      </a:cubicBezTo>
                      <a:cubicBezTo>
                        <a:pt x="365" y="80"/>
                        <a:pt x="365" y="80"/>
                        <a:pt x="365" y="80"/>
                      </a:cubicBezTo>
                      <a:cubicBezTo>
                        <a:pt x="365" y="80"/>
                        <a:pt x="365" y="79"/>
                        <a:pt x="364" y="78"/>
                      </a:cubicBezTo>
                      <a:cubicBezTo>
                        <a:pt x="363" y="78"/>
                        <a:pt x="363" y="77"/>
                        <a:pt x="362" y="77"/>
                      </a:cubicBezTo>
                      <a:cubicBezTo>
                        <a:pt x="361" y="77"/>
                        <a:pt x="359" y="77"/>
                        <a:pt x="359" y="77"/>
                      </a:cubicBezTo>
                      <a:cubicBezTo>
                        <a:pt x="359" y="77"/>
                        <a:pt x="358" y="75"/>
                        <a:pt x="357" y="75"/>
                      </a:cubicBezTo>
                      <a:cubicBezTo>
                        <a:pt x="357" y="75"/>
                        <a:pt x="353" y="75"/>
                        <a:pt x="353" y="75"/>
                      </a:cubicBezTo>
                      <a:cubicBezTo>
                        <a:pt x="353" y="75"/>
                        <a:pt x="354" y="72"/>
                        <a:pt x="354" y="72"/>
                      </a:cubicBezTo>
                      <a:cubicBezTo>
                        <a:pt x="354" y="71"/>
                        <a:pt x="354" y="68"/>
                        <a:pt x="354" y="68"/>
                      </a:cubicBezTo>
                      <a:cubicBezTo>
                        <a:pt x="354" y="67"/>
                        <a:pt x="354" y="67"/>
                        <a:pt x="354" y="67"/>
                      </a:cubicBezTo>
                      <a:cubicBezTo>
                        <a:pt x="354" y="67"/>
                        <a:pt x="353" y="66"/>
                        <a:pt x="354" y="64"/>
                      </a:cubicBezTo>
                      <a:cubicBezTo>
                        <a:pt x="355" y="62"/>
                        <a:pt x="354" y="63"/>
                        <a:pt x="355" y="61"/>
                      </a:cubicBezTo>
                      <a:cubicBezTo>
                        <a:pt x="356" y="58"/>
                        <a:pt x="356" y="57"/>
                        <a:pt x="356" y="57"/>
                      </a:cubicBezTo>
                      <a:cubicBezTo>
                        <a:pt x="354" y="56"/>
                        <a:pt x="354" y="56"/>
                        <a:pt x="354" y="56"/>
                      </a:cubicBezTo>
                      <a:cubicBezTo>
                        <a:pt x="354" y="56"/>
                        <a:pt x="353" y="55"/>
                        <a:pt x="352" y="56"/>
                      </a:cubicBezTo>
                      <a:cubicBezTo>
                        <a:pt x="352" y="58"/>
                        <a:pt x="351" y="58"/>
                        <a:pt x="351" y="58"/>
                      </a:cubicBezTo>
                      <a:cubicBezTo>
                        <a:pt x="349" y="61"/>
                        <a:pt x="349" y="61"/>
                        <a:pt x="349" y="61"/>
                      </a:cubicBezTo>
                      <a:cubicBezTo>
                        <a:pt x="349" y="64"/>
                        <a:pt x="349" y="64"/>
                        <a:pt x="349" y="64"/>
                      </a:cubicBezTo>
                      <a:cubicBezTo>
                        <a:pt x="349" y="64"/>
                        <a:pt x="350" y="65"/>
                        <a:pt x="347" y="65"/>
                      </a:cubicBezTo>
                      <a:cubicBezTo>
                        <a:pt x="345" y="65"/>
                        <a:pt x="343" y="65"/>
                        <a:pt x="343" y="65"/>
                      </a:cubicBezTo>
                      <a:cubicBezTo>
                        <a:pt x="343" y="65"/>
                        <a:pt x="345" y="67"/>
                        <a:pt x="342" y="67"/>
                      </a:cubicBezTo>
                      <a:cubicBezTo>
                        <a:pt x="340" y="67"/>
                        <a:pt x="337" y="67"/>
                        <a:pt x="337" y="67"/>
                      </a:cubicBezTo>
                      <a:cubicBezTo>
                        <a:pt x="335" y="65"/>
                        <a:pt x="335" y="65"/>
                        <a:pt x="335" y="65"/>
                      </a:cubicBezTo>
                      <a:cubicBezTo>
                        <a:pt x="331" y="66"/>
                        <a:pt x="331" y="66"/>
                        <a:pt x="331" y="66"/>
                      </a:cubicBezTo>
                      <a:cubicBezTo>
                        <a:pt x="331" y="66"/>
                        <a:pt x="331" y="65"/>
                        <a:pt x="331" y="63"/>
                      </a:cubicBezTo>
                      <a:cubicBezTo>
                        <a:pt x="331" y="62"/>
                        <a:pt x="330" y="60"/>
                        <a:pt x="331" y="60"/>
                      </a:cubicBezTo>
                      <a:cubicBezTo>
                        <a:pt x="332" y="60"/>
                        <a:pt x="333" y="59"/>
                        <a:pt x="333" y="59"/>
                      </a:cubicBezTo>
                      <a:cubicBezTo>
                        <a:pt x="332" y="56"/>
                        <a:pt x="332" y="56"/>
                        <a:pt x="332" y="56"/>
                      </a:cubicBezTo>
                      <a:cubicBezTo>
                        <a:pt x="332" y="56"/>
                        <a:pt x="332" y="56"/>
                        <a:pt x="332" y="56"/>
                      </a:cubicBezTo>
                      <a:cubicBezTo>
                        <a:pt x="332" y="56"/>
                        <a:pt x="331" y="56"/>
                        <a:pt x="331" y="55"/>
                      </a:cubicBezTo>
                      <a:cubicBezTo>
                        <a:pt x="331" y="54"/>
                        <a:pt x="332" y="52"/>
                        <a:pt x="332" y="52"/>
                      </a:cubicBezTo>
                      <a:cubicBezTo>
                        <a:pt x="333" y="51"/>
                        <a:pt x="333" y="49"/>
                        <a:pt x="333" y="49"/>
                      </a:cubicBezTo>
                      <a:cubicBezTo>
                        <a:pt x="332" y="49"/>
                        <a:pt x="332" y="49"/>
                        <a:pt x="332" y="49"/>
                      </a:cubicBezTo>
                      <a:cubicBezTo>
                        <a:pt x="332" y="49"/>
                        <a:pt x="330" y="50"/>
                        <a:pt x="330" y="48"/>
                      </a:cubicBezTo>
                      <a:cubicBezTo>
                        <a:pt x="330" y="47"/>
                        <a:pt x="329" y="45"/>
                        <a:pt x="329" y="45"/>
                      </a:cubicBezTo>
                      <a:cubicBezTo>
                        <a:pt x="329" y="45"/>
                        <a:pt x="327" y="44"/>
                        <a:pt x="327" y="44"/>
                      </a:cubicBezTo>
                      <a:cubicBezTo>
                        <a:pt x="326" y="44"/>
                        <a:pt x="326" y="44"/>
                        <a:pt x="325" y="45"/>
                      </a:cubicBezTo>
                      <a:cubicBezTo>
                        <a:pt x="325" y="45"/>
                        <a:pt x="322" y="44"/>
                        <a:pt x="322" y="44"/>
                      </a:cubicBezTo>
                      <a:cubicBezTo>
                        <a:pt x="322" y="44"/>
                        <a:pt x="319" y="44"/>
                        <a:pt x="319" y="44"/>
                      </a:cubicBezTo>
                      <a:cubicBezTo>
                        <a:pt x="318" y="44"/>
                        <a:pt x="317" y="46"/>
                        <a:pt x="317" y="46"/>
                      </a:cubicBezTo>
                      <a:cubicBezTo>
                        <a:pt x="315" y="43"/>
                        <a:pt x="315" y="43"/>
                        <a:pt x="315" y="43"/>
                      </a:cubicBezTo>
                      <a:cubicBezTo>
                        <a:pt x="316" y="40"/>
                        <a:pt x="316" y="40"/>
                        <a:pt x="316" y="40"/>
                      </a:cubicBezTo>
                      <a:cubicBezTo>
                        <a:pt x="316" y="40"/>
                        <a:pt x="314" y="38"/>
                        <a:pt x="314" y="37"/>
                      </a:cubicBezTo>
                      <a:cubicBezTo>
                        <a:pt x="314" y="37"/>
                        <a:pt x="313" y="35"/>
                        <a:pt x="313" y="35"/>
                      </a:cubicBezTo>
                      <a:cubicBezTo>
                        <a:pt x="311" y="35"/>
                        <a:pt x="311" y="35"/>
                        <a:pt x="311" y="35"/>
                      </a:cubicBezTo>
                      <a:cubicBezTo>
                        <a:pt x="310" y="34"/>
                        <a:pt x="310" y="34"/>
                        <a:pt x="310" y="34"/>
                      </a:cubicBezTo>
                      <a:cubicBezTo>
                        <a:pt x="310" y="34"/>
                        <a:pt x="308" y="34"/>
                        <a:pt x="307" y="34"/>
                      </a:cubicBezTo>
                      <a:cubicBezTo>
                        <a:pt x="306" y="34"/>
                        <a:pt x="306" y="34"/>
                        <a:pt x="305" y="34"/>
                      </a:cubicBezTo>
                      <a:cubicBezTo>
                        <a:pt x="305" y="34"/>
                        <a:pt x="303" y="32"/>
                        <a:pt x="303" y="32"/>
                      </a:cubicBezTo>
                      <a:cubicBezTo>
                        <a:pt x="303" y="31"/>
                        <a:pt x="303" y="30"/>
                        <a:pt x="303" y="29"/>
                      </a:cubicBezTo>
                      <a:cubicBezTo>
                        <a:pt x="302" y="28"/>
                        <a:pt x="301" y="26"/>
                        <a:pt x="301" y="25"/>
                      </a:cubicBezTo>
                      <a:cubicBezTo>
                        <a:pt x="301" y="25"/>
                        <a:pt x="302" y="23"/>
                        <a:pt x="302" y="23"/>
                      </a:cubicBezTo>
                      <a:cubicBezTo>
                        <a:pt x="301" y="22"/>
                        <a:pt x="299" y="20"/>
                        <a:pt x="299" y="20"/>
                      </a:cubicBezTo>
                      <a:cubicBezTo>
                        <a:pt x="298" y="18"/>
                        <a:pt x="298" y="18"/>
                        <a:pt x="298" y="18"/>
                      </a:cubicBezTo>
                      <a:cubicBezTo>
                        <a:pt x="298" y="18"/>
                        <a:pt x="295" y="20"/>
                        <a:pt x="294" y="20"/>
                      </a:cubicBezTo>
                      <a:cubicBezTo>
                        <a:pt x="293" y="20"/>
                        <a:pt x="291" y="19"/>
                        <a:pt x="291" y="20"/>
                      </a:cubicBezTo>
                      <a:cubicBezTo>
                        <a:pt x="291" y="20"/>
                        <a:pt x="292" y="22"/>
                        <a:pt x="291" y="22"/>
                      </a:cubicBezTo>
                      <a:cubicBezTo>
                        <a:pt x="290" y="22"/>
                        <a:pt x="288" y="22"/>
                        <a:pt x="287" y="21"/>
                      </a:cubicBezTo>
                      <a:cubicBezTo>
                        <a:pt x="286" y="20"/>
                        <a:pt x="286" y="19"/>
                        <a:pt x="286" y="18"/>
                      </a:cubicBezTo>
                      <a:cubicBezTo>
                        <a:pt x="285" y="18"/>
                        <a:pt x="285" y="16"/>
                        <a:pt x="284" y="16"/>
                      </a:cubicBezTo>
                      <a:cubicBezTo>
                        <a:pt x="283" y="16"/>
                        <a:pt x="282" y="16"/>
                        <a:pt x="282" y="15"/>
                      </a:cubicBezTo>
                      <a:cubicBezTo>
                        <a:pt x="282" y="15"/>
                        <a:pt x="282" y="12"/>
                        <a:pt x="282" y="12"/>
                      </a:cubicBezTo>
                      <a:cubicBezTo>
                        <a:pt x="282" y="10"/>
                        <a:pt x="282" y="10"/>
                        <a:pt x="282" y="10"/>
                      </a:cubicBezTo>
                      <a:cubicBezTo>
                        <a:pt x="282" y="10"/>
                        <a:pt x="282" y="7"/>
                        <a:pt x="281" y="7"/>
                      </a:cubicBezTo>
                      <a:cubicBezTo>
                        <a:pt x="281" y="6"/>
                        <a:pt x="280" y="5"/>
                        <a:pt x="280" y="5"/>
                      </a:cubicBezTo>
                      <a:cubicBezTo>
                        <a:pt x="280" y="2"/>
                        <a:pt x="280" y="2"/>
                        <a:pt x="280" y="2"/>
                      </a:cubicBezTo>
                      <a:cubicBezTo>
                        <a:pt x="281" y="1"/>
                        <a:pt x="281" y="1"/>
                        <a:pt x="281" y="1"/>
                      </a:cubicBezTo>
                      <a:cubicBezTo>
                        <a:pt x="281" y="1"/>
                        <a:pt x="281" y="0"/>
                        <a:pt x="282" y="0"/>
                      </a:cubicBezTo>
                      <a:cubicBezTo>
                        <a:pt x="259" y="4"/>
                        <a:pt x="259" y="4"/>
                        <a:pt x="259" y="4"/>
                      </a:cubicBezTo>
                      <a:cubicBezTo>
                        <a:pt x="249" y="5"/>
                        <a:pt x="249" y="5"/>
                        <a:pt x="249" y="5"/>
                      </a:cubicBezTo>
                      <a:cubicBezTo>
                        <a:pt x="245" y="10"/>
                        <a:pt x="245" y="10"/>
                        <a:pt x="245" y="10"/>
                      </a:cubicBezTo>
                      <a:cubicBezTo>
                        <a:pt x="243" y="15"/>
                        <a:pt x="243" y="15"/>
                        <a:pt x="243" y="15"/>
                      </a:cubicBezTo>
                      <a:cubicBezTo>
                        <a:pt x="244" y="23"/>
                        <a:pt x="244" y="23"/>
                        <a:pt x="244" y="23"/>
                      </a:cubicBezTo>
                      <a:cubicBezTo>
                        <a:pt x="241" y="28"/>
                        <a:pt x="241" y="28"/>
                        <a:pt x="241" y="28"/>
                      </a:cubicBezTo>
                      <a:cubicBezTo>
                        <a:pt x="241" y="34"/>
                        <a:pt x="241" y="34"/>
                        <a:pt x="241" y="34"/>
                      </a:cubicBezTo>
                      <a:cubicBezTo>
                        <a:pt x="241" y="43"/>
                        <a:pt x="241" y="43"/>
                        <a:pt x="241" y="43"/>
                      </a:cubicBezTo>
                      <a:cubicBezTo>
                        <a:pt x="236" y="46"/>
                        <a:pt x="236" y="46"/>
                        <a:pt x="236" y="46"/>
                      </a:cubicBezTo>
                      <a:cubicBezTo>
                        <a:pt x="229" y="53"/>
                        <a:pt x="229" y="53"/>
                        <a:pt x="229" y="53"/>
                      </a:cubicBezTo>
                      <a:cubicBezTo>
                        <a:pt x="219" y="57"/>
                        <a:pt x="219" y="57"/>
                        <a:pt x="219" y="57"/>
                      </a:cubicBezTo>
                      <a:cubicBezTo>
                        <a:pt x="206" y="60"/>
                        <a:pt x="206" y="60"/>
                        <a:pt x="206" y="60"/>
                      </a:cubicBezTo>
                      <a:cubicBezTo>
                        <a:pt x="196" y="63"/>
                        <a:pt x="196" y="63"/>
                        <a:pt x="196" y="63"/>
                      </a:cubicBezTo>
                      <a:cubicBezTo>
                        <a:pt x="187" y="68"/>
                        <a:pt x="187" y="68"/>
                        <a:pt x="187" y="68"/>
                      </a:cubicBezTo>
                      <a:cubicBezTo>
                        <a:pt x="185" y="75"/>
                        <a:pt x="185" y="75"/>
                        <a:pt x="185" y="75"/>
                      </a:cubicBezTo>
                      <a:cubicBezTo>
                        <a:pt x="184" y="84"/>
                        <a:pt x="184" y="84"/>
                        <a:pt x="184" y="84"/>
                      </a:cubicBezTo>
                      <a:cubicBezTo>
                        <a:pt x="177" y="87"/>
                        <a:pt x="177" y="87"/>
                        <a:pt x="177" y="87"/>
                      </a:cubicBezTo>
                      <a:cubicBezTo>
                        <a:pt x="177" y="87"/>
                        <a:pt x="174" y="89"/>
                        <a:pt x="172" y="88"/>
                      </a:cubicBezTo>
                      <a:cubicBezTo>
                        <a:pt x="169" y="88"/>
                        <a:pt x="163" y="86"/>
                        <a:pt x="163" y="86"/>
                      </a:cubicBezTo>
                      <a:cubicBezTo>
                        <a:pt x="163" y="86"/>
                        <a:pt x="156" y="82"/>
                        <a:pt x="153" y="82"/>
                      </a:cubicBezTo>
                      <a:cubicBezTo>
                        <a:pt x="150" y="81"/>
                        <a:pt x="145" y="76"/>
                        <a:pt x="145" y="76"/>
                      </a:cubicBezTo>
                      <a:cubicBezTo>
                        <a:pt x="140" y="80"/>
                        <a:pt x="140" y="80"/>
                        <a:pt x="140" y="80"/>
                      </a:cubicBezTo>
                      <a:cubicBezTo>
                        <a:pt x="140" y="80"/>
                        <a:pt x="137" y="77"/>
                        <a:pt x="137" y="75"/>
                      </a:cubicBezTo>
                      <a:cubicBezTo>
                        <a:pt x="137" y="74"/>
                        <a:pt x="137" y="74"/>
                        <a:pt x="137" y="72"/>
                      </a:cubicBezTo>
                      <a:cubicBezTo>
                        <a:pt x="137" y="69"/>
                        <a:pt x="137" y="64"/>
                        <a:pt x="137" y="64"/>
                      </a:cubicBezTo>
                      <a:cubicBezTo>
                        <a:pt x="130" y="61"/>
                        <a:pt x="130" y="61"/>
                        <a:pt x="130" y="61"/>
                      </a:cubicBezTo>
                      <a:cubicBezTo>
                        <a:pt x="123" y="60"/>
                        <a:pt x="123" y="60"/>
                        <a:pt x="123" y="60"/>
                      </a:cubicBezTo>
                      <a:cubicBezTo>
                        <a:pt x="123" y="60"/>
                        <a:pt x="123" y="62"/>
                        <a:pt x="121" y="60"/>
                      </a:cubicBezTo>
                      <a:cubicBezTo>
                        <a:pt x="118" y="58"/>
                        <a:pt x="118" y="54"/>
                        <a:pt x="118" y="54"/>
                      </a:cubicBezTo>
                      <a:cubicBezTo>
                        <a:pt x="112" y="51"/>
                        <a:pt x="112" y="51"/>
                        <a:pt x="112" y="51"/>
                      </a:cubicBezTo>
                      <a:cubicBezTo>
                        <a:pt x="110" y="59"/>
                        <a:pt x="110" y="59"/>
                        <a:pt x="110" y="59"/>
                      </a:cubicBezTo>
                      <a:cubicBezTo>
                        <a:pt x="117" y="65"/>
                        <a:pt x="117" y="65"/>
                        <a:pt x="117" y="65"/>
                      </a:cubicBezTo>
                      <a:cubicBezTo>
                        <a:pt x="119" y="69"/>
                        <a:pt x="119" y="69"/>
                        <a:pt x="119" y="69"/>
                      </a:cubicBezTo>
                      <a:cubicBezTo>
                        <a:pt x="117" y="75"/>
                        <a:pt x="117" y="75"/>
                        <a:pt x="117" y="75"/>
                      </a:cubicBezTo>
                      <a:cubicBezTo>
                        <a:pt x="119" y="80"/>
                        <a:pt x="119" y="80"/>
                        <a:pt x="119" y="80"/>
                      </a:cubicBezTo>
                      <a:cubicBezTo>
                        <a:pt x="120" y="84"/>
                        <a:pt x="120" y="84"/>
                        <a:pt x="120" y="84"/>
                      </a:cubicBezTo>
                      <a:cubicBezTo>
                        <a:pt x="120" y="84"/>
                        <a:pt x="121" y="84"/>
                        <a:pt x="121" y="87"/>
                      </a:cubicBezTo>
                      <a:cubicBezTo>
                        <a:pt x="121" y="89"/>
                        <a:pt x="120" y="99"/>
                        <a:pt x="120" y="99"/>
                      </a:cubicBezTo>
                      <a:cubicBezTo>
                        <a:pt x="120" y="107"/>
                        <a:pt x="120" y="107"/>
                        <a:pt x="120" y="107"/>
                      </a:cubicBezTo>
                      <a:cubicBezTo>
                        <a:pt x="123" y="115"/>
                        <a:pt x="123" y="115"/>
                        <a:pt x="123" y="115"/>
                      </a:cubicBezTo>
                      <a:cubicBezTo>
                        <a:pt x="123" y="115"/>
                        <a:pt x="118" y="118"/>
                        <a:pt x="116" y="118"/>
                      </a:cubicBezTo>
                      <a:cubicBezTo>
                        <a:pt x="114" y="118"/>
                        <a:pt x="109" y="116"/>
                        <a:pt x="109" y="116"/>
                      </a:cubicBezTo>
                      <a:cubicBezTo>
                        <a:pt x="107" y="111"/>
                        <a:pt x="107" y="111"/>
                        <a:pt x="107" y="111"/>
                      </a:cubicBezTo>
                      <a:cubicBezTo>
                        <a:pt x="95" y="112"/>
                        <a:pt x="95" y="112"/>
                        <a:pt x="95" y="112"/>
                      </a:cubicBezTo>
                      <a:cubicBezTo>
                        <a:pt x="88" y="111"/>
                        <a:pt x="88" y="111"/>
                        <a:pt x="88" y="111"/>
                      </a:cubicBezTo>
                      <a:cubicBezTo>
                        <a:pt x="82" y="115"/>
                        <a:pt x="82" y="115"/>
                        <a:pt x="82" y="115"/>
                      </a:cubicBezTo>
                      <a:cubicBezTo>
                        <a:pt x="78" y="114"/>
                        <a:pt x="78" y="114"/>
                        <a:pt x="78" y="114"/>
                      </a:cubicBezTo>
                      <a:cubicBezTo>
                        <a:pt x="74" y="110"/>
                        <a:pt x="74" y="110"/>
                        <a:pt x="74" y="110"/>
                      </a:cubicBezTo>
                      <a:cubicBezTo>
                        <a:pt x="73" y="104"/>
                        <a:pt x="73" y="104"/>
                        <a:pt x="73" y="104"/>
                      </a:cubicBezTo>
                      <a:cubicBezTo>
                        <a:pt x="71" y="99"/>
                        <a:pt x="71" y="99"/>
                        <a:pt x="71" y="99"/>
                      </a:cubicBezTo>
                      <a:cubicBezTo>
                        <a:pt x="67" y="94"/>
                        <a:pt x="67" y="94"/>
                        <a:pt x="67" y="94"/>
                      </a:cubicBezTo>
                      <a:cubicBezTo>
                        <a:pt x="54" y="95"/>
                        <a:pt x="54" y="95"/>
                        <a:pt x="54" y="95"/>
                      </a:cubicBezTo>
                      <a:cubicBezTo>
                        <a:pt x="49" y="96"/>
                        <a:pt x="49" y="96"/>
                        <a:pt x="49" y="96"/>
                      </a:cubicBezTo>
                      <a:cubicBezTo>
                        <a:pt x="46" y="99"/>
                        <a:pt x="46" y="99"/>
                        <a:pt x="46" y="99"/>
                      </a:cubicBezTo>
                      <a:cubicBezTo>
                        <a:pt x="40" y="98"/>
                        <a:pt x="40" y="98"/>
                        <a:pt x="40" y="98"/>
                      </a:cubicBezTo>
                      <a:cubicBezTo>
                        <a:pt x="38" y="101"/>
                        <a:pt x="38" y="101"/>
                        <a:pt x="38" y="101"/>
                      </a:cubicBezTo>
                      <a:cubicBezTo>
                        <a:pt x="31" y="99"/>
                        <a:pt x="31" y="99"/>
                        <a:pt x="31" y="99"/>
                      </a:cubicBezTo>
                      <a:cubicBezTo>
                        <a:pt x="24" y="100"/>
                        <a:pt x="24" y="100"/>
                        <a:pt x="24" y="100"/>
                      </a:cubicBezTo>
                      <a:cubicBezTo>
                        <a:pt x="19" y="99"/>
                        <a:pt x="19" y="99"/>
                        <a:pt x="19" y="99"/>
                      </a:cubicBezTo>
                      <a:cubicBezTo>
                        <a:pt x="10" y="101"/>
                        <a:pt x="10" y="101"/>
                        <a:pt x="10" y="101"/>
                      </a:cubicBezTo>
                      <a:cubicBezTo>
                        <a:pt x="5" y="105"/>
                        <a:pt x="5" y="105"/>
                        <a:pt x="5" y="105"/>
                      </a:cubicBezTo>
                      <a:cubicBezTo>
                        <a:pt x="0" y="113"/>
                        <a:pt x="0" y="113"/>
                        <a:pt x="0" y="113"/>
                      </a:cubicBezTo>
                      <a:cubicBezTo>
                        <a:pt x="0" y="113"/>
                        <a:pt x="2" y="113"/>
                        <a:pt x="4" y="113"/>
                      </a:cubicBezTo>
                      <a:cubicBezTo>
                        <a:pt x="5" y="113"/>
                        <a:pt x="14" y="114"/>
                        <a:pt x="14" y="114"/>
                      </a:cubicBezTo>
                      <a:cubicBezTo>
                        <a:pt x="16" y="117"/>
                        <a:pt x="16" y="117"/>
                        <a:pt x="16" y="117"/>
                      </a:cubicBezTo>
                      <a:cubicBezTo>
                        <a:pt x="10" y="120"/>
                        <a:pt x="10" y="120"/>
                        <a:pt x="10" y="120"/>
                      </a:cubicBezTo>
                      <a:cubicBezTo>
                        <a:pt x="15" y="122"/>
                        <a:pt x="15" y="122"/>
                        <a:pt x="15" y="122"/>
                      </a:cubicBezTo>
                      <a:cubicBezTo>
                        <a:pt x="16" y="124"/>
                        <a:pt x="16" y="124"/>
                        <a:pt x="16" y="124"/>
                      </a:cubicBezTo>
                      <a:cubicBezTo>
                        <a:pt x="16" y="127"/>
                        <a:pt x="16" y="127"/>
                        <a:pt x="16" y="127"/>
                      </a:cubicBezTo>
                      <a:cubicBezTo>
                        <a:pt x="5" y="128"/>
                        <a:pt x="5" y="128"/>
                        <a:pt x="5" y="128"/>
                      </a:cubicBezTo>
                      <a:cubicBezTo>
                        <a:pt x="5" y="128"/>
                        <a:pt x="2" y="127"/>
                        <a:pt x="2" y="129"/>
                      </a:cubicBezTo>
                      <a:cubicBezTo>
                        <a:pt x="1" y="131"/>
                        <a:pt x="5" y="132"/>
                        <a:pt x="5" y="132"/>
                      </a:cubicBezTo>
                      <a:cubicBezTo>
                        <a:pt x="10" y="135"/>
                        <a:pt x="10" y="135"/>
                        <a:pt x="10" y="135"/>
                      </a:cubicBezTo>
                      <a:cubicBezTo>
                        <a:pt x="9" y="145"/>
                        <a:pt x="9" y="145"/>
                        <a:pt x="9" y="145"/>
                      </a:cubicBezTo>
                      <a:cubicBezTo>
                        <a:pt x="13" y="145"/>
                        <a:pt x="13" y="145"/>
                        <a:pt x="13" y="145"/>
                      </a:cubicBezTo>
                      <a:cubicBezTo>
                        <a:pt x="19" y="145"/>
                        <a:pt x="19" y="145"/>
                        <a:pt x="19" y="145"/>
                      </a:cubicBezTo>
                      <a:cubicBezTo>
                        <a:pt x="19" y="145"/>
                        <a:pt x="20" y="143"/>
                        <a:pt x="23" y="142"/>
                      </a:cubicBezTo>
                      <a:cubicBezTo>
                        <a:pt x="25" y="142"/>
                        <a:pt x="28" y="142"/>
                        <a:pt x="28" y="142"/>
                      </a:cubicBezTo>
                      <a:cubicBezTo>
                        <a:pt x="28" y="142"/>
                        <a:pt x="28" y="141"/>
                        <a:pt x="30" y="146"/>
                      </a:cubicBezTo>
                      <a:cubicBezTo>
                        <a:pt x="31" y="150"/>
                        <a:pt x="31" y="150"/>
                        <a:pt x="31" y="150"/>
                      </a:cubicBezTo>
                      <a:cubicBezTo>
                        <a:pt x="35" y="151"/>
                        <a:pt x="35" y="151"/>
                        <a:pt x="35" y="151"/>
                      </a:cubicBezTo>
                      <a:cubicBezTo>
                        <a:pt x="37" y="152"/>
                        <a:pt x="37" y="152"/>
                        <a:pt x="37" y="152"/>
                      </a:cubicBezTo>
                      <a:cubicBezTo>
                        <a:pt x="37" y="152"/>
                        <a:pt x="41" y="154"/>
                        <a:pt x="43" y="155"/>
                      </a:cubicBezTo>
                      <a:cubicBezTo>
                        <a:pt x="45" y="156"/>
                        <a:pt x="49" y="160"/>
                        <a:pt x="49" y="160"/>
                      </a:cubicBezTo>
                      <a:cubicBezTo>
                        <a:pt x="51" y="161"/>
                        <a:pt x="51" y="161"/>
                        <a:pt x="51" y="161"/>
                      </a:cubicBezTo>
                      <a:cubicBezTo>
                        <a:pt x="51" y="166"/>
                        <a:pt x="51" y="166"/>
                        <a:pt x="51" y="166"/>
                      </a:cubicBezTo>
                      <a:cubicBezTo>
                        <a:pt x="51" y="166"/>
                        <a:pt x="55" y="167"/>
                        <a:pt x="58" y="167"/>
                      </a:cubicBezTo>
                      <a:cubicBezTo>
                        <a:pt x="61" y="167"/>
                        <a:pt x="68" y="166"/>
                        <a:pt x="68" y="166"/>
                      </a:cubicBezTo>
                      <a:cubicBezTo>
                        <a:pt x="70" y="170"/>
                        <a:pt x="70" y="170"/>
                        <a:pt x="70" y="170"/>
                      </a:cubicBezTo>
                      <a:cubicBezTo>
                        <a:pt x="72" y="170"/>
                        <a:pt x="81" y="173"/>
                        <a:pt x="81" y="173"/>
                      </a:cubicBezTo>
                      <a:cubicBezTo>
                        <a:pt x="78" y="177"/>
                        <a:pt x="78" y="177"/>
                        <a:pt x="78" y="177"/>
                      </a:cubicBezTo>
                      <a:cubicBezTo>
                        <a:pt x="75" y="180"/>
                        <a:pt x="75" y="180"/>
                        <a:pt x="75" y="180"/>
                      </a:cubicBezTo>
                      <a:cubicBezTo>
                        <a:pt x="74" y="183"/>
                        <a:pt x="74" y="183"/>
                        <a:pt x="74" y="183"/>
                      </a:cubicBezTo>
                      <a:cubicBezTo>
                        <a:pt x="74" y="183"/>
                        <a:pt x="75" y="183"/>
                        <a:pt x="79" y="184"/>
                      </a:cubicBezTo>
                      <a:cubicBezTo>
                        <a:pt x="83" y="185"/>
                        <a:pt x="86" y="187"/>
                        <a:pt x="86" y="187"/>
                      </a:cubicBezTo>
                      <a:cubicBezTo>
                        <a:pt x="84" y="192"/>
                        <a:pt x="84" y="192"/>
                        <a:pt x="84" y="192"/>
                      </a:cubicBezTo>
                      <a:cubicBezTo>
                        <a:pt x="89" y="196"/>
                        <a:pt x="89" y="196"/>
                        <a:pt x="89" y="196"/>
                      </a:cubicBezTo>
                      <a:cubicBezTo>
                        <a:pt x="89" y="196"/>
                        <a:pt x="91" y="199"/>
                        <a:pt x="91" y="200"/>
                      </a:cubicBezTo>
                      <a:cubicBezTo>
                        <a:pt x="90" y="201"/>
                        <a:pt x="90" y="203"/>
                        <a:pt x="90" y="203"/>
                      </a:cubicBezTo>
                      <a:cubicBezTo>
                        <a:pt x="87" y="202"/>
                        <a:pt x="87" y="202"/>
                        <a:pt x="87" y="202"/>
                      </a:cubicBezTo>
                      <a:cubicBezTo>
                        <a:pt x="87" y="202"/>
                        <a:pt x="87" y="204"/>
                        <a:pt x="86" y="202"/>
                      </a:cubicBezTo>
                      <a:cubicBezTo>
                        <a:pt x="84" y="200"/>
                        <a:pt x="83" y="198"/>
                        <a:pt x="83" y="198"/>
                      </a:cubicBezTo>
                      <a:cubicBezTo>
                        <a:pt x="82" y="202"/>
                        <a:pt x="82" y="202"/>
                        <a:pt x="82" y="202"/>
                      </a:cubicBezTo>
                      <a:cubicBezTo>
                        <a:pt x="82" y="202"/>
                        <a:pt x="83" y="206"/>
                        <a:pt x="84" y="207"/>
                      </a:cubicBezTo>
                      <a:cubicBezTo>
                        <a:pt x="86" y="207"/>
                        <a:pt x="86" y="206"/>
                        <a:pt x="86" y="209"/>
                      </a:cubicBezTo>
                      <a:cubicBezTo>
                        <a:pt x="86" y="211"/>
                        <a:pt x="87" y="216"/>
                        <a:pt x="88" y="217"/>
                      </a:cubicBezTo>
                      <a:cubicBezTo>
                        <a:pt x="89" y="219"/>
                        <a:pt x="89" y="224"/>
                        <a:pt x="90" y="225"/>
                      </a:cubicBezTo>
                      <a:cubicBezTo>
                        <a:pt x="92" y="225"/>
                        <a:pt x="93" y="226"/>
                        <a:pt x="93" y="226"/>
                      </a:cubicBezTo>
                      <a:cubicBezTo>
                        <a:pt x="95" y="228"/>
                        <a:pt x="95" y="228"/>
                        <a:pt x="95" y="228"/>
                      </a:cubicBezTo>
                      <a:cubicBezTo>
                        <a:pt x="101" y="233"/>
                        <a:pt x="101" y="233"/>
                        <a:pt x="101" y="233"/>
                      </a:cubicBezTo>
                      <a:cubicBezTo>
                        <a:pt x="101" y="233"/>
                        <a:pt x="105" y="236"/>
                        <a:pt x="107" y="237"/>
                      </a:cubicBezTo>
                      <a:cubicBezTo>
                        <a:pt x="109" y="238"/>
                        <a:pt x="110" y="238"/>
                        <a:pt x="110" y="238"/>
                      </a:cubicBezTo>
                      <a:cubicBezTo>
                        <a:pt x="115" y="243"/>
                        <a:pt x="115" y="243"/>
                        <a:pt x="115" y="243"/>
                      </a:cubicBezTo>
                      <a:cubicBezTo>
                        <a:pt x="115" y="243"/>
                        <a:pt x="118" y="248"/>
                        <a:pt x="117" y="248"/>
                      </a:cubicBezTo>
                      <a:cubicBezTo>
                        <a:pt x="116" y="248"/>
                        <a:pt x="117" y="249"/>
                        <a:pt x="115" y="249"/>
                      </a:cubicBezTo>
                      <a:cubicBezTo>
                        <a:pt x="112" y="249"/>
                        <a:pt x="113" y="251"/>
                        <a:pt x="111" y="249"/>
                      </a:cubicBezTo>
                      <a:cubicBezTo>
                        <a:pt x="108" y="247"/>
                        <a:pt x="106" y="244"/>
                        <a:pt x="103" y="244"/>
                      </a:cubicBezTo>
                      <a:cubicBezTo>
                        <a:pt x="100" y="244"/>
                        <a:pt x="100" y="244"/>
                        <a:pt x="100" y="244"/>
                      </a:cubicBezTo>
                      <a:cubicBezTo>
                        <a:pt x="106" y="249"/>
                        <a:pt x="106" y="249"/>
                        <a:pt x="106" y="249"/>
                      </a:cubicBezTo>
                      <a:cubicBezTo>
                        <a:pt x="109" y="250"/>
                        <a:pt x="109" y="250"/>
                        <a:pt x="109" y="250"/>
                      </a:cubicBezTo>
                      <a:cubicBezTo>
                        <a:pt x="113" y="254"/>
                        <a:pt x="113" y="254"/>
                        <a:pt x="113" y="254"/>
                      </a:cubicBezTo>
                      <a:cubicBezTo>
                        <a:pt x="114" y="254"/>
                        <a:pt x="114" y="254"/>
                        <a:pt x="114" y="254"/>
                      </a:cubicBezTo>
                      <a:cubicBezTo>
                        <a:pt x="114" y="254"/>
                        <a:pt x="115" y="256"/>
                        <a:pt x="115" y="257"/>
                      </a:cubicBezTo>
                      <a:cubicBezTo>
                        <a:pt x="115" y="258"/>
                        <a:pt x="114" y="261"/>
                        <a:pt x="113" y="262"/>
                      </a:cubicBezTo>
                      <a:cubicBezTo>
                        <a:pt x="113" y="264"/>
                        <a:pt x="113" y="266"/>
                        <a:pt x="113" y="266"/>
                      </a:cubicBezTo>
                      <a:cubicBezTo>
                        <a:pt x="110" y="259"/>
                        <a:pt x="110" y="259"/>
                        <a:pt x="110" y="259"/>
                      </a:cubicBezTo>
                      <a:cubicBezTo>
                        <a:pt x="110" y="259"/>
                        <a:pt x="111" y="257"/>
                        <a:pt x="109" y="256"/>
                      </a:cubicBezTo>
                      <a:cubicBezTo>
                        <a:pt x="107" y="256"/>
                        <a:pt x="105" y="257"/>
                        <a:pt x="105" y="257"/>
                      </a:cubicBezTo>
                      <a:cubicBezTo>
                        <a:pt x="105" y="257"/>
                        <a:pt x="104" y="259"/>
                        <a:pt x="105" y="260"/>
                      </a:cubicBezTo>
                      <a:cubicBezTo>
                        <a:pt x="107" y="261"/>
                        <a:pt x="108" y="262"/>
                        <a:pt x="108" y="263"/>
                      </a:cubicBezTo>
                      <a:cubicBezTo>
                        <a:pt x="109" y="264"/>
                        <a:pt x="109" y="265"/>
                        <a:pt x="109" y="265"/>
                      </a:cubicBezTo>
                      <a:cubicBezTo>
                        <a:pt x="109" y="265"/>
                        <a:pt x="111" y="265"/>
                        <a:pt x="111" y="267"/>
                      </a:cubicBezTo>
                      <a:cubicBezTo>
                        <a:pt x="111" y="270"/>
                        <a:pt x="110" y="273"/>
                        <a:pt x="110" y="273"/>
                      </a:cubicBezTo>
                      <a:cubicBezTo>
                        <a:pt x="110" y="273"/>
                        <a:pt x="108" y="273"/>
                        <a:pt x="111" y="275"/>
                      </a:cubicBezTo>
                      <a:cubicBezTo>
                        <a:pt x="114" y="277"/>
                        <a:pt x="115" y="278"/>
                        <a:pt x="116" y="279"/>
                      </a:cubicBezTo>
                      <a:cubicBezTo>
                        <a:pt x="117" y="280"/>
                        <a:pt x="121" y="285"/>
                        <a:pt x="121" y="285"/>
                      </a:cubicBezTo>
                      <a:cubicBezTo>
                        <a:pt x="124" y="289"/>
                        <a:pt x="124" y="289"/>
                        <a:pt x="124" y="289"/>
                      </a:cubicBezTo>
                      <a:cubicBezTo>
                        <a:pt x="124" y="289"/>
                        <a:pt x="124" y="291"/>
                        <a:pt x="124" y="291"/>
                      </a:cubicBezTo>
                      <a:cubicBezTo>
                        <a:pt x="123" y="291"/>
                        <a:pt x="121" y="291"/>
                        <a:pt x="121" y="291"/>
                      </a:cubicBezTo>
                      <a:cubicBezTo>
                        <a:pt x="121" y="291"/>
                        <a:pt x="120" y="291"/>
                        <a:pt x="119" y="290"/>
                      </a:cubicBezTo>
                      <a:cubicBezTo>
                        <a:pt x="118" y="288"/>
                        <a:pt x="116" y="285"/>
                        <a:pt x="116" y="285"/>
                      </a:cubicBezTo>
                      <a:cubicBezTo>
                        <a:pt x="114" y="284"/>
                        <a:pt x="114" y="284"/>
                        <a:pt x="114" y="284"/>
                      </a:cubicBezTo>
                      <a:cubicBezTo>
                        <a:pt x="112" y="285"/>
                        <a:pt x="112" y="285"/>
                        <a:pt x="112" y="285"/>
                      </a:cubicBezTo>
                      <a:cubicBezTo>
                        <a:pt x="112" y="285"/>
                        <a:pt x="110" y="289"/>
                        <a:pt x="110" y="289"/>
                      </a:cubicBezTo>
                      <a:cubicBezTo>
                        <a:pt x="110" y="290"/>
                        <a:pt x="107" y="296"/>
                        <a:pt x="107" y="296"/>
                      </a:cubicBezTo>
                      <a:cubicBezTo>
                        <a:pt x="105" y="308"/>
                        <a:pt x="105" y="308"/>
                        <a:pt x="105" y="308"/>
                      </a:cubicBezTo>
                      <a:cubicBezTo>
                        <a:pt x="105" y="308"/>
                        <a:pt x="105" y="322"/>
                        <a:pt x="104" y="323"/>
                      </a:cubicBezTo>
                      <a:cubicBezTo>
                        <a:pt x="104" y="324"/>
                        <a:pt x="100" y="334"/>
                        <a:pt x="100" y="334"/>
                      </a:cubicBezTo>
                      <a:cubicBezTo>
                        <a:pt x="100" y="334"/>
                        <a:pt x="100" y="335"/>
                        <a:pt x="100" y="338"/>
                      </a:cubicBezTo>
                      <a:cubicBezTo>
                        <a:pt x="99" y="341"/>
                        <a:pt x="98" y="346"/>
                        <a:pt x="98" y="346"/>
                      </a:cubicBezTo>
                      <a:cubicBezTo>
                        <a:pt x="98" y="346"/>
                        <a:pt x="97" y="350"/>
                        <a:pt x="97" y="352"/>
                      </a:cubicBezTo>
                      <a:cubicBezTo>
                        <a:pt x="96" y="354"/>
                        <a:pt x="93" y="362"/>
                        <a:pt x="93" y="362"/>
                      </a:cubicBezTo>
                      <a:cubicBezTo>
                        <a:pt x="92" y="371"/>
                        <a:pt x="92" y="371"/>
                        <a:pt x="92" y="371"/>
                      </a:cubicBezTo>
                      <a:cubicBezTo>
                        <a:pt x="84" y="388"/>
                        <a:pt x="84" y="388"/>
                        <a:pt x="84" y="388"/>
                      </a:cubicBezTo>
                      <a:cubicBezTo>
                        <a:pt x="78" y="393"/>
                        <a:pt x="78" y="393"/>
                        <a:pt x="78" y="393"/>
                      </a:cubicBezTo>
                      <a:cubicBezTo>
                        <a:pt x="75" y="395"/>
                        <a:pt x="75" y="395"/>
                        <a:pt x="75" y="395"/>
                      </a:cubicBezTo>
                      <a:cubicBezTo>
                        <a:pt x="78" y="396"/>
                        <a:pt x="80" y="397"/>
                        <a:pt x="81" y="400"/>
                      </a:cubicBezTo>
                      <a:cubicBezTo>
                        <a:pt x="83" y="405"/>
                        <a:pt x="87" y="413"/>
                        <a:pt x="87" y="413"/>
                      </a:cubicBezTo>
                      <a:cubicBezTo>
                        <a:pt x="100" y="418"/>
                        <a:pt x="100" y="418"/>
                        <a:pt x="100" y="418"/>
                      </a:cubicBezTo>
                      <a:cubicBezTo>
                        <a:pt x="100" y="418"/>
                        <a:pt x="107" y="424"/>
                        <a:pt x="108" y="426"/>
                      </a:cubicBezTo>
                      <a:cubicBezTo>
                        <a:pt x="109" y="427"/>
                        <a:pt x="124" y="432"/>
                        <a:pt x="124" y="432"/>
                      </a:cubicBezTo>
                      <a:cubicBezTo>
                        <a:pt x="134" y="441"/>
                        <a:pt x="134" y="441"/>
                        <a:pt x="134" y="441"/>
                      </a:cubicBezTo>
                      <a:cubicBezTo>
                        <a:pt x="149" y="441"/>
                        <a:pt x="149" y="441"/>
                        <a:pt x="149" y="441"/>
                      </a:cubicBezTo>
                      <a:cubicBezTo>
                        <a:pt x="159" y="443"/>
                        <a:pt x="159" y="443"/>
                        <a:pt x="159" y="443"/>
                      </a:cubicBezTo>
                      <a:cubicBezTo>
                        <a:pt x="164" y="437"/>
                        <a:pt x="164" y="437"/>
                        <a:pt x="164" y="437"/>
                      </a:cubicBezTo>
                      <a:cubicBezTo>
                        <a:pt x="164" y="437"/>
                        <a:pt x="189" y="449"/>
                        <a:pt x="190" y="449"/>
                      </a:cubicBezTo>
                      <a:cubicBezTo>
                        <a:pt x="191" y="449"/>
                        <a:pt x="191" y="452"/>
                        <a:pt x="192" y="455"/>
                      </a:cubicBezTo>
                      <a:cubicBezTo>
                        <a:pt x="192" y="455"/>
                        <a:pt x="192" y="455"/>
                        <a:pt x="192" y="455"/>
                      </a:cubicBezTo>
                      <a:cubicBezTo>
                        <a:pt x="192" y="455"/>
                        <a:pt x="192" y="455"/>
                        <a:pt x="192" y="455"/>
                      </a:cubicBezTo>
                      <a:cubicBezTo>
                        <a:pt x="193" y="455"/>
                        <a:pt x="193" y="455"/>
                        <a:pt x="193" y="455"/>
                      </a:cubicBezTo>
                      <a:cubicBezTo>
                        <a:pt x="193" y="455"/>
                        <a:pt x="192" y="454"/>
                        <a:pt x="192" y="454"/>
                      </a:cubicBezTo>
                      <a:cubicBezTo>
                        <a:pt x="192" y="453"/>
                        <a:pt x="192" y="453"/>
                        <a:pt x="192" y="453"/>
                      </a:cubicBezTo>
                      <a:cubicBezTo>
                        <a:pt x="193" y="453"/>
                        <a:pt x="193" y="453"/>
                        <a:pt x="193" y="453"/>
                      </a:cubicBezTo>
                      <a:cubicBezTo>
                        <a:pt x="193" y="453"/>
                        <a:pt x="193" y="453"/>
                        <a:pt x="193" y="453"/>
                      </a:cubicBezTo>
                      <a:cubicBezTo>
                        <a:pt x="193" y="453"/>
                        <a:pt x="193" y="453"/>
                        <a:pt x="193" y="453"/>
                      </a:cubicBezTo>
                      <a:cubicBezTo>
                        <a:pt x="194" y="453"/>
                        <a:pt x="194" y="453"/>
                        <a:pt x="194" y="453"/>
                      </a:cubicBezTo>
                      <a:cubicBezTo>
                        <a:pt x="195" y="452"/>
                        <a:pt x="195" y="452"/>
                        <a:pt x="195" y="452"/>
                      </a:cubicBezTo>
                      <a:cubicBezTo>
                        <a:pt x="195" y="452"/>
                        <a:pt x="195" y="452"/>
                        <a:pt x="195" y="452"/>
                      </a:cubicBezTo>
                      <a:cubicBezTo>
                        <a:pt x="195" y="451"/>
                        <a:pt x="194" y="451"/>
                        <a:pt x="194" y="451"/>
                      </a:cubicBezTo>
                      <a:cubicBezTo>
                        <a:pt x="194" y="451"/>
                        <a:pt x="195" y="451"/>
                        <a:pt x="195" y="450"/>
                      </a:cubicBezTo>
                      <a:cubicBezTo>
                        <a:pt x="195" y="450"/>
                        <a:pt x="195" y="450"/>
                        <a:pt x="195" y="450"/>
                      </a:cubicBezTo>
                      <a:cubicBezTo>
                        <a:pt x="196" y="450"/>
                        <a:pt x="196" y="450"/>
                        <a:pt x="196" y="450"/>
                      </a:cubicBezTo>
                      <a:cubicBezTo>
                        <a:pt x="196" y="450"/>
                        <a:pt x="196" y="450"/>
                        <a:pt x="196" y="450"/>
                      </a:cubicBezTo>
                      <a:cubicBezTo>
                        <a:pt x="196" y="450"/>
                        <a:pt x="196" y="450"/>
                        <a:pt x="196" y="450"/>
                      </a:cubicBezTo>
                      <a:cubicBezTo>
                        <a:pt x="197" y="450"/>
                        <a:pt x="197" y="450"/>
                        <a:pt x="197" y="450"/>
                      </a:cubicBezTo>
                      <a:cubicBezTo>
                        <a:pt x="197" y="450"/>
                        <a:pt x="197" y="450"/>
                        <a:pt x="197" y="450"/>
                      </a:cubicBezTo>
                      <a:cubicBezTo>
                        <a:pt x="198" y="450"/>
                        <a:pt x="198" y="450"/>
                        <a:pt x="198" y="450"/>
                      </a:cubicBezTo>
                      <a:cubicBezTo>
                        <a:pt x="198" y="450"/>
                        <a:pt x="198" y="450"/>
                        <a:pt x="198" y="450"/>
                      </a:cubicBezTo>
                      <a:cubicBezTo>
                        <a:pt x="198" y="450"/>
                        <a:pt x="199" y="450"/>
                        <a:pt x="199" y="450"/>
                      </a:cubicBezTo>
                      <a:cubicBezTo>
                        <a:pt x="199" y="450"/>
                        <a:pt x="199" y="451"/>
                        <a:pt x="199" y="451"/>
                      </a:cubicBezTo>
                      <a:cubicBezTo>
                        <a:pt x="199" y="451"/>
                        <a:pt x="199" y="451"/>
                        <a:pt x="199" y="451"/>
                      </a:cubicBezTo>
                      <a:cubicBezTo>
                        <a:pt x="199" y="451"/>
                        <a:pt x="200" y="451"/>
                        <a:pt x="200" y="451"/>
                      </a:cubicBezTo>
                      <a:cubicBezTo>
                        <a:pt x="200" y="451"/>
                        <a:pt x="200" y="452"/>
                        <a:pt x="200" y="452"/>
                      </a:cubicBezTo>
                      <a:cubicBezTo>
                        <a:pt x="200" y="452"/>
                        <a:pt x="201" y="452"/>
                        <a:pt x="201" y="452"/>
                      </a:cubicBezTo>
                      <a:cubicBezTo>
                        <a:pt x="201" y="452"/>
                        <a:pt x="202" y="452"/>
                        <a:pt x="202" y="452"/>
                      </a:cubicBezTo>
                      <a:cubicBezTo>
                        <a:pt x="202" y="452"/>
                        <a:pt x="202" y="452"/>
                        <a:pt x="202" y="453"/>
                      </a:cubicBezTo>
                      <a:cubicBezTo>
                        <a:pt x="203" y="453"/>
                        <a:pt x="203" y="453"/>
                        <a:pt x="203" y="453"/>
                      </a:cubicBezTo>
                      <a:cubicBezTo>
                        <a:pt x="203" y="452"/>
                        <a:pt x="204" y="452"/>
                        <a:pt x="204" y="452"/>
                      </a:cubicBezTo>
                      <a:cubicBezTo>
                        <a:pt x="204" y="453"/>
                        <a:pt x="204" y="453"/>
                        <a:pt x="204" y="453"/>
                      </a:cubicBezTo>
                      <a:cubicBezTo>
                        <a:pt x="205" y="453"/>
                        <a:pt x="205" y="453"/>
                        <a:pt x="205" y="453"/>
                      </a:cubicBezTo>
                      <a:cubicBezTo>
                        <a:pt x="206" y="453"/>
                        <a:pt x="206" y="453"/>
                        <a:pt x="206" y="453"/>
                      </a:cubicBezTo>
                      <a:cubicBezTo>
                        <a:pt x="206" y="454"/>
                        <a:pt x="206" y="454"/>
                        <a:pt x="206" y="454"/>
                      </a:cubicBezTo>
                      <a:cubicBezTo>
                        <a:pt x="205" y="454"/>
                        <a:pt x="205" y="454"/>
                        <a:pt x="205" y="454"/>
                      </a:cubicBezTo>
                      <a:cubicBezTo>
                        <a:pt x="205" y="454"/>
                        <a:pt x="205" y="454"/>
                        <a:pt x="205" y="454"/>
                      </a:cubicBezTo>
                      <a:cubicBezTo>
                        <a:pt x="205" y="455"/>
                        <a:pt x="205" y="455"/>
                        <a:pt x="205" y="455"/>
                      </a:cubicBezTo>
                      <a:cubicBezTo>
                        <a:pt x="206" y="455"/>
                        <a:pt x="206" y="455"/>
                        <a:pt x="206" y="455"/>
                      </a:cubicBezTo>
                      <a:cubicBezTo>
                        <a:pt x="206" y="455"/>
                        <a:pt x="206" y="455"/>
                        <a:pt x="206" y="455"/>
                      </a:cubicBezTo>
                      <a:cubicBezTo>
                        <a:pt x="208" y="456"/>
                        <a:pt x="208" y="456"/>
                        <a:pt x="208" y="456"/>
                      </a:cubicBezTo>
                      <a:cubicBezTo>
                        <a:pt x="207" y="456"/>
                        <a:pt x="207" y="456"/>
                        <a:pt x="207" y="456"/>
                      </a:cubicBezTo>
                      <a:cubicBezTo>
                        <a:pt x="207" y="456"/>
                        <a:pt x="207" y="456"/>
                        <a:pt x="207" y="456"/>
                      </a:cubicBezTo>
                      <a:cubicBezTo>
                        <a:pt x="207" y="456"/>
                        <a:pt x="206" y="456"/>
                        <a:pt x="206" y="456"/>
                      </a:cubicBezTo>
                      <a:cubicBezTo>
                        <a:pt x="206" y="456"/>
                        <a:pt x="205" y="456"/>
                        <a:pt x="205" y="456"/>
                      </a:cubicBezTo>
                      <a:cubicBezTo>
                        <a:pt x="205" y="457"/>
                        <a:pt x="205" y="457"/>
                        <a:pt x="205" y="457"/>
                      </a:cubicBezTo>
                      <a:cubicBezTo>
                        <a:pt x="205" y="459"/>
                        <a:pt x="205" y="459"/>
                        <a:pt x="205" y="459"/>
                      </a:cubicBezTo>
                      <a:cubicBezTo>
                        <a:pt x="204" y="459"/>
                        <a:pt x="204" y="459"/>
                        <a:pt x="204" y="459"/>
                      </a:cubicBezTo>
                      <a:cubicBezTo>
                        <a:pt x="204" y="460"/>
                        <a:pt x="204" y="460"/>
                        <a:pt x="204" y="460"/>
                      </a:cubicBezTo>
                      <a:cubicBezTo>
                        <a:pt x="204" y="460"/>
                        <a:pt x="204" y="460"/>
                        <a:pt x="204" y="460"/>
                      </a:cubicBezTo>
                      <a:cubicBezTo>
                        <a:pt x="204" y="460"/>
                        <a:pt x="204" y="460"/>
                        <a:pt x="204" y="460"/>
                      </a:cubicBezTo>
                      <a:cubicBezTo>
                        <a:pt x="204" y="460"/>
                        <a:pt x="204" y="460"/>
                        <a:pt x="203" y="460"/>
                      </a:cubicBezTo>
                      <a:cubicBezTo>
                        <a:pt x="203" y="460"/>
                        <a:pt x="203" y="460"/>
                        <a:pt x="203" y="460"/>
                      </a:cubicBezTo>
                      <a:cubicBezTo>
                        <a:pt x="202" y="459"/>
                        <a:pt x="202" y="459"/>
                        <a:pt x="202" y="459"/>
                      </a:cubicBezTo>
                      <a:cubicBezTo>
                        <a:pt x="202" y="460"/>
                        <a:pt x="202" y="460"/>
                        <a:pt x="202" y="460"/>
                      </a:cubicBezTo>
                      <a:cubicBezTo>
                        <a:pt x="202" y="461"/>
                        <a:pt x="202" y="461"/>
                        <a:pt x="202" y="461"/>
                      </a:cubicBezTo>
                      <a:cubicBezTo>
                        <a:pt x="202" y="461"/>
                        <a:pt x="202" y="461"/>
                        <a:pt x="202" y="461"/>
                      </a:cubicBezTo>
                      <a:cubicBezTo>
                        <a:pt x="201" y="461"/>
                        <a:pt x="201" y="461"/>
                        <a:pt x="201" y="461"/>
                      </a:cubicBezTo>
                      <a:cubicBezTo>
                        <a:pt x="200" y="461"/>
                        <a:pt x="200" y="461"/>
                        <a:pt x="200" y="461"/>
                      </a:cubicBezTo>
                      <a:cubicBezTo>
                        <a:pt x="199" y="461"/>
                        <a:pt x="199" y="461"/>
                        <a:pt x="199" y="461"/>
                      </a:cubicBezTo>
                      <a:cubicBezTo>
                        <a:pt x="199" y="461"/>
                        <a:pt x="199" y="461"/>
                        <a:pt x="199" y="461"/>
                      </a:cubicBezTo>
                      <a:cubicBezTo>
                        <a:pt x="198" y="462"/>
                        <a:pt x="198" y="462"/>
                        <a:pt x="198" y="462"/>
                      </a:cubicBezTo>
                      <a:cubicBezTo>
                        <a:pt x="198" y="462"/>
                        <a:pt x="198" y="462"/>
                        <a:pt x="198" y="462"/>
                      </a:cubicBezTo>
                      <a:cubicBezTo>
                        <a:pt x="198" y="462"/>
                        <a:pt x="198" y="462"/>
                        <a:pt x="198" y="462"/>
                      </a:cubicBezTo>
                      <a:cubicBezTo>
                        <a:pt x="198" y="462"/>
                        <a:pt x="198" y="462"/>
                        <a:pt x="198" y="462"/>
                      </a:cubicBezTo>
                      <a:cubicBezTo>
                        <a:pt x="197" y="461"/>
                        <a:pt x="197" y="461"/>
                        <a:pt x="197" y="461"/>
                      </a:cubicBezTo>
                      <a:cubicBezTo>
                        <a:pt x="197" y="462"/>
                        <a:pt x="197" y="462"/>
                        <a:pt x="197" y="462"/>
                      </a:cubicBezTo>
                      <a:cubicBezTo>
                        <a:pt x="197" y="462"/>
                        <a:pt x="197" y="462"/>
                        <a:pt x="197" y="462"/>
                      </a:cubicBezTo>
                      <a:cubicBezTo>
                        <a:pt x="197" y="462"/>
                        <a:pt x="197" y="462"/>
                        <a:pt x="197" y="462"/>
                      </a:cubicBezTo>
                      <a:cubicBezTo>
                        <a:pt x="210" y="465"/>
                        <a:pt x="210" y="465"/>
                        <a:pt x="210" y="465"/>
                      </a:cubicBezTo>
                      <a:cubicBezTo>
                        <a:pt x="213" y="466"/>
                        <a:pt x="213" y="468"/>
                        <a:pt x="216" y="470"/>
                      </a:cubicBezTo>
                      <a:cubicBezTo>
                        <a:pt x="224" y="467"/>
                        <a:pt x="224" y="467"/>
                        <a:pt x="224" y="467"/>
                      </a:cubicBezTo>
                      <a:cubicBezTo>
                        <a:pt x="234" y="474"/>
                        <a:pt x="234" y="474"/>
                        <a:pt x="234" y="474"/>
                      </a:cubicBezTo>
                      <a:cubicBezTo>
                        <a:pt x="243" y="471"/>
                        <a:pt x="243" y="471"/>
                        <a:pt x="243" y="471"/>
                      </a:cubicBezTo>
                      <a:cubicBezTo>
                        <a:pt x="252" y="471"/>
                        <a:pt x="252" y="471"/>
                        <a:pt x="252" y="471"/>
                      </a:cubicBezTo>
                      <a:cubicBezTo>
                        <a:pt x="252" y="470"/>
                        <a:pt x="256" y="470"/>
                        <a:pt x="259" y="471"/>
                      </a:cubicBezTo>
                      <a:cubicBezTo>
                        <a:pt x="259" y="471"/>
                        <a:pt x="259" y="471"/>
                        <a:pt x="259" y="471"/>
                      </a:cubicBezTo>
                      <a:close/>
                      <a:moveTo>
                        <a:pt x="192" y="456"/>
                      </a:moveTo>
                      <a:cubicBezTo>
                        <a:pt x="192" y="456"/>
                        <a:pt x="192" y="456"/>
                        <a:pt x="192" y="456"/>
                      </a:cubicBezTo>
                      <a:cubicBezTo>
                        <a:pt x="192" y="456"/>
                        <a:pt x="192" y="456"/>
                        <a:pt x="192" y="456"/>
                      </a:cubicBezTo>
                      <a:cubicBezTo>
                        <a:pt x="192" y="456"/>
                        <a:pt x="193" y="456"/>
                        <a:pt x="193" y="456"/>
                      </a:cubicBezTo>
                      <a:cubicBezTo>
                        <a:pt x="193" y="456"/>
                        <a:pt x="193" y="457"/>
                        <a:pt x="193" y="457"/>
                      </a:cubicBezTo>
                      <a:cubicBezTo>
                        <a:pt x="193" y="457"/>
                        <a:pt x="193" y="457"/>
                        <a:pt x="193" y="457"/>
                      </a:cubicBezTo>
                      <a:cubicBezTo>
                        <a:pt x="193" y="457"/>
                        <a:pt x="193" y="457"/>
                        <a:pt x="194" y="458"/>
                      </a:cubicBezTo>
                      <a:cubicBezTo>
                        <a:pt x="194" y="458"/>
                        <a:pt x="193" y="458"/>
                        <a:pt x="193" y="458"/>
                      </a:cubicBezTo>
                      <a:cubicBezTo>
                        <a:pt x="193" y="458"/>
                        <a:pt x="193" y="458"/>
                        <a:pt x="193" y="458"/>
                      </a:cubicBezTo>
                      <a:cubicBezTo>
                        <a:pt x="192" y="458"/>
                        <a:pt x="192" y="458"/>
                        <a:pt x="192" y="458"/>
                      </a:cubicBezTo>
                      <a:cubicBezTo>
                        <a:pt x="192" y="458"/>
                        <a:pt x="192" y="458"/>
                        <a:pt x="192" y="458"/>
                      </a:cubicBezTo>
                      <a:cubicBezTo>
                        <a:pt x="192" y="456"/>
                        <a:pt x="192" y="456"/>
                        <a:pt x="192" y="456"/>
                      </a:cubicBezTo>
                      <a:close/>
                      <a:moveTo>
                        <a:pt x="450" y="202"/>
                      </a:moveTo>
                      <a:cubicBezTo>
                        <a:pt x="450" y="202"/>
                        <a:pt x="450" y="202"/>
                        <a:pt x="450" y="202"/>
                      </a:cubicBezTo>
                      <a:cubicBezTo>
                        <a:pt x="449" y="202"/>
                        <a:pt x="449" y="202"/>
                        <a:pt x="449" y="202"/>
                      </a:cubicBezTo>
                      <a:cubicBezTo>
                        <a:pt x="448" y="201"/>
                        <a:pt x="448" y="201"/>
                        <a:pt x="448" y="201"/>
                      </a:cubicBezTo>
                      <a:cubicBezTo>
                        <a:pt x="448" y="201"/>
                        <a:pt x="448" y="201"/>
                        <a:pt x="448" y="201"/>
                      </a:cubicBezTo>
                      <a:cubicBezTo>
                        <a:pt x="448" y="201"/>
                        <a:pt x="448" y="201"/>
                        <a:pt x="448" y="201"/>
                      </a:cubicBezTo>
                      <a:cubicBezTo>
                        <a:pt x="449" y="201"/>
                        <a:pt x="449" y="200"/>
                        <a:pt x="449" y="200"/>
                      </a:cubicBezTo>
                      <a:cubicBezTo>
                        <a:pt x="449" y="201"/>
                        <a:pt x="450" y="201"/>
                        <a:pt x="450" y="202"/>
                      </a:cubicBezTo>
                      <a:close/>
                      <a:moveTo>
                        <a:pt x="493" y="520"/>
                      </a:moveTo>
                      <a:cubicBezTo>
                        <a:pt x="493" y="520"/>
                        <a:pt x="493" y="520"/>
                        <a:pt x="493" y="520"/>
                      </a:cubicBezTo>
                      <a:cubicBezTo>
                        <a:pt x="491" y="524"/>
                        <a:pt x="491" y="524"/>
                        <a:pt x="491" y="524"/>
                      </a:cubicBezTo>
                      <a:cubicBezTo>
                        <a:pt x="489" y="527"/>
                        <a:pt x="489" y="527"/>
                        <a:pt x="489" y="527"/>
                      </a:cubicBezTo>
                      <a:cubicBezTo>
                        <a:pt x="494" y="529"/>
                        <a:pt x="494" y="529"/>
                        <a:pt x="494" y="529"/>
                      </a:cubicBezTo>
                      <a:cubicBezTo>
                        <a:pt x="497" y="533"/>
                        <a:pt x="497" y="533"/>
                        <a:pt x="497" y="533"/>
                      </a:cubicBezTo>
                      <a:cubicBezTo>
                        <a:pt x="497" y="533"/>
                        <a:pt x="499" y="536"/>
                        <a:pt x="501" y="536"/>
                      </a:cubicBezTo>
                      <a:cubicBezTo>
                        <a:pt x="503" y="536"/>
                        <a:pt x="506" y="538"/>
                        <a:pt x="506" y="538"/>
                      </a:cubicBezTo>
                      <a:cubicBezTo>
                        <a:pt x="506" y="538"/>
                        <a:pt x="508" y="535"/>
                        <a:pt x="508" y="531"/>
                      </a:cubicBezTo>
                      <a:cubicBezTo>
                        <a:pt x="509" y="528"/>
                        <a:pt x="505" y="524"/>
                        <a:pt x="511" y="523"/>
                      </a:cubicBezTo>
                      <a:cubicBezTo>
                        <a:pt x="517" y="523"/>
                        <a:pt x="513" y="516"/>
                        <a:pt x="513" y="516"/>
                      </a:cubicBezTo>
                      <a:cubicBezTo>
                        <a:pt x="513" y="511"/>
                        <a:pt x="513" y="511"/>
                        <a:pt x="513" y="511"/>
                      </a:cubicBezTo>
                      <a:cubicBezTo>
                        <a:pt x="512" y="505"/>
                        <a:pt x="512" y="505"/>
                        <a:pt x="512" y="505"/>
                      </a:cubicBezTo>
                      <a:cubicBezTo>
                        <a:pt x="513" y="503"/>
                        <a:pt x="513" y="503"/>
                        <a:pt x="513" y="503"/>
                      </a:cubicBezTo>
                      <a:cubicBezTo>
                        <a:pt x="516" y="499"/>
                        <a:pt x="516" y="499"/>
                        <a:pt x="516" y="499"/>
                      </a:cubicBezTo>
                      <a:cubicBezTo>
                        <a:pt x="519" y="496"/>
                        <a:pt x="519" y="496"/>
                        <a:pt x="519" y="496"/>
                      </a:cubicBezTo>
                      <a:cubicBezTo>
                        <a:pt x="519" y="496"/>
                        <a:pt x="520" y="493"/>
                        <a:pt x="520" y="491"/>
                      </a:cubicBezTo>
                      <a:cubicBezTo>
                        <a:pt x="519" y="490"/>
                        <a:pt x="516" y="485"/>
                        <a:pt x="516" y="485"/>
                      </a:cubicBezTo>
                      <a:cubicBezTo>
                        <a:pt x="519" y="473"/>
                        <a:pt x="519" y="473"/>
                        <a:pt x="519" y="473"/>
                      </a:cubicBezTo>
                      <a:cubicBezTo>
                        <a:pt x="518" y="471"/>
                        <a:pt x="518" y="471"/>
                        <a:pt x="518" y="471"/>
                      </a:cubicBezTo>
                      <a:cubicBezTo>
                        <a:pt x="517" y="468"/>
                        <a:pt x="517" y="468"/>
                        <a:pt x="517" y="468"/>
                      </a:cubicBezTo>
                      <a:cubicBezTo>
                        <a:pt x="515" y="459"/>
                        <a:pt x="515" y="459"/>
                        <a:pt x="515" y="459"/>
                      </a:cubicBezTo>
                      <a:cubicBezTo>
                        <a:pt x="515" y="447"/>
                        <a:pt x="515" y="447"/>
                        <a:pt x="515" y="447"/>
                      </a:cubicBezTo>
                      <a:cubicBezTo>
                        <a:pt x="509" y="449"/>
                        <a:pt x="509" y="449"/>
                        <a:pt x="509" y="449"/>
                      </a:cubicBezTo>
                      <a:cubicBezTo>
                        <a:pt x="511" y="454"/>
                        <a:pt x="511" y="454"/>
                        <a:pt x="511" y="454"/>
                      </a:cubicBezTo>
                      <a:cubicBezTo>
                        <a:pt x="509" y="463"/>
                        <a:pt x="509" y="463"/>
                        <a:pt x="509" y="463"/>
                      </a:cubicBezTo>
                      <a:cubicBezTo>
                        <a:pt x="504" y="464"/>
                        <a:pt x="504" y="464"/>
                        <a:pt x="504" y="464"/>
                      </a:cubicBezTo>
                      <a:cubicBezTo>
                        <a:pt x="502" y="465"/>
                        <a:pt x="502" y="465"/>
                        <a:pt x="502" y="465"/>
                      </a:cubicBezTo>
                      <a:cubicBezTo>
                        <a:pt x="499" y="468"/>
                        <a:pt x="499" y="468"/>
                        <a:pt x="499" y="468"/>
                      </a:cubicBezTo>
                      <a:cubicBezTo>
                        <a:pt x="494" y="469"/>
                        <a:pt x="494" y="469"/>
                        <a:pt x="494" y="469"/>
                      </a:cubicBezTo>
                      <a:cubicBezTo>
                        <a:pt x="489" y="473"/>
                        <a:pt x="489" y="473"/>
                        <a:pt x="489" y="473"/>
                      </a:cubicBezTo>
                      <a:cubicBezTo>
                        <a:pt x="485" y="478"/>
                        <a:pt x="485" y="478"/>
                        <a:pt x="485" y="478"/>
                      </a:cubicBezTo>
                      <a:cubicBezTo>
                        <a:pt x="482" y="481"/>
                        <a:pt x="482" y="481"/>
                        <a:pt x="482" y="481"/>
                      </a:cubicBezTo>
                      <a:cubicBezTo>
                        <a:pt x="482" y="481"/>
                        <a:pt x="482" y="483"/>
                        <a:pt x="484" y="485"/>
                      </a:cubicBezTo>
                      <a:cubicBezTo>
                        <a:pt x="486" y="488"/>
                        <a:pt x="481" y="498"/>
                        <a:pt x="481" y="498"/>
                      </a:cubicBezTo>
                      <a:cubicBezTo>
                        <a:pt x="485" y="498"/>
                        <a:pt x="485" y="498"/>
                        <a:pt x="485" y="498"/>
                      </a:cubicBezTo>
                      <a:cubicBezTo>
                        <a:pt x="486" y="503"/>
                        <a:pt x="486" y="503"/>
                        <a:pt x="486" y="503"/>
                      </a:cubicBezTo>
                      <a:cubicBezTo>
                        <a:pt x="483" y="508"/>
                        <a:pt x="483" y="508"/>
                        <a:pt x="483" y="508"/>
                      </a:cubicBezTo>
                      <a:cubicBezTo>
                        <a:pt x="486" y="510"/>
                        <a:pt x="486" y="510"/>
                        <a:pt x="486" y="510"/>
                      </a:cubicBezTo>
                      <a:cubicBezTo>
                        <a:pt x="489" y="510"/>
                        <a:pt x="489" y="510"/>
                        <a:pt x="489" y="510"/>
                      </a:cubicBezTo>
                      <a:cubicBezTo>
                        <a:pt x="486" y="516"/>
                        <a:pt x="486" y="516"/>
                        <a:pt x="486" y="516"/>
                      </a:cubicBezTo>
                      <a:cubicBezTo>
                        <a:pt x="486" y="518"/>
                        <a:pt x="486" y="518"/>
                        <a:pt x="486" y="518"/>
                      </a:cubicBezTo>
                      <a:lnTo>
                        <a:pt x="493" y="520"/>
                      </a:lnTo>
                      <a:close/>
                    </a:path>
                  </a:pathLst>
                </a:custGeom>
                <a:solidFill>
                  <a:schemeClr val="bg2"/>
                </a:solidFill>
                <a:ln w="12700" cap="rnd" cmpd="sng">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Lato Light"/>
                  </a:endParaRPr>
                </a:p>
              </p:txBody>
            </p:sp>
            <p:sp>
              <p:nvSpPr>
                <p:cNvPr id="228" name="Freeform 13">
                  <a:extLst>
                    <a:ext uri="{FF2B5EF4-FFF2-40B4-BE49-F238E27FC236}">
                      <a16:creationId xmlns:a16="http://schemas.microsoft.com/office/drawing/2014/main" id="{8440BDA9-B241-89F5-875C-9D90CBD85ADE}"/>
                    </a:ext>
                  </a:extLst>
                </p:cNvPr>
                <p:cNvSpPr>
                  <a:spLocks/>
                </p:cNvSpPr>
                <p:nvPr/>
              </p:nvSpPr>
              <p:spPr bwMode="auto">
                <a:xfrm>
                  <a:off x="1345421" y="1797520"/>
                  <a:ext cx="686269" cy="553445"/>
                </a:xfrm>
                <a:custGeom>
                  <a:avLst/>
                  <a:gdLst>
                    <a:gd name="T0" fmla="*/ 46 w 238"/>
                    <a:gd name="T1" fmla="*/ 78 h 198"/>
                    <a:gd name="T2" fmla="*/ 30 w 238"/>
                    <a:gd name="T3" fmla="*/ 73 h 198"/>
                    <a:gd name="T4" fmla="*/ 10 w 238"/>
                    <a:gd name="T5" fmla="*/ 70 h 198"/>
                    <a:gd name="T6" fmla="*/ 13 w 238"/>
                    <a:gd name="T7" fmla="*/ 76 h 198"/>
                    <a:gd name="T8" fmla="*/ 34 w 238"/>
                    <a:gd name="T9" fmla="*/ 91 h 198"/>
                    <a:gd name="T10" fmla="*/ 35 w 238"/>
                    <a:gd name="T11" fmla="*/ 107 h 198"/>
                    <a:gd name="T12" fmla="*/ 34 w 238"/>
                    <a:gd name="T13" fmla="*/ 113 h 198"/>
                    <a:gd name="T14" fmla="*/ 25 w 238"/>
                    <a:gd name="T15" fmla="*/ 127 h 198"/>
                    <a:gd name="T16" fmla="*/ 9 w 238"/>
                    <a:gd name="T17" fmla="*/ 124 h 198"/>
                    <a:gd name="T18" fmla="*/ 20 w 238"/>
                    <a:gd name="T19" fmla="*/ 138 h 198"/>
                    <a:gd name="T20" fmla="*/ 48 w 238"/>
                    <a:gd name="T21" fmla="*/ 162 h 198"/>
                    <a:gd name="T22" fmla="*/ 85 w 238"/>
                    <a:gd name="T23" fmla="*/ 195 h 198"/>
                    <a:gd name="T24" fmla="*/ 131 w 238"/>
                    <a:gd name="T25" fmla="*/ 189 h 198"/>
                    <a:gd name="T26" fmla="*/ 164 w 238"/>
                    <a:gd name="T27" fmla="*/ 181 h 198"/>
                    <a:gd name="T28" fmla="*/ 194 w 238"/>
                    <a:gd name="T29" fmla="*/ 178 h 198"/>
                    <a:gd name="T30" fmla="*/ 212 w 238"/>
                    <a:gd name="T31" fmla="*/ 165 h 198"/>
                    <a:gd name="T32" fmla="*/ 226 w 238"/>
                    <a:gd name="T33" fmla="*/ 157 h 198"/>
                    <a:gd name="T34" fmla="*/ 230 w 238"/>
                    <a:gd name="T35" fmla="*/ 148 h 198"/>
                    <a:gd name="T36" fmla="*/ 235 w 238"/>
                    <a:gd name="T37" fmla="*/ 133 h 198"/>
                    <a:gd name="T38" fmla="*/ 227 w 238"/>
                    <a:gd name="T39" fmla="*/ 109 h 198"/>
                    <a:gd name="T40" fmla="*/ 224 w 238"/>
                    <a:gd name="T41" fmla="*/ 92 h 198"/>
                    <a:gd name="T42" fmla="*/ 228 w 238"/>
                    <a:gd name="T43" fmla="*/ 76 h 198"/>
                    <a:gd name="T44" fmla="*/ 210 w 238"/>
                    <a:gd name="T45" fmla="*/ 76 h 198"/>
                    <a:gd name="T46" fmla="*/ 206 w 238"/>
                    <a:gd name="T47" fmla="*/ 58 h 198"/>
                    <a:gd name="T48" fmla="*/ 192 w 238"/>
                    <a:gd name="T49" fmla="*/ 68 h 198"/>
                    <a:gd name="T50" fmla="*/ 173 w 238"/>
                    <a:gd name="T51" fmla="*/ 66 h 198"/>
                    <a:gd name="T52" fmla="*/ 160 w 238"/>
                    <a:gd name="T53" fmla="*/ 64 h 198"/>
                    <a:gd name="T54" fmla="*/ 147 w 238"/>
                    <a:gd name="T55" fmla="*/ 80 h 198"/>
                    <a:gd name="T56" fmla="*/ 141 w 238"/>
                    <a:gd name="T57" fmla="*/ 54 h 198"/>
                    <a:gd name="T58" fmla="*/ 128 w 238"/>
                    <a:gd name="T59" fmla="*/ 53 h 198"/>
                    <a:gd name="T60" fmla="*/ 119 w 238"/>
                    <a:gd name="T61" fmla="*/ 67 h 198"/>
                    <a:gd name="T62" fmla="*/ 109 w 238"/>
                    <a:gd name="T63" fmla="*/ 43 h 198"/>
                    <a:gd name="T64" fmla="*/ 96 w 238"/>
                    <a:gd name="T65" fmla="*/ 67 h 198"/>
                    <a:gd name="T66" fmla="*/ 80 w 238"/>
                    <a:gd name="T67" fmla="*/ 67 h 198"/>
                    <a:gd name="T68" fmla="*/ 71 w 238"/>
                    <a:gd name="T69" fmla="*/ 75 h 198"/>
                    <a:gd name="T70" fmla="*/ 75 w 238"/>
                    <a:gd name="T71" fmla="*/ 59 h 198"/>
                    <a:gd name="T72" fmla="*/ 78 w 238"/>
                    <a:gd name="T73" fmla="*/ 52 h 198"/>
                    <a:gd name="T74" fmla="*/ 83 w 238"/>
                    <a:gd name="T75" fmla="*/ 39 h 198"/>
                    <a:gd name="T76" fmla="*/ 80 w 238"/>
                    <a:gd name="T77" fmla="*/ 29 h 198"/>
                    <a:gd name="T78" fmla="*/ 74 w 238"/>
                    <a:gd name="T79" fmla="*/ 7 h 198"/>
                    <a:gd name="T80" fmla="*/ 63 w 238"/>
                    <a:gd name="T81" fmla="*/ 1 h 198"/>
                    <a:gd name="T82" fmla="*/ 61 w 238"/>
                    <a:gd name="T83" fmla="*/ 8 h 198"/>
                    <a:gd name="T84" fmla="*/ 67 w 238"/>
                    <a:gd name="T85" fmla="*/ 12 h 198"/>
                    <a:gd name="T86" fmla="*/ 57 w 238"/>
                    <a:gd name="T87" fmla="*/ 12 h 198"/>
                    <a:gd name="T88" fmla="*/ 62 w 238"/>
                    <a:gd name="T89" fmla="*/ 33 h 198"/>
                    <a:gd name="T90" fmla="*/ 59 w 238"/>
                    <a:gd name="T91" fmla="*/ 28 h 198"/>
                    <a:gd name="T92" fmla="*/ 55 w 238"/>
                    <a:gd name="T93" fmla="*/ 24 h 198"/>
                    <a:gd name="T94" fmla="*/ 53 w 238"/>
                    <a:gd name="T95" fmla="*/ 15 h 198"/>
                    <a:gd name="T96" fmla="*/ 43 w 238"/>
                    <a:gd name="T97" fmla="*/ 9 h 198"/>
                    <a:gd name="T98" fmla="*/ 36 w 238"/>
                    <a:gd name="T99" fmla="*/ 18 h 198"/>
                    <a:gd name="T100" fmla="*/ 32 w 238"/>
                    <a:gd name="T101" fmla="*/ 26 h 198"/>
                    <a:gd name="T102" fmla="*/ 31 w 238"/>
                    <a:gd name="T103" fmla="*/ 30 h 198"/>
                    <a:gd name="T104" fmla="*/ 23 w 238"/>
                    <a:gd name="T105" fmla="*/ 28 h 198"/>
                    <a:gd name="T106" fmla="*/ 23 w 238"/>
                    <a:gd name="T107" fmla="*/ 36 h 198"/>
                    <a:gd name="T108" fmla="*/ 11 w 238"/>
                    <a:gd name="T109" fmla="*/ 29 h 198"/>
                    <a:gd name="T110" fmla="*/ 20 w 238"/>
                    <a:gd name="T111" fmla="*/ 44 h 198"/>
                    <a:gd name="T112" fmla="*/ 36 w 238"/>
                    <a:gd name="T113" fmla="*/ 46 h 198"/>
                    <a:gd name="T114" fmla="*/ 44 w 238"/>
                    <a:gd name="T115" fmla="*/ 46 h 198"/>
                    <a:gd name="T116" fmla="*/ 53 w 238"/>
                    <a:gd name="T117" fmla="*/ 52 h 198"/>
                    <a:gd name="T118" fmla="*/ 59 w 238"/>
                    <a:gd name="T119" fmla="*/ 59 h 198"/>
                    <a:gd name="T120" fmla="*/ 47 w 238"/>
                    <a:gd name="T121" fmla="*/ 65 h 198"/>
                    <a:gd name="T122" fmla="*/ 46 w 238"/>
                    <a:gd name="T123" fmla="*/ 73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38" h="198">
                      <a:moveTo>
                        <a:pt x="48" y="74"/>
                      </a:moveTo>
                      <a:cubicBezTo>
                        <a:pt x="52" y="77"/>
                        <a:pt x="52" y="77"/>
                        <a:pt x="52" y="77"/>
                      </a:cubicBezTo>
                      <a:cubicBezTo>
                        <a:pt x="55" y="75"/>
                        <a:pt x="55" y="75"/>
                        <a:pt x="55" y="75"/>
                      </a:cubicBezTo>
                      <a:cubicBezTo>
                        <a:pt x="57" y="73"/>
                        <a:pt x="57" y="73"/>
                        <a:pt x="57" y="73"/>
                      </a:cubicBezTo>
                      <a:cubicBezTo>
                        <a:pt x="59" y="75"/>
                        <a:pt x="59" y="75"/>
                        <a:pt x="59" y="75"/>
                      </a:cubicBezTo>
                      <a:cubicBezTo>
                        <a:pt x="56" y="78"/>
                        <a:pt x="56" y="78"/>
                        <a:pt x="56" y="78"/>
                      </a:cubicBezTo>
                      <a:cubicBezTo>
                        <a:pt x="54" y="80"/>
                        <a:pt x="54" y="80"/>
                        <a:pt x="54" y="80"/>
                      </a:cubicBezTo>
                      <a:cubicBezTo>
                        <a:pt x="54" y="83"/>
                        <a:pt x="54" y="83"/>
                        <a:pt x="54" y="83"/>
                      </a:cubicBezTo>
                      <a:cubicBezTo>
                        <a:pt x="50" y="82"/>
                        <a:pt x="50" y="82"/>
                        <a:pt x="50" y="82"/>
                      </a:cubicBezTo>
                      <a:cubicBezTo>
                        <a:pt x="46" y="78"/>
                        <a:pt x="46" y="78"/>
                        <a:pt x="46" y="78"/>
                      </a:cubicBezTo>
                      <a:cubicBezTo>
                        <a:pt x="44" y="77"/>
                        <a:pt x="44" y="77"/>
                        <a:pt x="44" y="77"/>
                      </a:cubicBezTo>
                      <a:cubicBezTo>
                        <a:pt x="42" y="76"/>
                        <a:pt x="42" y="76"/>
                        <a:pt x="42" y="76"/>
                      </a:cubicBezTo>
                      <a:cubicBezTo>
                        <a:pt x="41" y="73"/>
                        <a:pt x="41" y="73"/>
                        <a:pt x="41" y="73"/>
                      </a:cubicBezTo>
                      <a:cubicBezTo>
                        <a:pt x="40" y="74"/>
                        <a:pt x="40" y="74"/>
                        <a:pt x="40" y="74"/>
                      </a:cubicBezTo>
                      <a:cubicBezTo>
                        <a:pt x="36" y="75"/>
                        <a:pt x="36" y="75"/>
                        <a:pt x="36" y="75"/>
                      </a:cubicBezTo>
                      <a:cubicBezTo>
                        <a:pt x="35" y="76"/>
                        <a:pt x="35" y="76"/>
                        <a:pt x="35" y="76"/>
                      </a:cubicBezTo>
                      <a:cubicBezTo>
                        <a:pt x="34" y="74"/>
                        <a:pt x="34" y="74"/>
                        <a:pt x="34" y="74"/>
                      </a:cubicBezTo>
                      <a:cubicBezTo>
                        <a:pt x="35" y="72"/>
                        <a:pt x="35" y="72"/>
                        <a:pt x="35" y="72"/>
                      </a:cubicBezTo>
                      <a:cubicBezTo>
                        <a:pt x="32" y="72"/>
                        <a:pt x="32" y="72"/>
                        <a:pt x="32" y="72"/>
                      </a:cubicBezTo>
                      <a:cubicBezTo>
                        <a:pt x="32" y="72"/>
                        <a:pt x="31" y="73"/>
                        <a:pt x="30" y="73"/>
                      </a:cubicBezTo>
                      <a:cubicBezTo>
                        <a:pt x="29" y="73"/>
                        <a:pt x="28" y="73"/>
                        <a:pt x="28" y="73"/>
                      </a:cubicBezTo>
                      <a:cubicBezTo>
                        <a:pt x="27" y="72"/>
                        <a:pt x="26" y="71"/>
                        <a:pt x="25" y="71"/>
                      </a:cubicBezTo>
                      <a:cubicBezTo>
                        <a:pt x="24" y="70"/>
                        <a:pt x="23" y="69"/>
                        <a:pt x="23" y="69"/>
                      </a:cubicBezTo>
                      <a:cubicBezTo>
                        <a:pt x="21" y="70"/>
                        <a:pt x="21" y="70"/>
                        <a:pt x="21" y="70"/>
                      </a:cubicBezTo>
                      <a:cubicBezTo>
                        <a:pt x="19" y="72"/>
                        <a:pt x="19" y="72"/>
                        <a:pt x="19" y="72"/>
                      </a:cubicBezTo>
                      <a:cubicBezTo>
                        <a:pt x="19" y="71"/>
                        <a:pt x="19" y="71"/>
                        <a:pt x="19" y="71"/>
                      </a:cubicBezTo>
                      <a:cubicBezTo>
                        <a:pt x="17" y="70"/>
                        <a:pt x="17" y="70"/>
                        <a:pt x="17" y="70"/>
                      </a:cubicBezTo>
                      <a:cubicBezTo>
                        <a:pt x="13" y="70"/>
                        <a:pt x="13" y="70"/>
                        <a:pt x="13" y="70"/>
                      </a:cubicBezTo>
                      <a:cubicBezTo>
                        <a:pt x="12" y="70"/>
                        <a:pt x="12" y="70"/>
                        <a:pt x="12" y="70"/>
                      </a:cubicBezTo>
                      <a:cubicBezTo>
                        <a:pt x="12" y="70"/>
                        <a:pt x="12" y="70"/>
                        <a:pt x="10" y="70"/>
                      </a:cubicBezTo>
                      <a:cubicBezTo>
                        <a:pt x="9" y="69"/>
                        <a:pt x="9" y="69"/>
                        <a:pt x="9" y="69"/>
                      </a:cubicBezTo>
                      <a:cubicBezTo>
                        <a:pt x="6" y="68"/>
                        <a:pt x="6" y="68"/>
                        <a:pt x="6" y="68"/>
                      </a:cubicBezTo>
                      <a:cubicBezTo>
                        <a:pt x="3" y="67"/>
                        <a:pt x="3" y="67"/>
                        <a:pt x="3" y="67"/>
                      </a:cubicBezTo>
                      <a:cubicBezTo>
                        <a:pt x="3" y="67"/>
                        <a:pt x="2" y="67"/>
                        <a:pt x="2" y="68"/>
                      </a:cubicBezTo>
                      <a:cubicBezTo>
                        <a:pt x="2" y="70"/>
                        <a:pt x="0" y="71"/>
                        <a:pt x="0" y="72"/>
                      </a:cubicBezTo>
                      <a:cubicBezTo>
                        <a:pt x="1" y="73"/>
                        <a:pt x="2" y="73"/>
                        <a:pt x="3" y="75"/>
                      </a:cubicBezTo>
                      <a:cubicBezTo>
                        <a:pt x="5" y="76"/>
                        <a:pt x="5" y="76"/>
                        <a:pt x="5" y="76"/>
                      </a:cubicBezTo>
                      <a:cubicBezTo>
                        <a:pt x="8" y="76"/>
                        <a:pt x="8" y="76"/>
                        <a:pt x="8" y="76"/>
                      </a:cubicBezTo>
                      <a:cubicBezTo>
                        <a:pt x="9" y="75"/>
                        <a:pt x="9" y="75"/>
                        <a:pt x="9" y="75"/>
                      </a:cubicBezTo>
                      <a:cubicBezTo>
                        <a:pt x="13" y="76"/>
                        <a:pt x="13" y="76"/>
                        <a:pt x="13" y="76"/>
                      </a:cubicBezTo>
                      <a:cubicBezTo>
                        <a:pt x="14" y="78"/>
                        <a:pt x="15" y="80"/>
                        <a:pt x="16" y="79"/>
                      </a:cubicBezTo>
                      <a:cubicBezTo>
                        <a:pt x="17" y="78"/>
                        <a:pt x="17" y="78"/>
                        <a:pt x="17" y="78"/>
                      </a:cubicBezTo>
                      <a:cubicBezTo>
                        <a:pt x="19" y="79"/>
                        <a:pt x="19" y="79"/>
                        <a:pt x="19" y="79"/>
                      </a:cubicBezTo>
                      <a:cubicBezTo>
                        <a:pt x="19" y="79"/>
                        <a:pt x="20" y="83"/>
                        <a:pt x="22" y="83"/>
                      </a:cubicBezTo>
                      <a:cubicBezTo>
                        <a:pt x="23" y="84"/>
                        <a:pt x="24" y="84"/>
                        <a:pt x="24" y="84"/>
                      </a:cubicBezTo>
                      <a:cubicBezTo>
                        <a:pt x="28" y="86"/>
                        <a:pt x="28" y="86"/>
                        <a:pt x="28" y="86"/>
                      </a:cubicBezTo>
                      <a:cubicBezTo>
                        <a:pt x="30" y="86"/>
                        <a:pt x="30" y="86"/>
                        <a:pt x="30" y="86"/>
                      </a:cubicBezTo>
                      <a:cubicBezTo>
                        <a:pt x="30" y="86"/>
                        <a:pt x="33" y="85"/>
                        <a:pt x="33" y="86"/>
                      </a:cubicBezTo>
                      <a:cubicBezTo>
                        <a:pt x="33" y="87"/>
                        <a:pt x="35" y="88"/>
                        <a:pt x="34" y="89"/>
                      </a:cubicBezTo>
                      <a:cubicBezTo>
                        <a:pt x="34" y="89"/>
                        <a:pt x="34" y="90"/>
                        <a:pt x="34" y="91"/>
                      </a:cubicBezTo>
                      <a:cubicBezTo>
                        <a:pt x="34" y="92"/>
                        <a:pt x="34" y="93"/>
                        <a:pt x="34" y="93"/>
                      </a:cubicBezTo>
                      <a:cubicBezTo>
                        <a:pt x="31" y="96"/>
                        <a:pt x="31" y="96"/>
                        <a:pt x="31" y="96"/>
                      </a:cubicBezTo>
                      <a:cubicBezTo>
                        <a:pt x="31" y="98"/>
                        <a:pt x="31" y="98"/>
                        <a:pt x="31" y="98"/>
                      </a:cubicBezTo>
                      <a:cubicBezTo>
                        <a:pt x="31" y="98"/>
                        <a:pt x="31" y="100"/>
                        <a:pt x="30" y="100"/>
                      </a:cubicBezTo>
                      <a:cubicBezTo>
                        <a:pt x="30" y="101"/>
                        <a:pt x="29" y="104"/>
                        <a:pt x="29" y="104"/>
                      </a:cubicBezTo>
                      <a:cubicBezTo>
                        <a:pt x="32" y="102"/>
                        <a:pt x="32" y="102"/>
                        <a:pt x="32" y="102"/>
                      </a:cubicBezTo>
                      <a:cubicBezTo>
                        <a:pt x="32" y="102"/>
                        <a:pt x="33" y="102"/>
                        <a:pt x="33" y="103"/>
                      </a:cubicBezTo>
                      <a:cubicBezTo>
                        <a:pt x="32" y="105"/>
                        <a:pt x="31" y="106"/>
                        <a:pt x="31" y="106"/>
                      </a:cubicBezTo>
                      <a:cubicBezTo>
                        <a:pt x="31" y="106"/>
                        <a:pt x="32" y="109"/>
                        <a:pt x="33" y="108"/>
                      </a:cubicBezTo>
                      <a:cubicBezTo>
                        <a:pt x="35" y="107"/>
                        <a:pt x="35" y="107"/>
                        <a:pt x="35" y="107"/>
                      </a:cubicBezTo>
                      <a:cubicBezTo>
                        <a:pt x="37" y="106"/>
                        <a:pt x="37" y="106"/>
                        <a:pt x="37" y="106"/>
                      </a:cubicBezTo>
                      <a:cubicBezTo>
                        <a:pt x="40" y="105"/>
                        <a:pt x="40" y="105"/>
                        <a:pt x="40" y="105"/>
                      </a:cubicBezTo>
                      <a:cubicBezTo>
                        <a:pt x="40" y="105"/>
                        <a:pt x="40" y="105"/>
                        <a:pt x="41" y="104"/>
                      </a:cubicBezTo>
                      <a:cubicBezTo>
                        <a:pt x="43" y="104"/>
                        <a:pt x="46" y="104"/>
                        <a:pt x="46" y="104"/>
                      </a:cubicBezTo>
                      <a:cubicBezTo>
                        <a:pt x="46" y="104"/>
                        <a:pt x="47" y="107"/>
                        <a:pt x="46" y="107"/>
                      </a:cubicBezTo>
                      <a:cubicBezTo>
                        <a:pt x="45" y="107"/>
                        <a:pt x="41" y="106"/>
                        <a:pt x="41" y="106"/>
                      </a:cubicBezTo>
                      <a:cubicBezTo>
                        <a:pt x="39" y="107"/>
                        <a:pt x="39" y="107"/>
                        <a:pt x="39" y="107"/>
                      </a:cubicBezTo>
                      <a:cubicBezTo>
                        <a:pt x="37" y="108"/>
                        <a:pt x="37" y="108"/>
                        <a:pt x="37" y="108"/>
                      </a:cubicBezTo>
                      <a:cubicBezTo>
                        <a:pt x="35" y="110"/>
                        <a:pt x="35" y="110"/>
                        <a:pt x="35" y="110"/>
                      </a:cubicBezTo>
                      <a:cubicBezTo>
                        <a:pt x="35" y="110"/>
                        <a:pt x="33" y="113"/>
                        <a:pt x="34" y="113"/>
                      </a:cubicBezTo>
                      <a:cubicBezTo>
                        <a:pt x="35" y="114"/>
                        <a:pt x="32" y="115"/>
                        <a:pt x="32" y="115"/>
                      </a:cubicBezTo>
                      <a:cubicBezTo>
                        <a:pt x="31" y="115"/>
                        <a:pt x="31" y="115"/>
                        <a:pt x="31" y="115"/>
                      </a:cubicBezTo>
                      <a:cubicBezTo>
                        <a:pt x="31" y="116"/>
                        <a:pt x="31" y="116"/>
                        <a:pt x="31" y="116"/>
                      </a:cubicBezTo>
                      <a:cubicBezTo>
                        <a:pt x="31" y="116"/>
                        <a:pt x="31" y="116"/>
                        <a:pt x="32" y="117"/>
                      </a:cubicBezTo>
                      <a:cubicBezTo>
                        <a:pt x="33" y="117"/>
                        <a:pt x="36" y="117"/>
                        <a:pt x="36" y="117"/>
                      </a:cubicBezTo>
                      <a:cubicBezTo>
                        <a:pt x="36" y="117"/>
                        <a:pt x="38" y="116"/>
                        <a:pt x="37" y="117"/>
                      </a:cubicBezTo>
                      <a:cubicBezTo>
                        <a:pt x="37" y="118"/>
                        <a:pt x="36" y="121"/>
                        <a:pt x="36" y="121"/>
                      </a:cubicBezTo>
                      <a:cubicBezTo>
                        <a:pt x="36" y="121"/>
                        <a:pt x="35" y="122"/>
                        <a:pt x="32" y="122"/>
                      </a:cubicBezTo>
                      <a:cubicBezTo>
                        <a:pt x="30" y="123"/>
                        <a:pt x="27" y="124"/>
                        <a:pt x="27" y="124"/>
                      </a:cubicBezTo>
                      <a:cubicBezTo>
                        <a:pt x="25" y="127"/>
                        <a:pt x="25" y="127"/>
                        <a:pt x="25" y="127"/>
                      </a:cubicBezTo>
                      <a:cubicBezTo>
                        <a:pt x="25" y="127"/>
                        <a:pt x="26" y="128"/>
                        <a:pt x="23" y="128"/>
                      </a:cubicBezTo>
                      <a:cubicBezTo>
                        <a:pt x="21" y="128"/>
                        <a:pt x="19" y="128"/>
                        <a:pt x="19" y="128"/>
                      </a:cubicBezTo>
                      <a:cubicBezTo>
                        <a:pt x="17" y="128"/>
                        <a:pt x="17" y="128"/>
                        <a:pt x="17" y="128"/>
                      </a:cubicBezTo>
                      <a:cubicBezTo>
                        <a:pt x="17" y="128"/>
                        <a:pt x="15" y="129"/>
                        <a:pt x="15" y="129"/>
                      </a:cubicBezTo>
                      <a:cubicBezTo>
                        <a:pt x="14" y="128"/>
                        <a:pt x="13" y="127"/>
                        <a:pt x="13" y="127"/>
                      </a:cubicBezTo>
                      <a:cubicBezTo>
                        <a:pt x="14" y="123"/>
                        <a:pt x="14" y="123"/>
                        <a:pt x="14" y="123"/>
                      </a:cubicBezTo>
                      <a:cubicBezTo>
                        <a:pt x="13" y="122"/>
                        <a:pt x="13" y="122"/>
                        <a:pt x="13" y="122"/>
                      </a:cubicBezTo>
                      <a:cubicBezTo>
                        <a:pt x="13" y="119"/>
                        <a:pt x="13" y="119"/>
                        <a:pt x="13" y="119"/>
                      </a:cubicBezTo>
                      <a:cubicBezTo>
                        <a:pt x="13" y="119"/>
                        <a:pt x="10" y="121"/>
                        <a:pt x="10" y="122"/>
                      </a:cubicBezTo>
                      <a:cubicBezTo>
                        <a:pt x="9" y="122"/>
                        <a:pt x="9" y="124"/>
                        <a:pt x="9" y="124"/>
                      </a:cubicBezTo>
                      <a:cubicBezTo>
                        <a:pt x="7" y="127"/>
                        <a:pt x="7" y="127"/>
                        <a:pt x="7" y="127"/>
                      </a:cubicBezTo>
                      <a:cubicBezTo>
                        <a:pt x="6" y="127"/>
                        <a:pt x="6" y="127"/>
                        <a:pt x="6" y="127"/>
                      </a:cubicBezTo>
                      <a:cubicBezTo>
                        <a:pt x="6" y="131"/>
                        <a:pt x="6" y="131"/>
                        <a:pt x="6" y="131"/>
                      </a:cubicBezTo>
                      <a:cubicBezTo>
                        <a:pt x="5" y="133"/>
                        <a:pt x="5" y="133"/>
                        <a:pt x="5" y="133"/>
                      </a:cubicBezTo>
                      <a:cubicBezTo>
                        <a:pt x="5" y="133"/>
                        <a:pt x="4" y="133"/>
                        <a:pt x="5" y="134"/>
                      </a:cubicBezTo>
                      <a:cubicBezTo>
                        <a:pt x="6" y="134"/>
                        <a:pt x="10" y="136"/>
                        <a:pt x="10" y="136"/>
                      </a:cubicBezTo>
                      <a:cubicBezTo>
                        <a:pt x="10" y="136"/>
                        <a:pt x="11" y="135"/>
                        <a:pt x="13" y="137"/>
                      </a:cubicBezTo>
                      <a:cubicBezTo>
                        <a:pt x="14" y="138"/>
                        <a:pt x="16" y="139"/>
                        <a:pt x="16" y="139"/>
                      </a:cubicBezTo>
                      <a:cubicBezTo>
                        <a:pt x="17" y="139"/>
                        <a:pt x="17" y="139"/>
                        <a:pt x="17" y="139"/>
                      </a:cubicBezTo>
                      <a:cubicBezTo>
                        <a:pt x="20" y="138"/>
                        <a:pt x="20" y="138"/>
                        <a:pt x="20" y="138"/>
                      </a:cubicBezTo>
                      <a:cubicBezTo>
                        <a:pt x="22" y="140"/>
                        <a:pt x="22" y="140"/>
                        <a:pt x="22" y="140"/>
                      </a:cubicBezTo>
                      <a:cubicBezTo>
                        <a:pt x="27" y="141"/>
                        <a:pt x="27" y="141"/>
                        <a:pt x="27" y="141"/>
                      </a:cubicBezTo>
                      <a:cubicBezTo>
                        <a:pt x="27" y="141"/>
                        <a:pt x="28" y="143"/>
                        <a:pt x="28" y="144"/>
                      </a:cubicBezTo>
                      <a:cubicBezTo>
                        <a:pt x="29" y="144"/>
                        <a:pt x="31" y="147"/>
                        <a:pt x="31" y="147"/>
                      </a:cubicBezTo>
                      <a:cubicBezTo>
                        <a:pt x="31" y="147"/>
                        <a:pt x="31" y="145"/>
                        <a:pt x="33" y="146"/>
                      </a:cubicBezTo>
                      <a:cubicBezTo>
                        <a:pt x="36" y="146"/>
                        <a:pt x="37" y="146"/>
                        <a:pt x="37" y="146"/>
                      </a:cubicBezTo>
                      <a:cubicBezTo>
                        <a:pt x="37" y="146"/>
                        <a:pt x="39" y="146"/>
                        <a:pt x="40" y="147"/>
                      </a:cubicBezTo>
                      <a:cubicBezTo>
                        <a:pt x="41" y="148"/>
                        <a:pt x="44" y="153"/>
                        <a:pt x="44" y="153"/>
                      </a:cubicBezTo>
                      <a:cubicBezTo>
                        <a:pt x="46" y="158"/>
                        <a:pt x="46" y="158"/>
                        <a:pt x="46" y="158"/>
                      </a:cubicBezTo>
                      <a:cubicBezTo>
                        <a:pt x="48" y="162"/>
                        <a:pt x="48" y="162"/>
                        <a:pt x="48" y="162"/>
                      </a:cubicBezTo>
                      <a:cubicBezTo>
                        <a:pt x="48" y="162"/>
                        <a:pt x="48" y="163"/>
                        <a:pt x="50" y="164"/>
                      </a:cubicBezTo>
                      <a:cubicBezTo>
                        <a:pt x="52" y="166"/>
                        <a:pt x="53" y="168"/>
                        <a:pt x="53" y="168"/>
                      </a:cubicBezTo>
                      <a:cubicBezTo>
                        <a:pt x="53" y="168"/>
                        <a:pt x="53" y="169"/>
                        <a:pt x="54" y="170"/>
                      </a:cubicBezTo>
                      <a:cubicBezTo>
                        <a:pt x="55" y="172"/>
                        <a:pt x="57" y="174"/>
                        <a:pt x="57" y="174"/>
                      </a:cubicBezTo>
                      <a:cubicBezTo>
                        <a:pt x="57" y="174"/>
                        <a:pt x="57" y="175"/>
                        <a:pt x="58" y="176"/>
                      </a:cubicBezTo>
                      <a:cubicBezTo>
                        <a:pt x="60" y="177"/>
                        <a:pt x="62" y="177"/>
                        <a:pt x="63" y="178"/>
                      </a:cubicBezTo>
                      <a:cubicBezTo>
                        <a:pt x="65" y="180"/>
                        <a:pt x="67" y="182"/>
                        <a:pt x="67" y="182"/>
                      </a:cubicBezTo>
                      <a:cubicBezTo>
                        <a:pt x="67" y="182"/>
                        <a:pt x="72" y="187"/>
                        <a:pt x="74" y="189"/>
                      </a:cubicBezTo>
                      <a:cubicBezTo>
                        <a:pt x="76" y="191"/>
                        <a:pt x="78" y="193"/>
                        <a:pt x="79" y="193"/>
                      </a:cubicBezTo>
                      <a:cubicBezTo>
                        <a:pt x="80" y="194"/>
                        <a:pt x="85" y="195"/>
                        <a:pt x="85" y="195"/>
                      </a:cubicBezTo>
                      <a:cubicBezTo>
                        <a:pt x="85" y="195"/>
                        <a:pt x="88" y="198"/>
                        <a:pt x="89" y="197"/>
                      </a:cubicBezTo>
                      <a:cubicBezTo>
                        <a:pt x="91" y="197"/>
                        <a:pt x="87" y="196"/>
                        <a:pt x="93" y="196"/>
                      </a:cubicBezTo>
                      <a:cubicBezTo>
                        <a:pt x="99" y="196"/>
                        <a:pt x="103" y="198"/>
                        <a:pt x="103" y="198"/>
                      </a:cubicBezTo>
                      <a:cubicBezTo>
                        <a:pt x="107" y="195"/>
                        <a:pt x="107" y="195"/>
                        <a:pt x="107" y="195"/>
                      </a:cubicBezTo>
                      <a:cubicBezTo>
                        <a:pt x="107" y="195"/>
                        <a:pt x="106" y="197"/>
                        <a:pt x="107" y="194"/>
                      </a:cubicBezTo>
                      <a:cubicBezTo>
                        <a:pt x="108" y="192"/>
                        <a:pt x="109" y="190"/>
                        <a:pt x="109" y="190"/>
                      </a:cubicBezTo>
                      <a:cubicBezTo>
                        <a:pt x="109" y="190"/>
                        <a:pt x="108" y="188"/>
                        <a:pt x="111" y="188"/>
                      </a:cubicBezTo>
                      <a:cubicBezTo>
                        <a:pt x="113" y="188"/>
                        <a:pt x="119" y="187"/>
                        <a:pt x="120" y="187"/>
                      </a:cubicBezTo>
                      <a:cubicBezTo>
                        <a:pt x="121" y="187"/>
                        <a:pt x="121" y="188"/>
                        <a:pt x="122" y="187"/>
                      </a:cubicBezTo>
                      <a:cubicBezTo>
                        <a:pt x="122" y="186"/>
                        <a:pt x="131" y="189"/>
                        <a:pt x="131" y="189"/>
                      </a:cubicBezTo>
                      <a:cubicBezTo>
                        <a:pt x="132" y="187"/>
                        <a:pt x="132" y="187"/>
                        <a:pt x="132" y="187"/>
                      </a:cubicBezTo>
                      <a:cubicBezTo>
                        <a:pt x="134" y="186"/>
                        <a:pt x="134" y="186"/>
                        <a:pt x="134" y="186"/>
                      </a:cubicBezTo>
                      <a:cubicBezTo>
                        <a:pt x="136" y="190"/>
                        <a:pt x="136" y="190"/>
                        <a:pt x="136" y="190"/>
                      </a:cubicBezTo>
                      <a:cubicBezTo>
                        <a:pt x="140" y="190"/>
                        <a:pt x="140" y="190"/>
                        <a:pt x="140" y="190"/>
                      </a:cubicBezTo>
                      <a:cubicBezTo>
                        <a:pt x="140" y="190"/>
                        <a:pt x="143" y="189"/>
                        <a:pt x="145" y="189"/>
                      </a:cubicBezTo>
                      <a:cubicBezTo>
                        <a:pt x="146" y="189"/>
                        <a:pt x="150" y="187"/>
                        <a:pt x="150" y="187"/>
                      </a:cubicBezTo>
                      <a:cubicBezTo>
                        <a:pt x="150" y="187"/>
                        <a:pt x="151" y="185"/>
                        <a:pt x="152" y="185"/>
                      </a:cubicBezTo>
                      <a:cubicBezTo>
                        <a:pt x="153" y="184"/>
                        <a:pt x="156" y="184"/>
                        <a:pt x="157" y="184"/>
                      </a:cubicBezTo>
                      <a:cubicBezTo>
                        <a:pt x="159" y="184"/>
                        <a:pt x="162" y="183"/>
                        <a:pt x="162" y="183"/>
                      </a:cubicBezTo>
                      <a:cubicBezTo>
                        <a:pt x="164" y="181"/>
                        <a:pt x="164" y="181"/>
                        <a:pt x="164" y="181"/>
                      </a:cubicBezTo>
                      <a:cubicBezTo>
                        <a:pt x="164" y="181"/>
                        <a:pt x="165" y="180"/>
                        <a:pt x="167" y="180"/>
                      </a:cubicBezTo>
                      <a:cubicBezTo>
                        <a:pt x="168" y="181"/>
                        <a:pt x="172" y="181"/>
                        <a:pt x="172" y="181"/>
                      </a:cubicBezTo>
                      <a:cubicBezTo>
                        <a:pt x="175" y="179"/>
                        <a:pt x="175" y="179"/>
                        <a:pt x="175" y="179"/>
                      </a:cubicBezTo>
                      <a:cubicBezTo>
                        <a:pt x="178" y="178"/>
                        <a:pt x="178" y="178"/>
                        <a:pt x="178" y="178"/>
                      </a:cubicBezTo>
                      <a:cubicBezTo>
                        <a:pt x="178" y="178"/>
                        <a:pt x="178" y="177"/>
                        <a:pt x="179" y="178"/>
                      </a:cubicBezTo>
                      <a:cubicBezTo>
                        <a:pt x="180" y="179"/>
                        <a:pt x="182" y="181"/>
                        <a:pt x="182" y="181"/>
                      </a:cubicBezTo>
                      <a:cubicBezTo>
                        <a:pt x="186" y="182"/>
                        <a:pt x="186" y="182"/>
                        <a:pt x="186" y="182"/>
                      </a:cubicBezTo>
                      <a:cubicBezTo>
                        <a:pt x="189" y="181"/>
                        <a:pt x="189" y="181"/>
                        <a:pt x="189" y="181"/>
                      </a:cubicBezTo>
                      <a:cubicBezTo>
                        <a:pt x="191" y="179"/>
                        <a:pt x="191" y="179"/>
                        <a:pt x="191" y="179"/>
                      </a:cubicBezTo>
                      <a:cubicBezTo>
                        <a:pt x="191" y="179"/>
                        <a:pt x="191" y="178"/>
                        <a:pt x="194" y="178"/>
                      </a:cubicBezTo>
                      <a:cubicBezTo>
                        <a:pt x="197" y="178"/>
                        <a:pt x="198" y="178"/>
                        <a:pt x="198" y="178"/>
                      </a:cubicBezTo>
                      <a:cubicBezTo>
                        <a:pt x="198" y="178"/>
                        <a:pt x="201" y="178"/>
                        <a:pt x="201" y="177"/>
                      </a:cubicBezTo>
                      <a:cubicBezTo>
                        <a:pt x="201" y="176"/>
                        <a:pt x="201" y="174"/>
                        <a:pt x="202" y="173"/>
                      </a:cubicBezTo>
                      <a:cubicBezTo>
                        <a:pt x="202" y="172"/>
                        <a:pt x="206" y="168"/>
                        <a:pt x="206" y="168"/>
                      </a:cubicBezTo>
                      <a:cubicBezTo>
                        <a:pt x="208" y="167"/>
                        <a:pt x="208" y="167"/>
                        <a:pt x="208" y="167"/>
                      </a:cubicBezTo>
                      <a:cubicBezTo>
                        <a:pt x="207" y="164"/>
                        <a:pt x="207" y="164"/>
                        <a:pt x="207" y="164"/>
                      </a:cubicBezTo>
                      <a:cubicBezTo>
                        <a:pt x="208" y="162"/>
                        <a:pt x="208" y="162"/>
                        <a:pt x="208" y="162"/>
                      </a:cubicBezTo>
                      <a:cubicBezTo>
                        <a:pt x="208" y="162"/>
                        <a:pt x="211" y="161"/>
                        <a:pt x="210" y="163"/>
                      </a:cubicBezTo>
                      <a:cubicBezTo>
                        <a:pt x="209" y="165"/>
                        <a:pt x="210" y="166"/>
                        <a:pt x="210" y="166"/>
                      </a:cubicBezTo>
                      <a:cubicBezTo>
                        <a:pt x="210" y="166"/>
                        <a:pt x="211" y="165"/>
                        <a:pt x="212" y="165"/>
                      </a:cubicBezTo>
                      <a:cubicBezTo>
                        <a:pt x="214" y="165"/>
                        <a:pt x="214" y="164"/>
                        <a:pt x="215" y="164"/>
                      </a:cubicBezTo>
                      <a:cubicBezTo>
                        <a:pt x="217" y="165"/>
                        <a:pt x="218" y="164"/>
                        <a:pt x="218" y="164"/>
                      </a:cubicBezTo>
                      <a:cubicBezTo>
                        <a:pt x="218" y="164"/>
                        <a:pt x="217" y="162"/>
                        <a:pt x="218" y="162"/>
                      </a:cubicBezTo>
                      <a:cubicBezTo>
                        <a:pt x="219" y="163"/>
                        <a:pt x="221" y="163"/>
                        <a:pt x="221" y="163"/>
                      </a:cubicBezTo>
                      <a:cubicBezTo>
                        <a:pt x="221" y="163"/>
                        <a:pt x="222" y="163"/>
                        <a:pt x="222" y="162"/>
                      </a:cubicBezTo>
                      <a:cubicBezTo>
                        <a:pt x="222" y="162"/>
                        <a:pt x="219" y="160"/>
                        <a:pt x="220" y="160"/>
                      </a:cubicBezTo>
                      <a:cubicBezTo>
                        <a:pt x="221" y="161"/>
                        <a:pt x="223" y="160"/>
                        <a:pt x="223" y="160"/>
                      </a:cubicBezTo>
                      <a:cubicBezTo>
                        <a:pt x="223" y="160"/>
                        <a:pt x="226" y="161"/>
                        <a:pt x="223" y="159"/>
                      </a:cubicBezTo>
                      <a:cubicBezTo>
                        <a:pt x="221" y="156"/>
                        <a:pt x="224" y="156"/>
                        <a:pt x="224" y="156"/>
                      </a:cubicBezTo>
                      <a:cubicBezTo>
                        <a:pt x="224" y="156"/>
                        <a:pt x="227" y="157"/>
                        <a:pt x="226" y="157"/>
                      </a:cubicBezTo>
                      <a:cubicBezTo>
                        <a:pt x="225" y="156"/>
                        <a:pt x="221" y="151"/>
                        <a:pt x="221" y="151"/>
                      </a:cubicBezTo>
                      <a:cubicBezTo>
                        <a:pt x="221" y="150"/>
                        <a:pt x="221" y="150"/>
                        <a:pt x="221" y="150"/>
                      </a:cubicBezTo>
                      <a:cubicBezTo>
                        <a:pt x="221" y="148"/>
                        <a:pt x="221" y="148"/>
                        <a:pt x="221" y="148"/>
                      </a:cubicBezTo>
                      <a:cubicBezTo>
                        <a:pt x="221" y="148"/>
                        <a:pt x="223" y="149"/>
                        <a:pt x="224" y="150"/>
                      </a:cubicBezTo>
                      <a:cubicBezTo>
                        <a:pt x="224" y="150"/>
                        <a:pt x="224" y="150"/>
                        <a:pt x="225" y="151"/>
                      </a:cubicBezTo>
                      <a:cubicBezTo>
                        <a:pt x="227" y="152"/>
                        <a:pt x="226" y="154"/>
                        <a:pt x="227" y="154"/>
                      </a:cubicBezTo>
                      <a:cubicBezTo>
                        <a:pt x="228" y="155"/>
                        <a:pt x="231" y="154"/>
                        <a:pt x="231" y="154"/>
                      </a:cubicBezTo>
                      <a:cubicBezTo>
                        <a:pt x="233" y="151"/>
                        <a:pt x="233" y="151"/>
                        <a:pt x="233" y="151"/>
                      </a:cubicBezTo>
                      <a:cubicBezTo>
                        <a:pt x="233" y="151"/>
                        <a:pt x="237" y="147"/>
                        <a:pt x="236" y="147"/>
                      </a:cubicBezTo>
                      <a:cubicBezTo>
                        <a:pt x="235" y="146"/>
                        <a:pt x="230" y="148"/>
                        <a:pt x="230" y="148"/>
                      </a:cubicBezTo>
                      <a:cubicBezTo>
                        <a:pt x="232" y="144"/>
                        <a:pt x="232" y="144"/>
                        <a:pt x="232" y="144"/>
                      </a:cubicBezTo>
                      <a:cubicBezTo>
                        <a:pt x="229" y="143"/>
                        <a:pt x="229" y="143"/>
                        <a:pt x="229" y="143"/>
                      </a:cubicBezTo>
                      <a:cubicBezTo>
                        <a:pt x="228" y="142"/>
                        <a:pt x="228" y="142"/>
                        <a:pt x="228" y="142"/>
                      </a:cubicBezTo>
                      <a:cubicBezTo>
                        <a:pt x="228" y="142"/>
                        <a:pt x="231" y="142"/>
                        <a:pt x="231" y="142"/>
                      </a:cubicBezTo>
                      <a:cubicBezTo>
                        <a:pt x="232" y="142"/>
                        <a:pt x="234" y="141"/>
                        <a:pt x="234" y="141"/>
                      </a:cubicBezTo>
                      <a:cubicBezTo>
                        <a:pt x="234" y="139"/>
                        <a:pt x="234" y="139"/>
                        <a:pt x="234" y="139"/>
                      </a:cubicBezTo>
                      <a:cubicBezTo>
                        <a:pt x="231" y="137"/>
                        <a:pt x="231" y="137"/>
                        <a:pt x="231" y="137"/>
                      </a:cubicBezTo>
                      <a:cubicBezTo>
                        <a:pt x="232" y="136"/>
                        <a:pt x="232" y="136"/>
                        <a:pt x="232" y="136"/>
                      </a:cubicBezTo>
                      <a:cubicBezTo>
                        <a:pt x="233" y="134"/>
                        <a:pt x="233" y="134"/>
                        <a:pt x="233" y="134"/>
                      </a:cubicBezTo>
                      <a:cubicBezTo>
                        <a:pt x="235" y="133"/>
                        <a:pt x="235" y="133"/>
                        <a:pt x="235" y="133"/>
                      </a:cubicBezTo>
                      <a:cubicBezTo>
                        <a:pt x="238" y="127"/>
                        <a:pt x="238" y="127"/>
                        <a:pt x="238" y="127"/>
                      </a:cubicBezTo>
                      <a:cubicBezTo>
                        <a:pt x="237" y="125"/>
                        <a:pt x="237" y="125"/>
                        <a:pt x="237" y="125"/>
                      </a:cubicBezTo>
                      <a:cubicBezTo>
                        <a:pt x="235" y="125"/>
                        <a:pt x="235" y="125"/>
                        <a:pt x="235" y="125"/>
                      </a:cubicBezTo>
                      <a:cubicBezTo>
                        <a:pt x="235" y="121"/>
                        <a:pt x="235" y="121"/>
                        <a:pt x="235" y="121"/>
                      </a:cubicBezTo>
                      <a:cubicBezTo>
                        <a:pt x="231" y="119"/>
                        <a:pt x="231" y="119"/>
                        <a:pt x="231" y="119"/>
                      </a:cubicBezTo>
                      <a:cubicBezTo>
                        <a:pt x="231" y="119"/>
                        <a:pt x="228" y="117"/>
                        <a:pt x="228" y="116"/>
                      </a:cubicBezTo>
                      <a:cubicBezTo>
                        <a:pt x="228" y="116"/>
                        <a:pt x="228" y="114"/>
                        <a:pt x="227" y="115"/>
                      </a:cubicBezTo>
                      <a:cubicBezTo>
                        <a:pt x="226" y="115"/>
                        <a:pt x="225" y="114"/>
                        <a:pt x="225" y="114"/>
                      </a:cubicBezTo>
                      <a:cubicBezTo>
                        <a:pt x="225" y="114"/>
                        <a:pt x="225" y="111"/>
                        <a:pt x="225" y="111"/>
                      </a:cubicBezTo>
                      <a:cubicBezTo>
                        <a:pt x="225" y="111"/>
                        <a:pt x="227" y="110"/>
                        <a:pt x="227" y="109"/>
                      </a:cubicBezTo>
                      <a:cubicBezTo>
                        <a:pt x="228" y="108"/>
                        <a:pt x="227" y="106"/>
                        <a:pt x="227" y="106"/>
                      </a:cubicBezTo>
                      <a:cubicBezTo>
                        <a:pt x="226" y="106"/>
                        <a:pt x="224" y="107"/>
                        <a:pt x="224" y="107"/>
                      </a:cubicBezTo>
                      <a:cubicBezTo>
                        <a:pt x="218" y="108"/>
                        <a:pt x="218" y="108"/>
                        <a:pt x="218" y="108"/>
                      </a:cubicBezTo>
                      <a:cubicBezTo>
                        <a:pt x="216" y="107"/>
                        <a:pt x="216" y="107"/>
                        <a:pt x="216" y="107"/>
                      </a:cubicBezTo>
                      <a:cubicBezTo>
                        <a:pt x="216" y="107"/>
                        <a:pt x="217" y="107"/>
                        <a:pt x="217" y="106"/>
                      </a:cubicBezTo>
                      <a:cubicBezTo>
                        <a:pt x="218" y="105"/>
                        <a:pt x="218" y="104"/>
                        <a:pt x="219" y="103"/>
                      </a:cubicBezTo>
                      <a:cubicBezTo>
                        <a:pt x="220" y="102"/>
                        <a:pt x="220" y="103"/>
                        <a:pt x="221" y="101"/>
                      </a:cubicBezTo>
                      <a:cubicBezTo>
                        <a:pt x="223" y="100"/>
                        <a:pt x="225" y="98"/>
                        <a:pt x="225" y="98"/>
                      </a:cubicBezTo>
                      <a:cubicBezTo>
                        <a:pt x="225" y="95"/>
                        <a:pt x="225" y="95"/>
                        <a:pt x="225" y="95"/>
                      </a:cubicBezTo>
                      <a:cubicBezTo>
                        <a:pt x="224" y="92"/>
                        <a:pt x="224" y="92"/>
                        <a:pt x="224" y="92"/>
                      </a:cubicBezTo>
                      <a:cubicBezTo>
                        <a:pt x="224" y="92"/>
                        <a:pt x="223" y="91"/>
                        <a:pt x="222" y="91"/>
                      </a:cubicBezTo>
                      <a:cubicBezTo>
                        <a:pt x="221" y="91"/>
                        <a:pt x="222" y="93"/>
                        <a:pt x="220" y="91"/>
                      </a:cubicBezTo>
                      <a:cubicBezTo>
                        <a:pt x="219" y="90"/>
                        <a:pt x="219" y="90"/>
                        <a:pt x="218" y="88"/>
                      </a:cubicBezTo>
                      <a:cubicBezTo>
                        <a:pt x="217" y="87"/>
                        <a:pt x="217" y="85"/>
                        <a:pt x="217" y="85"/>
                      </a:cubicBezTo>
                      <a:cubicBezTo>
                        <a:pt x="217" y="85"/>
                        <a:pt x="215" y="84"/>
                        <a:pt x="216" y="84"/>
                      </a:cubicBezTo>
                      <a:cubicBezTo>
                        <a:pt x="218" y="84"/>
                        <a:pt x="219" y="85"/>
                        <a:pt x="220" y="84"/>
                      </a:cubicBezTo>
                      <a:cubicBezTo>
                        <a:pt x="221" y="83"/>
                        <a:pt x="221" y="84"/>
                        <a:pt x="221" y="83"/>
                      </a:cubicBezTo>
                      <a:cubicBezTo>
                        <a:pt x="221" y="82"/>
                        <a:pt x="222" y="79"/>
                        <a:pt x="222" y="79"/>
                      </a:cubicBezTo>
                      <a:cubicBezTo>
                        <a:pt x="222" y="78"/>
                        <a:pt x="222" y="78"/>
                        <a:pt x="224" y="77"/>
                      </a:cubicBezTo>
                      <a:cubicBezTo>
                        <a:pt x="227" y="76"/>
                        <a:pt x="226" y="76"/>
                        <a:pt x="228" y="76"/>
                      </a:cubicBezTo>
                      <a:cubicBezTo>
                        <a:pt x="229" y="75"/>
                        <a:pt x="230" y="74"/>
                        <a:pt x="229" y="74"/>
                      </a:cubicBezTo>
                      <a:cubicBezTo>
                        <a:pt x="229" y="73"/>
                        <a:pt x="227" y="73"/>
                        <a:pt x="227" y="73"/>
                      </a:cubicBezTo>
                      <a:cubicBezTo>
                        <a:pt x="226" y="72"/>
                        <a:pt x="224" y="74"/>
                        <a:pt x="224" y="74"/>
                      </a:cubicBezTo>
                      <a:cubicBezTo>
                        <a:pt x="224" y="74"/>
                        <a:pt x="222" y="75"/>
                        <a:pt x="221" y="76"/>
                      </a:cubicBezTo>
                      <a:cubicBezTo>
                        <a:pt x="220" y="77"/>
                        <a:pt x="219" y="76"/>
                        <a:pt x="218" y="76"/>
                      </a:cubicBezTo>
                      <a:cubicBezTo>
                        <a:pt x="217" y="76"/>
                        <a:pt x="217" y="76"/>
                        <a:pt x="217" y="76"/>
                      </a:cubicBezTo>
                      <a:cubicBezTo>
                        <a:pt x="217" y="76"/>
                        <a:pt x="215" y="75"/>
                        <a:pt x="214" y="77"/>
                      </a:cubicBezTo>
                      <a:cubicBezTo>
                        <a:pt x="214" y="79"/>
                        <a:pt x="212" y="81"/>
                        <a:pt x="212" y="81"/>
                      </a:cubicBezTo>
                      <a:cubicBezTo>
                        <a:pt x="212" y="81"/>
                        <a:pt x="211" y="82"/>
                        <a:pt x="211" y="80"/>
                      </a:cubicBezTo>
                      <a:cubicBezTo>
                        <a:pt x="211" y="79"/>
                        <a:pt x="210" y="76"/>
                        <a:pt x="210" y="76"/>
                      </a:cubicBezTo>
                      <a:cubicBezTo>
                        <a:pt x="210" y="76"/>
                        <a:pt x="210" y="76"/>
                        <a:pt x="210" y="76"/>
                      </a:cubicBezTo>
                      <a:cubicBezTo>
                        <a:pt x="209" y="76"/>
                        <a:pt x="206" y="75"/>
                        <a:pt x="206" y="75"/>
                      </a:cubicBezTo>
                      <a:cubicBezTo>
                        <a:pt x="206" y="75"/>
                        <a:pt x="207" y="75"/>
                        <a:pt x="207" y="73"/>
                      </a:cubicBezTo>
                      <a:cubicBezTo>
                        <a:pt x="206" y="72"/>
                        <a:pt x="206" y="71"/>
                        <a:pt x="206" y="71"/>
                      </a:cubicBezTo>
                      <a:cubicBezTo>
                        <a:pt x="207" y="71"/>
                        <a:pt x="208" y="71"/>
                        <a:pt x="208" y="71"/>
                      </a:cubicBezTo>
                      <a:cubicBezTo>
                        <a:pt x="209" y="71"/>
                        <a:pt x="209" y="71"/>
                        <a:pt x="209" y="69"/>
                      </a:cubicBezTo>
                      <a:cubicBezTo>
                        <a:pt x="209" y="66"/>
                        <a:pt x="208" y="65"/>
                        <a:pt x="208" y="65"/>
                      </a:cubicBezTo>
                      <a:cubicBezTo>
                        <a:pt x="208" y="65"/>
                        <a:pt x="207" y="64"/>
                        <a:pt x="207" y="64"/>
                      </a:cubicBezTo>
                      <a:cubicBezTo>
                        <a:pt x="207" y="60"/>
                        <a:pt x="207" y="60"/>
                        <a:pt x="207" y="60"/>
                      </a:cubicBezTo>
                      <a:cubicBezTo>
                        <a:pt x="207" y="60"/>
                        <a:pt x="207" y="59"/>
                        <a:pt x="206" y="58"/>
                      </a:cubicBezTo>
                      <a:cubicBezTo>
                        <a:pt x="205" y="57"/>
                        <a:pt x="205" y="56"/>
                        <a:pt x="204" y="57"/>
                      </a:cubicBezTo>
                      <a:cubicBezTo>
                        <a:pt x="204" y="57"/>
                        <a:pt x="203" y="58"/>
                        <a:pt x="202" y="58"/>
                      </a:cubicBezTo>
                      <a:cubicBezTo>
                        <a:pt x="201" y="57"/>
                        <a:pt x="199" y="56"/>
                        <a:pt x="199" y="56"/>
                      </a:cubicBezTo>
                      <a:cubicBezTo>
                        <a:pt x="195" y="54"/>
                        <a:pt x="195" y="54"/>
                        <a:pt x="195" y="54"/>
                      </a:cubicBezTo>
                      <a:cubicBezTo>
                        <a:pt x="195" y="54"/>
                        <a:pt x="195" y="54"/>
                        <a:pt x="194" y="55"/>
                      </a:cubicBezTo>
                      <a:cubicBezTo>
                        <a:pt x="194" y="56"/>
                        <a:pt x="193" y="55"/>
                        <a:pt x="193" y="57"/>
                      </a:cubicBezTo>
                      <a:cubicBezTo>
                        <a:pt x="194" y="58"/>
                        <a:pt x="194" y="59"/>
                        <a:pt x="194" y="60"/>
                      </a:cubicBezTo>
                      <a:cubicBezTo>
                        <a:pt x="193" y="61"/>
                        <a:pt x="193" y="62"/>
                        <a:pt x="193" y="64"/>
                      </a:cubicBezTo>
                      <a:cubicBezTo>
                        <a:pt x="192" y="65"/>
                        <a:pt x="191" y="65"/>
                        <a:pt x="191" y="66"/>
                      </a:cubicBezTo>
                      <a:cubicBezTo>
                        <a:pt x="191" y="67"/>
                        <a:pt x="192" y="67"/>
                        <a:pt x="192" y="68"/>
                      </a:cubicBezTo>
                      <a:cubicBezTo>
                        <a:pt x="192" y="68"/>
                        <a:pt x="191" y="70"/>
                        <a:pt x="190" y="70"/>
                      </a:cubicBezTo>
                      <a:cubicBezTo>
                        <a:pt x="190" y="71"/>
                        <a:pt x="189" y="72"/>
                        <a:pt x="188" y="72"/>
                      </a:cubicBezTo>
                      <a:cubicBezTo>
                        <a:pt x="188" y="71"/>
                        <a:pt x="187" y="71"/>
                        <a:pt x="186" y="71"/>
                      </a:cubicBezTo>
                      <a:cubicBezTo>
                        <a:pt x="185" y="71"/>
                        <a:pt x="184" y="72"/>
                        <a:pt x="184" y="72"/>
                      </a:cubicBezTo>
                      <a:cubicBezTo>
                        <a:pt x="184" y="72"/>
                        <a:pt x="183" y="73"/>
                        <a:pt x="182" y="72"/>
                      </a:cubicBezTo>
                      <a:cubicBezTo>
                        <a:pt x="180" y="71"/>
                        <a:pt x="179" y="70"/>
                        <a:pt x="179" y="70"/>
                      </a:cubicBezTo>
                      <a:cubicBezTo>
                        <a:pt x="179" y="68"/>
                        <a:pt x="179" y="68"/>
                        <a:pt x="179" y="68"/>
                      </a:cubicBezTo>
                      <a:cubicBezTo>
                        <a:pt x="179" y="68"/>
                        <a:pt x="183" y="69"/>
                        <a:pt x="178" y="66"/>
                      </a:cubicBezTo>
                      <a:cubicBezTo>
                        <a:pt x="174" y="64"/>
                        <a:pt x="174" y="64"/>
                        <a:pt x="174" y="64"/>
                      </a:cubicBezTo>
                      <a:cubicBezTo>
                        <a:pt x="174" y="64"/>
                        <a:pt x="174" y="65"/>
                        <a:pt x="173" y="66"/>
                      </a:cubicBezTo>
                      <a:cubicBezTo>
                        <a:pt x="172" y="66"/>
                        <a:pt x="172" y="67"/>
                        <a:pt x="172" y="67"/>
                      </a:cubicBezTo>
                      <a:cubicBezTo>
                        <a:pt x="171" y="69"/>
                        <a:pt x="171" y="69"/>
                        <a:pt x="171" y="69"/>
                      </a:cubicBezTo>
                      <a:cubicBezTo>
                        <a:pt x="170" y="69"/>
                        <a:pt x="170" y="69"/>
                        <a:pt x="170" y="69"/>
                      </a:cubicBezTo>
                      <a:cubicBezTo>
                        <a:pt x="168" y="72"/>
                        <a:pt x="168" y="72"/>
                        <a:pt x="168" y="72"/>
                      </a:cubicBezTo>
                      <a:cubicBezTo>
                        <a:pt x="168" y="72"/>
                        <a:pt x="167" y="73"/>
                        <a:pt x="166" y="73"/>
                      </a:cubicBezTo>
                      <a:cubicBezTo>
                        <a:pt x="166" y="73"/>
                        <a:pt x="165" y="73"/>
                        <a:pt x="165" y="73"/>
                      </a:cubicBezTo>
                      <a:cubicBezTo>
                        <a:pt x="164" y="73"/>
                        <a:pt x="163" y="73"/>
                        <a:pt x="163" y="72"/>
                      </a:cubicBezTo>
                      <a:cubicBezTo>
                        <a:pt x="162" y="72"/>
                        <a:pt x="162" y="72"/>
                        <a:pt x="162" y="71"/>
                      </a:cubicBezTo>
                      <a:cubicBezTo>
                        <a:pt x="162" y="70"/>
                        <a:pt x="162" y="68"/>
                        <a:pt x="161" y="67"/>
                      </a:cubicBezTo>
                      <a:cubicBezTo>
                        <a:pt x="161" y="66"/>
                        <a:pt x="161" y="66"/>
                        <a:pt x="160" y="64"/>
                      </a:cubicBezTo>
                      <a:cubicBezTo>
                        <a:pt x="159" y="63"/>
                        <a:pt x="158" y="61"/>
                        <a:pt x="158" y="61"/>
                      </a:cubicBezTo>
                      <a:cubicBezTo>
                        <a:pt x="153" y="58"/>
                        <a:pt x="153" y="58"/>
                        <a:pt x="153" y="58"/>
                      </a:cubicBezTo>
                      <a:cubicBezTo>
                        <a:pt x="153" y="58"/>
                        <a:pt x="154" y="57"/>
                        <a:pt x="152" y="57"/>
                      </a:cubicBezTo>
                      <a:cubicBezTo>
                        <a:pt x="151" y="58"/>
                        <a:pt x="149" y="60"/>
                        <a:pt x="149" y="60"/>
                      </a:cubicBezTo>
                      <a:cubicBezTo>
                        <a:pt x="149" y="60"/>
                        <a:pt x="149" y="62"/>
                        <a:pt x="149" y="63"/>
                      </a:cubicBezTo>
                      <a:cubicBezTo>
                        <a:pt x="149" y="63"/>
                        <a:pt x="148" y="64"/>
                        <a:pt x="148" y="65"/>
                      </a:cubicBezTo>
                      <a:cubicBezTo>
                        <a:pt x="149" y="67"/>
                        <a:pt x="150" y="69"/>
                        <a:pt x="149" y="70"/>
                      </a:cubicBezTo>
                      <a:cubicBezTo>
                        <a:pt x="149" y="70"/>
                        <a:pt x="148" y="72"/>
                        <a:pt x="148" y="74"/>
                      </a:cubicBezTo>
                      <a:cubicBezTo>
                        <a:pt x="148" y="76"/>
                        <a:pt x="149" y="78"/>
                        <a:pt x="148" y="78"/>
                      </a:cubicBezTo>
                      <a:cubicBezTo>
                        <a:pt x="147" y="79"/>
                        <a:pt x="147" y="80"/>
                        <a:pt x="147" y="80"/>
                      </a:cubicBezTo>
                      <a:cubicBezTo>
                        <a:pt x="146" y="80"/>
                        <a:pt x="146" y="80"/>
                        <a:pt x="146" y="80"/>
                      </a:cubicBezTo>
                      <a:cubicBezTo>
                        <a:pt x="146" y="80"/>
                        <a:pt x="146" y="79"/>
                        <a:pt x="147" y="76"/>
                      </a:cubicBezTo>
                      <a:cubicBezTo>
                        <a:pt x="147" y="73"/>
                        <a:pt x="146" y="72"/>
                        <a:pt x="146" y="71"/>
                      </a:cubicBezTo>
                      <a:cubicBezTo>
                        <a:pt x="145" y="71"/>
                        <a:pt x="145" y="71"/>
                        <a:pt x="145" y="70"/>
                      </a:cubicBezTo>
                      <a:cubicBezTo>
                        <a:pt x="145" y="69"/>
                        <a:pt x="145" y="68"/>
                        <a:pt x="145" y="68"/>
                      </a:cubicBezTo>
                      <a:cubicBezTo>
                        <a:pt x="145" y="68"/>
                        <a:pt x="143" y="66"/>
                        <a:pt x="143" y="65"/>
                      </a:cubicBezTo>
                      <a:cubicBezTo>
                        <a:pt x="143" y="64"/>
                        <a:pt x="144" y="63"/>
                        <a:pt x="144" y="61"/>
                      </a:cubicBezTo>
                      <a:cubicBezTo>
                        <a:pt x="144" y="58"/>
                        <a:pt x="145" y="58"/>
                        <a:pt x="144" y="57"/>
                      </a:cubicBezTo>
                      <a:cubicBezTo>
                        <a:pt x="143" y="56"/>
                        <a:pt x="144" y="55"/>
                        <a:pt x="143" y="54"/>
                      </a:cubicBezTo>
                      <a:cubicBezTo>
                        <a:pt x="142" y="54"/>
                        <a:pt x="142" y="55"/>
                        <a:pt x="141" y="54"/>
                      </a:cubicBezTo>
                      <a:cubicBezTo>
                        <a:pt x="141" y="54"/>
                        <a:pt x="141" y="55"/>
                        <a:pt x="141" y="55"/>
                      </a:cubicBezTo>
                      <a:cubicBezTo>
                        <a:pt x="142" y="53"/>
                        <a:pt x="142" y="53"/>
                        <a:pt x="142" y="53"/>
                      </a:cubicBezTo>
                      <a:cubicBezTo>
                        <a:pt x="142" y="53"/>
                        <a:pt x="143" y="49"/>
                        <a:pt x="142" y="51"/>
                      </a:cubicBezTo>
                      <a:cubicBezTo>
                        <a:pt x="141" y="52"/>
                        <a:pt x="138" y="53"/>
                        <a:pt x="138" y="52"/>
                      </a:cubicBezTo>
                      <a:cubicBezTo>
                        <a:pt x="139" y="51"/>
                        <a:pt x="138" y="50"/>
                        <a:pt x="138" y="50"/>
                      </a:cubicBezTo>
                      <a:cubicBezTo>
                        <a:pt x="138" y="50"/>
                        <a:pt x="134" y="50"/>
                        <a:pt x="134" y="50"/>
                      </a:cubicBezTo>
                      <a:cubicBezTo>
                        <a:pt x="134" y="50"/>
                        <a:pt x="134" y="49"/>
                        <a:pt x="134" y="51"/>
                      </a:cubicBezTo>
                      <a:cubicBezTo>
                        <a:pt x="134" y="52"/>
                        <a:pt x="135" y="54"/>
                        <a:pt x="133" y="54"/>
                      </a:cubicBezTo>
                      <a:cubicBezTo>
                        <a:pt x="131" y="55"/>
                        <a:pt x="130" y="55"/>
                        <a:pt x="130" y="55"/>
                      </a:cubicBezTo>
                      <a:cubicBezTo>
                        <a:pt x="130" y="54"/>
                        <a:pt x="128" y="53"/>
                        <a:pt x="128" y="53"/>
                      </a:cubicBezTo>
                      <a:cubicBezTo>
                        <a:pt x="128" y="53"/>
                        <a:pt x="127" y="53"/>
                        <a:pt x="126" y="53"/>
                      </a:cubicBezTo>
                      <a:cubicBezTo>
                        <a:pt x="126" y="54"/>
                        <a:pt x="124" y="54"/>
                        <a:pt x="124" y="54"/>
                      </a:cubicBezTo>
                      <a:cubicBezTo>
                        <a:pt x="124" y="56"/>
                        <a:pt x="124" y="56"/>
                        <a:pt x="124" y="56"/>
                      </a:cubicBezTo>
                      <a:cubicBezTo>
                        <a:pt x="124" y="57"/>
                        <a:pt x="124" y="57"/>
                        <a:pt x="124" y="57"/>
                      </a:cubicBezTo>
                      <a:cubicBezTo>
                        <a:pt x="124" y="57"/>
                        <a:pt x="123" y="57"/>
                        <a:pt x="123" y="57"/>
                      </a:cubicBezTo>
                      <a:cubicBezTo>
                        <a:pt x="122" y="58"/>
                        <a:pt x="121" y="58"/>
                        <a:pt x="122" y="59"/>
                      </a:cubicBezTo>
                      <a:cubicBezTo>
                        <a:pt x="122" y="59"/>
                        <a:pt x="122" y="59"/>
                        <a:pt x="122" y="61"/>
                      </a:cubicBezTo>
                      <a:cubicBezTo>
                        <a:pt x="122" y="62"/>
                        <a:pt x="122" y="62"/>
                        <a:pt x="122" y="63"/>
                      </a:cubicBezTo>
                      <a:cubicBezTo>
                        <a:pt x="121" y="64"/>
                        <a:pt x="121" y="65"/>
                        <a:pt x="120" y="66"/>
                      </a:cubicBezTo>
                      <a:cubicBezTo>
                        <a:pt x="120" y="66"/>
                        <a:pt x="119" y="67"/>
                        <a:pt x="119" y="67"/>
                      </a:cubicBezTo>
                      <a:cubicBezTo>
                        <a:pt x="118" y="68"/>
                        <a:pt x="118" y="68"/>
                        <a:pt x="117" y="68"/>
                      </a:cubicBezTo>
                      <a:cubicBezTo>
                        <a:pt x="116" y="68"/>
                        <a:pt x="116" y="69"/>
                        <a:pt x="116" y="68"/>
                      </a:cubicBezTo>
                      <a:cubicBezTo>
                        <a:pt x="116" y="66"/>
                        <a:pt x="116" y="65"/>
                        <a:pt x="116" y="63"/>
                      </a:cubicBezTo>
                      <a:cubicBezTo>
                        <a:pt x="116" y="62"/>
                        <a:pt x="117" y="62"/>
                        <a:pt x="115" y="60"/>
                      </a:cubicBezTo>
                      <a:cubicBezTo>
                        <a:pt x="114" y="58"/>
                        <a:pt x="113" y="58"/>
                        <a:pt x="113" y="57"/>
                      </a:cubicBezTo>
                      <a:cubicBezTo>
                        <a:pt x="113" y="57"/>
                        <a:pt x="113" y="56"/>
                        <a:pt x="113" y="55"/>
                      </a:cubicBezTo>
                      <a:cubicBezTo>
                        <a:pt x="113" y="54"/>
                        <a:pt x="113" y="56"/>
                        <a:pt x="113" y="52"/>
                      </a:cubicBezTo>
                      <a:cubicBezTo>
                        <a:pt x="114" y="49"/>
                        <a:pt x="113" y="48"/>
                        <a:pt x="113" y="48"/>
                      </a:cubicBezTo>
                      <a:cubicBezTo>
                        <a:pt x="113" y="48"/>
                        <a:pt x="114" y="43"/>
                        <a:pt x="114" y="43"/>
                      </a:cubicBezTo>
                      <a:cubicBezTo>
                        <a:pt x="113" y="43"/>
                        <a:pt x="110" y="43"/>
                        <a:pt x="109" y="43"/>
                      </a:cubicBezTo>
                      <a:cubicBezTo>
                        <a:pt x="108" y="43"/>
                        <a:pt x="108" y="43"/>
                        <a:pt x="107" y="43"/>
                      </a:cubicBezTo>
                      <a:cubicBezTo>
                        <a:pt x="107" y="44"/>
                        <a:pt x="106" y="43"/>
                        <a:pt x="106" y="45"/>
                      </a:cubicBezTo>
                      <a:cubicBezTo>
                        <a:pt x="105" y="47"/>
                        <a:pt x="104" y="47"/>
                        <a:pt x="104" y="49"/>
                      </a:cubicBezTo>
                      <a:cubicBezTo>
                        <a:pt x="104" y="50"/>
                        <a:pt x="104" y="52"/>
                        <a:pt x="104" y="52"/>
                      </a:cubicBezTo>
                      <a:cubicBezTo>
                        <a:pt x="104" y="53"/>
                        <a:pt x="103" y="54"/>
                        <a:pt x="103" y="54"/>
                      </a:cubicBezTo>
                      <a:cubicBezTo>
                        <a:pt x="103" y="54"/>
                        <a:pt x="103" y="55"/>
                        <a:pt x="103" y="57"/>
                      </a:cubicBezTo>
                      <a:cubicBezTo>
                        <a:pt x="102" y="59"/>
                        <a:pt x="102" y="60"/>
                        <a:pt x="102" y="61"/>
                      </a:cubicBezTo>
                      <a:cubicBezTo>
                        <a:pt x="102" y="61"/>
                        <a:pt x="102" y="61"/>
                        <a:pt x="101" y="62"/>
                      </a:cubicBezTo>
                      <a:cubicBezTo>
                        <a:pt x="100" y="63"/>
                        <a:pt x="98" y="66"/>
                        <a:pt x="97" y="66"/>
                      </a:cubicBezTo>
                      <a:cubicBezTo>
                        <a:pt x="97" y="66"/>
                        <a:pt x="97" y="66"/>
                        <a:pt x="96" y="67"/>
                      </a:cubicBezTo>
                      <a:cubicBezTo>
                        <a:pt x="96" y="67"/>
                        <a:pt x="94" y="70"/>
                        <a:pt x="93" y="70"/>
                      </a:cubicBezTo>
                      <a:cubicBezTo>
                        <a:pt x="92" y="71"/>
                        <a:pt x="93" y="71"/>
                        <a:pt x="92" y="71"/>
                      </a:cubicBezTo>
                      <a:cubicBezTo>
                        <a:pt x="92" y="70"/>
                        <a:pt x="91" y="70"/>
                        <a:pt x="91" y="69"/>
                      </a:cubicBezTo>
                      <a:cubicBezTo>
                        <a:pt x="91" y="67"/>
                        <a:pt x="91" y="67"/>
                        <a:pt x="92" y="65"/>
                      </a:cubicBezTo>
                      <a:cubicBezTo>
                        <a:pt x="92" y="64"/>
                        <a:pt x="93" y="62"/>
                        <a:pt x="93" y="62"/>
                      </a:cubicBezTo>
                      <a:cubicBezTo>
                        <a:pt x="93" y="62"/>
                        <a:pt x="94" y="61"/>
                        <a:pt x="93" y="61"/>
                      </a:cubicBezTo>
                      <a:cubicBezTo>
                        <a:pt x="92" y="61"/>
                        <a:pt x="91" y="61"/>
                        <a:pt x="90" y="61"/>
                      </a:cubicBezTo>
                      <a:cubicBezTo>
                        <a:pt x="88" y="61"/>
                        <a:pt x="86" y="62"/>
                        <a:pt x="85" y="63"/>
                      </a:cubicBezTo>
                      <a:cubicBezTo>
                        <a:pt x="84" y="63"/>
                        <a:pt x="84" y="64"/>
                        <a:pt x="82" y="66"/>
                      </a:cubicBezTo>
                      <a:cubicBezTo>
                        <a:pt x="80" y="67"/>
                        <a:pt x="80" y="67"/>
                        <a:pt x="80" y="67"/>
                      </a:cubicBezTo>
                      <a:cubicBezTo>
                        <a:pt x="79" y="69"/>
                        <a:pt x="79" y="69"/>
                        <a:pt x="79" y="69"/>
                      </a:cubicBezTo>
                      <a:cubicBezTo>
                        <a:pt x="79" y="70"/>
                        <a:pt x="79" y="70"/>
                        <a:pt x="79" y="70"/>
                      </a:cubicBezTo>
                      <a:cubicBezTo>
                        <a:pt x="79" y="70"/>
                        <a:pt x="79" y="68"/>
                        <a:pt x="79" y="68"/>
                      </a:cubicBezTo>
                      <a:cubicBezTo>
                        <a:pt x="79" y="68"/>
                        <a:pt x="78" y="68"/>
                        <a:pt x="78" y="69"/>
                      </a:cubicBezTo>
                      <a:cubicBezTo>
                        <a:pt x="78" y="69"/>
                        <a:pt x="77" y="70"/>
                        <a:pt x="77" y="70"/>
                      </a:cubicBezTo>
                      <a:cubicBezTo>
                        <a:pt x="76" y="71"/>
                        <a:pt x="76" y="72"/>
                        <a:pt x="76" y="73"/>
                      </a:cubicBezTo>
                      <a:cubicBezTo>
                        <a:pt x="75" y="74"/>
                        <a:pt x="75" y="76"/>
                        <a:pt x="74" y="76"/>
                      </a:cubicBezTo>
                      <a:cubicBezTo>
                        <a:pt x="74" y="76"/>
                        <a:pt x="74" y="77"/>
                        <a:pt x="74" y="77"/>
                      </a:cubicBezTo>
                      <a:cubicBezTo>
                        <a:pt x="73" y="77"/>
                        <a:pt x="72" y="78"/>
                        <a:pt x="72" y="78"/>
                      </a:cubicBezTo>
                      <a:cubicBezTo>
                        <a:pt x="72" y="79"/>
                        <a:pt x="71" y="77"/>
                        <a:pt x="71" y="75"/>
                      </a:cubicBezTo>
                      <a:cubicBezTo>
                        <a:pt x="72" y="74"/>
                        <a:pt x="72" y="74"/>
                        <a:pt x="72" y="73"/>
                      </a:cubicBezTo>
                      <a:cubicBezTo>
                        <a:pt x="73" y="73"/>
                        <a:pt x="73" y="71"/>
                        <a:pt x="74" y="71"/>
                      </a:cubicBezTo>
                      <a:cubicBezTo>
                        <a:pt x="74" y="71"/>
                        <a:pt x="74" y="72"/>
                        <a:pt x="74" y="70"/>
                      </a:cubicBezTo>
                      <a:cubicBezTo>
                        <a:pt x="75" y="68"/>
                        <a:pt x="75" y="67"/>
                        <a:pt x="75" y="67"/>
                      </a:cubicBezTo>
                      <a:cubicBezTo>
                        <a:pt x="75" y="67"/>
                        <a:pt x="75" y="67"/>
                        <a:pt x="75" y="66"/>
                      </a:cubicBezTo>
                      <a:cubicBezTo>
                        <a:pt x="74" y="65"/>
                        <a:pt x="74" y="66"/>
                        <a:pt x="74" y="65"/>
                      </a:cubicBezTo>
                      <a:cubicBezTo>
                        <a:pt x="75" y="64"/>
                        <a:pt x="75" y="63"/>
                        <a:pt x="75" y="62"/>
                      </a:cubicBezTo>
                      <a:cubicBezTo>
                        <a:pt x="76" y="62"/>
                        <a:pt x="76" y="61"/>
                        <a:pt x="76" y="61"/>
                      </a:cubicBezTo>
                      <a:cubicBezTo>
                        <a:pt x="76" y="61"/>
                        <a:pt x="76" y="61"/>
                        <a:pt x="76" y="60"/>
                      </a:cubicBezTo>
                      <a:cubicBezTo>
                        <a:pt x="76" y="60"/>
                        <a:pt x="75" y="59"/>
                        <a:pt x="75" y="59"/>
                      </a:cubicBezTo>
                      <a:cubicBezTo>
                        <a:pt x="75" y="59"/>
                        <a:pt x="75" y="58"/>
                        <a:pt x="75" y="58"/>
                      </a:cubicBezTo>
                      <a:cubicBezTo>
                        <a:pt x="75" y="58"/>
                        <a:pt x="76" y="57"/>
                        <a:pt x="76" y="56"/>
                      </a:cubicBezTo>
                      <a:cubicBezTo>
                        <a:pt x="75" y="56"/>
                        <a:pt x="75" y="55"/>
                        <a:pt x="74" y="54"/>
                      </a:cubicBezTo>
                      <a:cubicBezTo>
                        <a:pt x="73" y="54"/>
                        <a:pt x="73" y="54"/>
                        <a:pt x="73" y="53"/>
                      </a:cubicBezTo>
                      <a:cubicBezTo>
                        <a:pt x="73" y="53"/>
                        <a:pt x="71" y="52"/>
                        <a:pt x="71" y="52"/>
                      </a:cubicBezTo>
                      <a:cubicBezTo>
                        <a:pt x="71" y="52"/>
                        <a:pt x="72" y="50"/>
                        <a:pt x="72" y="50"/>
                      </a:cubicBezTo>
                      <a:cubicBezTo>
                        <a:pt x="72" y="50"/>
                        <a:pt x="72" y="49"/>
                        <a:pt x="73" y="49"/>
                      </a:cubicBezTo>
                      <a:cubicBezTo>
                        <a:pt x="73" y="50"/>
                        <a:pt x="73" y="51"/>
                        <a:pt x="73" y="51"/>
                      </a:cubicBezTo>
                      <a:cubicBezTo>
                        <a:pt x="73" y="52"/>
                        <a:pt x="76" y="53"/>
                        <a:pt x="76" y="53"/>
                      </a:cubicBezTo>
                      <a:cubicBezTo>
                        <a:pt x="76" y="53"/>
                        <a:pt x="78" y="52"/>
                        <a:pt x="78" y="52"/>
                      </a:cubicBezTo>
                      <a:cubicBezTo>
                        <a:pt x="79" y="52"/>
                        <a:pt x="79" y="50"/>
                        <a:pt x="79" y="50"/>
                      </a:cubicBezTo>
                      <a:cubicBezTo>
                        <a:pt x="79" y="50"/>
                        <a:pt x="78" y="50"/>
                        <a:pt x="79" y="49"/>
                      </a:cubicBezTo>
                      <a:cubicBezTo>
                        <a:pt x="80" y="49"/>
                        <a:pt x="82" y="48"/>
                        <a:pt x="82" y="48"/>
                      </a:cubicBezTo>
                      <a:cubicBezTo>
                        <a:pt x="82" y="47"/>
                        <a:pt x="83" y="47"/>
                        <a:pt x="83" y="47"/>
                      </a:cubicBezTo>
                      <a:cubicBezTo>
                        <a:pt x="83" y="47"/>
                        <a:pt x="84" y="46"/>
                        <a:pt x="84" y="46"/>
                      </a:cubicBezTo>
                      <a:cubicBezTo>
                        <a:pt x="84" y="45"/>
                        <a:pt x="85" y="45"/>
                        <a:pt x="84" y="44"/>
                      </a:cubicBezTo>
                      <a:cubicBezTo>
                        <a:pt x="84" y="44"/>
                        <a:pt x="84" y="43"/>
                        <a:pt x="84" y="42"/>
                      </a:cubicBezTo>
                      <a:cubicBezTo>
                        <a:pt x="84" y="42"/>
                        <a:pt x="86" y="43"/>
                        <a:pt x="84" y="41"/>
                      </a:cubicBezTo>
                      <a:cubicBezTo>
                        <a:pt x="82" y="40"/>
                        <a:pt x="80" y="39"/>
                        <a:pt x="81" y="39"/>
                      </a:cubicBezTo>
                      <a:cubicBezTo>
                        <a:pt x="82" y="39"/>
                        <a:pt x="83" y="39"/>
                        <a:pt x="83" y="39"/>
                      </a:cubicBezTo>
                      <a:cubicBezTo>
                        <a:pt x="84" y="39"/>
                        <a:pt x="85" y="40"/>
                        <a:pt x="85" y="39"/>
                      </a:cubicBezTo>
                      <a:cubicBezTo>
                        <a:pt x="86" y="39"/>
                        <a:pt x="86" y="39"/>
                        <a:pt x="86" y="38"/>
                      </a:cubicBezTo>
                      <a:cubicBezTo>
                        <a:pt x="85" y="37"/>
                        <a:pt x="85" y="37"/>
                        <a:pt x="85" y="37"/>
                      </a:cubicBezTo>
                      <a:cubicBezTo>
                        <a:pt x="84" y="36"/>
                        <a:pt x="84" y="36"/>
                        <a:pt x="83" y="36"/>
                      </a:cubicBezTo>
                      <a:cubicBezTo>
                        <a:pt x="83" y="36"/>
                        <a:pt x="82" y="37"/>
                        <a:pt x="83" y="35"/>
                      </a:cubicBezTo>
                      <a:cubicBezTo>
                        <a:pt x="83" y="33"/>
                        <a:pt x="83" y="33"/>
                        <a:pt x="83" y="32"/>
                      </a:cubicBezTo>
                      <a:cubicBezTo>
                        <a:pt x="83" y="32"/>
                        <a:pt x="85" y="32"/>
                        <a:pt x="83" y="32"/>
                      </a:cubicBezTo>
                      <a:cubicBezTo>
                        <a:pt x="82" y="31"/>
                        <a:pt x="82" y="31"/>
                        <a:pt x="82" y="31"/>
                      </a:cubicBezTo>
                      <a:cubicBezTo>
                        <a:pt x="81" y="31"/>
                        <a:pt x="82" y="31"/>
                        <a:pt x="80" y="31"/>
                      </a:cubicBezTo>
                      <a:cubicBezTo>
                        <a:pt x="79" y="31"/>
                        <a:pt x="80" y="29"/>
                        <a:pt x="80" y="29"/>
                      </a:cubicBezTo>
                      <a:cubicBezTo>
                        <a:pt x="80" y="28"/>
                        <a:pt x="81" y="24"/>
                        <a:pt x="81" y="24"/>
                      </a:cubicBezTo>
                      <a:cubicBezTo>
                        <a:pt x="80" y="23"/>
                        <a:pt x="80" y="23"/>
                        <a:pt x="80" y="23"/>
                      </a:cubicBezTo>
                      <a:cubicBezTo>
                        <a:pt x="80" y="23"/>
                        <a:pt x="79" y="21"/>
                        <a:pt x="79" y="21"/>
                      </a:cubicBezTo>
                      <a:cubicBezTo>
                        <a:pt x="79" y="20"/>
                        <a:pt x="79" y="19"/>
                        <a:pt x="78" y="19"/>
                      </a:cubicBezTo>
                      <a:cubicBezTo>
                        <a:pt x="78" y="19"/>
                        <a:pt x="77" y="18"/>
                        <a:pt x="77" y="18"/>
                      </a:cubicBezTo>
                      <a:cubicBezTo>
                        <a:pt x="77" y="18"/>
                        <a:pt x="76" y="18"/>
                        <a:pt x="76" y="17"/>
                      </a:cubicBezTo>
                      <a:cubicBezTo>
                        <a:pt x="76" y="16"/>
                        <a:pt x="76" y="15"/>
                        <a:pt x="76" y="15"/>
                      </a:cubicBezTo>
                      <a:cubicBezTo>
                        <a:pt x="76" y="14"/>
                        <a:pt x="76" y="13"/>
                        <a:pt x="76" y="13"/>
                      </a:cubicBezTo>
                      <a:cubicBezTo>
                        <a:pt x="74" y="8"/>
                        <a:pt x="74" y="8"/>
                        <a:pt x="74" y="8"/>
                      </a:cubicBezTo>
                      <a:cubicBezTo>
                        <a:pt x="74" y="7"/>
                        <a:pt x="74" y="7"/>
                        <a:pt x="74" y="7"/>
                      </a:cubicBezTo>
                      <a:cubicBezTo>
                        <a:pt x="73" y="5"/>
                        <a:pt x="73" y="5"/>
                        <a:pt x="73" y="5"/>
                      </a:cubicBezTo>
                      <a:cubicBezTo>
                        <a:pt x="72" y="5"/>
                        <a:pt x="72" y="5"/>
                        <a:pt x="72" y="5"/>
                      </a:cubicBezTo>
                      <a:cubicBezTo>
                        <a:pt x="72" y="3"/>
                        <a:pt x="72" y="3"/>
                        <a:pt x="72" y="3"/>
                      </a:cubicBezTo>
                      <a:cubicBezTo>
                        <a:pt x="72" y="3"/>
                        <a:pt x="71" y="3"/>
                        <a:pt x="71" y="4"/>
                      </a:cubicBezTo>
                      <a:cubicBezTo>
                        <a:pt x="71" y="4"/>
                        <a:pt x="71" y="5"/>
                        <a:pt x="70" y="5"/>
                      </a:cubicBezTo>
                      <a:cubicBezTo>
                        <a:pt x="69" y="5"/>
                        <a:pt x="68" y="4"/>
                        <a:pt x="68" y="4"/>
                      </a:cubicBezTo>
                      <a:cubicBezTo>
                        <a:pt x="68" y="4"/>
                        <a:pt x="68" y="3"/>
                        <a:pt x="68" y="2"/>
                      </a:cubicBezTo>
                      <a:cubicBezTo>
                        <a:pt x="67" y="2"/>
                        <a:pt x="64" y="0"/>
                        <a:pt x="64" y="0"/>
                      </a:cubicBezTo>
                      <a:cubicBezTo>
                        <a:pt x="64" y="0"/>
                        <a:pt x="64" y="0"/>
                        <a:pt x="64" y="1"/>
                      </a:cubicBezTo>
                      <a:cubicBezTo>
                        <a:pt x="64" y="1"/>
                        <a:pt x="63" y="2"/>
                        <a:pt x="63" y="1"/>
                      </a:cubicBezTo>
                      <a:cubicBezTo>
                        <a:pt x="62" y="1"/>
                        <a:pt x="60" y="0"/>
                        <a:pt x="60" y="0"/>
                      </a:cubicBezTo>
                      <a:cubicBezTo>
                        <a:pt x="60" y="0"/>
                        <a:pt x="60" y="1"/>
                        <a:pt x="60" y="1"/>
                      </a:cubicBezTo>
                      <a:cubicBezTo>
                        <a:pt x="60" y="2"/>
                        <a:pt x="61" y="3"/>
                        <a:pt x="61" y="3"/>
                      </a:cubicBezTo>
                      <a:cubicBezTo>
                        <a:pt x="60" y="3"/>
                        <a:pt x="59" y="3"/>
                        <a:pt x="59" y="3"/>
                      </a:cubicBezTo>
                      <a:cubicBezTo>
                        <a:pt x="59" y="3"/>
                        <a:pt x="59" y="3"/>
                        <a:pt x="58" y="3"/>
                      </a:cubicBezTo>
                      <a:cubicBezTo>
                        <a:pt x="58" y="2"/>
                        <a:pt x="57" y="2"/>
                        <a:pt x="57" y="2"/>
                      </a:cubicBezTo>
                      <a:cubicBezTo>
                        <a:pt x="57" y="3"/>
                        <a:pt x="56" y="3"/>
                        <a:pt x="56" y="5"/>
                      </a:cubicBezTo>
                      <a:cubicBezTo>
                        <a:pt x="57" y="6"/>
                        <a:pt x="56" y="6"/>
                        <a:pt x="57" y="7"/>
                      </a:cubicBezTo>
                      <a:cubicBezTo>
                        <a:pt x="58" y="7"/>
                        <a:pt x="58" y="7"/>
                        <a:pt x="59" y="8"/>
                      </a:cubicBezTo>
                      <a:cubicBezTo>
                        <a:pt x="60" y="8"/>
                        <a:pt x="60" y="8"/>
                        <a:pt x="61" y="8"/>
                      </a:cubicBezTo>
                      <a:cubicBezTo>
                        <a:pt x="61" y="8"/>
                        <a:pt x="62" y="8"/>
                        <a:pt x="63" y="8"/>
                      </a:cubicBezTo>
                      <a:cubicBezTo>
                        <a:pt x="63" y="8"/>
                        <a:pt x="64" y="7"/>
                        <a:pt x="64" y="7"/>
                      </a:cubicBezTo>
                      <a:cubicBezTo>
                        <a:pt x="64" y="7"/>
                        <a:pt x="64" y="8"/>
                        <a:pt x="64" y="8"/>
                      </a:cubicBezTo>
                      <a:cubicBezTo>
                        <a:pt x="64" y="8"/>
                        <a:pt x="63" y="8"/>
                        <a:pt x="64" y="9"/>
                      </a:cubicBezTo>
                      <a:cubicBezTo>
                        <a:pt x="64" y="9"/>
                        <a:pt x="64" y="9"/>
                        <a:pt x="64" y="9"/>
                      </a:cubicBezTo>
                      <a:cubicBezTo>
                        <a:pt x="65" y="10"/>
                        <a:pt x="65" y="10"/>
                        <a:pt x="65" y="10"/>
                      </a:cubicBezTo>
                      <a:cubicBezTo>
                        <a:pt x="65" y="10"/>
                        <a:pt x="65" y="10"/>
                        <a:pt x="65" y="10"/>
                      </a:cubicBezTo>
                      <a:cubicBezTo>
                        <a:pt x="65" y="10"/>
                        <a:pt x="65" y="11"/>
                        <a:pt x="65" y="11"/>
                      </a:cubicBezTo>
                      <a:cubicBezTo>
                        <a:pt x="65" y="12"/>
                        <a:pt x="65" y="12"/>
                        <a:pt x="66" y="12"/>
                      </a:cubicBezTo>
                      <a:cubicBezTo>
                        <a:pt x="67" y="13"/>
                        <a:pt x="67" y="12"/>
                        <a:pt x="67" y="12"/>
                      </a:cubicBezTo>
                      <a:cubicBezTo>
                        <a:pt x="67" y="12"/>
                        <a:pt x="69" y="14"/>
                        <a:pt x="68" y="14"/>
                      </a:cubicBezTo>
                      <a:cubicBezTo>
                        <a:pt x="68" y="14"/>
                        <a:pt x="67" y="13"/>
                        <a:pt x="68" y="14"/>
                      </a:cubicBezTo>
                      <a:cubicBezTo>
                        <a:pt x="69" y="15"/>
                        <a:pt x="70" y="15"/>
                        <a:pt x="70" y="15"/>
                      </a:cubicBezTo>
                      <a:cubicBezTo>
                        <a:pt x="70" y="15"/>
                        <a:pt x="69" y="16"/>
                        <a:pt x="67" y="15"/>
                      </a:cubicBezTo>
                      <a:cubicBezTo>
                        <a:pt x="66" y="15"/>
                        <a:pt x="66" y="15"/>
                        <a:pt x="66" y="15"/>
                      </a:cubicBezTo>
                      <a:cubicBezTo>
                        <a:pt x="66" y="15"/>
                        <a:pt x="65" y="14"/>
                        <a:pt x="65" y="14"/>
                      </a:cubicBezTo>
                      <a:cubicBezTo>
                        <a:pt x="64" y="13"/>
                        <a:pt x="64" y="12"/>
                        <a:pt x="64" y="12"/>
                      </a:cubicBezTo>
                      <a:cubicBezTo>
                        <a:pt x="64" y="12"/>
                        <a:pt x="63" y="11"/>
                        <a:pt x="62" y="11"/>
                      </a:cubicBezTo>
                      <a:cubicBezTo>
                        <a:pt x="61" y="10"/>
                        <a:pt x="60" y="11"/>
                        <a:pt x="59" y="11"/>
                      </a:cubicBezTo>
                      <a:cubicBezTo>
                        <a:pt x="59" y="11"/>
                        <a:pt x="58" y="12"/>
                        <a:pt x="57" y="12"/>
                      </a:cubicBezTo>
                      <a:cubicBezTo>
                        <a:pt x="57" y="12"/>
                        <a:pt x="57" y="13"/>
                        <a:pt x="57" y="14"/>
                      </a:cubicBezTo>
                      <a:cubicBezTo>
                        <a:pt x="58" y="15"/>
                        <a:pt x="60" y="19"/>
                        <a:pt x="60" y="19"/>
                      </a:cubicBezTo>
                      <a:cubicBezTo>
                        <a:pt x="60" y="19"/>
                        <a:pt x="62" y="21"/>
                        <a:pt x="62" y="21"/>
                      </a:cubicBezTo>
                      <a:cubicBezTo>
                        <a:pt x="62" y="21"/>
                        <a:pt x="63" y="23"/>
                        <a:pt x="63" y="23"/>
                      </a:cubicBezTo>
                      <a:cubicBezTo>
                        <a:pt x="63" y="23"/>
                        <a:pt x="63" y="23"/>
                        <a:pt x="64" y="24"/>
                      </a:cubicBezTo>
                      <a:cubicBezTo>
                        <a:pt x="65" y="24"/>
                        <a:pt x="64" y="24"/>
                        <a:pt x="64" y="24"/>
                      </a:cubicBezTo>
                      <a:cubicBezTo>
                        <a:pt x="64" y="25"/>
                        <a:pt x="63" y="26"/>
                        <a:pt x="63" y="27"/>
                      </a:cubicBezTo>
                      <a:cubicBezTo>
                        <a:pt x="63" y="27"/>
                        <a:pt x="63" y="26"/>
                        <a:pt x="63" y="27"/>
                      </a:cubicBezTo>
                      <a:cubicBezTo>
                        <a:pt x="63" y="29"/>
                        <a:pt x="63" y="31"/>
                        <a:pt x="63" y="31"/>
                      </a:cubicBezTo>
                      <a:cubicBezTo>
                        <a:pt x="62" y="33"/>
                        <a:pt x="62" y="33"/>
                        <a:pt x="62" y="33"/>
                      </a:cubicBezTo>
                      <a:cubicBezTo>
                        <a:pt x="61" y="34"/>
                        <a:pt x="61" y="34"/>
                        <a:pt x="61" y="34"/>
                      </a:cubicBezTo>
                      <a:cubicBezTo>
                        <a:pt x="61" y="34"/>
                        <a:pt x="61" y="34"/>
                        <a:pt x="61" y="34"/>
                      </a:cubicBezTo>
                      <a:cubicBezTo>
                        <a:pt x="60" y="34"/>
                        <a:pt x="61" y="33"/>
                        <a:pt x="61" y="33"/>
                      </a:cubicBezTo>
                      <a:cubicBezTo>
                        <a:pt x="61" y="32"/>
                        <a:pt x="61" y="32"/>
                        <a:pt x="61" y="32"/>
                      </a:cubicBezTo>
                      <a:cubicBezTo>
                        <a:pt x="62" y="30"/>
                        <a:pt x="62" y="30"/>
                        <a:pt x="62" y="30"/>
                      </a:cubicBezTo>
                      <a:cubicBezTo>
                        <a:pt x="62" y="30"/>
                        <a:pt x="61" y="29"/>
                        <a:pt x="60" y="29"/>
                      </a:cubicBezTo>
                      <a:cubicBezTo>
                        <a:pt x="60" y="28"/>
                        <a:pt x="60" y="29"/>
                        <a:pt x="59" y="29"/>
                      </a:cubicBezTo>
                      <a:cubicBezTo>
                        <a:pt x="59" y="29"/>
                        <a:pt x="58" y="31"/>
                        <a:pt x="58" y="31"/>
                      </a:cubicBezTo>
                      <a:cubicBezTo>
                        <a:pt x="58" y="31"/>
                        <a:pt x="57" y="31"/>
                        <a:pt x="58" y="30"/>
                      </a:cubicBezTo>
                      <a:cubicBezTo>
                        <a:pt x="58" y="30"/>
                        <a:pt x="58" y="28"/>
                        <a:pt x="59" y="28"/>
                      </a:cubicBezTo>
                      <a:cubicBezTo>
                        <a:pt x="59" y="28"/>
                        <a:pt x="59" y="28"/>
                        <a:pt x="59" y="28"/>
                      </a:cubicBezTo>
                      <a:cubicBezTo>
                        <a:pt x="59" y="27"/>
                        <a:pt x="60" y="27"/>
                        <a:pt x="60" y="26"/>
                      </a:cubicBezTo>
                      <a:cubicBezTo>
                        <a:pt x="60" y="25"/>
                        <a:pt x="60" y="25"/>
                        <a:pt x="60" y="24"/>
                      </a:cubicBezTo>
                      <a:cubicBezTo>
                        <a:pt x="59" y="24"/>
                        <a:pt x="59" y="23"/>
                        <a:pt x="59" y="22"/>
                      </a:cubicBezTo>
                      <a:cubicBezTo>
                        <a:pt x="58" y="22"/>
                        <a:pt x="57" y="23"/>
                        <a:pt x="57" y="23"/>
                      </a:cubicBezTo>
                      <a:cubicBezTo>
                        <a:pt x="57" y="24"/>
                        <a:pt x="57" y="24"/>
                        <a:pt x="57" y="24"/>
                      </a:cubicBezTo>
                      <a:cubicBezTo>
                        <a:pt x="56" y="25"/>
                        <a:pt x="56" y="25"/>
                        <a:pt x="55" y="26"/>
                      </a:cubicBezTo>
                      <a:cubicBezTo>
                        <a:pt x="54" y="27"/>
                        <a:pt x="54" y="27"/>
                        <a:pt x="54" y="27"/>
                      </a:cubicBezTo>
                      <a:cubicBezTo>
                        <a:pt x="54" y="27"/>
                        <a:pt x="55" y="25"/>
                        <a:pt x="55" y="25"/>
                      </a:cubicBezTo>
                      <a:cubicBezTo>
                        <a:pt x="55" y="25"/>
                        <a:pt x="56" y="24"/>
                        <a:pt x="55" y="24"/>
                      </a:cubicBezTo>
                      <a:cubicBezTo>
                        <a:pt x="55" y="24"/>
                        <a:pt x="55" y="24"/>
                        <a:pt x="55" y="23"/>
                      </a:cubicBezTo>
                      <a:cubicBezTo>
                        <a:pt x="55" y="23"/>
                        <a:pt x="55" y="22"/>
                        <a:pt x="55" y="22"/>
                      </a:cubicBezTo>
                      <a:cubicBezTo>
                        <a:pt x="55" y="22"/>
                        <a:pt x="56" y="22"/>
                        <a:pt x="55" y="22"/>
                      </a:cubicBezTo>
                      <a:cubicBezTo>
                        <a:pt x="54" y="22"/>
                        <a:pt x="54" y="22"/>
                        <a:pt x="54" y="22"/>
                      </a:cubicBezTo>
                      <a:cubicBezTo>
                        <a:pt x="54" y="22"/>
                        <a:pt x="53" y="22"/>
                        <a:pt x="53" y="22"/>
                      </a:cubicBezTo>
                      <a:cubicBezTo>
                        <a:pt x="53" y="21"/>
                        <a:pt x="54" y="21"/>
                        <a:pt x="54" y="21"/>
                      </a:cubicBezTo>
                      <a:cubicBezTo>
                        <a:pt x="54" y="20"/>
                        <a:pt x="55" y="19"/>
                        <a:pt x="55" y="19"/>
                      </a:cubicBezTo>
                      <a:cubicBezTo>
                        <a:pt x="55" y="19"/>
                        <a:pt x="54" y="18"/>
                        <a:pt x="54" y="18"/>
                      </a:cubicBezTo>
                      <a:cubicBezTo>
                        <a:pt x="53" y="17"/>
                        <a:pt x="53" y="16"/>
                        <a:pt x="53" y="16"/>
                      </a:cubicBezTo>
                      <a:cubicBezTo>
                        <a:pt x="53" y="16"/>
                        <a:pt x="53" y="18"/>
                        <a:pt x="53" y="15"/>
                      </a:cubicBezTo>
                      <a:cubicBezTo>
                        <a:pt x="52" y="12"/>
                        <a:pt x="52" y="12"/>
                        <a:pt x="52" y="12"/>
                      </a:cubicBezTo>
                      <a:cubicBezTo>
                        <a:pt x="51" y="11"/>
                        <a:pt x="51" y="11"/>
                        <a:pt x="51" y="11"/>
                      </a:cubicBezTo>
                      <a:cubicBezTo>
                        <a:pt x="51" y="11"/>
                        <a:pt x="51" y="10"/>
                        <a:pt x="50" y="10"/>
                      </a:cubicBezTo>
                      <a:cubicBezTo>
                        <a:pt x="50" y="9"/>
                        <a:pt x="48" y="8"/>
                        <a:pt x="48" y="8"/>
                      </a:cubicBezTo>
                      <a:cubicBezTo>
                        <a:pt x="48" y="7"/>
                        <a:pt x="48" y="7"/>
                        <a:pt x="48" y="7"/>
                      </a:cubicBezTo>
                      <a:cubicBezTo>
                        <a:pt x="48" y="7"/>
                        <a:pt x="48" y="6"/>
                        <a:pt x="48" y="6"/>
                      </a:cubicBezTo>
                      <a:cubicBezTo>
                        <a:pt x="47" y="6"/>
                        <a:pt x="46" y="5"/>
                        <a:pt x="46" y="6"/>
                      </a:cubicBezTo>
                      <a:cubicBezTo>
                        <a:pt x="46" y="7"/>
                        <a:pt x="46" y="7"/>
                        <a:pt x="46" y="8"/>
                      </a:cubicBezTo>
                      <a:cubicBezTo>
                        <a:pt x="45" y="8"/>
                        <a:pt x="43" y="8"/>
                        <a:pt x="43" y="8"/>
                      </a:cubicBezTo>
                      <a:cubicBezTo>
                        <a:pt x="43" y="8"/>
                        <a:pt x="43" y="9"/>
                        <a:pt x="43" y="9"/>
                      </a:cubicBezTo>
                      <a:cubicBezTo>
                        <a:pt x="41" y="10"/>
                        <a:pt x="41" y="10"/>
                        <a:pt x="41" y="10"/>
                      </a:cubicBezTo>
                      <a:cubicBezTo>
                        <a:pt x="41" y="10"/>
                        <a:pt x="41" y="9"/>
                        <a:pt x="41" y="10"/>
                      </a:cubicBezTo>
                      <a:cubicBezTo>
                        <a:pt x="42" y="11"/>
                        <a:pt x="42" y="12"/>
                        <a:pt x="42" y="13"/>
                      </a:cubicBezTo>
                      <a:cubicBezTo>
                        <a:pt x="42" y="13"/>
                        <a:pt x="44" y="14"/>
                        <a:pt x="43" y="14"/>
                      </a:cubicBezTo>
                      <a:cubicBezTo>
                        <a:pt x="43" y="14"/>
                        <a:pt x="41" y="14"/>
                        <a:pt x="41" y="14"/>
                      </a:cubicBezTo>
                      <a:cubicBezTo>
                        <a:pt x="41" y="14"/>
                        <a:pt x="40" y="13"/>
                        <a:pt x="40" y="12"/>
                      </a:cubicBezTo>
                      <a:cubicBezTo>
                        <a:pt x="40" y="12"/>
                        <a:pt x="39" y="11"/>
                        <a:pt x="38" y="11"/>
                      </a:cubicBezTo>
                      <a:cubicBezTo>
                        <a:pt x="38" y="11"/>
                        <a:pt x="37" y="11"/>
                        <a:pt x="36" y="12"/>
                      </a:cubicBezTo>
                      <a:cubicBezTo>
                        <a:pt x="36" y="13"/>
                        <a:pt x="36" y="12"/>
                        <a:pt x="36" y="14"/>
                      </a:cubicBezTo>
                      <a:cubicBezTo>
                        <a:pt x="36" y="16"/>
                        <a:pt x="36" y="18"/>
                        <a:pt x="36" y="18"/>
                      </a:cubicBezTo>
                      <a:cubicBezTo>
                        <a:pt x="36" y="18"/>
                        <a:pt x="37" y="19"/>
                        <a:pt x="38" y="20"/>
                      </a:cubicBezTo>
                      <a:cubicBezTo>
                        <a:pt x="38" y="20"/>
                        <a:pt x="39" y="23"/>
                        <a:pt x="39" y="23"/>
                      </a:cubicBezTo>
                      <a:cubicBezTo>
                        <a:pt x="39" y="24"/>
                        <a:pt x="40" y="25"/>
                        <a:pt x="40" y="25"/>
                      </a:cubicBezTo>
                      <a:cubicBezTo>
                        <a:pt x="40" y="25"/>
                        <a:pt x="35" y="23"/>
                        <a:pt x="35" y="22"/>
                      </a:cubicBezTo>
                      <a:cubicBezTo>
                        <a:pt x="35" y="21"/>
                        <a:pt x="35" y="19"/>
                        <a:pt x="34" y="19"/>
                      </a:cubicBezTo>
                      <a:cubicBezTo>
                        <a:pt x="34" y="19"/>
                        <a:pt x="34" y="18"/>
                        <a:pt x="33" y="19"/>
                      </a:cubicBezTo>
                      <a:cubicBezTo>
                        <a:pt x="32" y="19"/>
                        <a:pt x="32" y="19"/>
                        <a:pt x="31" y="19"/>
                      </a:cubicBezTo>
                      <a:cubicBezTo>
                        <a:pt x="31" y="20"/>
                        <a:pt x="31" y="21"/>
                        <a:pt x="31" y="21"/>
                      </a:cubicBezTo>
                      <a:cubicBezTo>
                        <a:pt x="31" y="21"/>
                        <a:pt x="31" y="22"/>
                        <a:pt x="31" y="23"/>
                      </a:cubicBezTo>
                      <a:cubicBezTo>
                        <a:pt x="32" y="25"/>
                        <a:pt x="32" y="25"/>
                        <a:pt x="32" y="26"/>
                      </a:cubicBezTo>
                      <a:cubicBezTo>
                        <a:pt x="33" y="27"/>
                        <a:pt x="34" y="27"/>
                        <a:pt x="34" y="28"/>
                      </a:cubicBezTo>
                      <a:cubicBezTo>
                        <a:pt x="34" y="28"/>
                        <a:pt x="35" y="29"/>
                        <a:pt x="35" y="29"/>
                      </a:cubicBezTo>
                      <a:cubicBezTo>
                        <a:pt x="35" y="29"/>
                        <a:pt x="34" y="31"/>
                        <a:pt x="34" y="31"/>
                      </a:cubicBezTo>
                      <a:cubicBezTo>
                        <a:pt x="34" y="32"/>
                        <a:pt x="33" y="33"/>
                        <a:pt x="33" y="33"/>
                      </a:cubicBezTo>
                      <a:cubicBezTo>
                        <a:pt x="33" y="33"/>
                        <a:pt x="35" y="34"/>
                        <a:pt x="35" y="34"/>
                      </a:cubicBezTo>
                      <a:cubicBezTo>
                        <a:pt x="35" y="34"/>
                        <a:pt x="36" y="35"/>
                        <a:pt x="35" y="36"/>
                      </a:cubicBezTo>
                      <a:cubicBezTo>
                        <a:pt x="34" y="36"/>
                        <a:pt x="34" y="36"/>
                        <a:pt x="33" y="36"/>
                      </a:cubicBezTo>
                      <a:cubicBezTo>
                        <a:pt x="33" y="35"/>
                        <a:pt x="32" y="36"/>
                        <a:pt x="32" y="34"/>
                      </a:cubicBezTo>
                      <a:cubicBezTo>
                        <a:pt x="33" y="33"/>
                        <a:pt x="33" y="32"/>
                        <a:pt x="33" y="32"/>
                      </a:cubicBezTo>
                      <a:cubicBezTo>
                        <a:pt x="32" y="32"/>
                        <a:pt x="31" y="30"/>
                        <a:pt x="31" y="30"/>
                      </a:cubicBezTo>
                      <a:cubicBezTo>
                        <a:pt x="31" y="30"/>
                        <a:pt x="33" y="33"/>
                        <a:pt x="30" y="28"/>
                      </a:cubicBezTo>
                      <a:cubicBezTo>
                        <a:pt x="28" y="24"/>
                        <a:pt x="28" y="24"/>
                        <a:pt x="28" y="24"/>
                      </a:cubicBezTo>
                      <a:cubicBezTo>
                        <a:pt x="28" y="22"/>
                        <a:pt x="28" y="22"/>
                        <a:pt x="28" y="22"/>
                      </a:cubicBezTo>
                      <a:cubicBezTo>
                        <a:pt x="28" y="22"/>
                        <a:pt x="27" y="22"/>
                        <a:pt x="27" y="22"/>
                      </a:cubicBezTo>
                      <a:cubicBezTo>
                        <a:pt x="27" y="22"/>
                        <a:pt x="26" y="21"/>
                        <a:pt x="26" y="21"/>
                      </a:cubicBezTo>
                      <a:cubicBezTo>
                        <a:pt x="26" y="21"/>
                        <a:pt x="24" y="21"/>
                        <a:pt x="24" y="21"/>
                      </a:cubicBezTo>
                      <a:cubicBezTo>
                        <a:pt x="24" y="22"/>
                        <a:pt x="24" y="22"/>
                        <a:pt x="24" y="23"/>
                      </a:cubicBezTo>
                      <a:cubicBezTo>
                        <a:pt x="23" y="23"/>
                        <a:pt x="23" y="25"/>
                        <a:pt x="23" y="25"/>
                      </a:cubicBezTo>
                      <a:cubicBezTo>
                        <a:pt x="22" y="25"/>
                        <a:pt x="22" y="27"/>
                        <a:pt x="22" y="27"/>
                      </a:cubicBezTo>
                      <a:cubicBezTo>
                        <a:pt x="22" y="27"/>
                        <a:pt x="23" y="27"/>
                        <a:pt x="23" y="28"/>
                      </a:cubicBezTo>
                      <a:cubicBezTo>
                        <a:pt x="24" y="29"/>
                        <a:pt x="24" y="30"/>
                        <a:pt x="24" y="30"/>
                      </a:cubicBezTo>
                      <a:cubicBezTo>
                        <a:pt x="24" y="30"/>
                        <a:pt x="23" y="29"/>
                        <a:pt x="23" y="29"/>
                      </a:cubicBezTo>
                      <a:cubicBezTo>
                        <a:pt x="22" y="29"/>
                        <a:pt x="22" y="29"/>
                        <a:pt x="22" y="29"/>
                      </a:cubicBezTo>
                      <a:cubicBezTo>
                        <a:pt x="21" y="30"/>
                        <a:pt x="21" y="30"/>
                        <a:pt x="21" y="30"/>
                      </a:cubicBezTo>
                      <a:cubicBezTo>
                        <a:pt x="21" y="30"/>
                        <a:pt x="21" y="30"/>
                        <a:pt x="21" y="30"/>
                      </a:cubicBezTo>
                      <a:cubicBezTo>
                        <a:pt x="21" y="30"/>
                        <a:pt x="21" y="32"/>
                        <a:pt x="21" y="32"/>
                      </a:cubicBezTo>
                      <a:cubicBezTo>
                        <a:pt x="21" y="32"/>
                        <a:pt x="22" y="33"/>
                        <a:pt x="22" y="33"/>
                      </a:cubicBezTo>
                      <a:cubicBezTo>
                        <a:pt x="22" y="33"/>
                        <a:pt x="22" y="34"/>
                        <a:pt x="22" y="34"/>
                      </a:cubicBezTo>
                      <a:cubicBezTo>
                        <a:pt x="22" y="34"/>
                        <a:pt x="23" y="35"/>
                        <a:pt x="23" y="35"/>
                      </a:cubicBezTo>
                      <a:cubicBezTo>
                        <a:pt x="23" y="36"/>
                        <a:pt x="23" y="36"/>
                        <a:pt x="23" y="36"/>
                      </a:cubicBezTo>
                      <a:cubicBezTo>
                        <a:pt x="23" y="36"/>
                        <a:pt x="23" y="36"/>
                        <a:pt x="23" y="36"/>
                      </a:cubicBezTo>
                      <a:cubicBezTo>
                        <a:pt x="22" y="36"/>
                        <a:pt x="23" y="37"/>
                        <a:pt x="22" y="36"/>
                      </a:cubicBezTo>
                      <a:cubicBezTo>
                        <a:pt x="21" y="35"/>
                        <a:pt x="21" y="36"/>
                        <a:pt x="20" y="35"/>
                      </a:cubicBezTo>
                      <a:cubicBezTo>
                        <a:pt x="20" y="33"/>
                        <a:pt x="20" y="33"/>
                        <a:pt x="20" y="33"/>
                      </a:cubicBezTo>
                      <a:cubicBezTo>
                        <a:pt x="20" y="33"/>
                        <a:pt x="21" y="32"/>
                        <a:pt x="19" y="31"/>
                      </a:cubicBezTo>
                      <a:cubicBezTo>
                        <a:pt x="18" y="29"/>
                        <a:pt x="18" y="28"/>
                        <a:pt x="18" y="28"/>
                      </a:cubicBezTo>
                      <a:cubicBezTo>
                        <a:pt x="18" y="28"/>
                        <a:pt x="17" y="27"/>
                        <a:pt x="16" y="27"/>
                      </a:cubicBezTo>
                      <a:cubicBezTo>
                        <a:pt x="16" y="28"/>
                        <a:pt x="16" y="28"/>
                        <a:pt x="15" y="28"/>
                      </a:cubicBezTo>
                      <a:cubicBezTo>
                        <a:pt x="14" y="29"/>
                        <a:pt x="14" y="29"/>
                        <a:pt x="13" y="29"/>
                      </a:cubicBezTo>
                      <a:cubicBezTo>
                        <a:pt x="13" y="29"/>
                        <a:pt x="11" y="29"/>
                        <a:pt x="11" y="29"/>
                      </a:cubicBezTo>
                      <a:cubicBezTo>
                        <a:pt x="11" y="29"/>
                        <a:pt x="11" y="29"/>
                        <a:pt x="9" y="30"/>
                      </a:cubicBezTo>
                      <a:cubicBezTo>
                        <a:pt x="8" y="32"/>
                        <a:pt x="7" y="32"/>
                        <a:pt x="8" y="32"/>
                      </a:cubicBezTo>
                      <a:cubicBezTo>
                        <a:pt x="9" y="33"/>
                        <a:pt x="11" y="33"/>
                        <a:pt x="11" y="33"/>
                      </a:cubicBezTo>
                      <a:cubicBezTo>
                        <a:pt x="11" y="33"/>
                        <a:pt x="12" y="33"/>
                        <a:pt x="13" y="34"/>
                      </a:cubicBezTo>
                      <a:cubicBezTo>
                        <a:pt x="14" y="34"/>
                        <a:pt x="16" y="36"/>
                        <a:pt x="16" y="36"/>
                      </a:cubicBezTo>
                      <a:cubicBezTo>
                        <a:pt x="18" y="39"/>
                        <a:pt x="18" y="39"/>
                        <a:pt x="18" y="39"/>
                      </a:cubicBezTo>
                      <a:cubicBezTo>
                        <a:pt x="18" y="39"/>
                        <a:pt x="18" y="40"/>
                        <a:pt x="18" y="40"/>
                      </a:cubicBezTo>
                      <a:cubicBezTo>
                        <a:pt x="18" y="40"/>
                        <a:pt x="18" y="40"/>
                        <a:pt x="18" y="41"/>
                      </a:cubicBezTo>
                      <a:cubicBezTo>
                        <a:pt x="18" y="41"/>
                        <a:pt x="18" y="42"/>
                        <a:pt x="18" y="42"/>
                      </a:cubicBezTo>
                      <a:cubicBezTo>
                        <a:pt x="18" y="42"/>
                        <a:pt x="19" y="43"/>
                        <a:pt x="20" y="44"/>
                      </a:cubicBezTo>
                      <a:cubicBezTo>
                        <a:pt x="21" y="44"/>
                        <a:pt x="21" y="44"/>
                        <a:pt x="22" y="44"/>
                      </a:cubicBezTo>
                      <a:cubicBezTo>
                        <a:pt x="23" y="44"/>
                        <a:pt x="22" y="44"/>
                        <a:pt x="23" y="44"/>
                      </a:cubicBezTo>
                      <a:cubicBezTo>
                        <a:pt x="25" y="43"/>
                        <a:pt x="25" y="43"/>
                        <a:pt x="25" y="43"/>
                      </a:cubicBezTo>
                      <a:cubicBezTo>
                        <a:pt x="25" y="43"/>
                        <a:pt x="25" y="43"/>
                        <a:pt x="26" y="43"/>
                      </a:cubicBezTo>
                      <a:cubicBezTo>
                        <a:pt x="28" y="43"/>
                        <a:pt x="27" y="44"/>
                        <a:pt x="28" y="44"/>
                      </a:cubicBezTo>
                      <a:cubicBezTo>
                        <a:pt x="28" y="43"/>
                        <a:pt x="30" y="43"/>
                        <a:pt x="30" y="43"/>
                      </a:cubicBezTo>
                      <a:cubicBezTo>
                        <a:pt x="31" y="43"/>
                        <a:pt x="31" y="42"/>
                        <a:pt x="32" y="43"/>
                      </a:cubicBezTo>
                      <a:cubicBezTo>
                        <a:pt x="32" y="44"/>
                        <a:pt x="32" y="44"/>
                        <a:pt x="32" y="45"/>
                      </a:cubicBezTo>
                      <a:cubicBezTo>
                        <a:pt x="33" y="45"/>
                        <a:pt x="34" y="46"/>
                        <a:pt x="34" y="46"/>
                      </a:cubicBezTo>
                      <a:cubicBezTo>
                        <a:pt x="36" y="46"/>
                        <a:pt x="36" y="46"/>
                        <a:pt x="36" y="46"/>
                      </a:cubicBezTo>
                      <a:cubicBezTo>
                        <a:pt x="36" y="46"/>
                        <a:pt x="36" y="45"/>
                        <a:pt x="37" y="45"/>
                      </a:cubicBezTo>
                      <a:cubicBezTo>
                        <a:pt x="37" y="44"/>
                        <a:pt x="38" y="43"/>
                        <a:pt x="38" y="43"/>
                      </a:cubicBezTo>
                      <a:cubicBezTo>
                        <a:pt x="38" y="43"/>
                        <a:pt x="37" y="43"/>
                        <a:pt x="38" y="44"/>
                      </a:cubicBezTo>
                      <a:cubicBezTo>
                        <a:pt x="39" y="44"/>
                        <a:pt x="39" y="44"/>
                        <a:pt x="40" y="45"/>
                      </a:cubicBezTo>
                      <a:cubicBezTo>
                        <a:pt x="40" y="45"/>
                        <a:pt x="42" y="44"/>
                        <a:pt x="42" y="44"/>
                      </a:cubicBezTo>
                      <a:cubicBezTo>
                        <a:pt x="43" y="44"/>
                        <a:pt x="43" y="44"/>
                        <a:pt x="43" y="44"/>
                      </a:cubicBezTo>
                      <a:cubicBezTo>
                        <a:pt x="43" y="44"/>
                        <a:pt x="42" y="45"/>
                        <a:pt x="43" y="45"/>
                      </a:cubicBezTo>
                      <a:cubicBezTo>
                        <a:pt x="43" y="45"/>
                        <a:pt x="42" y="45"/>
                        <a:pt x="43" y="45"/>
                      </a:cubicBezTo>
                      <a:cubicBezTo>
                        <a:pt x="44" y="45"/>
                        <a:pt x="45" y="44"/>
                        <a:pt x="45" y="44"/>
                      </a:cubicBezTo>
                      <a:cubicBezTo>
                        <a:pt x="45" y="44"/>
                        <a:pt x="44" y="45"/>
                        <a:pt x="44" y="46"/>
                      </a:cubicBezTo>
                      <a:cubicBezTo>
                        <a:pt x="44" y="46"/>
                        <a:pt x="44" y="47"/>
                        <a:pt x="44" y="47"/>
                      </a:cubicBezTo>
                      <a:cubicBezTo>
                        <a:pt x="44" y="47"/>
                        <a:pt x="44" y="48"/>
                        <a:pt x="45" y="49"/>
                      </a:cubicBezTo>
                      <a:cubicBezTo>
                        <a:pt x="46" y="49"/>
                        <a:pt x="47" y="49"/>
                        <a:pt x="47" y="49"/>
                      </a:cubicBezTo>
                      <a:cubicBezTo>
                        <a:pt x="47" y="49"/>
                        <a:pt x="49" y="49"/>
                        <a:pt x="49" y="49"/>
                      </a:cubicBezTo>
                      <a:cubicBezTo>
                        <a:pt x="49" y="50"/>
                        <a:pt x="49" y="49"/>
                        <a:pt x="49" y="50"/>
                      </a:cubicBezTo>
                      <a:cubicBezTo>
                        <a:pt x="49" y="50"/>
                        <a:pt x="50" y="49"/>
                        <a:pt x="50" y="49"/>
                      </a:cubicBezTo>
                      <a:cubicBezTo>
                        <a:pt x="51" y="49"/>
                        <a:pt x="52" y="49"/>
                        <a:pt x="52" y="49"/>
                      </a:cubicBezTo>
                      <a:cubicBezTo>
                        <a:pt x="52" y="50"/>
                        <a:pt x="51" y="51"/>
                        <a:pt x="51" y="51"/>
                      </a:cubicBezTo>
                      <a:cubicBezTo>
                        <a:pt x="51" y="51"/>
                        <a:pt x="51" y="51"/>
                        <a:pt x="51" y="52"/>
                      </a:cubicBezTo>
                      <a:cubicBezTo>
                        <a:pt x="51" y="52"/>
                        <a:pt x="53" y="52"/>
                        <a:pt x="53" y="52"/>
                      </a:cubicBezTo>
                      <a:cubicBezTo>
                        <a:pt x="53" y="52"/>
                        <a:pt x="53" y="51"/>
                        <a:pt x="54" y="52"/>
                      </a:cubicBezTo>
                      <a:cubicBezTo>
                        <a:pt x="54" y="53"/>
                        <a:pt x="54" y="53"/>
                        <a:pt x="54" y="53"/>
                      </a:cubicBezTo>
                      <a:cubicBezTo>
                        <a:pt x="53" y="53"/>
                        <a:pt x="53" y="52"/>
                        <a:pt x="53" y="54"/>
                      </a:cubicBezTo>
                      <a:cubicBezTo>
                        <a:pt x="52" y="55"/>
                        <a:pt x="53" y="56"/>
                        <a:pt x="53" y="56"/>
                      </a:cubicBezTo>
                      <a:cubicBezTo>
                        <a:pt x="54" y="58"/>
                        <a:pt x="54" y="58"/>
                        <a:pt x="54" y="58"/>
                      </a:cubicBezTo>
                      <a:cubicBezTo>
                        <a:pt x="54" y="58"/>
                        <a:pt x="55" y="58"/>
                        <a:pt x="56" y="58"/>
                      </a:cubicBezTo>
                      <a:cubicBezTo>
                        <a:pt x="56" y="58"/>
                        <a:pt x="56" y="58"/>
                        <a:pt x="56" y="58"/>
                      </a:cubicBezTo>
                      <a:cubicBezTo>
                        <a:pt x="57" y="57"/>
                        <a:pt x="57" y="57"/>
                        <a:pt x="58" y="57"/>
                      </a:cubicBezTo>
                      <a:cubicBezTo>
                        <a:pt x="58" y="57"/>
                        <a:pt x="59" y="58"/>
                        <a:pt x="59" y="58"/>
                      </a:cubicBezTo>
                      <a:cubicBezTo>
                        <a:pt x="59" y="59"/>
                        <a:pt x="59" y="59"/>
                        <a:pt x="59" y="59"/>
                      </a:cubicBezTo>
                      <a:cubicBezTo>
                        <a:pt x="59" y="59"/>
                        <a:pt x="59" y="60"/>
                        <a:pt x="59" y="60"/>
                      </a:cubicBezTo>
                      <a:cubicBezTo>
                        <a:pt x="60" y="61"/>
                        <a:pt x="61" y="61"/>
                        <a:pt x="61" y="61"/>
                      </a:cubicBezTo>
                      <a:cubicBezTo>
                        <a:pt x="61" y="61"/>
                        <a:pt x="61" y="61"/>
                        <a:pt x="61" y="62"/>
                      </a:cubicBezTo>
                      <a:cubicBezTo>
                        <a:pt x="62" y="63"/>
                        <a:pt x="64" y="64"/>
                        <a:pt x="64" y="64"/>
                      </a:cubicBezTo>
                      <a:cubicBezTo>
                        <a:pt x="64" y="64"/>
                        <a:pt x="61" y="63"/>
                        <a:pt x="61" y="63"/>
                      </a:cubicBezTo>
                      <a:cubicBezTo>
                        <a:pt x="60" y="63"/>
                        <a:pt x="58" y="63"/>
                        <a:pt x="58" y="63"/>
                      </a:cubicBezTo>
                      <a:cubicBezTo>
                        <a:pt x="57" y="63"/>
                        <a:pt x="55" y="63"/>
                        <a:pt x="55" y="63"/>
                      </a:cubicBezTo>
                      <a:cubicBezTo>
                        <a:pt x="52" y="64"/>
                        <a:pt x="52" y="64"/>
                        <a:pt x="52" y="64"/>
                      </a:cubicBezTo>
                      <a:cubicBezTo>
                        <a:pt x="52" y="64"/>
                        <a:pt x="50" y="65"/>
                        <a:pt x="49" y="65"/>
                      </a:cubicBezTo>
                      <a:cubicBezTo>
                        <a:pt x="49" y="65"/>
                        <a:pt x="48" y="65"/>
                        <a:pt x="47" y="65"/>
                      </a:cubicBezTo>
                      <a:cubicBezTo>
                        <a:pt x="47" y="66"/>
                        <a:pt x="46" y="66"/>
                        <a:pt x="45" y="66"/>
                      </a:cubicBezTo>
                      <a:cubicBezTo>
                        <a:pt x="45" y="66"/>
                        <a:pt x="43" y="66"/>
                        <a:pt x="42" y="66"/>
                      </a:cubicBezTo>
                      <a:cubicBezTo>
                        <a:pt x="42" y="66"/>
                        <a:pt x="41" y="66"/>
                        <a:pt x="41" y="66"/>
                      </a:cubicBezTo>
                      <a:cubicBezTo>
                        <a:pt x="38" y="67"/>
                        <a:pt x="38" y="67"/>
                        <a:pt x="38" y="67"/>
                      </a:cubicBezTo>
                      <a:cubicBezTo>
                        <a:pt x="39" y="68"/>
                        <a:pt x="39" y="68"/>
                        <a:pt x="39" y="68"/>
                      </a:cubicBezTo>
                      <a:cubicBezTo>
                        <a:pt x="41" y="69"/>
                        <a:pt x="41" y="69"/>
                        <a:pt x="41" y="69"/>
                      </a:cubicBezTo>
                      <a:cubicBezTo>
                        <a:pt x="41" y="69"/>
                        <a:pt x="41" y="69"/>
                        <a:pt x="41" y="69"/>
                      </a:cubicBezTo>
                      <a:cubicBezTo>
                        <a:pt x="42" y="69"/>
                        <a:pt x="43" y="70"/>
                        <a:pt x="43" y="70"/>
                      </a:cubicBezTo>
                      <a:cubicBezTo>
                        <a:pt x="43" y="70"/>
                        <a:pt x="44" y="71"/>
                        <a:pt x="45" y="72"/>
                      </a:cubicBezTo>
                      <a:cubicBezTo>
                        <a:pt x="45" y="72"/>
                        <a:pt x="46" y="73"/>
                        <a:pt x="46" y="73"/>
                      </a:cubicBezTo>
                      <a:lnTo>
                        <a:pt x="48" y="74"/>
                      </a:lnTo>
                      <a:close/>
                    </a:path>
                  </a:pathLst>
                </a:custGeom>
                <a:solidFill>
                  <a:srgbClr val="E6EFF1"/>
                </a:solidFill>
                <a:ln w="12700" cap="rnd" cmpd="sng">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Lato Light"/>
                  </a:endParaRPr>
                </a:p>
              </p:txBody>
            </p:sp>
            <p:sp>
              <p:nvSpPr>
                <p:cNvPr id="229" name="Freeform 19">
                  <a:extLst>
                    <a:ext uri="{FF2B5EF4-FFF2-40B4-BE49-F238E27FC236}">
                      <a16:creationId xmlns:a16="http://schemas.microsoft.com/office/drawing/2014/main" id="{077273FC-D5D3-95B7-9B08-8D99583D0AAF}"/>
                    </a:ext>
                  </a:extLst>
                </p:cNvPr>
                <p:cNvSpPr>
                  <a:spLocks/>
                </p:cNvSpPr>
                <p:nvPr/>
              </p:nvSpPr>
              <p:spPr bwMode="auto">
                <a:xfrm>
                  <a:off x="4305820" y="3309730"/>
                  <a:ext cx="1014121" cy="825454"/>
                </a:xfrm>
                <a:custGeom>
                  <a:avLst/>
                  <a:gdLst>
                    <a:gd name="T0" fmla="*/ 194 w 352"/>
                    <a:gd name="T1" fmla="*/ 16 h 295"/>
                    <a:gd name="T2" fmla="*/ 260 w 352"/>
                    <a:gd name="T3" fmla="*/ 5 h 295"/>
                    <a:gd name="T4" fmla="*/ 289 w 352"/>
                    <a:gd name="T5" fmla="*/ 13 h 295"/>
                    <a:gd name="T6" fmla="*/ 314 w 352"/>
                    <a:gd name="T7" fmla="*/ 60 h 295"/>
                    <a:gd name="T8" fmla="*/ 314 w 352"/>
                    <a:gd name="T9" fmla="*/ 90 h 295"/>
                    <a:gd name="T10" fmla="*/ 303 w 352"/>
                    <a:gd name="T11" fmla="*/ 114 h 295"/>
                    <a:gd name="T12" fmla="*/ 318 w 352"/>
                    <a:gd name="T13" fmla="*/ 139 h 295"/>
                    <a:gd name="T14" fmla="*/ 326 w 352"/>
                    <a:gd name="T15" fmla="*/ 158 h 295"/>
                    <a:gd name="T16" fmla="*/ 344 w 352"/>
                    <a:gd name="T17" fmla="*/ 175 h 295"/>
                    <a:gd name="T18" fmla="*/ 346 w 352"/>
                    <a:gd name="T19" fmla="*/ 189 h 295"/>
                    <a:gd name="T20" fmla="*/ 344 w 352"/>
                    <a:gd name="T21" fmla="*/ 210 h 295"/>
                    <a:gd name="T22" fmla="*/ 327 w 352"/>
                    <a:gd name="T23" fmla="*/ 235 h 295"/>
                    <a:gd name="T24" fmla="*/ 317 w 352"/>
                    <a:gd name="T25" fmla="*/ 269 h 295"/>
                    <a:gd name="T26" fmla="*/ 322 w 352"/>
                    <a:gd name="T27" fmla="*/ 280 h 295"/>
                    <a:gd name="T28" fmla="*/ 315 w 352"/>
                    <a:gd name="T29" fmla="*/ 285 h 295"/>
                    <a:gd name="T30" fmla="*/ 309 w 352"/>
                    <a:gd name="T31" fmla="*/ 283 h 295"/>
                    <a:gd name="T32" fmla="*/ 302 w 352"/>
                    <a:gd name="T33" fmla="*/ 282 h 295"/>
                    <a:gd name="T34" fmla="*/ 296 w 352"/>
                    <a:gd name="T35" fmla="*/ 280 h 295"/>
                    <a:gd name="T36" fmla="*/ 290 w 352"/>
                    <a:gd name="T37" fmla="*/ 275 h 295"/>
                    <a:gd name="T38" fmla="*/ 283 w 352"/>
                    <a:gd name="T39" fmla="*/ 272 h 295"/>
                    <a:gd name="T40" fmla="*/ 276 w 352"/>
                    <a:gd name="T41" fmla="*/ 271 h 295"/>
                    <a:gd name="T42" fmla="*/ 267 w 352"/>
                    <a:gd name="T43" fmla="*/ 273 h 295"/>
                    <a:gd name="T44" fmla="*/ 262 w 352"/>
                    <a:gd name="T45" fmla="*/ 275 h 295"/>
                    <a:gd name="T46" fmla="*/ 256 w 352"/>
                    <a:gd name="T47" fmla="*/ 279 h 295"/>
                    <a:gd name="T48" fmla="*/ 250 w 352"/>
                    <a:gd name="T49" fmla="*/ 282 h 295"/>
                    <a:gd name="T50" fmla="*/ 245 w 352"/>
                    <a:gd name="T51" fmla="*/ 277 h 295"/>
                    <a:gd name="T52" fmla="*/ 240 w 352"/>
                    <a:gd name="T53" fmla="*/ 280 h 295"/>
                    <a:gd name="T54" fmla="*/ 235 w 352"/>
                    <a:gd name="T55" fmla="*/ 281 h 295"/>
                    <a:gd name="T56" fmla="*/ 230 w 352"/>
                    <a:gd name="T57" fmla="*/ 284 h 295"/>
                    <a:gd name="T58" fmla="*/ 225 w 352"/>
                    <a:gd name="T59" fmla="*/ 289 h 295"/>
                    <a:gd name="T60" fmla="*/ 223 w 352"/>
                    <a:gd name="T61" fmla="*/ 294 h 295"/>
                    <a:gd name="T62" fmla="*/ 216 w 352"/>
                    <a:gd name="T63" fmla="*/ 295 h 295"/>
                    <a:gd name="T64" fmla="*/ 215 w 352"/>
                    <a:gd name="T65" fmla="*/ 288 h 295"/>
                    <a:gd name="T66" fmla="*/ 207 w 352"/>
                    <a:gd name="T67" fmla="*/ 283 h 295"/>
                    <a:gd name="T68" fmla="*/ 195 w 352"/>
                    <a:gd name="T69" fmla="*/ 279 h 295"/>
                    <a:gd name="T70" fmla="*/ 185 w 352"/>
                    <a:gd name="T71" fmla="*/ 289 h 295"/>
                    <a:gd name="T72" fmla="*/ 181 w 352"/>
                    <a:gd name="T73" fmla="*/ 283 h 295"/>
                    <a:gd name="T74" fmla="*/ 169 w 352"/>
                    <a:gd name="T75" fmla="*/ 270 h 295"/>
                    <a:gd name="T76" fmla="*/ 147 w 352"/>
                    <a:gd name="T77" fmla="*/ 262 h 295"/>
                    <a:gd name="T78" fmla="*/ 137 w 352"/>
                    <a:gd name="T79" fmla="*/ 251 h 295"/>
                    <a:gd name="T80" fmla="*/ 117 w 352"/>
                    <a:gd name="T81" fmla="*/ 244 h 295"/>
                    <a:gd name="T82" fmla="*/ 106 w 352"/>
                    <a:gd name="T83" fmla="*/ 255 h 295"/>
                    <a:gd name="T84" fmla="*/ 92 w 352"/>
                    <a:gd name="T85" fmla="*/ 252 h 295"/>
                    <a:gd name="T86" fmla="*/ 87 w 352"/>
                    <a:gd name="T87" fmla="*/ 241 h 295"/>
                    <a:gd name="T88" fmla="*/ 77 w 352"/>
                    <a:gd name="T89" fmla="*/ 236 h 295"/>
                    <a:gd name="T90" fmla="*/ 66 w 352"/>
                    <a:gd name="T91" fmla="*/ 231 h 295"/>
                    <a:gd name="T92" fmla="*/ 51 w 352"/>
                    <a:gd name="T93" fmla="*/ 226 h 295"/>
                    <a:gd name="T94" fmla="*/ 40 w 352"/>
                    <a:gd name="T95" fmla="*/ 222 h 295"/>
                    <a:gd name="T96" fmla="*/ 38 w 352"/>
                    <a:gd name="T97" fmla="*/ 218 h 295"/>
                    <a:gd name="T98" fmla="*/ 35 w 352"/>
                    <a:gd name="T99" fmla="*/ 198 h 295"/>
                    <a:gd name="T100" fmla="*/ 28 w 352"/>
                    <a:gd name="T101" fmla="*/ 184 h 295"/>
                    <a:gd name="T102" fmla="*/ 24 w 352"/>
                    <a:gd name="T103" fmla="*/ 164 h 295"/>
                    <a:gd name="T104" fmla="*/ 20 w 352"/>
                    <a:gd name="T105" fmla="*/ 139 h 295"/>
                    <a:gd name="T106" fmla="*/ 4 w 352"/>
                    <a:gd name="T107" fmla="*/ 113 h 295"/>
                    <a:gd name="T108" fmla="*/ 4 w 352"/>
                    <a:gd name="T109" fmla="*/ 80 h 295"/>
                    <a:gd name="T110" fmla="*/ 6 w 352"/>
                    <a:gd name="T111" fmla="*/ 63 h 295"/>
                    <a:gd name="T112" fmla="*/ 45 w 352"/>
                    <a:gd name="T113" fmla="*/ 45 h 295"/>
                    <a:gd name="T114" fmla="*/ 64 w 352"/>
                    <a:gd name="T115" fmla="*/ 32 h 295"/>
                    <a:gd name="T116" fmla="*/ 89 w 352"/>
                    <a:gd name="T117" fmla="*/ 12 h 295"/>
                    <a:gd name="T118" fmla="*/ 121 w 352"/>
                    <a:gd name="T119" fmla="*/ 2 h 295"/>
                    <a:gd name="T120" fmla="*/ 132 w 352"/>
                    <a:gd name="T121" fmla="*/ 14 h 295"/>
                    <a:gd name="T122" fmla="*/ 151 w 352"/>
                    <a:gd name="T123" fmla="*/ 24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52" h="295">
                      <a:moveTo>
                        <a:pt x="155" y="23"/>
                      </a:moveTo>
                      <a:cubicBezTo>
                        <a:pt x="157" y="23"/>
                        <a:pt x="166" y="16"/>
                        <a:pt x="166" y="16"/>
                      </a:cubicBezTo>
                      <a:cubicBezTo>
                        <a:pt x="166" y="16"/>
                        <a:pt x="171" y="18"/>
                        <a:pt x="174" y="17"/>
                      </a:cubicBezTo>
                      <a:cubicBezTo>
                        <a:pt x="177" y="17"/>
                        <a:pt x="187" y="16"/>
                        <a:pt x="187" y="16"/>
                      </a:cubicBezTo>
                      <a:cubicBezTo>
                        <a:pt x="187" y="16"/>
                        <a:pt x="192" y="16"/>
                        <a:pt x="194" y="16"/>
                      </a:cubicBezTo>
                      <a:cubicBezTo>
                        <a:pt x="196" y="16"/>
                        <a:pt x="205" y="15"/>
                        <a:pt x="207" y="15"/>
                      </a:cubicBezTo>
                      <a:cubicBezTo>
                        <a:pt x="209" y="15"/>
                        <a:pt x="215" y="14"/>
                        <a:pt x="216" y="13"/>
                      </a:cubicBezTo>
                      <a:cubicBezTo>
                        <a:pt x="218" y="13"/>
                        <a:pt x="230" y="12"/>
                        <a:pt x="231" y="12"/>
                      </a:cubicBezTo>
                      <a:cubicBezTo>
                        <a:pt x="233" y="12"/>
                        <a:pt x="252" y="10"/>
                        <a:pt x="252" y="10"/>
                      </a:cubicBezTo>
                      <a:cubicBezTo>
                        <a:pt x="260" y="5"/>
                        <a:pt x="260" y="5"/>
                        <a:pt x="260" y="5"/>
                      </a:cubicBezTo>
                      <a:cubicBezTo>
                        <a:pt x="269" y="3"/>
                        <a:pt x="269" y="3"/>
                        <a:pt x="269" y="3"/>
                      </a:cubicBezTo>
                      <a:cubicBezTo>
                        <a:pt x="269" y="3"/>
                        <a:pt x="272" y="0"/>
                        <a:pt x="272" y="1"/>
                      </a:cubicBezTo>
                      <a:cubicBezTo>
                        <a:pt x="273" y="3"/>
                        <a:pt x="275" y="6"/>
                        <a:pt x="275" y="6"/>
                      </a:cubicBezTo>
                      <a:cubicBezTo>
                        <a:pt x="275" y="6"/>
                        <a:pt x="286" y="6"/>
                        <a:pt x="286" y="6"/>
                      </a:cubicBezTo>
                      <a:cubicBezTo>
                        <a:pt x="286" y="7"/>
                        <a:pt x="289" y="13"/>
                        <a:pt x="289" y="13"/>
                      </a:cubicBezTo>
                      <a:cubicBezTo>
                        <a:pt x="292" y="16"/>
                        <a:pt x="292" y="16"/>
                        <a:pt x="292" y="16"/>
                      </a:cubicBezTo>
                      <a:cubicBezTo>
                        <a:pt x="292" y="16"/>
                        <a:pt x="293" y="21"/>
                        <a:pt x="293" y="24"/>
                      </a:cubicBezTo>
                      <a:cubicBezTo>
                        <a:pt x="294" y="26"/>
                        <a:pt x="301" y="38"/>
                        <a:pt x="301" y="38"/>
                      </a:cubicBezTo>
                      <a:cubicBezTo>
                        <a:pt x="306" y="49"/>
                        <a:pt x="306" y="49"/>
                        <a:pt x="306" y="49"/>
                      </a:cubicBezTo>
                      <a:cubicBezTo>
                        <a:pt x="314" y="60"/>
                        <a:pt x="314" y="60"/>
                        <a:pt x="314" y="60"/>
                      </a:cubicBezTo>
                      <a:cubicBezTo>
                        <a:pt x="315" y="68"/>
                        <a:pt x="315" y="68"/>
                        <a:pt x="315" y="68"/>
                      </a:cubicBezTo>
                      <a:cubicBezTo>
                        <a:pt x="315" y="68"/>
                        <a:pt x="318" y="71"/>
                        <a:pt x="318" y="73"/>
                      </a:cubicBezTo>
                      <a:cubicBezTo>
                        <a:pt x="318" y="74"/>
                        <a:pt x="318" y="77"/>
                        <a:pt x="318" y="78"/>
                      </a:cubicBezTo>
                      <a:cubicBezTo>
                        <a:pt x="319" y="78"/>
                        <a:pt x="320" y="83"/>
                        <a:pt x="319" y="83"/>
                      </a:cubicBezTo>
                      <a:cubicBezTo>
                        <a:pt x="318" y="84"/>
                        <a:pt x="314" y="90"/>
                        <a:pt x="314" y="90"/>
                      </a:cubicBezTo>
                      <a:cubicBezTo>
                        <a:pt x="310" y="92"/>
                        <a:pt x="310" y="92"/>
                        <a:pt x="310" y="92"/>
                      </a:cubicBezTo>
                      <a:cubicBezTo>
                        <a:pt x="305" y="99"/>
                        <a:pt x="305" y="99"/>
                        <a:pt x="305" y="99"/>
                      </a:cubicBezTo>
                      <a:cubicBezTo>
                        <a:pt x="302" y="108"/>
                        <a:pt x="302" y="108"/>
                        <a:pt x="302" y="108"/>
                      </a:cubicBezTo>
                      <a:cubicBezTo>
                        <a:pt x="301" y="111"/>
                        <a:pt x="301" y="111"/>
                        <a:pt x="301" y="111"/>
                      </a:cubicBezTo>
                      <a:cubicBezTo>
                        <a:pt x="301" y="111"/>
                        <a:pt x="302" y="114"/>
                        <a:pt x="303" y="114"/>
                      </a:cubicBezTo>
                      <a:cubicBezTo>
                        <a:pt x="305" y="114"/>
                        <a:pt x="312" y="115"/>
                        <a:pt x="312" y="115"/>
                      </a:cubicBezTo>
                      <a:cubicBezTo>
                        <a:pt x="318" y="119"/>
                        <a:pt x="318" y="119"/>
                        <a:pt x="318" y="119"/>
                      </a:cubicBezTo>
                      <a:cubicBezTo>
                        <a:pt x="318" y="123"/>
                        <a:pt x="318" y="123"/>
                        <a:pt x="318" y="123"/>
                      </a:cubicBezTo>
                      <a:cubicBezTo>
                        <a:pt x="318" y="123"/>
                        <a:pt x="319" y="131"/>
                        <a:pt x="319" y="132"/>
                      </a:cubicBezTo>
                      <a:cubicBezTo>
                        <a:pt x="319" y="132"/>
                        <a:pt x="318" y="139"/>
                        <a:pt x="318" y="139"/>
                      </a:cubicBezTo>
                      <a:cubicBezTo>
                        <a:pt x="318" y="139"/>
                        <a:pt x="320" y="143"/>
                        <a:pt x="320" y="144"/>
                      </a:cubicBezTo>
                      <a:cubicBezTo>
                        <a:pt x="321" y="145"/>
                        <a:pt x="323" y="147"/>
                        <a:pt x="323" y="148"/>
                      </a:cubicBezTo>
                      <a:cubicBezTo>
                        <a:pt x="324" y="148"/>
                        <a:pt x="324" y="149"/>
                        <a:pt x="324" y="149"/>
                      </a:cubicBezTo>
                      <a:cubicBezTo>
                        <a:pt x="326" y="154"/>
                        <a:pt x="326" y="154"/>
                        <a:pt x="326" y="154"/>
                      </a:cubicBezTo>
                      <a:cubicBezTo>
                        <a:pt x="326" y="158"/>
                        <a:pt x="326" y="158"/>
                        <a:pt x="326" y="158"/>
                      </a:cubicBezTo>
                      <a:cubicBezTo>
                        <a:pt x="326" y="158"/>
                        <a:pt x="326" y="161"/>
                        <a:pt x="328" y="161"/>
                      </a:cubicBezTo>
                      <a:cubicBezTo>
                        <a:pt x="330" y="161"/>
                        <a:pt x="331" y="162"/>
                        <a:pt x="331" y="164"/>
                      </a:cubicBezTo>
                      <a:cubicBezTo>
                        <a:pt x="331" y="166"/>
                        <a:pt x="336" y="168"/>
                        <a:pt x="336" y="168"/>
                      </a:cubicBezTo>
                      <a:cubicBezTo>
                        <a:pt x="336" y="168"/>
                        <a:pt x="336" y="172"/>
                        <a:pt x="337" y="173"/>
                      </a:cubicBezTo>
                      <a:cubicBezTo>
                        <a:pt x="339" y="174"/>
                        <a:pt x="341" y="175"/>
                        <a:pt x="344" y="175"/>
                      </a:cubicBezTo>
                      <a:cubicBezTo>
                        <a:pt x="347" y="176"/>
                        <a:pt x="346" y="180"/>
                        <a:pt x="348" y="181"/>
                      </a:cubicBezTo>
                      <a:cubicBezTo>
                        <a:pt x="350" y="182"/>
                        <a:pt x="352" y="184"/>
                        <a:pt x="350" y="184"/>
                      </a:cubicBezTo>
                      <a:cubicBezTo>
                        <a:pt x="349" y="185"/>
                        <a:pt x="346" y="185"/>
                        <a:pt x="346" y="185"/>
                      </a:cubicBezTo>
                      <a:cubicBezTo>
                        <a:pt x="346" y="185"/>
                        <a:pt x="345" y="186"/>
                        <a:pt x="345" y="188"/>
                      </a:cubicBezTo>
                      <a:cubicBezTo>
                        <a:pt x="346" y="189"/>
                        <a:pt x="346" y="189"/>
                        <a:pt x="346" y="189"/>
                      </a:cubicBezTo>
                      <a:cubicBezTo>
                        <a:pt x="350" y="194"/>
                        <a:pt x="350" y="194"/>
                        <a:pt x="350" y="194"/>
                      </a:cubicBezTo>
                      <a:cubicBezTo>
                        <a:pt x="350" y="200"/>
                        <a:pt x="350" y="200"/>
                        <a:pt x="350" y="200"/>
                      </a:cubicBezTo>
                      <a:cubicBezTo>
                        <a:pt x="350" y="200"/>
                        <a:pt x="350" y="202"/>
                        <a:pt x="350" y="204"/>
                      </a:cubicBezTo>
                      <a:cubicBezTo>
                        <a:pt x="350" y="205"/>
                        <a:pt x="349" y="207"/>
                        <a:pt x="347" y="207"/>
                      </a:cubicBezTo>
                      <a:cubicBezTo>
                        <a:pt x="345" y="207"/>
                        <a:pt x="345" y="210"/>
                        <a:pt x="344" y="210"/>
                      </a:cubicBezTo>
                      <a:cubicBezTo>
                        <a:pt x="343" y="211"/>
                        <a:pt x="341" y="208"/>
                        <a:pt x="340" y="211"/>
                      </a:cubicBezTo>
                      <a:cubicBezTo>
                        <a:pt x="339" y="215"/>
                        <a:pt x="337" y="218"/>
                        <a:pt x="337" y="219"/>
                      </a:cubicBezTo>
                      <a:cubicBezTo>
                        <a:pt x="336" y="220"/>
                        <a:pt x="333" y="221"/>
                        <a:pt x="333" y="223"/>
                      </a:cubicBezTo>
                      <a:cubicBezTo>
                        <a:pt x="332" y="225"/>
                        <a:pt x="332" y="223"/>
                        <a:pt x="330" y="228"/>
                      </a:cubicBezTo>
                      <a:cubicBezTo>
                        <a:pt x="328" y="233"/>
                        <a:pt x="327" y="235"/>
                        <a:pt x="327" y="235"/>
                      </a:cubicBezTo>
                      <a:cubicBezTo>
                        <a:pt x="318" y="247"/>
                        <a:pt x="318" y="247"/>
                        <a:pt x="318" y="247"/>
                      </a:cubicBezTo>
                      <a:cubicBezTo>
                        <a:pt x="318" y="247"/>
                        <a:pt x="313" y="255"/>
                        <a:pt x="313" y="256"/>
                      </a:cubicBezTo>
                      <a:cubicBezTo>
                        <a:pt x="313" y="257"/>
                        <a:pt x="313" y="261"/>
                        <a:pt x="313" y="261"/>
                      </a:cubicBezTo>
                      <a:cubicBezTo>
                        <a:pt x="317" y="265"/>
                        <a:pt x="317" y="265"/>
                        <a:pt x="317" y="265"/>
                      </a:cubicBezTo>
                      <a:cubicBezTo>
                        <a:pt x="317" y="269"/>
                        <a:pt x="317" y="269"/>
                        <a:pt x="317" y="269"/>
                      </a:cubicBezTo>
                      <a:cubicBezTo>
                        <a:pt x="317" y="269"/>
                        <a:pt x="317" y="272"/>
                        <a:pt x="318" y="273"/>
                      </a:cubicBezTo>
                      <a:cubicBezTo>
                        <a:pt x="319" y="273"/>
                        <a:pt x="319" y="273"/>
                        <a:pt x="319" y="273"/>
                      </a:cubicBezTo>
                      <a:cubicBezTo>
                        <a:pt x="318" y="276"/>
                        <a:pt x="318" y="276"/>
                        <a:pt x="318" y="276"/>
                      </a:cubicBezTo>
                      <a:cubicBezTo>
                        <a:pt x="318" y="276"/>
                        <a:pt x="319" y="279"/>
                        <a:pt x="320" y="279"/>
                      </a:cubicBezTo>
                      <a:cubicBezTo>
                        <a:pt x="320" y="279"/>
                        <a:pt x="322" y="280"/>
                        <a:pt x="322" y="280"/>
                      </a:cubicBezTo>
                      <a:cubicBezTo>
                        <a:pt x="322" y="280"/>
                        <a:pt x="324" y="282"/>
                        <a:pt x="324" y="282"/>
                      </a:cubicBezTo>
                      <a:cubicBezTo>
                        <a:pt x="325" y="283"/>
                        <a:pt x="324" y="285"/>
                        <a:pt x="324" y="285"/>
                      </a:cubicBezTo>
                      <a:cubicBezTo>
                        <a:pt x="324" y="285"/>
                        <a:pt x="324" y="286"/>
                        <a:pt x="323" y="286"/>
                      </a:cubicBezTo>
                      <a:cubicBezTo>
                        <a:pt x="322" y="286"/>
                        <a:pt x="322" y="286"/>
                        <a:pt x="320" y="286"/>
                      </a:cubicBezTo>
                      <a:cubicBezTo>
                        <a:pt x="319" y="285"/>
                        <a:pt x="316" y="285"/>
                        <a:pt x="315" y="285"/>
                      </a:cubicBezTo>
                      <a:cubicBezTo>
                        <a:pt x="314" y="285"/>
                        <a:pt x="314" y="285"/>
                        <a:pt x="314" y="285"/>
                      </a:cubicBezTo>
                      <a:cubicBezTo>
                        <a:pt x="313" y="285"/>
                        <a:pt x="313" y="285"/>
                        <a:pt x="312" y="286"/>
                      </a:cubicBezTo>
                      <a:cubicBezTo>
                        <a:pt x="312" y="285"/>
                        <a:pt x="312" y="285"/>
                        <a:pt x="312" y="285"/>
                      </a:cubicBezTo>
                      <a:cubicBezTo>
                        <a:pt x="312" y="284"/>
                        <a:pt x="312" y="283"/>
                        <a:pt x="312" y="283"/>
                      </a:cubicBezTo>
                      <a:cubicBezTo>
                        <a:pt x="312" y="283"/>
                        <a:pt x="309" y="283"/>
                        <a:pt x="309" y="283"/>
                      </a:cubicBezTo>
                      <a:cubicBezTo>
                        <a:pt x="308" y="283"/>
                        <a:pt x="307" y="283"/>
                        <a:pt x="307" y="283"/>
                      </a:cubicBezTo>
                      <a:cubicBezTo>
                        <a:pt x="307" y="283"/>
                        <a:pt x="305" y="282"/>
                        <a:pt x="305" y="282"/>
                      </a:cubicBezTo>
                      <a:cubicBezTo>
                        <a:pt x="305" y="282"/>
                        <a:pt x="304" y="282"/>
                        <a:pt x="304" y="282"/>
                      </a:cubicBezTo>
                      <a:cubicBezTo>
                        <a:pt x="304" y="281"/>
                        <a:pt x="303" y="282"/>
                        <a:pt x="303" y="282"/>
                      </a:cubicBezTo>
                      <a:cubicBezTo>
                        <a:pt x="302" y="282"/>
                        <a:pt x="302" y="282"/>
                        <a:pt x="302" y="282"/>
                      </a:cubicBezTo>
                      <a:cubicBezTo>
                        <a:pt x="300" y="282"/>
                        <a:pt x="300" y="282"/>
                        <a:pt x="300" y="282"/>
                      </a:cubicBezTo>
                      <a:cubicBezTo>
                        <a:pt x="300" y="282"/>
                        <a:pt x="300" y="281"/>
                        <a:pt x="300" y="281"/>
                      </a:cubicBezTo>
                      <a:cubicBezTo>
                        <a:pt x="300" y="280"/>
                        <a:pt x="299" y="281"/>
                        <a:pt x="299" y="281"/>
                      </a:cubicBezTo>
                      <a:cubicBezTo>
                        <a:pt x="299" y="281"/>
                        <a:pt x="297" y="281"/>
                        <a:pt x="297" y="281"/>
                      </a:cubicBezTo>
                      <a:cubicBezTo>
                        <a:pt x="297" y="280"/>
                        <a:pt x="296" y="280"/>
                        <a:pt x="296" y="280"/>
                      </a:cubicBezTo>
                      <a:cubicBezTo>
                        <a:pt x="296" y="280"/>
                        <a:pt x="293" y="280"/>
                        <a:pt x="292" y="280"/>
                      </a:cubicBezTo>
                      <a:cubicBezTo>
                        <a:pt x="292" y="279"/>
                        <a:pt x="292" y="279"/>
                        <a:pt x="292" y="279"/>
                      </a:cubicBezTo>
                      <a:cubicBezTo>
                        <a:pt x="292" y="279"/>
                        <a:pt x="292" y="278"/>
                        <a:pt x="292" y="277"/>
                      </a:cubicBezTo>
                      <a:cubicBezTo>
                        <a:pt x="292" y="277"/>
                        <a:pt x="291" y="277"/>
                        <a:pt x="291" y="276"/>
                      </a:cubicBezTo>
                      <a:cubicBezTo>
                        <a:pt x="291" y="276"/>
                        <a:pt x="290" y="275"/>
                        <a:pt x="290" y="275"/>
                      </a:cubicBezTo>
                      <a:cubicBezTo>
                        <a:pt x="290" y="274"/>
                        <a:pt x="289" y="274"/>
                        <a:pt x="289" y="273"/>
                      </a:cubicBezTo>
                      <a:cubicBezTo>
                        <a:pt x="289" y="273"/>
                        <a:pt x="288" y="274"/>
                        <a:pt x="288" y="274"/>
                      </a:cubicBezTo>
                      <a:cubicBezTo>
                        <a:pt x="287" y="274"/>
                        <a:pt x="286" y="273"/>
                        <a:pt x="286" y="273"/>
                      </a:cubicBezTo>
                      <a:cubicBezTo>
                        <a:pt x="285" y="272"/>
                        <a:pt x="285" y="272"/>
                        <a:pt x="285" y="272"/>
                      </a:cubicBezTo>
                      <a:cubicBezTo>
                        <a:pt x="285" y="272"/>
                        <a:pt x="284" y="272"/>
                        <a:pt x="283" y="272"/>
                      </a:cubicBezTo>
                      <a:cubicBezTo>
                        <a:pt x="283" y="272"/>
                        <a:pt x="283" y="274"/>
                        <a:pt x="283" y="274"/>
                      </a:cubicBezTo>
                      <a:cubicBezTo>
                        <a:pt x="283" y="274"/>
                        <a:pt x="282" y="274"/>
                        <a:pt x="281" y="273"/>
                      </a:cubicBezTo>
                      <a:cubicBezTo>
                        <a:pt x="281" y="273"/>
                        <a:pt x="280" y="272"/>
                        <a:pt x="279" y="272"/>
                      </a:cubicBezTo>
                      <a:cubicBezTo>
                        <a:pt x="279" y="272"/>
                        <a:pt x="278" y="272"/>
                        <a:pt x="277" y="271"/>
                      </a:cubicBezTo>
                      <a:cubicBezTo>
                        <a:pt x="277" y="271"/>
                        <a:pt x="276" y="271"/>
                        <a:pt x="276" y="271"/>
                      </a:cubicBezTo>
                      <a:cubicBezTo>
                        <a:pt x="276" y="271"/>
                        <a:pt x="272" y="272"/>
                        <a:pt x="272" y="272"/>
                      </a:cubicBezTo>
                      <a:cubicBezTo>
                        <a:pt x="272" y="272"/>
                        <a:pt x="272" y="273"/>
                        <a:pt x="271" y="273"/>
                      </a:cubicBezTo>
                      <a:cubicBezTo>
                        <a:pt x="271" y="274"/>
                        <a:pt x="270" y="273"/>
                        <a:pt x="270" y="273"/>
                      </a:cubicBezTo>
                      <a:cubicBezTo>
                        <a:pt x="270" y="273"/>
                        <a:pt x="269" y="273"/>
                        <a:pt x="268" y="273"/>
                      </a:cubicBezTo>
                      <a:cubicBezTo>
                        <a:pt x="268" y="273"/>
                        <a:pt x="267" y="273"/>
                        <a:pt x="267" y="273"/>
                      </a:cubicBezTo>
                      <a:cubicBezTo>
                        <a:pt x="267" y="273"/>
                        <a:pt x="266" y="272"/>
                        <a:pt x="265" y="272"/>
                      </a:cubicBezTo>
                      <a:cubicBezTo>
                        <a:pt x="265" y="272"/>
                        <a:pt x="264" y="272"/>
                        <a:pt x="264" y="272"/>
                      </a:cubicBezTo>
                      <a:cubicBezTo>
                        <a:pt x="264" y="272"/>
                        <a:pt x="263" y="273"/>
                        <a:pt x="263" y="273"/>
                      </a:cubicBezTo>
                      <a:cubicBezTo>
                        <a:pt x="262" y="274"/>
                        <a:pt x="262" y="274"/>
                        <a:pt x="262" y="274"/>
                      </a:cubicBezTo>
                      <a:cubicBezTo>
                        <a:pt x="262" y="275"/>
                        <a:pt x="262" y="275"/>
                        <a:pt x="262" y="275"/>
                      </a:cubicBezTo>
                      <a:cubicBezTo>
                        <a:pt x="260" y="274"/>
                        <a:pt x="260" y="274"/>
                        <a:pt x="260" y="274"/>
                      </a:cubicBezTo>
                      <a:cubicBezTo>
                        <a:pt x="260" y="274"/>
                        <a:pt x="259" y="274"/>
                        <a:pt x="258" y="274"/>
                      </a:cubicBezTo>
                      <a:cubicBezTo>
                        <a:pt x="256" y="275"/>
                        <a:pt x="257" y="276"/>
                        <a:pt x="257" y="276"/>
                      </a:cubicBezTo>
                      <a:cubicBezTo>
                        <a:pt x="258" y="276"/>
                        <a:pt x="259" y="278"/>
                        <a:pt x="259" y="278"/>
                      </a:cubicBezTo>
                      <a:cubicBezTo>
                        <a:pt x="259" y="278"/>
                        <a:pt x="256" y="279"/>
                        <a:pt x="256" y="279"/>
                      </a:cubicBezTo>
                      <a:cubicBezTo>
                        <a:pt x="255" y="280"/>
                        <a:pt x="255" y="280"/>
                        <a:pt x="255" y="281"/>
                      </a:cubicBezTo>
                      <a:cubicBezTo>
                        <a:pt x="255" y="281"/>
                        <a:pt x="254" y="282"/>
                        <a:pt x="254" y="283"/>
                      </a:cubicBezTo>
                      <a:cubicBezTo>
                        <a:pt x="254" y="283"/>
                        <a:pt x="253" y="282"/>
                        <a:pt x="252" y="282"/>
                      </a:cubicBezTo>
                      <a:cubicBezTo>
                        <a:pt x="251" y="282"/>
                        <a:pt x="251" y="281"/>
                        <a:pt x="251" y="281"/>
                      </a:cubicBezTo>
                      <a:cubicBezTo>
                        <a:pt x="250" y="282"/>
                        <a:pt x="250" y="282"/>
                        <a:pt x="250" y="282"/>
                      </a:cubicBezTo>
                      <a:cubicBezTo>
                        <a:pt x="249" y="282"/>
                        <a:pt x="249" y="282"/>
                        <a:pt x="249" y="282"/>
                      </a:cubicBezTo>
                      <a:cubicBezTo>
                        <a:pt x="249" y="282"/>
                        <a:pt x="248" y="281"/>
                        <a:pt x="248" y="280"/>
                      </a:cubicBezTo>
                      <a:cubicBezTo>
                        <a:pt x="248" y="280"/>
                        <a:pt x="248" y="280"/>
                        <a:pt x="248" y="280"/>
                      </a:cubicBezTo>
                      <a:cubicBezTo>
                        <a:pt x="247" y="280"/>
                        <a:pt x="246" y="280"/>
                        <a:pt x="246" y="279"/>
                      </a:cubicBezTo>
                      <a:cubicBezTo>
                        <a:pt x="245" y="277"/>
                        <a:pt x="245" y="277"/>
                        <a:pt x="245" y="277"/>
                      </a:cubicBezTo>
                      <a:cubicBezTo>
                        <a:pt x="245" y="277"/>
                        <a:pt x="243" y="278"/>
                        <a:pt x="243" y="279"/>
                      </a:cubicBezTo>
                      <a:cubicBezTo>
                        <a:pt x="242" y="279"/>
                        <a:pt x="243" y="279"/>
                        <a:pt x="242" y="278"/>
                      </a:cubicBezTo>
                      <a:cubicBezTo>
                        <a:pt x="241" y="278"/>
                        <a:pt x="241" y="279"/>
                        <a:pt x="241" y="279"/>
                      </a:cubicBezTo>
                      <a:cubicBezTo>
                        <a:pt x="241" y="279"/>
                        <a:pt x="241" y="279"/>
                        <a:pt x="241" y="279"/>
                      </a:cubicBezTo>
                      <a:cubicBezTo>
                        <a:pt x="241" y="280"/>
                        <a:pt x="240" y="280"/>
                        <a:pt x="240" y="280"/>
                      </a:cubicBezTo>
                      <a:cubicBezTo>
                        <a:pt x="240" y="281"/>
                        <a:pt x="239" y="280"/>
                        <a:pt x="239" y="280"/>
                      </a:cubicBezTo>
                      <a:cubicBezTo>
                        <a:pt x="238" y="280"/>
                        <a:pt x="237" y="280"/>
                        <a:pt x="237" y="280"/>
                      </a:cubicBezTo>
                      <a:cubicBezTo>
                        <a:pt x="237" y="280"/>
                        <a:pt x="237" y="279"/>
                        <a:pt x="237" y="279"/>
                      </a:cubicBezTo>
                      <a:cubicBezTo>
                        <a:pt x="235" y="280"/>
                        <a:pt x="235" y="280"/>
                        <a:pt x="235" y="280"/>
                      </a:cubicBezTo>
                      <a:cubicBezTo>
                        <a:pt x="235" y="280"/>
                        <a:pt x="235" y="281"/>
                        <a:pt x="235" y="281"/>
                      </a:cubicBezTo>
                      <a:cubicBezTo>
                        <a:pt x="235" y="281"/>
                        <a:pt x="234" y="281"/>
                        <a:pt x="233" y="282"/>
                      </a:cubicBezTo>
                      <a:cubicBezTo>
                        <a:pt x="231" y="282"/>
                        <a:pt x="232" y="281"/>
                        <a:pt x="231" y="282"/>
                      </a:cubicBezTo>
                      <a:cubicBezTo>
                        <a:pt x="231" y="282"/>
                        <a:pt x="231" y="282"/>
                        <a:pt x="231" y="283"/>
                      </a:cubicBezTo>
                      <a:cubicBezTo>
                        <a:pt x="231" y="283"/>
                        <a:pt x="232" y="283"/>
                        <a:pt x="231" y="284"/>
                      </a:cubicBezTo>
                      <a:cubicBezTo>
                        <a:pt x="230" y="285"/>
                        <a:pt x="230" y="284"/>
                        <a:pt x="230" y="284"/>
                      </a:cubicBezTo>
                      <a:cubicBezTo>
                        <a:pt x="229" y="284"/>
                        <a:pt x="228" y="285"/>
                        <a:pt x="228" y="285"/>
                      </a:cubicBezTo>
                      <a:cubicBezTo>
                        <a:pt x="228" y="285"/>
                        <a:pt x="228" y="286"/>
                        <a:pt x="228" y="286"/>
                      </a:cubicBezTo>
                      <a:cubicBezTo>
                        <a:pt x="228" y="286"/>
                        <a:pt x="227" y="286"/>
                        <a:pt x="226" y="286"/>
                      </a:cubicBezTo>
                      <a:cubicBezTo>
                        <a:pt x="225" y="286"/>
                        <a:pt x="226" y="287"/>
                        <a:pt x="226" y="287"/>
                      </a:cubicBezTo>
                      <a:cubicBezTo>
                        <a:pt x="226" y="287"/>
                        <a:pt x="226" y="288"/>
                        <a:pt x="225" y="289"/>
                      </a:cubicBezTo>
                      <a:cubicBezTo>
                        <a:pt x="225" y="289"/>
                        <a:pt x="225" y="290"/>
                        <a:pt x="225" y="291"/>
                      </a:cubicBezTo>
                      <a:cubicBezTo>
                        <a:pt x="225" y="291"/>
                        <a:pt x="225" y="291"/>
                        <a:pt x="225" y="293"/>
                      </a:cubicBezTo>
                      <a:cubicBezTo>
                        <a:pt x="225" y="294"/>
                        <a:pt x="225" y="294"/>
                        <a:pt x="225" y="294"/>
                      </a:cubicBezTo>
                      <a:cubicBezTo>
                        <a:pt x="225" y="294"/>
                        <a:pt x="224" y="294"/>
                        <a:pt x="224" y="294"/>
                      </a:cubicBezTo>
                      <a:cubicBezTo>
                        <a:pt x="224" y="293"/>
                        <a:pt x="223" y="294"/>
                        <a:pt x="223" y="294"/>
                      </a:cubicBezTo>
                      <a:cubicBezTo>
                        <a:pt x="223" y="294"/>
                        <a:pt x="222" y="293"/>
                        <a:pt x="222" y="292"/>
                      </a:cubicBezTo>
                      <a:cubicBezTo>
                        <a:pt x="222" y="292"/>
                        <a:pt x="221" y="292"/>
                        <a:pt x="221" y="292"/>
                      </a:cubicBezTo>
                      <a:cubicBezTo>
                        <a:pt x="221" y="292"/>
                        <a:pt x="219" y="293"/>
                        <a:pt x="219" y="293"/>
                      </a:cubicBezTo>
                      <a:cubicBezTo>
                        <a:pt x="219" y="293"/>
                        <a:pt x="219" y="294"/>
                        <a:pt x="219" y="294"/>
                      </a:cubicBezTo>
                      <a:cubicBezTo>
                        <a:pt x="218" y="294"/>
                        <a:pt x="216" y="295"/>
                        <a:pt x="216" y="295"/>
                      </a:cubicBezTo>
                      <a:cubicBezTo>
                        <a:pt x="216" y="295"/>
                        <a:pt x="215" y="295"/>
                        <a:pt x="215" y="295"/>
                      </a:cubicBezTo>
                      <a:cubicBezTo>
                        <a:pt x="214" y="294"/>
                        <a:pt x="214" y="294"/>
                        <a:pt x="214" y="294"/>
                      </a:cubicBezTo>
                      <a:cubicBezTo>
                        <a:pt x="214" y="293"/>
                        <a:pt x="214" y="293"/>
                        <a:pt x="214" y="293"/>
                      </a:cubicBezTo>
                      <a:cubicBezTo>
                        <a:pt x="216" y="291"/>
                        <a:pt x="216" y="291"/>
                        <a:pt x="216" y="291"/>
                      </a:cubicBezTo>
                      <a:cubicBezTo>
                        <a:pt x="215" y="288"/>
                        <a:pt x="215" y="288"/>
                        <a:pt x="215" y="288"/>
                      </a:cubicBezTo>
                      <a:cubicBezTo>
                        <a:pt x="213" y="286"/>
                        <a:pt x="213" y="286"/>
                        <a:pt x="213" y="286"/>
                      </a:cubicBezTo>
                      <a:cubicBezTo>
                        <a:pt x="213" y="285"/>
                        <a:pt x="213" y="285"/>
                        <a:pt x="213" y="285"/>
                      </a:cubicBezTo>
                      <a:cubicBezTo>
                        <a:pt x="210" y="285"/>
                        <a:pt x="210" y="285"/>
                        <a:pt x="210" y="285"/>
                      </a:cubicBezTo>
                      <a:cubicBezTo>
                        <a:pt x="208" y="284"/>
                        <a:pt x="208" y="284"/>
                        <a:pt x="208" y="284"/>
                      </a:cubicBezTo>
                      <a:cubicBezTo>
                        <a:pt x="207" y="283"/>
                        <a:pt x="207" y="283"/>
                        <a:pt x="207" y="283"/>
                      </a:cubicBezTo>
                      <a:cubicBezTo>
                        <a:pt x="204" y="281"/>
                        <a:pt x="204" y="281"/>
                        <a:pt x="204" y="281"/>
                      </a:cubicBezTo>
                      <a:cubicBezTo>
                        <a:pt x="202" y="275"/>
                        <a:pt x="202" y="275"/>
                        <a:pt x="202" y="275"/>
                      </a:cubicBezTo>
                      <a:cubicBezTo>
                        <a:pt x="199" y="275"/>
                        <a:pt x="199" y="275"/>
                        <a:pt x="199" y="275"/>
                      </a:cubicBezTo>
                      <a:cubicBezTo>
                        <a:pt x="199" y="275"/>
                        <a:pt x="197" y="277"/>
                        <a:pt x="197" y="278"/>
                      </a:cubicBezTo>
                      <a:cubicBezTo>
                        <a:pt x="197" y="279"/>
                        <a:pt x="195" y="279"/>
                        <a:pt x="195" y="279"/>
                      </a:cubicBezTo>
                      <a:cubicBezTo>
                        <a:pt x="193" y="282"/>
                        <a:pt x="193" y="282"/>
                        <a:pt x="193" y="282"/>
                      </a:cubicBezTo>
                      <a:cubicBezTo>
                        <a:pt x="193" y="282"/>
                        <a:pt x="193" y="286"/>
                        <a:pt x="193" y="287"/>
                      </a:cubicBezTo>
                      <a:cubicBezTo>
                        <a:pt x="193" y="288"/>
                        <a:pt x="191" y="286"/>
                        <a:pt x="191" y="286"/>
                      </a:cubicBezTo>
                      <a:cubicBezTo>
                        <a:pt x="191" y="286"/>
                        <a:pt x="189" y="287"/>
                        <a:pt x="188" y="288"/>
                      </a:cubicBezTo>
                      <a:cubicBezTo>
                        <a:pt x="187" y="289"/>
                        <a:pt x="185" y="289"/>
                        <a:pt x="185" y="289"/>
                      </a:cubicBezTo>
                      <a:cubicBezTo>
                        <a:pt x="185" y="289"/>
                        <a:pt x="184" y="287"/>
                        <a:pt x="183" y="286"/>
                      </a:cubicBezTo>
                      <a:cubicBezTo>
                        <a:pt x="183" y="286"/>
                        <a:pt x="183" y="285"/>
                        <a:pt x="183" y="283"/>
                      </a:cubicBezTo>
                      <a:cubicBezTo>
                        <a:pt x="183" y="282"/>
                        <a:pt x="181" y="284"/>
                        <a:pt x="181" y="284"/>
                      </a:cubicBezTo>
                      <a:cubicBezTo>
                        <a:pt x="181" y="284"/>
                        <a:pt x="181" y="284"/>
                        <a:pt x="181" y="284"/>
                      </a:cubicBezTo>
                      <a:cubicBezTo>
                        <a:pt x="181" y="283"/>
                        <a:pt x="181" y="283"/>
                        <a:pt x="181" y="283"/>
                      </a:cubicBezTo>
                      <a:cubicBezTo>
                        <a:pt x="180" y="281"/>
                        <a:pt x="179" y="280"/>
                        <a:pt x="179" y="280"/>
                      </a:cubicBezTo>
                      <a:cubicBezTo>
                        <a:pt x="179" y="280"/>
                        <a:pt x="178" y="278"/>
                        <a:pt x="178" y="276"/>
                      </a:cubicBezTo>
                      <a:cubicBezTo>
                        <a:pt x="178" y="275"/>
                        <a:pt x="174" y="273"/>
                        <a:pt x="174" y="273"/>
                      </a:cubicBezTo>
                      <a:cubicBezTo>
                        <a:pt x="174" y="273"/>
                        <a:pt x="175" y="275"/>
                        <a:pt x="173" y="273"/>
                      </a:cubicBezTo>
                      <a:cubicBezTo>
                        <a:pt x="171" y="270"/>
                        <a:pt x="169" y="270"/>
                        <a:pt x="169" y="270"/>
                      </a:cubicBezTo>
                      <a:cubicBezTo>
                        <a:pt x="168" y="262"/>
                        <a:pt x="168" y="262"/>
                        <a:pt x="168" y="262"/>
                      </a:cubicBezTo>
                      <a:cubicBezTo>
                        <a:pt x="160" y="264"/>
                        <a:pt x="160" y="264"/>
                        <a:pt x="160" y="264"/>
                      </a:cubicBezTo>
                      <a:cubicBezTo>
                        <a:pt x="160" y="264"/>
                        <a:pt x="155" y="262"/>
                        <a:pt x="154" y="261"/>
                      </a:cubicBezTo>
                      <a:cubicBezTo>
                        <a:pt x="153" y="260"/>
                        <a:pt x="150" y="259"/>
                        <a:pt x="150" y="259"/>
                      </a:cubicBezTo>
                      <a:cubicBezTo>
                        <a:pt x="147" y="262"/>
                        <a:pt x="147" y="262"/>
                        <a:pt x="147" y="262"/>
                      </a:cubicBezTo>
                      <a:cubicBezTo>
                        <a:pt x="144" y="262"/>
                        <a:pt x="144" y="262"/>
                        <a:pt x="144" y="262"/>
                      </a:cubicBezTo>
                      <a:cubicBezTo>
                        <a:pt x="144" y="262"/>
                        <a:pt x="140" y="261"/>
                        <a:pt x="139" y="260"/>
                      </a:cubicBezTo>
                      <a:cubicBezTo>
                        <a:pt x="137" y="258"/>
                        <a:pt x="138" y="257"/>
                        <a:pt x="137" y="257"/>
                      </a:cubicBezTo>
                      <a:cubicBezTo>
                        <a:pt x="135" y="257"/>
                        <a:pt x="134" y="255"/>
                        <a:pt x="134" y="255"/>
                      </a:cubicBezTo>
                      <a:cubicBezTo>
                        <a:pt x="134" y="255"/>
                        <a:pt x="136" y="252"/>
                        <a:pt x="137" y="251"/>
                      </a:cubicBezTo>
                      <a:cubicBezTo>
                        <a:pt x="137" y="250"/>
                        <a:pt x="139" y="251"/>
                        <a:pt x="138" y="248"/>
                      </a:cubicBezTo>
                      <a:cubicBezTo>
                        <a:pt x="136" y="246"/>
                        <a:pt x="135" y="245"/>
                        <a:pt x="135" y="245"/>
                      </a:cubicBezTo>
                      <a:cubicBezTo>
                        <a:pt x="135" y="245"/>
                        <a:pt x="135" y="247"/>
                        <a:pt x="133" y="248"/>
                      </a:cubicBezTo>
                      <a:cubicBezTo>
                        <a:pt x="131" y="248"/>
                        <a:pt x="128" y="249"/>
                        <a:pt x="128" y="249"/>
                      </a:cubicBezTo>
                      <a:cubicBezTo>
                        <a:pt x="117" y="244"/>
                        <a:pt x="117" y="244"/>
                        <a:pt x="117" y="244"/>
                      </a:cubicBezTo>
                      <a:cubicBezTo>
                        <a:pt x="117" y="244"/>
                        <a:pt x="114" y="243"/>
                        <a:pt x="113" y="243"/>
                      </a:cubicBezTo>
                      <a:cubicBezTo>
                        <a:pt x="112" y="244"/>
                        <a:pt x="108" y="243"/>
                        <a:pt x="108" y="243"/>
                      </a:cubicBezTo>
                      <a:cubicBezTo>
                        <a:pt x="110" y="247"/>
                        <a:pt x="110" y="247"/>
                        <a:pt x="110" y="247"/>
                      </a:cubicBezTo>
                      <a:cubicBezTo>
                        <a:pt x="112" y="253"/>
                        <a:pt x="112" y="253"/>
                        <a:pt x="112" y="253"/>
                      </a:cubicBezTo>
                      <a:cubicBezTo>
                        <a:pt x="106" y="255"/>
                        <a:pt x="106" y="255"/>
                        <a:pt x="106" y="255"/>
                      </a:cubicBezTo>
                      <a:cubicBezTo>
                        <a:pt x="105" y="260"/>
                        <a:pt x="105" y="260"/>
                        <a:pt x="105" y="260"/>
                      </a:cubicBezTo>
                      <a:cubicBezTo>
                        <a:pt x="105" y="260"/>
                        <a:pt x="99" y="264"/>
                        <a:pt x="99" y="262"/>
                      </a:cubicBezTo>
                      <a:cubicBezTo>
                        <a:pt x="98" y="261"/>
                        <a:pt x="97" y="257"/>
                        <a:pt x="97" y="257"/>
                      </a:cubicBezTo>
                      <a:cubicBezTo>
                        <a:pt x="97" y="257"/>
                        <a:pt x="96" y="255"/>
                        <a:pt x="95" y="254"/>
                      </a:cubicBezTo>
                      <a:cubicBezTo>
                        <a:pt x="93" y="253"/>
                        <a:pt x="92" y="252"/>
                        <a:pt x="92" y="252"/>
                      </a:cubicBezTo>
                      <a:cubicBezTo>
                        <a:pt x="89" y="251"/>
                        <a:pt x="89" y="251"/>
                        <a:pt x="89" y="251"/>
                      </a:cubicBezTo>
                      <a:cubicBezTo>
                        <a:pt x="89" y="251"/>
                        <a:pt x="88" y="247"/>
                        <a:pt x="87" y="247"/>
                      </a:cubicBezTo>
                      <a:cubicBezTo>
                        <a:pt x="86" y="247"/>
                        <a:pt x="85" y="247"/>
                        <a:pt x="85" y="247"/>
                      </a:cubicBezTo>
                      <a:cubicBezTo>
                        <a:pt x="85" y="244"/>
                        <a:pt x="85" y="244"/>
                        <a:pt x="85" y="244"/>
                      </a:cubicBezTo>
                      <a:cubicBezTo>
                        <a:pt x="87" y="241"/>
                        <a:pt x="87" y="241"/>
                        <a:pt x="87" y="241"/>
                      </a:cubicBezTo>
                      <a:cubicBezTo>
                        <a:pt x="87" y="241"/>
                        <a:pt x="88" y="242"/>
                        <a:pt x="88" y="238"/>
                      </a:cubicBezTo>
                      <a:cubicBezTo>
                        <a:pt x="89" y="233"/>
                        <a:pt x="86" y="233"/>
                        <a:pt x="86" y="233"/>
                      </a:cubicBezTo>
                      <a:cubicBezTo>
                        <a:pt x="83" y="234"/>
                        <a:pt x="83" y="234"/>
                        <a:pt x="83" y="234"/>
                      </a:cubicBezTo>
                      <a:cubicBezTo>
                        <a:pt x="79" y="236"/>
                        <a:pt x="79" y="236"/>
                        <a:pt x="79" y="236"/>
                      </a:cubicBezTo>
                      <a:cubicBezTo>
                        <a:pt x="77" y="236"/>
                        <a:pt x="77" y="236"/>
                        <a:pt x="77" y="236"/>
                      </a:cubicBezTo>
                      <a:cubicBezTo>
                        <a:pt x="76" y="236"/>
                        <a:pt x="74" y="233"/>
                        <a:pt x="74" y="233"/>
                      </a:cubicBezTo>
                      <a:cubicBezTo>
                        <a:pt x="74" y="233"/>
                        <a:pt x="76" y="230"/>
                        <a:pt x="73" y="233"/>
                      </a:cubicBezTo>
                      <a:cubicBezTo>
                        <a:pt x="70" y="236"/>
                        <a:pt x="68" y="232"/>
                        <a:pt x="68" y="232"/>
                      </a:cubicBezTo>
                      <a:cubicBezTo>
                        <a:pt x="67" y="231"/>
                        <a:pt x="67" y="231"/>
                        <a:pt x="67" y="231"/>
                      </a:cubicBezTo>
                      <a:cubicBezTo>
                        <a:pt x="67" y="231"/>
                        <a:pt x="67" y="231"/>
                        <a:pt x="66" y="231"/>
                      </a:cubicBezTo>
                      <a:cubicBezTo>
                        <a:pt x="65" y="232"/>
                        <a:pt x="62" y="232"/>
                        <a:pt x="62" y="231"/>
                      </a:cubicBezTo>
                      <a:cubicBezTo>
                        <a:pt x="61" y="229"/>
                        <a:pt x="59" y="228"/>
                        <a:pt x="59" y="228"/>
                      </a:cubicBezTo>
                      <a:cubicBezTo>
                        <a:pt x="56" y="229"/>
                        <a:pt x="56" y="229"/>
                        <a:pt x="56" y="229"/>
                      </a:cubicBezTo>
                      <a:cubicBezTo>
                        <a:pt x="56" y="229"/>
                        <a:pt x="54" y="229"/>
                        <a:pt x="53" y="229"/>
                      </a:cubicBezTo>
                      <a:cubicBezTo>
                        <a:pt x="53" y="228"/>
                        <a:pt x="53" y="227"/>
                        <a:pt x="51" y="226"/>
                      </a:cubicBezTo>
                      <a:cubicBezTo>
                        <a:pt x="49" y="225"/>
                        <a:pt x="48" y="222"/>
                        <a:pt x="48" y="222"/>
                      </a:cubicBezTo>
                      <a:cubicBezTo>
                        <a:pt x="48" y="222"/>
                        <a:pt x="49" y="220"/>
                        <a:pt x="47" y="220"/>
                      </a:cubicBezTo>
                      <a:cubicBezTo>
                        <a:pt x="46" y="220"/>
                        <a:pt x="44" y="219"/>
                        <a:pt x="44" y="219"/>
                      </a:cubicBezTo>
                      <a:cubicBezTo>
                        <a:pt x="44" y="219"/>
                        <a:pt x="41" y="217"/>
                        <a:pt x="41" y="218"/>
                      </a:cubicBezTo>
                      <a:cubicBezTo>
                        <a:pt x="40" y="219"/>
                        <a:pt x="40" y="221"/>
                        <a:pt x="40" y="222"/>
                      </a:cubicBezTo>
                      <a:cubicBezTo>
                        <a:pt x="40" y="222"/>
                        <a:pt x="41" y="225"/>
                        <a:pt x="41" y="225"/>
                      </a:cubicBezTo>
                      <a:cubicBezTo>
                        <a:pt x="41" y="225"/>
                        <a:pt x="37" y="227"/>
                        <a:pt x="36" y="227"/>
                      </a:cubicBezTo>
                      <a:cubicBezTo>
                        <a:pt x="35" y="227"/>
                        <a:pt x="34" y="228"/>
                        <a:pt x="34" y="226"/>
                      </a:cubicBezTo>
                      <a:cubicBezTo>
                        <a:pt x="34" y="225"/>
                        <a:pt x="36" y="220"/>
                        <a:pt x="36" y="220"/>
                      </a:cubicBezTo>
                      <a:cubicBezTo>
                        <a:pt x="37" y="219"/>
                        <a:pt x="38" y="218"/>
                        <a:pt x="38" y="218"/>
                      </a:cubicBezTo>
                      <a:cubicBezTo>
                        <a:pt x="38" y="218"/>
                        <a:pt x="37" y="216"/>
                        <a:pt x="37" y="215"/>
                      </a:cubicBezTo>
                      <a:cubicBezTo>
                        <a:pt x="37" y="214"/>
                        <a:pt x="36" y="214"/>
                        <a:pt x="38" y="211"/>
                      </a:cubicBezTo>
                      <a:cubicBezTo>
                        <a:pt x="41" y="208"/>
                        <a:pt x="41" y="206"/>
                        <a:pt x="41" y="206"/>
                      </a:cubicBezTo>
                      <a:cubicBezTo>
                        <a:pt x="41" y="206"/>
                        <a:pt x="39" y="203"/>
                        <a:pt x="38" y="202"/>
                      </a:cubicBezTo>
                      <a:cubicBezTo>
                        <a:pt x="38" y="202"/>
                        <a:pt x="35" y="198"/>
                        <a:pt x="35" y="198"/>
                      </a:cubicBezTo>
                      <a:cubicBezTo>
                        <a:pt x="35" y="197"/>
                        <a:pt x="35" y="195"/>
                        <a:pt x="35" y="195"/>
                      </a:cubicBezTo>
                      <a:cubicBezTo>
                        <a:pt x="35" y="195"/>
                        <a:pt x="33" y="193"/>
                        <a:pt x="32" y="193"/>
                      </a:cubicBezTo>
                      <a:cubicBezTo>
                        <a:pt x="31" y="193"/>
                        <a:pt x="28" y="192"/>
                        <a:pt x="28" y="192"/>
                      </a:cubicBezTo>
                      <a:cubicBezTo>
                        <a:pt x="28" y="189"/>
                        <a:pt x="28" y="189"/>
                        <a:pt x="28" y="189"/>
                      </a:cubicBezTo>
                      <a:cubicBezTo>
                        <a:pt x="28" y="184"/>
                        <a:pt x="28" y="184"/>
                        <a:pt x="28" y="184"/>
                      </a:cubicBezTo>
                      <a:cubicBezTo>
                        <a:pt x="24" y="179"/>
                        <a:pt x="24" y="179"/>
                        <a:pt x="24" y="179"/>
                      </a:cubicBezTo>
                      <a:cubicBezTo>
                        <a:pt x="23" y="176"/>
                        <a:pt x="23" y="176"/>
                        <a:pt x="23" y="176"/>
                      </a:cubicBezTo>
                      <a:cubicBezTo>
                        <a:pt x="23" y="176"/>
                        <a:pt x="24" y="174"/>
                        <a:pt x="24" y="172"/>
                      </a:cubicBezTo>
                      <a:cubicBezTo>
                        <a:pt x="25" y="171"/>
                        <a:pt x="26" y="168"/>
                        <a:pt x="26" y="168"/>
                      </a:cubicBezTo>
                      <a:cubicBezTo>
                        <a:pt x="24" y="164"/>
                        <a:pt x="24" y="164"/>
                        <a:pt x="24" y="164"/>
                      </a:cubicBezTo>
                      <a:cubicBezTo>
                        <a:pt x="24" y="164"/>
                        <a:pt x="23" y="163"/>
                        <a:pt x="24" y="162"/>
                      </a:cubicBezTo>
                      <a:cubicBezTo>
                        <a:pt x="24" y="161"/>
                        <a:pt x="23" y="155"/>
                        <a:pt x="23" y="155"/>
                      </a:cubicBezTo>
                      <a:cubicBezTo>
                        <a:pt x="23" y="155"/>
                        <a:pt x="22" y="149"/>
                        <a:pt x="21" y="150"/>
                      </a:cubicBezTo>
                      <a:cubicBezTo>
                        <a:pt x="19" y="150"/>
                        <a:pt x="18" y="146"/>
                        <a:pt x="18" y="146"/>
                      </a:cubicBezTo>
                      <a:cubicBezTo>
                        <a:pt x="20" y="139"/>
                        <a:pt x="20" y="139"/>
                        <a:pt x="20" y="139"/>
                      </a:cubicBezTo>
                      <a:cubicBezTo>
                        <a:pt x="20" y="139"/>
                        <a:pt x="21" y="134"/>
                        <a:pt x="18" y="132"/>
                      </a:cubicBezTo>
                      <a:cubicBezTo>
                        <a:pt x="15" y="131"/>
                        <a:pt x="9" y="128"/>
                        <a:pt x="8" y="127"/>
                      </a:cubicBezTo>
                      <a:cubicBezTo>
                        <a:pt x="8" y="127"/>
                        <a:pt x="5" y="124"/>
                        <a:pt x="4" y="123"/>
                      </a:cubicBezTo>
                      <a:cubicBezTo>
                        <a:pt x="3" y="123"/>
                        <a:pt x="2" y="122"/>
                        <a:pt x="2" y="122"/>
                      </a:cubicBezTo>
                      <a:cubicBezTo>
                        <a:pt x="4" y="113"/>
                        <a:pt x="4" y="113"/>
                        <a:pt x="4" y="113"/>
                      </a:cubicBezTo>
                      <a:cubicBezTo>
                        <a:pt x="9" y="109"/>
                        <a:pt x="9" y="109"/>
                        <a:pt x="9" y="109"/>
                      </a:cubicBezTo>
                      <a:cubicBezTo>
                        <a:pt x="9" y="101"/>
                        <a:pt x="9" y="101"/>
                        <a:pt x="9" y="101"/>
                      </a:cubicBezTo>
                      <a:cubicBezTo>
                        <a:pt x="9" y="92"/>
                        <a:pt x="9" y="92"/>
                        <a:pt x="9" y="92"/>
                      </a:cubicBezTo>
                      <a:cubicBezTo>
                        <a:pt x="9" y="92"/>
                        <a:pt x="10" y="91"/>
                        <a:pt x="7" y="87"/>
                      </a:cubicBezTo>
                      <a:cubicBezTo>
                        <a:pt x="5" y="84"/>
                        <a:pt x="4" y="80"/>
                        <a:pt x="4" y="80"/>
                      </a:cubicBezTo>
                      <a:cubicBezTo>
                        <a:pt x="4" y="79"/>
                        <a:pt x="3" y="75"/>
                        <a:pt x="2" y="74"/>
                      </a:cubicBezTo>
                      <a:cubicBezTo>
                        <a:pt x="2" y="73"/>
                        <a:pt x="2" y="72"/>
                        <a:pt x="2" y="70"/>
                      </a:cubicBezTo>
                      <a:cubicBezTo>
                        <a:pt x="3" y="69"/>
                        <a:pt x="0" y="66"/>
                        <a:pt x="0" y="66"/>
                      </a:cubicBezTo>
                      <a:cubicBezTo>
                        <a:pt x="0" y="66"/>
                        <a:pt x="1" y="64"/>
                        <a:pt x="2" y="64"/>
                      </a:cubicBezTo>
                      <a:cubicBezTo>
                        <a:pt x="3" y="64"/>
                        <a:pt x="4" y="63"/>
                        <a:pt x="6" y="63"/>
                      </a:cubicBezTo>
                      <a:cubicBezTo>
                        <a:pt x="8" y="63"/>
                        <a:pt x="9" y="61"/>
                        <a:pt x="11" y="61"/>
                      </a:cubicBezTo>
                      <a:cubicBezTo>
                        <a:pt x="12" y="60"/>
                        <a:pt x="12" y="58"/>
                        <a:pt x="13" y="58"/>
                      </a:cubicBezTo>
                      <a:cubicBezTo>
                        <a:pt x="15" y="57"/>
                        <a:pt x="17" y="58"/>
                        <a:pt x="20" y="56"/>
                      </a:cubicBezTo>
                      <a:cubicBezTo>
                        <a:pt x="23" y="55"/>
                        <a:pt x="23" y="54"/>
                        <a:pt x="25" y="52"/>
                      </a:cubicBezTo>
                      <a:cubicBezTo>
                        <a:pt x="26" y="51"/>
                        <a:pt x="45" y="45"/>
                        <a:pt x="45" y="45"/>
                      </a:cubicBezTo>
                      <a:cubicBezTo>
                        <a:pt x="45" y="45"/>
                        <a:pt x="50" y="42"/>
                        <a:pt x="52" y="42"/>
                      </a:cubicBezTo>
                      <a:cubicBezTo>
                        <a:pt x="53" y="41"/>
                        <a:pt x="53" y="40"/>
                        <a:pt x="55" y="40"/>
                      </a:cubicBezTo>
                      <a:cubicBezTo>
                        <a:pt x="56" y="41"/>
                        <a:pt x="60" y="41"/>
                        <a:pt x="60" y="41"/>
                      </a:cubicBezTo>
                      <a:cubicBezTo>
                        <a:pt x="60" y="41"/>
                        <a:pt x="61" y="38"/>
                        <a:pt x="62" y="37"/>
                      </a:cubicBezTo>
                      <a:cubicBezTo>
                        <a:pt x="63" y="35"/>
                        <a:pt x="64" y="33"/>
                        <a:pt x="64" y="32"/>
                      </a:cubicBezTo>
                      <a:cubicBezTo>
                        <a:pt x="65" y="30"/>
                        <a:pt x="66" y="29"/>
                        <a:pt x="67" y="28"/>
                      </a:cubicBezTo>
                      <a:cubicBezTo>
                        <a:pt x="68" y="26"/>
                        <a:pt x="69" y="25"/>
                        <a:pt x="69" y="25"/>
                      </a:cubicBezTo>
                      <a:cubicBezTo>
                        <a:pt x="70" y="25"/>
                        <a:pt x="76" y="22"/>
                        <a:pt x="77" y="22"/>
                      </a:cubicBezTo>
                      <a:cubicBezTo>
                        <a:pt x="78" y="21"/>
                        <a:pt x="86" y="18"/>
                        <a:pt x="86" y="17"/>
                      </a:cubicBezTo>
                      <a:cubicBezTo>
                        <a:pt x="86" y="17"/>
                        <a:pt x="89" y="13"/>
                        <a:pt x="89" y="12"/>
                      </a:cubicBezTo>
                      <a:cubicBezTo>
                        <a:pt x="89" y="11"/>
                        <a:pt x="93" y="10"/>
                        <a:pt x="93" y="10"/>
                      </a:cubicBezTo>
                      <a:cubicBezTo>
                        <a:pt x="94" y="10"/>
                        <a:pt x="94" y="10"/>
                        <a:pt x="95" y="9"/>
                      </a:cubicBezTo>
                      <a:cubicBezTo>
                        <a:pt x="97" y="9"/>
                        <a:pt x="106" y="5"/>
                        <a:pt x="106" y="5"/>
                      </a:cubicBezTo>
                      <a:cubicBezTo>
                        <a:pt x="106" y="5"/>
                        <a:pt x="114" y="2"/>
                        <a:pt x="114" y="2"/>
                      </a:cubicBezTo>
                      <a:cubicBezTo>
                        <a:pt x="115" y="3"/>
                        <a:pt x="120" y="2"/>
                        <a:pt x="121" y="2"/>
                      </a:cubicBezTo>
                      <a:cubicBezTo>
                        <a:pt x="121" y="3"/>
                        <a:pt x="127" y="2"/>
                        <a:pt x="127" y="2"/>
                      </a:cubicBezTo>
                      <a:cubicBezTo>
                        <a:pt x="127" y="2"/>
                        <a:pt x="129" y="3"/>
                        <a:pt x="129" y="4"/>
                      </a:cubicBezTo>
                      <a:cubicBezTo>
                        <a:pt x="129" y="5"/>
                        <a:pt x="127" y="6"/>
                        <a:pt x="128" y="7"/>
                      </a:cubicBezTo>
                      <a:cubicBezTo>
                        <a:pt x="129" y="8"/>
                        <a:pt x="133" y="11"/>
                        <a:pt x="133" y="11"/>
                      </a:cubicBezTo>
                      <a:cubicBezTo>
                        <a:pt x="133" y="11"/>
                        <a:pt x="132" y="14"/>
                        <a:pt x="132" y="14"/>
                      </a:cubicBezTo>
                      <a:cubicBezTo>
                        <a:pt x="132" y="15"/>
                        <a:pt x="133" y="16"/>
                        <a:pt x="134" y="18"/>
                      </a:cubicBezTo>
                      <a:cubicBezTo>
                        <a:pt x="135" y="19"/>
                        <a:pt x="137" y="21"/>
                        <a:pt x="137" y="21"/>
                      </a:cubicBezTo>
                      <a:cubicBezTo>
                        <a:pt x="137" y="21"/>
                        <a:pt x="136" y="22"/>
                        <a:pt x="140" y="24"/>
                      </a:cubicBezTo>
                      <a:cubicBezTo>
                        <a:pt x="144" y="26"/>
                        <a:pt x="147" y="24"/>
                        <a:pt x="147" y="24"/>
                      </a:cubicBezTo>
                      <a:cubicBezTo>
                        <a:pt x="147" y="24"/>
                        <a:pt x="150" y="24"/>
                        <a:pt x="151" y="24"/>
                      </a:cubicBezTo>
                      <a:cubicBezTo>
                        <a:pt x="152" y="24"/>
                        <a:pt x="155" y="23"/>
                        <a:pt x="155" y="23"/>
                      </a:cubicBezTo>
                      <a:close/>
                    </a:path>
                  </a:pathLst>
                </a:custGeom>
                <a:solidFill>
                  <a:srgbClr val="E6EFF1"/>
                </a:solidFill>
                <a:ln w="12700" cap="rnd" cmpd="sng">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Lato Light"/>
                  </a:endParaRPr>
                </a:p>
              </p:txBody>
            </p:sp>
            <p:sp>
              <p:nvSpPr>
                <p:cNvPr id="230" name="Freeform 39">
                  <a:extLst>
                    <a:ext uri="{FF2B5EF4-FFF2-40B4-BE49-F238E27FC236}">
                      <a16:creationId xmlns:a16="http://schemas.microsoft.com/office/drawing/2014/main" id="{24E7714A-F678-87E6-0B14-2126225005BB}"/>
                    </a:ext>
                  </a:extLst>
                </p:cNvPr>
                <p:cNvSpPr>
                  <a:spLocks/>
                </p:cNvSpPr>
                <p:nvPr/>
              </p:nvSpPr>
              <p:spPr bwMode="auto">
                <a:xfrm>
                  <a:off x="1980289" y="3109090"/>
                  <a:ext cx="477887" cy="525166"/>
                </a:xfrm>
                <a:custGeom>
                  <a:avLst/>
                  <a:gdLst>
                    <a:gd name="T0" fmla="*/ 115 w 166"/>
                    <a:gd name="T1" fmla="*/ 170 h 188"/>
                    <a:gd name="T2" fmla="*/ 92 w 166"/>
                    <a:gd name="T3" fmla="*/ 176 h 188"/>
                    <a:gd name="T4" fmla="*/ 71 w 166"/>
                    <a:gd name="T5" fmla="*/ 177 h 188"/>
                    <a:gd name="T6" fmla="*/ 50 w 166"/>
                    <a:gd name="T7" fmla="*/ 188 h 188"/>
                    <a:gd name="T8" fmla="*/ 19 w 166"/>
                    <a:gd name="T9" fmla="*/ 183 h 188"/>
                    <a:gd name="T10" fmla="*/ 18 w 166"/>
                    <a:gd name="T11" fmla="*/ 180 h 188"/>
                    <a:gd name="T12" fmla="*/ 22 w 166"/>
                    <a:gd name="T13" fmla="*/ 175 h 188"/>
                    <a:gd name="T14" fmla="*/ 9 w 166"/>
                    <a:gd name="T15" fmla="*/ 171 h 188"/>
                    <a:gd name="T16" fmla="*/ 21 w 166"/>
                    <a:gd name="T17" fmla="*/ 165 h 188"/>
                    <a:gd name="T18" fmla="*/ 7 w 166"/>
                    <a:gd name="T19" fmla="*/ 161 h 188"/>
                    <a:gd name="T20" fmla="*/ 5 w 166"/>
                    <a:gd name="T21" fmla="*/ 157 h 188"/>
                    <a:gd name="T22" fmla="*/ 18 w 166"/>
                    <a:gd name="T23" fmla="*/ 152 h 188"/>
                    <a:gd name="T24" fmla="*/ 20 w 166"/>
                    <a:gd name="T25" fmla="*/ 148 h 188"/>
                    <a:gd name="T26" fmla="*/ 3 w 166"/>
                    <a:gd name="T27" fmla="*/ 144 h 188"/>
                    <a:gd name="T28" fmla="*/ 15 w 166"/>
                    <a:gd name="T29" fmla="*/ 138 h 188"/>
                    <a:gd name="T30" fmla="*/ 23 w 166"/>
                    <a:gd name="T31" fmla="*/ 144 h 188"/>
                    <a:gd name="T32" fmla="*/ 27 w 166"/>
                    <a:gd name="T33" fmla="*/ 134 h 188"/>
                    <a:gd name="T34" fmla="*/ 40 w 166"/>
                    <a:gd name="T35" fmla="*/ 130 h 188"/>
                    <a:gd name="T36" fmla="*/ 56 w 166"/>
                    <a:gd name="T37" fmla="*/ 131 h 188"/>
                    <a:gd name="T38" fmla="*/ 54 w 166"/>
                    <a:gd name="T39" fmla="*/ 129 h 188"/>
                    <a:gd name="T40" fmla="*/ 38 w 166"/>
                    <a:gd name="T41" fmla="*/ 127 h 188"/>
                    <a:gd name="T42" fmla="*/ 36 w 166"/>
                    <a:gd name="T43" fmla="*/ 123 h 188"/>
                    <a:gd name="T44" fmla="*/ 49 w 166"/>
                    <a:gd name="T45" fmla="*/ 112 h 188"/>
                    <a:gd name="T46" fmla="*/ 62 w 166"/>
                    <a:gd name="T47" fmla="*/ 104 h 188"/>
                    <a:gd name="T48" fmla="*/ 64 w 166"/>
                    <a:gd name="T49" fmla="*/ 97 h 188"/>
                    <a:gd name="T50" fmla="*/ 44 w 166"/>
                    <a:gd name="T51" fmla="*/ 94 h 188"/>
                    <a:gd name="T52" fmla="*/ 45 w 166"/>
                    <a:gd name="T53" fmla="*/ 89 h 188"/>
                    <a:gd name="T54" fmla="*/ 38 w 166"/>
                    <a:gd name="T55" fmla="*/ 84 h 188"/>
                    <a:gd name="T56" fmla="*/ 36 w 166"/>
                    <a:gd name="T57" fmla="*/ 78 h 188"/>
                    <a:gd name="T58" fmla="*/ 39 w 166"/>
                    <a:gd name="T59" fmla="*/ 71 h 188"/>
                    <a:gd name="T60" fmla="*/ 48 w 166"/>
                    <a:gd name="T61" fmla="*/ 64 h 188"/>
                    <a:gd name="T62" fmla="*/ 48 w 166"/>
                    <a:gd name="T63" fmla="*/ 59 h 188"/>
                    <a:gd name="T64" fmla="*/ 39 w 166"/>
                    <a:gd name="T65" fmla="*/ 49 h 188"/>
                    <a:gd name="T66" fmla="*/ 49 w 166"/>
                    <a:gd name="T67" fmla="*/ 45 h 188"/>
                    <a:gd name="T68" fmla="*/ 45 w 166"/>
                    <a:gd name="T69" fmla="*/ 45 h 188"/>
                    <a:gd name="T70" fmla="*/ 56 w 166"/>
                    <a:gd name="T71" fmla="*/ 38 h 188"/>
                    <a:gd name="T72" fmla="*/ 70 w 166"/>
                    <a:gd name="T73" fmla="*/ 40 h 188"/>
                    <a:gd name="T74" fmla="*/ 81 w 166"/>
                    <a:gd name="T75" fmla="*/ 45 h 188"/>
                    <a:gd name="T76" fmla="*/ 92 w 166"/>
                    <a:gd name="T77" fmla="*/ 48 h 188"/>
                    <a:gd name="T78" fmla="*/ 107 w 166"/>
                    <a:gd name="T79" fmla="*/ 39 h 188"/>
                    <a:gd name="T80" fmla="*/ 98 w 166"/>
                    <a:gd name="T81" fmla="*/ 31 h 188"/>
                    <a:gd name="T82" fmla="*/ 102 w 166"/>
                    <a:gd name="T83" fmla="*/ 20 h 188"/>
                    <a:gd name="T84" fmla="*/ 107 w 166"/>
                    <a:gd name="T85" fmla="*/ 12 h 188"/>
                    <a:gd name="T86" fmla="*/ 121 w 166"/>
                    <a:gd name="T87" fmla="*/ 6 h 188"/>
                    <a:gd name="T88" fmla="*/ 135 w 166"/>
                    <a:gd name="T89" fmla="*/ 4 h 188"/>
                    <a:gd name="T90" fmla="*/ 134 w 166"/>
                    <a:gd name="T91" fmla="*/ 16 h 188"/>
                    <a:gd name="T92" fmla="*/ 137 w 166"/>
                    <a:gd name="T93" fmla="*/ 7 h 188"/>
                    <a:gd name="T94" fmla="*/ 144 w 166"/>
                    <a:gd name="T95" fmla="*/ 3 h 188"/>
                    <a:gd name="T96" fmla="*/ 156 w 166"/>
                    <a:gd name="T97" fmla="*/ 11 h 188"/>
                    <a:gd name="T98" fmla="*/ 137 w 166"/>
                    <a:gd name="T99" fmla="*/ 27 h 188"/>
                    <a:gd name="T100" fmla="*/ 115 w 166"/>
                    <a:gd name="T101" fmla="*/ 42 h 188"/>
                    <a:gd name="T102" fmla="*/ 135 w 166"/>
                    <a:gd name="T103" fmla="*/ 64 h 188"/>
                    <a:gd name="T104" fmla="*/ 161 w 166"/>
                    <a:gd name="T105" fmla="*/ 76 h 188"/>
                    <a:gd name="T106" fmla="*/ 157 w 166"/>
                    <a:gd name="T107" fmla="*/ 86 h 188"/>
                    <a:gd name="T108" fmla="*/ 158 w 166"/>
                    <a:gd name="T109" fmla="*/ 112 h 188"/>
                    <a:gd name="T110" fmla="*/ 157 w 166"/>
                    <a:gd name="T111" fmla="*/ 129 h 188"/>
                    <a:gd name="T112" fmla="*/ 146 w 166"/>
                    <a:gd name="T113" fmla="*/ 151 h 188"/>
                    <a:gd name="T114" fmla="*/ 134 w 166"/>
                    <a:gd name="T115" fmla="*/ 165 h 188"/>
                    <a:gd name="T116" fmla="*/ 132 w 166"/>
                    <a:gd name="T117" fmla="*/ 174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66" h="188">
                      <a:moveTo>
                        <a:pt x="132" y="174"/>
                      </a:moveTo>
                      <a:cubicBezTo>
                        <a:pt x="128" y="174"/>
                        <a:pt x="128" y="174"/>
                        <a:pt x="128" y="174"/>
                      </a:cubicBezTo>
                      <a:cubicBezTo>
                        <a:pt x="128" y="174"/>
                        <a:pt x="126" y="171"/>
                        <a:pt x="125" y="171"/>
                      </a:cubicBezTo>
                      <a:cubicBezTo>
                        <a:pt x="124" y="171"/>
                        <a:pt x="122" y="170"/>
                        <a:pt x="122" y="170"/>
                      </a:cubicBezTo>
                      <a:cubicBezTo>
                        <a:pt x="121" y="172"/>
                        <a:pt x="121" y="172"/>
                        <a:pt x="121" y="172"/>
                      </a:cubicBezTo>
                      <a:cubicBezTo>
                        <a:pt x="121" y="172"/>
                        <a:pt x="120" y="173"/>
                        <a:pt x="119" y="173"/>
                      </a:cubicBezTo>
                      <a:cubicBezTo>
                        <a:pt x="119" y="173"/>
                        <a:pt x="118" y="172"/>
                        <a:pt x="118" y="172"/>
                      </a:cubicBezTo>
                      <a:cubicBezTo>
                        <a:pt x="118" y="170"/>
                        <a:pt x="118" y="170"/>
                        <a:pt x="118" y="170"/>
                      </a:cubicBezTo>
                      <a:cubicBezTo>
                        <a:pt x="115" y="170"/>
                        <a:pt x="115" y="170"/>
                        <a:pt x="115" y="170"/>
                      </a:cubicBezTo>
                      <a:cubicBezTo>
                        <a:pt x="115" y="170"/>
                        <a:pt x="115" y="173"/>
                        <a:pt x="114" y="173"/>
                      </a:cubicBezTo>
                      <a:cubicBezTo>
                        <a:pt x="113" y="172"/>
                        <a:pt x="112" y="172"/>
                        <a:pt x="110" y="172"/>
                      </a:cubicBezTo>
                      <a:cubicBezTo>
                        <a:pt x="108" y="171"/>
                        <a:pt x="104" y="172"/>
                        <a:pt x="104" y="172"/>
                      </a:cubicBezTo>
                      <a:cubicBezTo>
                        <a:pt x="102" y="171"/>
                        <a:pt x="102" y="171"/>
                        <a:pt x="102" y="171"/>
                      </a:cubicBezTo>
                      <a:cubicBezTo>
                        <a:pt x="99" y="171"/>
                        <a:pt x="99" y="171"/>
                        <a:pt x="99" y="171"/>
                      </a:cubicBezTo>
                      <a:cubicBezTo>
                        <a:pt x="95" y="171"/>
                        <a:pt x="95" y="171"/>
                        <a:pt x="95" y="171"/>
                      </a:cubicBezTo>
                      <a:cubicBezTo>
                        <a:pt x="94" y="173"/>
                        <a:pt x="94" y="173"/>
                        <a:pt x="94" y="173"/>
                      </a:cubicBezTo>
                      <a:cubicBezTo>
                        <a:pt x="95" y="174"/>
                        <a:pt x="95" y="174"/>
                        <a:pt x="95" y="174"/>
                      </a:cubicBezTo>
                      <a:cubicBezTo>
                        <a:pt x="92" y="176"/>
                        <a:pt x="92" y="176"/>
                        <a:pt x="92" y="176"/>
                      </a:cubicBezTo>
                      <a:cubicBezTo>
                        <a:pt x="88" y="175"/>
                        <a:pt x="88" y="175"/>
                        <a:pt x="88" y="175"/>
                      </a:cubicBezTo>
                      <a:cubicBezTo>
                        <a:pt x="86" y="177"/>
                        <a:pt x="86" y="177"/>
                        <a:pt x="86" y="177"/>
                      </a:cubicBezTo>
                      <a:cubicBezTo>
                        <a:pt x="85" y="175"/>
                        <a:pt x="85" y="175"/>
                        <a:pt x="85" y="175"/>
                      </a:cubicBezTo>
                      <a:cubicBezTo>
                        <a:pt x="79" y="179"/>
                        <a:pt x="79" y="179"/>
                        <a:pt x="79" y="179"/>
                      </a:cubicBezTo>
                      <a:cubicBezTo>
                        <a:pt x="80" y="181"/>
                        <a:pt x="80" y="181"/>
                        <a:pt x="80" y="181"/>
                      </a:cubicBezTo>
                      <a:cubicBezTo>
                        <a:pt x="75" y="182"/>
                        <a:pt x="75" y="182"/>
                        <a:pt x="75" y="182"/>
                      </a:cubicBezTo>
                      <a:cubicBezTo>
                        <a:pt x="72" y="181"/>
                        <a:pt x="72" y="181"/>
                        <a:pt x="72" y="181"/>
                      </a:cubicBezTo>
                      <a:cubicBezTo>
                        <a:pt x="72" y="181"/>
                        <a:pt x="70" y="180"/>
                        <a:pt x="70" y="179"/>
                      </a:cubicBezTo>
                      <a:cubicBezTo>
                        <a:pt x="71" y="178"/>
                        <a:pt x="71" y="177"/>
                        <a:pt x="71" y="177"/>
                      </a:cubicBezTo>
                      <a:cubicBezTo>
                        <a:pt x="71" y="177"/>
                        <a:pt x="69" y="176"/>
                        <a:pt x="69" y="177"/>
                      </a:cubicBezTo>
                      <a:cubicBezTo>
                        <a:pt x="69" y="179"/>
                        <a:pt x="68" y="181"/>
                        <a:pt x="68" y="181"/>
                      </a:cubicBezTo>
                      <a:cubicBezTo>
                        <a:pt x="65" y="183"/>
                        <a:pt x="65" y="183"/>
                        <a:pt x="65" y="183"/>
                      </a:cubicBezTo>
                      <a:cubicBezTo>
                        <a:pt x="61" y="184"/>
                        <a:pt x="61" y="184"/>
                        <a:pt x="61" y="184"/>
                      </a:cubicBezTo>
                      <a:cubicBezTo>
                        <a:pt x="60" y="183"/>
                        <a:pt x="60" y="183"/>
                        <a:pt x="60" y="183"/>
                      </a:cubicBezTo>
                      <a:cubicBezTo>
                        <a:pt x="60" y="186"/>
                        <a:pt x="60" y="186"/>
                        <a:pt x="60" y="186"/>
                      </a:cubicBezTo>
                      <a:cubicBezTo>
                        <a:pt x="55" y="186"/>
                        <a:pt x="55" y="186"/>
                        <a:pt x="55" y="186"/>
                      </a:cubicBezTo>
                      <a:cubicBezTo>
                        <a:pt x="52" y="186"/>
                        <a:pt x="52" y="186"/>
                        <a:pt x="52" y="186"/>
                      </a:cubicBezTo>
                      <a:cubicBezTo>
                        <a:pt x="50" y="188"/>
                        <a:pt x="50" y="188"/>
                        <a:pt x="50" y="188"/>
                      </a:cubicBezTo>
                      <a:cubicBezTo>
                        <a:pt x="47" y="187"/>
                        <a:pt x="47" y="187"/>
                        <a:pt x="47" y="187"/>
                      </a:cubicBezTo>
                      <a:cubicBezTo>
                        <a:pt x="42" y="188"/>
                        <a:pt x="42" y="188"/>
                        <a:pt x="42" y="188"/>
                      </a:cubicBezTo>
                      <a:cubicBezTo>
                        <a:pt x="41" y="186"/>
                        <a:pt x="41" y="186"/>
                        <a:pt x="41" y="186"/>
                      </a:cubicBezTo>
                      <a:cubicBezTo>
                        <a:pt x="34" y="186"/>
                        <a:pt x="34" y="186"/>
                        <a:pt x="34" y="186"/>
                      </a:cubicBezTo>
                      <a:cubicBezTo>
                        <a:pt x="31" y="187"/>
                        <a:pt x="31" y="187"/>
                        <a:pt x="31" y="187"/>
                      </a:cubicBezTo>
                      <a:cubicBezTo>
                        <a:pt x="30" y="185"/>
                        <a:pt x="30" y="185"/>
                        <a:pt x="30" y="185"/>
                      </a:cubicBezTo>
                      <a:cubicBezTo>
                        <a:pt x="29" y="185"/>
                        <a:pt x="29" y="185"/>
                        <a:pt x="29" y="185"/>
                      </a:cubicBezTo>
                      <a:cubicBezTo>
                        <a:pt x="29" y="185"/>
                        <a:pt x="27" y="185"/>
                        <a:pt x="26" y="185"/>
                      </a:cubicBezTo>
                      <a:cubicBezTo>
                        <a:pt x="25" y="185"/>
                        <a:pt x="19" y="183"/>
                        <a:pt x="19" y="183"/>
                      </a:cubicBezTo>
                      <a:cubicBezTo>
                        <a:pt x="17" y="185"/>
                        <a:pt x="17" y="185"/>
                        <a:pt x="17" y="185"/>
                      </a:cubicBezTo>
                      <a:cubicBezTo>
                        <a:pt x="17" y="185"/>
                        <a:pt x="14" y="185"/>
                        <a:pt x="14" y="184"/>
                      </a:cubicBezTo>
                      <a:cubicBezTo>
                        <a:pt x="14" y="184"/>
                        <a:pt x="14" y="183"/>
                        <a:pt x="15" y="182"/>
                      </a:cubicBezTo>
                      <a:cubicBezTo>
                        <a:pt x="16" y="182"/>
                        <a:pt x="17" y="182"/>
                        <a:pt x="19" y="181"/>
                      </a:cubicBezTo>
                      <a:cubicBezTo>
                        <a:pt x="21" y="181"/>
                        <a:pt x="22" y="181"/>
                        <a:pt x="22" y="181"/>
                      </a:cubicBezTo>
                      <a:cubicBezTo>
                        <a:pt x="23" y="180"/>
                        <a:pt x="23" y="180"/>
                        <a:pt x="23" y="180"/>
                      </a:cubicBezTo>
                      <a:cubicBezTo>
                        <a:pt x="23" y="179"/>
                        <a:pt x="24" y="178"/>
                        <a:pt x="22" y="179"/>
                      </a:cubicBezTo>
                      <a:cubicBezTo>
                        <a:pt x="21" y="179"/>
                        <a:pt x="21" y="179"/>
                        <a:pt x="21" y="179"/>
                      </a:cubicBezTo>
                      <a:cubicBezTo>
                        <a:pt x="20" y="180"/>
                        <a:pt x="19" y="180"/>
                        <a:pt x="18" y="180"/>
                      </a:cubicBezTo>
                      <a:cubicBezTo>
                        <a:pt x="18" y="180"/>
                        <a:pt x="16" y="180"/>
                        <a:pt x="16" y="180"/>
                      </a:cubicBezTo>
                      <a:cubicBezTo>
                        <a:pt x="16" y="180"/>
                        <a:pt x="15" y="179"/>
                        <a:pt x="16" y="179"/>
                      </a:cubicBezTo>
                      <a:cubicBezTo>
                        <a:pt x="17" y="178"/>
                        <a:pt x="17" y="178"/>
                        <a:pt x="18" y="178"/>
                      </a:cubicBezTo>
                      <a:cubicBezTo>
                        <a:pt x="20" y="178"/>
                        <a:pt x="21" y="177"/>
                        <a:pt x="23" y="177"/>
                      </a:cubicBezTo>
                      <a:cubicBezTo>
                        <a:pt x="25" y="177"/>
                        <a:pt x="26" y="177"/>
                        <a:pt x="26" y="177"/>
                      </a:cubicBezTo>
                      <a:cubicBezTo>
                        <a:pt x="27" y="176"/>
                        <a:pt x="28" y="176"/>
                        <a:pt x="28" y="175"/>
                      </a:cubicBezTo>
                      <a:cubicBezTo>
                        <a:pt x="28" y="174"/>
                        <a:pt x="27" y="173"/>
                        <a:pt x="27" y="173"/>
                      </a:cubicBezTo>
                      <a:cubicBezTo>
                        <a:pt x="27" y="173"/>
                        <a:pt x="26" y="173"/>
                        <a:pt x="25" y="174"/>
                      </a:cubicBezTo>
                      <a:cubicBezTo>
                        <a:pt x="24" y="174"/>
                        <a:pt x="23" y="175"/>
                        <a:pt x="22" y="175"/>
                      </a:cubicBezTo>
                      <a:cubicBezTo>
                        <a:pt x="22" y="175"/>
                        <a:pt x="22" y="175"/>
                        <a:pt x="21" y="175"/>
                      </a:cubicBezTo>
                      <a:cubicBezTo>
                        <a:pt x="20" y="175"/>
                        <a:pt x="18" y="174"/>
                        <a:pt x="18" y="174"/>
                      </a:cubicBezTo>
                      <a:cubicBezTo>
                        <a:pt x="17" y="174"/>
                        <a:pt x="16" y="174"/>
                        <a:pt x="15" y="174"/>
                      </a:cubicBezTo>
                      <a:cubicBezTo>
                        <a:pt x="14" y="174"/>
                        <a:pt x="15" y="174"/>
                        <a:pt x="13" y="174"/>
                      </a:cubicBezTo>
                      <a:cubicBezTo>
                        <a:pt x="11" y="175"/>
                        <a:pt x="12" y="175"/>
                        <a:pt x="9" y="175"/>
                      </a:cubicBezTo>
                      <a:cubicBezTo>
                        <a:pt x="7" y="175"/>
                        <a:pt x="4" y="174"/>
                        <a:pt x="4" y="174"/>
                      </a:cubicBezTo>
                      <a:cubicBezTo>
                        <a:pt x="4" y="174"/>
                        <a:pt x="2" y="175"/>
                        <a:pt x="3" y="174"/>
                      </a:cubicBezTo>
                      <a:cubicBezTo>
                        <a:pt x="5" y="173"/>
                        <a:pt x="7" y="173"/>
                        <a:pt x="8" y="172"/>
                      </a:cubicBezTo>
                      <a:cubicBezTo>
                        <a:pt x="9" y="172"/>
                        <a:pt x="10" y="172"/>
                        <a:pt x="9" y="171"/>
                      </a:cubicBezTo>
                      <a:cubicBezTo>
                        <a:pt x="9" y="171"/>
                        <a:pt x="9" y="171"/>
                        <a:pt x="9" y="171"/>
                      </a:cubicBezTo>
                      <a:cubicBezTo>
                        <a:pt x="10" y="171"/>
                        <a:pt x="12" y="170"/>
                        <a:pt x="12" y="170"/>
                      </a:cubicBezTo>
                      <a:cubicBezTo>
                        <a:pt x="14" y="169"/>
                        <a:pt x="14" y="169"/>
                        <a:pt x="14" y="169"/>
                      </a:cubicBezTo>
                      <a:cubicBezTo>
                        <a:pt x="14" y="169"/>
                        <a:pt x="14" y="168"/>
                        <a:pt x="16" y="168"/>
                      </a:cubicBezTo>
                      <a:cubicBezTo>
                        <a:pt x="18" y="168"/>
                        <a:pt x="18" y="168"/>
                        <a:pt x="18" y="167"/>
                      </a:cubicBezTo>
                      <a:cubicBezTo>
                        <a:pt x="19" y="167"/>
                        <a:pt x="18" y="167"/>
                        <a:pt x="19" y="167"/>
                      </a:cubicBezTo>
                      <a:cubicBezTo>
                        <a:pt x="21" y="167"/>
                        <a:pt x="21" y="166"/>
                        <a:pt x="22" y="166"/>
                      </a:cubicBezTo>
                      <a:cubicBezTo>
                        <a:pt x="24" y="166"/>
                        <a:pt x="25" y="165"/>
                        <a:pt x="24" y="165"/>
                      </a:cubicBezTo>
                      <a:cubicBezTo>
                        <a:pt x="23" y="165"/>
                        <a:pt x="23" y="165"/>
                        <a:pt x="21" y="165"/>
                      </a:cubicBezTo>
                      <a:cubicBezTo>
                        <a:pt x="20" y="166"/>
                        <a:pt x="19" y="165"/>
                        <a:pt x="19" y="166"/>
                      </a:cubicBezTo>
                      <a:cubicBezTo>
                        <a:pt x="18" y="166"/>
                        <a:pt x="16" y="166"/>
                        <a:pt x="16" y="166"/>
                      </a:cubicBezTo>
                      <a:cubicBezTo>
                        <a:pt x="15" y="165"/>
                        <a:pt x="15" y="165"/>
                        <a:pt x="14" y="166"/>
                      </a:cubicBezTo>
                      <a:cubicBezTo>
                        <a:pt x="13" y="166"/>
                        <a:pt x="14" y="167"/>
                        <a:pt x="12" y="167"/>
                      </a:cubicBezTo>
                      <a:cubicBezTo>
                        <a:pt x="11" y="167"/>
                        <a:pt x="10" y="166"/>
                        <a:pt x="10" y="166"/>
                      </a:cubicBezTo>
                      <a:cubicBezTo>
                        <a:pt x="10" y="166"/>
                        <a:pt x="7" y="166"/>
                        <a:pt x="7" y="165"/>
                      </a:cubicBezTo>
                      <a:cubicBezTo>
                        <a:pt x="7" y="165"/>
                        <a:pt x="7" y="163"/>
                        <a:pt x="7" y="163"/>
                      </a:cubicBezTo>
                      <a:cubicBezTo>
                        <a:pt x="7" y="162"/>
                        <a:pt x="8" y="162"/>
                        <a:pt x="8" y="162"/>
                      </a:cubicBezTo>
                      <a:cubicBezTo>
                        <a:pt x="7" y="161"/>
                        <a:pt x="7" y="161"/>
                        <a:pt x="7" y="161"/>
                      </a:cubicBezTo>
                      <a:cubicBezTo>
                        <a:pt x="7" y="161"/>
                        <a:pt x="7" y="161"/>
                        <a:pt x="6" y="161"/>
                      </a:cubicBezTo>
                      <a:cubicBezTo>
                        <a:pt x="6" y="161"/>
                        <a:pt x="4" y="162"/>
                        <a:pt x="4" y="162"/>
                      </a:cubicBezTo>
                      <a:cubicBezTo>
                        <a:pt x="4" y="162"/>
                        <a:pt x="4" y="162"/>
                        <a:pt x="3" y="162"/>
                      </a:cubicBezTo>
                      <a:cubicBezTo>
                        <a:pt x="3" y="162"/>
                        <a:pt x="2" y="162"/>
                        <a:pt x="2" y="162"/>
                      </a:cubicBezTo>
                      <a:cubicBezTo>
                        <a:pt x="2" y="162"/>
                        <a:pt x="2" y="161"/>
                        <a:pt x="2" y="160"/>
                      </a:cubicBezTo>
                      <a:cubicBezTo>
                        <a:pt x="2" y="160"/>
                        <a:pt x="2" y="159"/>
                        <a:pt x="2" y="159"/>
                      </a:cubicBezTo>
                      <a:cubicBezTo>
                        <a:pt x="2" y="159"/>
                        <a:pt x="2" y="159"/>
                        <a:pt x="2" y="159"/>
                      </a:cubicBezTo>
                      <a:cubicBezTo>
                        <a:pt x="2" y="158"/>
                        <a:pt x="0" y="158"/>
                        <a:pt x="2" y="157"/>
                      </a:cubicBezTo>
                      <a:cubicBezTo>
                        <a:pt x="4" y="157"/>
                        <a:pt x="4" y="157"/>
                        <a:pt x="5" y="157"/>
                      </a:cubicBezTo>
                      <a:cubicBezTo>
                        <a:pt x="5" y="157"/>
                        <a:pt x="6" y="157"/>
                        <a:pt x="6" y="157"/>
                      </a:cubicBezTo>
                      <a:cubicBezTo>
                        <a:pt x="6" y="157"/>
                        <a:pt x="7" y="156"/>
                        <a:pt x="7" y="156"/>
                      </a:cubicBezTo>
                      <a:cubicBezTo>
                        <a:pt x="6" y="155"/>
                        <a:pt x="6" y="155"/>
                        <a:pt x="6" y="155"/>
                      </a:cubicBezTo>
                      <a:cubicBezTo>
                        <a:pt x="6" y="154"/>
                        <a:pt x="6" y="154"/>
                        <a:pt x="7" y="154"/>
                      </a:cubicBezTo>
                      <a:cubicBezTo>
                        <a:pt x="8" y="154"/>
                        <a:pt x="8" y="153"/>
                        <a:pt x="9" y="153"/>
                      </a:cubicBezTo>
                      <a:cubicBezTo>
                        <a:pt x="9" y="153"/>
                        <a:pt x="10" y="153"/>
                        <a:pt x="11" y="153"/>
                      </a:cubicBezTo>
                      <a:cubicBezTo>
                        <a:pt x="11" y="153"/>
                        <a:pt x="11" y="152"/>
                        <a:pt x="13" y="152"/>
                      </a:cubicBezTo>
                      <a:cubicBezTo>
                        <a:pt x="14" y="152"/>
                        <a:pt x="15" y="152"/>
                        <a:pt x="16" y="152"/>
                      </a:cubicBezTo>
                      <a:cubicBezTo>
                        <a:pt x="16" y="152"/>
                        <a:pt x="18" y="152"/>
                        <a:pt x="18" y="152"/>
                      </a:cubicBezTo>
                      <a:cubicBezTo>
                        <a:pt x="18" y="152"/>
                        <a:pt x="20" y="151"/>
                        <a:pt x="20" y="151"/>
                      </a:cubicBezTo>
                      <a:cubicBezTo>
                        <a:pt x="21" y="150"/>
                        <a:pt x="21" y="150"/>
                        <a:pt x="21" y="150"/>
                      </a:cubicBezTo>
                      <a:cubicBezTo>
                        <a:pt x="21" y="150"/>
                        <a:pt x="21" y="150"/>
                        <a:pt x="22" y="150"/>
                      </a:cubicBezTo>
                      <a:cubicBezTo>
                        <a:pt x="23" y="150"/>
                        <a:pt x="23" y="150"/>
                        <a:pt x="24" y="150"/>
                      </a:cubicBezTo>
                      <a:cubicBezTo>
                        <a:pt x="24" y="150"/>
                        <a:pt x="25" y="150"/>
                        <a:pt x="25" y="150"/>
                      </a:cubicBezTo>
                      <a:cubicBezTo>
                        <a:pt x="25" y="149"/>
                        <a:pt x="25" y="149"/>
                        <a:pt x="25" y="148"/>
                      </a:cubicBezTo>
                      <a:cubicBezTo>
                        <a:pt x="24" y="148"/>
                        <a:pt x="24" y="148"/>
                        <a:pt x="23" y="148"/>
                      </a:cubicBezTo>
                      <a:cubicBezTo>
                        <a:pt x="22" y="149"/>
                        <a:pt x="21" y="149"/>
                        <a:pt x="21" y="148"/>
                      </a:cubicBezTo>
                      <a:cubicBezTo>
                        <a:pt x="21" y="148"/>
                        <a:pt x="21" y="148"/>
                        <a:pt x="20" y="148"/>
                      </a:cubicBezTo>
                      <a:cubicBezTo>
                        <a:pt x="19" y="148"/>
                        <a:pt x="18" y="148"/>
                        <a:pt x="18" y="148"/>
                      </a:cubicBezTo>
                      <a:cubicBezTo>
                        <a:pt x="18" y="148"/>
                        <a:pt x="17" y="148"/>
                        <a:pt x="16" y="148"/>
                      </a:cubicBezTo>
                      <a:cubicBezTo>
                        <a:pt x="14" y="147"/>
                        <a:pt x="14" y="147"/>
                        <a:pt x="13" y="147"/>
                      </a:cubicBezTo>
                      <a:cubicBezTo>
                        <a:pt x="12" y="147"/>
                        <a:pt x="11" y="147"/>
                        <a:pt x="11" y="147"/>
                      </a:cubicBezTo>
                      <a:cubicBezTo>
                        <a:pt x="11" y="147"/>
                        <a:pt x="13" y="147"/>
                        <a:pt x="10" y="146"/>
                      </a:cubicBezTo>
                      <a:cubicBezTo>
                        <a:pt x="7" y="145"/>
                        <a:pt x="7" y="145"/>
                        <a:pt x="7" y="145"/>
                      </a:cubicBezTo>
                      <a:cubicBezTo>
                        <a:pt x="6" y="145"/>
                        <a:pt x="6" y="145"/>
                        <a:pt x="6" y="145"/>
                      </a:cubicBezTo>
                      <a:cubicBezTo>
                        <a:pt x="5" y="145"/>
                        <a:pt x="5" y="146"/>
                        <a:pt x="4" y="145"/>
                      </a:cubicBezTo>
                      <a:cubicBezTo>
                        <a:pt x="4" y="145"/>
                        <a:pt x="3" y="144"/>
                        <a:pt x="3" y="144"/>
                      </a:cubicBezTo>
                      <a:cubicBezTo>
                        <a:pt x="3" y="143"/>
                        <a:pt x="3" y="143"/>
                        <a:pt x="4" y="142"/>
                      </a:cubicBezTo>
                      <a:cubicBezTo>
                        <a:pt x="4" y="142"/>
                        <a:pt x="6" y="141"/>
                        <a:pt x="6" y="141"/>
                      </a:cubicBezTo>
                      <a:cubicBezTo>
                        <a:pt x="6" y="142"/>
                        <a:pt x="6" y="142"/>
                        <a:pt x="6" y="142"/>
                      </a:cubicBezTo>
                      <a:cubicBezTo>
                        <a:pt x="6" y="142"/>
                        <a:pt x="6" y="143"/>
                        <a:pt x="7" y="142"/>
                      </a:cubicBezTo>
                      <a:cubicBezTo>
                        <a:pt x="7" y="142"/>
                        <a:pt x="8" y="140"/>
                        <a:pt x="8" y="140"/>
                      </a:cubicBezTo>
                      <a:cubicBezTo>
                        <a:pt x="8" y="140"/>
                        <a:pt x="7" y="140"/>
                        <a:pt x="8" y="139"/>
                      </a:cubicBezTo>
                      <a:cubicBezTo>
                        <a:pt x="9" y="139"/>
                        <a:pt x="9" y="139"/>
                        <a:pt x="10" y="139"/>
                      </a:cubicBezTo>
                      <a:cubicBezTo>
                        <a:pt x="10" y="139"/>
                        <a:pt x="12" y="139"/>
                        <a:pt x="13" y="139"/>
                      </a:cubicBezTo>
                      <a:cubicBezTo>
                        <a:pt x="13" y="138"/>
                        <a:pt x="15" y="138"/>
                        <a:pt x="15" y="138"/>
                      </a:cubicBezTo>
                      <a:cubicBezTo>
                        <a:pt x="15" y="138"/>
                        <a:pt x="16" y="139"/>
                        <a:pt x="15" y="140"/>
                      </a:cubicBezTo>
                      <a:cubicBezTo>
                        <a:pt x="15" y="140"/>
                        <a:pt x="14" y="140"/>
                        <a:pt x="15" y="141"/>
                      </a:cubicBezTo>
                      <a:cubicBezTo>
                        <a:pt x="16" y="141"/>
                        <a:pt x="17" y="141"/>
                        <a:pt x="17" y="141"/>
                      </a:cubicBezTo>
                      <a:cubicBezTo>
                        <a:pt x="17" y="141"/>
                        <a:pt x="18" y="140"/>
                        <a:pt x="18" y="140"/>
                      </a:cubicBezTo>
                      <a:cubicBezTo>
                        <a:pt x="19" y="140"/>
                        <a:pt x="18" y="139"/>
                        <a:pt x="19" y="139"/>
                      </a:cubicBezTo>
                      <a:cubicBezTo>
                        <a:pt x="20" y="140"/>
                        <a:pt x="20" y="141"/>
                        <a:pt x="20" y="141"/>
                      </a:cubicBezTo>
                      <a:cubicBezTo>
                        <a:pt x="20" y="141"/>
                        <a:pt x="20" y="141"/>
                        <a:pt x="20" y="142"/>
                      </a:cubicBezTo>
                      <a:cubicBezTo>
                        <a:pt x="21" y="142"/>
                        <a:pt x="22" y="142"/>
                        <a:pt x="22" y="143"/>
                      </a:cubicBezTo>
                      <a:cubicBezTo>
                        <a:pt x="22" y="143"/>
                        <a:pt x="21" y="143"/>
                        <a:pt x="23" y="144"/>
                      </a:cubicBezTo>
                      <a:cubicBezTo>
                        <a:pt x="24" y="144"/>
                        <a:pt x="25" y="144"/>
                        <a:pt x="25" y="144"/>
                      </a:cubicBezTo>
                      <a:cubicBezTo>
                        <a:pt x="25" y="144"/>
                        <a:pt x="26" y="144"/>
                        <a:pt x="26" y="143"/>
                      </a:cubicBezTo>
                      <a:cubicBezTo>
                        <a:pt x="25" y="142"/>
                        <a:pt x="25" y="141"/>
                        <a:pt x="25" y="141"/>
                      </a:cubicBezTo>
                      <a:cubicBezTo>
                        <a:pt x="25" y="141"/>
                        <a:pt x="26" y="140"/>
                        <a:pt x="26" y="140"/>
                      </a:cubicBezTo>
                      <a:cubicBezTo>
                        <a:pt x="26" y="139"/>
                        <a:pt x="26" y="137"/>
                        <a:pt x="26" y="137"/>
                      </a:cubicBezTo>
                      <a:cubicBezTo>
                        <a:pt x="26" y="137"/>
                        <a:pt x="27" y="136"/>
                        <a:pt x="26" y="136"/>
                      </a:cubicBezTo>
                      <a:cubicBezTo>
                        <a:pt x="25" y="136"/>
                        <a:pt x="25" y="135"/>
                        <a:pt x="25" y="135"/>
                      </a:cubicBezTo>
                      <a:cubicBezTo>
                        <a:pt x="24" y="135"/>
                        <a:pt x="24" y="134"/>
                        <a:pt x="24" y="134"/>
                      </a:cubicBezTo>
                      <a:cubicBezTo>
                        <a:pt x="27" y="134"/>
                        <a:pt x="27" y="134"/>
                        <a:pt x="27" y="134"/>
                      </a:cubicBezTo>
                      <a:cubicBezTo>
                        <a:pt x="29" y="134"/>
                        <a:pt x="29" y="134"/>
                        <a:pt x="29" y="134"/>
                      </a:cubicBezTo>
                      <a:cubicBezTo>
                        <a:pt x="31" y="133"/>
                        <a:pt x="31" y="133"/>
                        <a:pt x="31" y="133"/>
                      </a:cubicBezTo>
                      <a:cubicBezTo>
                        <a:pt x="31" y="133"/>
                        <a:pt x="32" y="134"/>
                        <a:pt x="32" y="133"/>
                      </a:cubicBezTo>
                      <a:cubicBezTo>
                        <a:pt x="32" y="133"/>
                        <a:pt x="33" y="132"/>
                        <a:pt x="33" y="132"/>
                      </a:cubicBezTo>
                      <a:cubicBezTo>
                        <a:pt x="35" y="132"/>
                        <a:pt x="35" y="132"/>
                        <a:pt x="35" y="132"/>
                      </a:cubicBezTo>
                      <a:cubicBezTo>
                        <a:pt x="35" y="132"/>
                        <a:pt x="34" y="131"/>
                        <a:pt x="34" y="131"/>
                      </a:cubicBezTo>
                      <a:cubicBezTo>
                        <a:pt x="35" y="131"/>
                        <a:pt x="35" y="129"/>
                        <a:pt x="35" y="129"/>
                      </a:cubicBezTo>
                      <a:cubicBezTo>
                        <a:pt x="35" y="129"/>
                        <a:pt x="36" y="128"/>
                        <a:pt x="37" y="129"/>
                      </a:cubicBezTo>
                      <a:cubicBezTo>
                        <a:pt x="37" y="129"/>
                        <a:pt x="39" y="129"/>
                        <a:pt x="40" y="130"/>
                      </a:cubicBezTo>
                      <a:cubicBezTo>
                        <a:pt x="40" y="130"/>
                        <a:pt x="41" y="130"/>
                        <a:pt x="41" y="130"/>
                      </a:cubicBezTo>
                      <a:cubicBezTo>
                        <a:pt x="43" y="130"/>
                        <a:pt x="43" y="130"/>
                        <a:pt x="43" y="130"/>
                      </a:cubicBezTo>
                      <a:cubicBezTo>
                        <a:pt x="43" y="130"/>
                        <a:pt x="45" y="131"/>
                        <a:pt x="45" y="131"/>
                      </a:cubicBezTo>
                      <a:cubicBezTo>
                        <a:pt x="45" y="131"/>
                        <a:pt x="47" y="132"/>
                        <a:pt x="48" y="132"/>
                      </a:cubicBezTo>
                      <a:cubicBezTo>
                        <a:pt x="48" y="132"/>
                        <a:pt x="49" y="131"/>
                        <a:pt x="49" y="131"/>
                      </a:cubicBezTo>
                      <a:cubicBezTo>
                        <a:pt x="49" y="131"/>
                        <a:pt x="49" y="130"/>
                        <a:pt x="50" y="131"/>
                      </a:cubicBezTo>
                      <a:cubicBezTo>
                        <a:pt x="51" y="131"/>
                        <a:pt x="52" y="131"/>
                        <a:pt x="53" y="131"/>
                      </a:cubicBezTo>
                      <a:cubicBezTo>
                        <a:pt x="53" y="130"/>
                        <a:pt x="53" y="130"/>
                        <a:pt x="54" y="130"/>
                      </a:cubicBezTo>
                      <a:cubicBezTo>
                        <a:pt x="55" y="131"/>
                        <a:pt x="56" y="131"/>
                        <a:pt x="56" y="131"/>
                      </a:cubicBezTo>
                      <a:cubicBezTo>
                        <a:pt x="57" y="131"/>
                        <a:pt x="59" y="130"/>
                        <a:pt x="59" y="130"/>
                      </a:cubicBezTo>
                      <a:cubicBezTo>
                        <a:pt x="59" y="130"/>
                        <a:pt x="58" y="129"/>
                        <a:pt x="59" y="130"/>
                      </a:cubicBezTo>
                      <a:cubicBezTo>
                        <a:pt x="60" y="130"/>
                        <a:pt x="61" y="129"/>
                        <a:pt x="61" y="129"/>
                      </a:cubicBezTo>
                      <a:cubicBezTo>
                        <a:pt x="59" y="128"/>
                        <a:pt x="59" y="128"/>
                        <a:pt x="59" y="128"/>
                      </a:cubicBezTo>
                      <a:cubicBezTo>
                        <a:pt x="59" y="128"/>
                        <a:pt x="60" y="126"/>
                        <a:pt x="60" y="126"/>
                      </a:cubicBezTo>
                      <a:cubicBezTo>
                        <a:pt x="60" y="126"/>
                        <a:pt x="59" y="125"/>
                        <a:pt x="59" y="125"/>
                      </a:cubicBezTo>
                      <a:cubicBezTo>
                        <a:pt x="59" y="125"/>
                        <a:pt x="58" y="125"/>
                        <a:pt x="58" y="126"/>
                      </a:cubicBezTo>
                      <a:cubicBezTo>
                        <a:pt x="58" y="127"/>
                        <a:pt x="57" y="128"/>
                        <a:pt x="56" y="128"/>
                      </a:cubicBezTo>
                      <a:cubicBezTo>
                        <a:pt x="56" y="128"/>
                        <a:pt x="55" y="129"/>
                        <a:pt x="54" y="129"/>
                      </a:cubicBezTo>
                      <a:cubicBezTo>
                        <a:pt x="54" y="129"/>
                        <a:pt x="53" y="130"/>
                        <a:pt x="53" y="130"/>
                      </a:cubicBezTo>
                      <a:cubicBezTo>
                        <a:pt x="53" y="130"/>
                        <a:pt x="53" y="131"/>
                        <a:pt x="51" y="130"/>
                      </a:cubicBezTo>
                      <a:cubicBezTo>
                        <a:pt x="50" y="129"/>
                        <a:pt x="49" y="129"/>
                        <a:pt x="49" y="129"/>
                      </a:cubicBezTo>
                      <a:cubicBezTo>
                        <a:pt x="49" y="129"/>
                        <a:pt x="49" y="128"/>
                        <a:pt x="48" y="129"/>
                      </a:cubicBezTo>
                      <a:cubicBezTo>
                        <a:pt x="46" y="129"/>
                        <a:pt x="47" y="130"/>
                        <a:pt x="46" y="129"/>
                      </a:cubicBezTo>
                      <a:cubicBezTo>
                        <a:pt x="45" y="129"/>
                        <a:pt x="42" y="129"/>
                        <a:pt x="42" y="128"/>
                      </a:cubicBezTo>
                      <a:cubicBezTo>
                        <a:pt x="42" y="128"/>
                        <a:pt x="41" y="127"/>
                        <a:pt x="41" y="127"/>
                      </a:cubicBezTo>
                      <a:cubicBezTo>
                        <a:pt x="41" y="127"/>
                        <a:pt x="41" y="125"/>
                        <a:pt x="41" y="125"/>
                      </a:cubicBezTo>
                      <a:cubicBezTo>
                        <a:pt x="40" y="126"/>
                        <a:pt x="39" y="127"/>
                        <a:pt x="38" y="127"/>
                      </a:cubicBezTo>
                      <a:cubicBezTo>
                        <a:pt x="38" y="127"/>
                        <a:pt x="36" y="127"/>
                        <a:pt x="35" y="127"/>
                      </a:cubicBezTo>
                      <a:cubicBezTo>
                        <a:pt x="35" y="127"/>
                        <a:pt x="35" y="127"/>
                        <a:pt x="34" y="127"/>
                      </a:cubicBezTo>
                      <a:cubicBezTo>
                        <a:pt x="33" y="127"/>
                        <a:pt x="32" y="128"/>
                        <a:pt x="31" y="128"/>
                      </a:cubicBezTo>
                      <a:cubicBezTo>
                        <a:pt x="30" y="128"/>
                        <a:pt x="30" y="127"/>
                        <a:pt x="29" y="127"/>
                      </a:cubicBezTo>
                      <a:cubicBezTo>
                        <a:pt x="28" y="127"/>
                        <a:pt x="28" y="127"/>
                        <a:pt x="28" y="127"/>
                      </a:cubicBezTo>
                      <a:cubicBezTo>
                        <a:pt x="28" y="127"/>
                        <a:pt x="28" y="127"/>
                        <a:pt x="28" y="127"/>
                      </a:cubicBezTo>
                      <a:cubicBezTo>
                        <a:pt x="28" y="127"/>
                        <a:pt x="28" y="125"/>
                        <a:pt x="30" y="125"/>
                      </a:cubicBezTo>
                      <a:cubicBezTo>
                        <a:pt x="31" y="124"/>
                        <a:pt x="30" y="124"/>
                        <a:pt x="32" y="124"/>
                      </a:cubicBezTo>
                      <a:cubicBezTo>
                        <a:pt x="34" y="124"/>
                        <a:pt x="35" y="124"/>
                        <a:pt x="36" y="123"/>
                      </a:cubicBezTo>
                      <a:cubicBezTo>
                        <a:pt x="37" y="122"/>
                        <a:pt x="37" y="121"/>
                        <a:pt x="38" y="121"/>
                      </a:cubicBezTo>
                      <a:cubicBezTo>
                        <a:pt x="39" y="120"/>
                        <a:pt x="39" y="119"/>
                        <a:pt x="40" y="120"/>
                      </a:cubicBezTo>
                      <a:cubicBezTo>
                        <a:pt x="42" y="120"/>
                        <a:pt x="44" y="120"/>
                        <a:pt x="44" y="120"/>
                      </a:cubicBezTo>
                      <a:cubicBezTo>
                        <a:pt x="44" y="120"/>
                        <a:pt x="44" y="119"/>
                        <a:pt x="44" y="118"/>
                      </a:cubicBezTo>
                      <a:cubicBezTo>
                        <a:pt x="44" y="118"/>
                        <a:pt x="44" y="118"/>
                        <a:pt x="44" y="117"/>
                      </a:cubicBezTo>
                      <a:cubicBezTo>
                        <a:pt x="45" y="117"/>
                        <a:pt x="45" y="116"/>
                        <a:pt x="45" y="116"/>
                      </a:cubicBezTo>
                      <a:cubicBezTo>
                        <a:pt x="46" y="116"/>
                        <a:pt x="46" y="115"/>
                        <a:pt x="47" y="115"/>
                      </a:cubicBezTo>
                      <a:cubicBezTo>
                        <a:pt x="47" y="114"/>
                        <a:pt x="48" y="114"/>
                        <a:pt x="48" y="113"/>
                      </a:cubicBezTo>
                      <a:cubicBezTo>
                        <a:pt x="49" y="113"/>
                        <a:pt x="49" y="112"/>
                        <a:pt x="49" y="112"/>
                      </a:cubicBezTo>
                      <a:cubicBezTo>
                        <a:pt x="49" y="112"/>
                        <a:pt x="46" y="111"/>
                        <a:pt x="46" y="111"/>
                      </a:cubicBezTo>
                      <a:cubicBezTo>
                        <a:pt x="47" y="110"/>
                        <a:pt x="47" y="110"/>
                        <a:pt x="47" y="110"/>
                      </a:cubicBezTo>
                      <a:cubicBezTo>
                        <a:pt x="51" y="107"/>
                        <a:pt x="51" y="107"/>
                        <a:pt x="51" y="107"/>
                      </a:cubicBezTo>
                      <a:cubicBezTo>
                        <a:pt x="51" y="107"/>
                        <a:pt x="52" y="105"/>
                        <a:pt x="52" y="105"/>
                      </a:cubicBezTo>
                      <a:cubicBezTo>
                        <a:pt x="53" y="105"/>
                        <a:pt x="54" y="104"/>
                        <a:pt x="54" y="104"/>
                      </a:cubicBezTo>
                      <a:cubicBezTo>
                        <a:pt x="55" y="102"/>
                        <a:pt x="55" y="102"/>
                        <a:pt x="55" y="102"/>
                      </a:cubicBezTo>
                      <a:cubicBezTo>
                        <a:pt x="55" y="102"/>
                        <a:pt x="55" y="101"/>
                        <a:pt x="56" y="102"/>
                      </a:cubicBezTo>
                      <a:cubicBezTo>
                        <a:pt x="57" y="102"/>
                        <a:pt x="57" y="103"/>
                        <a:pt x="58" y="103"/>
                      </a:cubicBezTo>
                      <a:cubicBezTo>
                        <a:pt x="59" y="104"/>
                        <a:pt x="62" y="104"/>
                        <a:pt x="62" y="104"/>
                      </a:cubicBezTo>
                      <a:cubicBezTo>
                        <a:pt x="61" y="102"/>
                        <a:pt x="61" y="102"/>
                        <a:pt x="61" y="102"/>
                      </a:cubicBezTo>
                      <a:cubicBezTo>
                        <a:pt x="65" y="102"/>
                        <a:pt x="65" y="102"/>
                        <a:pt x="65" y="102"/>
                      </a:cubicBezTo>
                      <a:cubicBezTo>
                        <a:pt x="65" y="104"/>
                        <a:pt x="65" y="104"/>
                        <a:pt x="65" y="104"/>
                      </a:cubicBezTo>
                      <a:cubicBezTo>
                        <a:pt x="67" y="103"/>
                        <a:pt x="67" y="103"/>
                        <a:pt x="67" y="103"/>
                      </a:cubicBezTo>
                      <a:cubicBezTo>
                        <a:pt x="66" y="101"/>
                        <a:pt x="66" y="101"/>
                        <a:pt x="66" y="101"/>
                      </a:cubicBezTo>
                      <a:cubicBezTo>
                        <a:pt x="66" y="101"/>
                        <a:pt x="68" y="101"/>
                        <a:pt x="68" y="101"/>
                      </a:cubicBezTo>
                      <a:cubicBezTo>
                        <a:pt x="67" y="101"/>
                        <a:pt x="65" y="99"/>
                        <a:pt x="65" y="99"/>
                      </a:cubicBezTo>
                      <a:cubicBezTo>
                        <a:pt x="66" y="97"/>
                        <a:pt x="66" y="97"/>
                        <a:pt x="66" y="97"/>
                      </a:cubicBezTo>
                      <a:cubicBezTo>
                        <a:pt x="64" y="97"/>
                        <a:pt x="64" y="97"/>
                        <a:pt x="64" y="97"/>
                      </a:cubicBezTo>
                      <a:cubicBezTo>
                        <a:pt x="64" y="97"/>
                        <a:pt x="60" y="97"/>
                        <a:pt x="59" y="97"/>
                      </a:cubicBezTo>
                      <a:cubicBezTo>
                        <a:pt x="58" y="96"/>
                        <a:pt x="58" y="96"/>
                        <a:pt x="57" y="96"/>
                      </a:cubicBezTo>
                      <a:cubicBezTo>
                        <a:pt x="56" y="96"/>
                        <a:pt x="55" y="96"/>
                        <a:pt x="54" y="96"/>
                      </a:cubicBezTo>
                      <a:cubicBezTo>
                        <a:pt x="53" y="96"/>
                        <a:pt x="52" y="96"/>
                        <a:pt x="51" y="96"/>
                      </a:cubicBezTo>
                      <a:cubicBezTo>
                        <a:pt x="51" y="96"/>
                        <a:pt x="50" y="96"/>
                        <a:pt x="49" y="96"/>
                      </a:cubicBezTo>
                      <a:cubicBezTo>
                        <a:pt x="49" y="95"/>
                        <a:pt x="50" y="94"/>
                        <a:pt x="49" y="94"/>
                      </a:cubicBezTo>
                      <a:cubicBezTo>
                        <a:pt x="48" y="94"/>
                        <a:pt x="47" y="92"/>
                        <a:pt x="46" y="93"/>
                      </a:cubicBezTo>
                      <a:cubicBezTo>
                        <a:pt x="46" y="93"/>
                        <a:pt x="46" y="93"/>
                        <a:pt x="45" y="93"/>
                      </a:cubicBezTo>
                      <a:cubicBezTo>
                        <a:pt x="45" y="94"/>
                        <a:pt x="44" y="94"/>
                        <a:pt x="44" y="94"/>
                      </a:cubicBezTo>
                      <a:cubicBezTo>
                        <a:pt x="43" y="93"/>
                        <a:pt x="43" y="94"/>
                        <a:pt x="44" y="93"/>
                      </a:cubicBezTo>
                      <a:cubicBezTo>
                        <a:pt x="44" y="92"/>
                        <a:pt x="43" y="90"/>
                        <a:pt x="44" y="90"/>
                      </a:cubicBezTo>
                      <a:cubicBezTo>
                        <a:pt x="45" y="91"/>
                        <a:pt x="45" y="91"/>
                        <a:pt x="46" y="91"/>
                      </a:cubicBezTo>
                      <a:cubicBezTo>
                        <a:pt x="46" y="91"/>
                        <a:pt x="47" y="91"/>
                        <a:pt x="47" y="91"/>
                      </a:cubicBezTo>
                      <a:cubicBezTo>
                        <a:pt x="47" y="90"/>
                        <a:pt x="48" y="88"/>
                        <a:pt x="48" y="88"/>
                      </a:cubicBezTo>
                      <a:cubicBezTo>
                        <a:pt x="48" y="88"/>
                        <a:pt x="51" y="89"/>
                        <a:pt x="50" y="88"/>
                      </a:cubicBezTo>
                      <a:cubicBezTo>
                        <a:pt x="49" y="87"/>
                        <a:pt x="47" y="86"/>
                        <a:pt x="47" y="86"/>
                      </a:cubicBezTo>
                      <a:cubicBezTo>
                        <a:pt x="47" y="86"/>
                        <a:pt x="46" y="86"/>
                        <a:pt x="46" y="87"/>
                      </a:cubicBezTo>
                      <a:cubicBezTo>
                        <a:pt x="45" y="88"/>
                        <a:pt x="46" y="88"/>
                        <a:pt x="45" y="89"/>
                      </a:cubicBezTo>
                      <a:cubicBezTo>
                        <a:pt x="44" y="89"/>
                        <a:pt x="44" y="89"/>
                        <a:pt x="43" y="89"/>
                      </a:cubicBezTo>
                      <a:cubicBezTo>
                        <a:pt x="43" y="89"/>
                        <a:pt x="43" y="89"/>
                        <a:pt x="42" y="89"/>
                      </a:cubicBezTo>
                      <a:cubicBezTo>
                        <a:pt x="42" y="89"/>
                        <a:pt x="40" y="89"/>
                        <a:pt x="40" y="88"/>
                      </a:cubicBezTo>
                      <a:cubicBezTo>
                        <a:pt x="40" y="88"/>
                        <a:pt x="40" y="88"/>
                        <a:pt x="40" y="87"/>
                      </a:cubicBezTo>
                      <a:cubicBezTo>
                        <a:pt x="40" y="86"/>
                        <a:pt x="40" y="85"/>
                        <a:pt x="42" y="85"/>
                      </a:cubicBezTo>
                      <a:cubicBezTo>
                        <a:pt x="43" y="85"/>
                        <a:pt x="43" y="86"/>
                        <a:pt x="43" y="85"/>
                      </a:cubicBezTo>
                      <a:cubicBezTo>
                        <a:pt x="43" y="85"/>
                        <a:pt x="43" y="84"/>
                        <a:pt x="42" y="84"/>
                      </a:cubicBezTo>
                      <a:cubicBezTo>
                        <a:pt x="42" y="83"/>
                        <a:pt x="42" y="83"/>
                        <a:pt x="41" y="83"/>
                      </a:cubicBezTo>
                      <a:cubicBezTo>
                        <a:pt x="40" y="83"/>
                        <a:pt x="38" y="84"/>
                        <a:pt x="38" y="84"/>
                      </a:cubicBezTo>
                      <a:cubicBezTo>
                        <a:pt x="38" y="84"/>
                        <a:pt x="39" y="84"/>
                        <a:pt x="37" y="84"/>
                      </a:cubicBezTo>
                      <a:cubicBezTo>
                        <a:pt x="36" y="83"/>
                        <a:pt x="37" y="83"/>
                        <a:pt x="36" y="82"/>
                      </a:cubicBezTo>
                      <a:cubicBezTo>
                        <a:pt x="36" y="81"/>
                        <a:pt x="36" y="81"/>
                        <a:pt x="35" y="81"/>
                      </a:cubicBezTo>
                      <a:cubicBezTo>
                        <a:pt x="35" y="81"/>
                        <a:pt x="35" y="81"/>
                        <a:pt x="34" y="81"/>
                      </a:cubicBezTo>
                      <a:cubicBezTo>
                        <a:pt x="33" y="80"/>
                        <a:pt x="32" y="80"/>
                        <a:pt x="32" y="79"/>
                      </a:cubicBezTo>
                      <a:cubicBezTo>
                        <a:pt x="32" y="78"/>
                        <a:pt x="32" y="77"/>
                        <a:pt x="33" y="78"/>
                      </a:cubicBezTo>
                      <a:cubicBezTo>
                        <a:pt x="34" y="78"/>
                        <a:pt x="33" y="77"/>
                        <a:pt x="34" y="78"/>
                      </a:cubicBezTo>
                      <a:cubicBezTo>
                        <a:pt x="36" y="79"/>
                        <a:pt x="36" y="79"/>
                        <a:pt x="36" y="79"/>
                      </a:cubicBezTo>
                      <a:cubicBezTo>
                        <a:pt x="36" y="79"/>
                        <a:pt x="37" y="79"/>
                        <a:pt x="36" y="78"/>
                      </a:cubicBezTo>
                      <a:cubicBezTo>
                        <a:pt x="36" y="77"/>
                        <a:pt x="35" y="76"/>
                        <a:pt x="35" y="76"/>
                      </a:cubicBezTo>
                      <a:cubicBezTo>
                        <a:pt x="35" y="76"/>
                        <a:pt x="34" y="76"/>
                        <a:pt x="34" y="75"/>
                      </a:cubicBezTo>
                      <a:cubicBezTo>
                        <a:pt x="34" y="74"/>
                        <a:pt x="34" y="74"/>
                        <a:pt x="33" y="73"/>
                      </a:cubicBezTo>
                      <a:cubicBezTo>
                        <a:pt x="33" y="73"/>
                        <a:pt x="34" y="73"/>
                        <a:pt x="34" y="73"/>
                      </a:cubicBezTo>
                      <a:cubicBezTo>
                        <a:pt x="35" y="73"/>
                        <a:pt x="34" y="73"/>
                        <a:pt x="35" y="73"/>
                      </a:cubicBezTo>
                      <a:cubicBezTo>
                        <a:pt x="37" y="73"/>
                        <a:pt x="36" y="73"/>
                        <a:pt x="37" y="73"/>
                      </a:cubicBezTo>
                      <a:cubicBezTo>
                        <a:pt x="37" y="73"/>
                        <a:pt x="38" y="73"/>
                        <a:pt x="38" y="73"/>
                      </a:cubicBezTo>
                      <a:cubicBezTo>
                        <a:pt x="38" y="74"/>
                        <a:pt x="39" y="72"/>
                        <a:pt x="39" y="72"/>
                      </a:cubicBezTo>
                      <a:cubicBezTo>
                        <a:pt x="39" y="72"/>
                        <a:pt x="38" y="71"/>
                        <a:pt x="39" y="71"/>
                      </a:cubicBezTo>
                      <a:cubicBezTo>
                        <a:pt x="40" y="71"/>
                        <a:pt x="40" y="72"/>
                        <a:pt x="41" y="72"/>
                      </a:cubicBezTo>
                      <a:cubicBezTo>
                        <a:pt x="43" y="72"/>
                        <a:pt x="43" y="73"/>
                        <a:pt x="44" y="73"/>
                      </a:cubicBezTo>
                      <a:cubicBezTo>
                        <a:pt x="44" y="72"/>
                        <a:pt x="45" y="73"/>
                        <a:pt x="45" y="72"/>
                      </a:cubicBezTo>
                      <a:cubicBezTo>
                        <a:pt x="44" y="71"/>
                        <a:pt x="44" y="72"/>
                        <a:pt x="44" y="71"/>
                      </a:cubicBezTo>
                      <a:cubicBezTo>
                        <a:pt x="43" y="70"/>
                        <a:pt x="43" y="71"/>
                        <a:pt x="43" y="69"/>
                      </a:cubicBezTo>
                      <a:cubicBezTo>
                        <a:pt x="44" y="68"/>
                        <a:pt x="44" y="67"/>
                        <a:pt x="44" y="67"/>
                      </a:cubicBezTo>
                      <a:cubicBezTo>
                        <a:pt x="44" y="66"/>
                        <a:pt x="44" y="66"/>
                        <a:pt x="44" y="66"/>
                      </a:cubicBezTo>
                      <a:cubicBezTo>
                        <a:pt x="46" y="64"/>
                        <a:pt x="46" y="64"/>
                        <a:pt x="46" y="64"/>
                      </a:cubicBezTo>
                      <a:cubicBezTo>
                        <a:pt x="46" y="64"/>
                        <a:pt x="47" y="64"/>
                        <a:pt x="48" y="64"/>
                      </a:cubicBezTo>
                      <a:cubicBezTo>
                        <a:pt x="50" y="64"/>
                        <a:pt x="51" y="65"/>
                        <a:pt x="52" y="65"/>
                      </a:cubicBezTo>
                      <a:cubicBezTo>
                        <a:pt x="54" y="65"/>
                        <a:pt x="55" y="65"/>
                        <a:pt x="55" y="65"/>
                      </a:cubicBezTo>
                      <a:cubicBezTo>
                        <a:pt x="54" y="64"/>
                        <a:pt x="54" y="64"/>
                        <a:pt x="54" y="64"/>
                      </a:cubicBezTo>
                      <a:cubicBezTo>
                        <a:pt x="54" y="64"/>
                        <a:pt x="54" y="64"/>
                        <a:pt x="54" y="63"/>
                      </a:cubicBezTo>
                      <a:cubicBezTo>
                        <a:pt x="55" y="63"/>
                        <a:pt x="55" y="63"/>
                        <a:pt x="56" y="63"/>
                      </a:cubicBezTo>
                      <a:cubicBezTo>
                        <a:pt x="56" y="63"/>
                        <a:pt x="57" y="61"/>
                        <a:pt x="57" y="61"/>
                      </a:cubicBezTo>
                      <a:cubicBezTo>
                        <a:pt x="56" y="60"/>
                        <a:pt x="56" y="60"/>
                        <a:pt x="55" y="59"/>
                      </a:cubicBezTo>
                      <a:cubicBezTo>
                        <a:pt x="53" y="59"/>
                        <a:pt x="50" y="59"/>
                        <a:pt x="50" y="59"/>
                      </a:cubicBezTo>
                      <a:cubicBezTo>
                        <a:pt x="50" y="59"/>
                        <a:pt x="49" y="59"/>
                        <a:pt x="48" y="59"/>
                      </a:cubicBezTo>
                      <a:cubicBezTo>
                        <a:pt x="47" y="59"/>
                        <a:pt x="45" y="59"/>
                        <a:pt x="45" y="58"/>
                      </a:cubicBezTo>
                      <a:cubicBezTo>
                        <a:pt x="44" y="58"/>
                        <a:pt x="44" y="58"/>
                        <a:pt x="44" y="56"/>
                      </a:cubicBezTo>
                      <a:cubicBezTo>
                        <a:pt x="44" y="55"/>
                        <a:pt x="43" y="55"/>
                        <a:pt x="43" y="55"/>
                      </a:cubicBezTo>
                      <a:cubicBezTo>
                        <a:pt x="44" y="53"/>
                        <a:pt x="44" y="53"/>
                        <a:pt x="44" y="53"/>
                      </a:cubicBezTo>
                      <a:cubicBezTo>
                        <a:pt x="44" y="53"/>
                        <a:pt x="43" y="52"/>
                        <a:pt x="43" y="52"/>
                      </a:cubicBezTo>
                      <a:cubicBezTo>
                        <a:pt x="42" y="52"/>
                        <a:pt x="42" y="52"/>
                        <a:pt x="42" y="52"/>
                      </a:cubicBezTo>
                      <a:cubicBezTo>
                        <a:pt x="41" y="52"/>
                        <a:pt x="42" y="52"/>
                        <a:pt x="40" y="51"/>
                      </a:cubicBezTo>
                      <a:cubicBezTo>
                        <a:pt x="38" y="51"/>
                        <a:pt x="37" y="50"/>
                        <a:pt x="37" y="50"/>
                      </a:cubicBezTo>
                      <a:cubicBezTo>
                        <a:pt x="37" y="49"/>
                        <a:pt x="37" y="49"/>
                        <a:pt x="39" y="49"/>
                      </a:cubicBezTo>
                      <a:cubicBezTo>
                        <a:pt x="40" y="49"/>
                        <a:pt x="41" y="49"/>
                        <a:pt x="42" y="49"/>
                      </a:cubicBezTo>
                      <a:cubicBezTo>
                        <a:pt x="43" y="50"/>
                        <a:pt x="45" y="49"/>
                        <a:pt x="45" y="49"/>
                      </a:cubicBezTo>
                      <a:cubicBezTo>
                        <a:pt x="45" y="49"/>
                        <a:pt x="44" y="49"/>
                        <a:pt x="46" y="50"/>
                      </a:cubicBezTo>
                      <a:cubicBezTo>
                        <a:pt x="48" y="51"/>
                        <a:pt x="47" y="51"/>
                        <a:pt x="48" y="51"/>
                      </a:cubicBezTo>
                      <a:cubicBezTo>
                        <a:pt x="49" y="51"/>
                        <a:pt x="50" y="50"/>
                        <a:pt x="49" y="50"/>
                      </a:cubicBezTo>
                      <a:cubicBezTo>
                        <a:pt x="49" y="49"/>
                        <a:pt x="50" y="49"/>
                        <a:pt x="49" y="49"/>
                      </a:cubicBezTo>
                      <a:cubicBezTo>
                        <a:pt x="48" y="48"/>
                        <a:pt x="48" y="48"/>
                        <a:pt x="48" y="48"/>
                      </a:cubicBezTo>
                      <a:cubicBezTo>
                        <a:pt x="48" y="48"/>
                        <a:pt x="48" y="48"/>
                        <a:pt x="48" y="47"/>
                      </a:cubicBezTo>
                      <a:cubicBezTo>
                        <a:pt x="48" y="46"/>
                        <a:pt x="49" y="45"/>
                        <a:pt x="49" y="45"/>
                      </a:cubicBezTo>
                      <a:cubicBezTo>
                        <a:pt x="50" y="45"/>
                        <a:pt x="50" y="45"/>
                        <a:pt x="50" y="44"/>
                      </a:cubicBezTo>
                      <a:cubicBezTo>
                        <a:pt x="50" y="44"/>
                        <a:pt x="50" y="43"/>
                        <a:pt x="50" y="43"/>
                      </a:cubicBezTo>
                      <a:cubicBezTo>
                        <a:pt x="50" y="42"/>
                        <a:pt x="51" y="41"/>
                        <a:pt x="51" y="41"/>
                      </a:cubicBezTo>
                      <a:cubicBezTo>
                        <a:pt x="51" y="41"/>
                        <a:pt x="50" y="40"/>
                        <a:pt x="50" y="40"/>
                      </a:cubicBezTo>
                      <a:cubicBezTo>
                        <a:pt x="50" y="40"/>
                        <a:pt x="48" y="40"/>
                        <a:pt x="48" y="41"/>
                      </a:cubicBezTo>
                      <a:cubicBezTo>
                        <a:pt x="48" y="41"/>
                        <a:pt x="48" y="41"/>
                        <a:pt x="48" y="42"/>
                      </a:cubicBezTo>
                      <a:cubicBezTo>
                        <a:pt x="47" y="42"/>
                        <a:pt x="47" y="42"/>
                        <a:pt x="46" y="42"/>
                      </a:cubicBezTo>
                      <a:cubicBezTo>
                        <a:pt x="46" y="43"/>
                        <a:pt x="46" y="43"/>
                        <a:pt x="46" y="43"/>
                      </a:cubicBezTo>
                      <a:cubicBezTo>
                        <a:pt x="46" y="44"/>
                        <a:pt x="45" y="45"/>
                        <a:pt x="45" y="45"/>
                      </a:cubicBezTo>
                      <a:cubicBezTo>
                        <a:pt x="45" y="45"/>
                        <a:pt x="44" y="43"/>
                        <a:pt x="44" y="42"/>
                      </a:cubicBezTo>
                      <a:cubicBezTo>
                        <a:pt x="44" y="42"/>
                        <a:pt x="45" y="41"/>
                        <a:pt x="46" y="41"/>
                      </a:cubicBezTo>
                      <a:cubicBezTo>
                        <a:pt x="47" y="41"/>
                        <a:pt x="47" y="41"/>
                        <a:pt x="47" y="40"/>
                      </a:cubicBezTo>
                      <a:cubicBezTo>
                        <a:pt x="47" y="40"/>
                        <a:pt x="47" y="40"/>
                        <a:pt x="47" y="39"/>
                      </a:cubicBezTo>
                      <a:cubicBezTo>
                        <a:pt x="47" y="38"/>
                        <a:pt x="47" y="38"/>
                        <a:pt x="47" y="38"/>
                      </a:cubicBezTo>
                      <a:cubicBezTo>
                        <a:pt x="48" y="37"/>
                        <a:pt x="49" y="36"/>
                        <a:pt x="50" y="36"/>
                      </a:cubicBezTo>
                      <a:cubicBezTo>
                        <a:pt x="50" y="36"/>
                        <a:pt x="49" y="34"/>
                        <a:pt x="51" y="36"/>
                      </a:cubicBezTo>
                      <a:cubicBezTo>
                        <a:pt x="52" y="37"/>
                        <a:pt x="52" y="37"/>
                        <a:pt x="53" y="38"/>
                      </a:cubicBezTo>
                      <a:cubicBezTo>
                        <a:pt x="54" y="38"/>
                        <a:pt x="56" y="39"/>
                        <a:pt x="56" y="38"/>
                      </a:cubicBezTo>
                      <a:cubicBezTo>
                        <a:pt x="56" y="38"/>
                        <a:pt x="56" y="37"/>
                        <a:pt x="56" y="36"/>
                      </a:cubicBezTo>
                      <a:cubicBezTo>
                        <a:pt x="56" y="36"/>
                        <a:pt x="55" y="36"/>
                        <a:pt x="56" y="35"/>
                      </a:cubicBezTo>
                      <a:cubicBezTo>
                        <a:pt x="56" y="35"/>
                        <a:pt x="56" y="35"/>
                        <a:pt x="57" y="35"/>
                      </a:cubicBezTo>
                      <a:cubicBezTo>
                        <a:pt x="59" y="36"/>
                        <a:pt x="58" y="36"/>
                        <a:pt x="59" y="37"/>
                      </a:cubicBezTo>
                      <a:cubicBezTo>
                        <a:pt x="61" y="38"/>
                        <a:pt x="61" y="38"/>
                        <a:pt x="61" y="38"/>
                      </a:cubicBezTo>
                      <a:cubicBezTo>
                        <a:pt x="62" y="38"/>
                        <a:pt x="62" y="38"/>
                        <a:pt x="63" y="38"/>
                      </a:cubicBezTo>
                      <a:cubicBezTo>
                        <a:pt x="64" y="38"/>
                        <a:pt x="63" y="37"/>
                        <a:pt x="65" y="39"/>
                      </a:cubicBezTo>
                      <a:cubicBezTo>
                        <a:pt x="66" y="40"/>
                        <a:pt x="66" y="40"/>
                        <a:pt x="67" y="40"/>
                      </a:cubicBezTo>
                      <a:cubicBezTo>
                        <a:pt x="68" y="41"/>
                        <a:pt x="70" y="40"/>
                        <a:pt x="70" y="40"/>
                      </a:cubicBezTo>
                      <a:cubicBezTo>
                        <a:pt x="70" y="40"/>
                        <a:pt x="70" y="39"/>
                        <a:pt x="71" y="41"/>
                      </a:cubicBezTo>
                      <a:cubicBezTo>
                        <a:pt x="72" y="43"/>
                        <a:pt x="73" y="43"/>
                        <a:pt x="73" y="43"/>
                      </a:cubicBezTo>
                      <a:cubicBezTo>
                        <a:pt x="73" y="44"/>
                        <a:pt x="74" y="45"/>
                        <a:pt x="74" y="45"/>
                      </a:cubicBezTo>
                      <a:cubicBezTo>
                        <a:pt x="74" y="45"/>
                        <a:pt x="74" y="45"/>
                        <a:pt x="74" y="46"/>
                      </a:cubicBezTo>
                      <a:cubicBezTo>
                        <a:pt x="74" y="46"/>
                        <a:pt x="74" y="47"/>
                        <a:pt x="75" y="47"/>
                      </a:cubicBezTo>
                      <a:cubicBezTo>
                        <a:pt x="75" y="47"/>
                        <a:pt x="76" y="47"/>
                        <a:pt x="76" y="47"/>
                      </a:cubicBezTo>
                      <a:cubicBezTo>
                        <a:pt x="76" y="47"/>
                        <a:pt x="77" y="46"/>
                        <a:pt x="77" y="46"/>
                      </a:cubicBezTo>
                      <a:cubicBezTo>
                        <a:pt x="77" y="46"/>
                        <a:pt x="79" y="45"/>
                        <a:pt x="79" y="45"/>
                      </a:cubicBezTo>
                      <a:cubicBezTo>
                        <a:pt x="79" y="45"/>
                        <a:pt x="79" y="44"/>
                        <a:pt x="81" y="45"/>
                      </a:cubicBezTo>
                      <a:cubicBezTo>
                        <a:pt x="82" y="45"/>
                        <a:pt x="84" y="46"/>
                        <a:pt x="84" y="46"/>
                      </a:cubicBezTo>
                      <a:cubicBezTo>
                        <a:pt x="84" y="46"/>
                        <a:pt x="84" y="47"/>
                        <a:pt x="84" y="47"/>
                      </a:cubicBezTo>
                      <a:cubicBezTo>
                        <a:pt x="85" y="47"/>
                        <a:pt x="88" y="47"/>
                        <a:pt x="88" y="47"/>
                      </a:cubicBezTo>
                      <a:cubicBezTo>
                        <a:pt x="89" y="48"/>
                        <a:pt x="89" y="48"/>
                        <a:pt x="89" y="48"/>
                      </a:cubicBezTo>
                      <a:cubicBezTo>
                        <a:pt x="89" y="48"/>
                        <a:pt x="90" y="49"/>
                        <a:pt x="90" y="49"/>
                      </a:cubicBezTo>
                      <a:cubicBezTo>
                        <a:pt x="90" y="50"/>
                        <a:pt x="91" y="52"/>
                        <a:pt x="91" y="52"/>
                      </a:cubicBezTo>
                      <a:cubicBezTo>
                        <a:pt x="94" y="53"/>
                        <a:pt x="94" y="53"/>
                        <a:pt x="94" y="53"/>
                      </a:cubicBezTo>
                      <a:cubicBezTo>
                        <a:pt x="92" y="50"/>
                        <a:pt x="92" y="50"/>
                        <a:pt x="92" y="50"/>
                      </a:cubicBezTo>
                      <a:cubicBezTo>
                        <a:pt x="92" y="50"/>
                        <a:pt x="90" y="48"/>
                        <a:pt x="92" y="48"/>
                      </a:cubicBezTo>
                      <a:cubicBezTo>
                        <a:pt x="94" y="48"/>
                        <a:pt x="95" y="47"/>
                        <a:pt x="95" y="47"/>
                      </a:cubicBezTo>
                      <a:cubicBezTo>
                        <a:pt x="95" y="46"/>
                        <a:pt x="95" y="46"/>
                        <a:pt x="95" y="46"/>
                      </a:cubicBezTo>
                      <a:cubicBezTo>
                        <a:pt x="92" y="46"/>
                        <a:pt x="92" y="46"/>
                        <a:pt x="92" y="46"/>
                      </a:cubicBezTo>
                      <a:cubicBezTo>
                        <a:pt x="92" y="46"/>
                        <a:pt x="92" y="44"/>
                        <a:pt x="92" y="44"/>
                      </a:cubicBezTo>
                      <a:cubicBezTo>
                        <a:pt x="93" y="44"/>
                        <a:pt x="94" y="42"/>
                        <a:pt x="96" y="42"/>
                      </a:cubicBezTo>
                      <a:cubicBezTo>
                        <a:pt x="98" y="42"/>
                        <a:pt x="100" y="41"/>
                        <a:pt x="100" y="41"/>
                      </a:cubicBezTo>
                      <a:cubicBezTo>
                        <a:pt x="100" y="41"/>
                        <a:pt x="100" y="40"/>
                        <a:pt x="102" y="40"/>
                      </a:cubicBezTo>
                      <a:cubicBezTo>
                        <a:pt x="104" y="40"/>
                        <a:pt x="105" y="40"/>
                        <a:pt x="106" y="40"/>
                      </a:cubicBezTo>
                      <a:cubicBezTo>
                        <a:pt x="107" y="40"/>
                        <a:pt x="107" y="40"/>
                        <a:pt x="107" y="39"/>
                      </a:cubicBezTo>
                      <a:cubicBezTo>
                        <a:pt x="107" y="38"/>
                        <a:pt x="106" y="38"/>
                        <a:pt x="108" y="37"/>
                      </a:cubicBezTo>
                      <a:cubicBezTo>
                        <a:pt x="109" y="37"/>
                        <a:pt x="110" y="36"/>
                        <a:pt x="110" y="36"/>
                      </a:cubicBezTo>
                      <a:cubicBezTo>
                        <a:pt x="111" y="32"/>
                        <a:pt x="111" y="32"/>
                        <a:pt x="111" y="32"/>
                      </a:cubicBezTo>
                      <a:cubicBezTo>
                        <a:pt x="107" y="34"/>
                        <a:pt x="107" y="34"/>
                        <a:pt x="107" y="34"/>
                      </a:cubicBezTo>
                      <a:cubicBezTo>
                        <a:pt x="107" y="34"/>
                        <a:pt x="107" y="32"/>
                        <a:pt x="106" y="32"/>
                      </a:cubicBezTo>
                      <a:cubicBezTo>
                        <a:pt x="105" y="32"/>
                        <a:pt x="102" y="34"/>
                        <a:pt x="102" y="34"/>
                      </a:cubicBezTo>
                      <a:cubicBezTo>
                        <a:pt x="102" y="34"/>
                        <a:pt x="102" y="33"/>
                        <a:pt x="101" y="33"/>
                      </a:cubicBezTo>
                      <a:cubicBezTo>
                        <a:pt x="101" y="32"/>
                        <a:pt x="101" y="32"/>
                        <a:pt x="100" y="32"/>
                      </a:cubicBezTo>
                      <a:cubicBezTo>
                        <a:pt x="99" y="32"/>
                        <a:pt x="100" y="32"/>
                        <a:pt x="98" y="31"/>
                      </a:cubicBezTo>
                      <a:cubicBezTo>
                        <a:pt x="96" y="30"/>
                        <a:pt x="95" y="28"/>
                        <a:pt x="95" y="28"/>
                      </a:cubicBezTo>
                      <a:cubicBezTo>
                        <a:pt x="95" y="28"/>
                        <a:pt x="96" y="28"/>
                        <a:pt x="94" y="28"/>
                      </a:cubicBezTo>
                      <a:cubicBezTo>
                        <a:pt x="93" y="27"/>
                        <a:pt x="93" y="27"/>
                        <a:pt x="93" y="27"/>
                      </a:cubicBezTo>
                      <a:cubicBezTo>
                        <a:pt x="92" y="26"/>
                        <a:pt x="92" y="26"/>
                        <a:pt x="94" y="25"/>
                      </a:cubicBezTo>
                      <a:cubicBezTo>
                        <a:pt x="95" y="24"/>
                        <a:pt x="94" y="24"/>
                        <a:pt x="96" y="23"/>
                      </a:cubicBezTo>
                      <a:cubicBezTo>
                        <a:pt x="97" y="22"/>
                        <a:pt x="96" y="21"/>
                        <a:pt x="98" y="22"/>
                      </a:cubicBezTo>
                      <a:cubicBezTo>
                        <a:pt x="101" y="23"/>
                        <a:pt x="101" y="23"/>
                        <a:pt x="102" y="24"/>
                      </a:cubicBezTo>
                      <a:cubicBezTo>
                        <a:pt x="103" y="24"/>
                        <a:pt x="107" y="24"/>
                        <a:pt x="105" y="23"/>
                      </a:cubicBezTo>
                      <a:cubicBezTo>
                        <a:pt x="104" y="22"/>
                        <a:pt x="102" y="21"/>
                        <a:pt x="102" y="20"/>
                      </a:cubicBezTo>
                      <a:cubicBezTo>
                        <a:pt x="102" y="20"/>
                        <a:pt x="100" y="20"/>
                        <a:pt x="102" y="20"/>
                      </a:cubicBezTo>
                      <a:cubicBezTo>
                        <a:pt x="103" y="20"/>
                        <a:pt x="104" y="19"/>
                        <a:pt x="105" y="20"/>
                      </a:cubicBezTo>
                      <a:cubicBezTo>
                        <a:pt x="105" y="20"/>
                        <a:pt x="103" y="20"/>
                        <a:pt x="106" y="20"/>
                      </a:cubicBezTo>
                      <a:cubicBezTo>
                        <a:pt x="109" y="20"/>
                        <a:pt x="110" y="20"/>
                        <a:pt x="108" y="19"/>
                      </a:cubicBezTo>
                      <a:cubicBezTo>
                        <a:pt x="107" y="18"/>
                        <a:pt x="107" y="18"/>
                        <a:pt x="106" y="17"/>
                      </a:cubicBezTo>
                      <a:cubicBezTo>
                        <a:pt x="106" y="16"/>
                        <a:pt x="105" y="16"/>
                        <a:pt x="106" y="16"/>
                      </a:cubicBezTo>
                      <a:cubicBezTo>
                        <a:pt x="106" y="15"/>
                        <a:pt x="106" y="16"/>
                        <a:pt x="107" y="15"/>
                      </a:cubicBezTo>
                      <a:cubicBezTo>
                        <a:pt x="107" y="14"/>
                        <a:pt x="107" y="13"/>
                        <a:pt x="107" y="13"/>
                      </a:cubicBezTo>
                      <a:cubicBezTo>
                        <a:pt x="107" y="13"/>
                        <a:pt x="106" y="13"/>
                        <a:pt x="107" y="12"/>
                      </a:cubicBezTo>
                      <a:cubicBezTo>
                        <a:pt x="109" y="10"/>
                        <a:pt x="109" y="10"/>
                        <a:pt x="110" y="10"/>
                      </a:cubicBezTo>
                      <a:cubicBezTo>
                        <a:pt x="110" y="10"/>
                        <a:pt x="111" y="9"/>
                        <a:pt x="112" y="9"/>
                      </a:cubicBezTo>
                      <a:cubicBezTo>
                        <a:pt x="112" y="8"/>
                        <a:pt x="113" y="6"/>
                        <a:pt x="113" y="6"/>
                      </a:cubicBezTo>
                      <a:cubicBezTo>
                        <a:pt x="116" y="6"/>
                        <a:pt x="116" y="6"/>
                        <a:pt x="116" y="6"/>
                      </a:cubicBezTo>
                      <a:cubicBezTo>
                        <a:pt x="116" y="6"/>
                        <a:pt x="117" y="6"/>
                        <a:pt x="117" y="6"/>
                      </a:cubicBezTo>
                      <a:cubicBezTo>
                        <a:pt x="117" y="7"/>
                        <a:pt x="117" y="5"/>
                        <a:pt x="117" y="5"/>
                      </a:cubicBezTo>
                      <a:cubicBezTo>
                        <a:pt x="117" y="5"/>
                        <a:pt x="118" y="5"/>
                        <a:pt x="118" y="5"/>
                      </a:cubicBezTo>
                      <a:cubicBezTo>
                        <a:pt x="119" y="6"/>
                        <a:pt x="119" y="6"/>
                        <a:pt x="119" y="6"/>
                      </a:cubicBezTo>
                      <a:cubicBezTo>
                        <a:pt x="120" y="7"/>
                        <a:pt x="121" y="6"/>
                        <a:pt x="121" y="6"/>
                      </a:cubicBezTo>
                      <a:cubicBezTo>
                        <a:pt x="121" y="6"/>
                        <a:pt x="122" y="5"/>
                        <a:pt x="123" y="5"/>
                      </a:cubicBezTo>
                      <a:cubicBezTo>
                        <a:pt x="124" y="5"/>
                        <a:pt x="125" y="5"/>
                        <a:pt x="125" y="5"/>
                      </a:cubicBezTo>
                      <a:cubicBezTo>
                        <a:pt x="125" y="6"/>
                        <a:pt x="125" y="6"/>
                        <a:pt x="125" y="7"/>
                      </a:cubicBezTo>
                      <a:cubicBezTo>
                        <a:pt x="126" y="7"/>
                        <a:pt x="127" y="8"/>
                        <a:pt x="127" y="8"/>
                      </a:cubicBezTo>
                      <a:cubicBezTo>
                        <a:pt x="127" y="8"/>
                        <a:pt x="129" y="8"/>
                        <a:pt x="129" y="7"/>
                      </a:cubicBezTo>
                      <a:cubicBezTo>
                        <a:pt x="129" y="7"/>
                        <a:pt x="128" y="7"/>
                        <a:pt x="130" y="6"/>
                      </a:cubicBezTo>
                      <a:cubicBezTo>
                        <a:pt x="132" y="4"/>
                        <a:pt x="133" y="4"/>
                        <a:pt x="133" y="4"/>
                      </a:cubicBezTo>
                      <a:cubicBezTo>
                        <a:pt x="133" y="4"/>
                        <a:pt x="133" y="3"/>
                        <a:pt x="134" y="3"/>
                      </a:cubicBezTo>
                      <a:cubicBezTo>
                        <a:pt x="135" y="4"/>
                        <a:pt x="135" y="3"/>
                        <a:pt x="135" y="4"/>
                      </a:cubicBezTo>
                      <a:cubicBezTo>
                        <a:pt x="135" y="4"/>
                        <a:pt x="136" y="5"/>
                        <a:pt x="136" y="5"/>
                      </a:cubicBezTo>
                      <a:cubicBezTo>
                        <a:pt x="136" y="5"/>
                        <a:pt x="136" y="8"/>
                        <a:pt x="136" y="8"/>
                      </a:cubicBezTo>
                      <a:cubicBezTo>
                        <a:pt x="136" y="9"/>
                        <a:pt x="136" y="9"/>
                        <a:pt x="136" y="9"/>
                      </a:cubicBezTo>
                      <a:cubicBezTo>
                        <a:pt x="136" y="9"/>
                        <a:pt x="136" y="10"/>
                        <a:pt x="136" y="10"/>
                      </a:cubicBezTo>
                      <a:cubicBezTo>
                        <a:pt x="136" y="11"/>
                        <a:pt x="137" y="13"/>
                        <a:pt x="137" y="13"/>
                      </a:cubicBezTo>
                      <a:cubicBezTo>
                        <a:pt x="137" y="13"/>
                        <a:pt x="137" y="13"/>
                        <a:pt x="137" y="13"/>
                      </a:cubicBezTo>
                      <a:cubicBezTo>
                        <a:pt x="136" y="14"/>
                        <a:pt x="136" y="13"/>
                        <a:pt x="136" y="14"/>
                      </a:cubicBezTo>
                      <a:cubicBezTo>
                        <a:pt x="135" y="15"/>
                        <a:pt x="136" y="15"/>
                        <a:pt x="135" y="16"/>
                      </a:cubicBezTo>
                      <a:cubicBezTo>
                        <a:pt x="135" y="16"/>
                        <a:pt x="134" y="16"/>
                        <a:pt x="134" y="16"/>
                      </a:cubicBezTo>
                      <a:cubicBezTo>
                        <a:pt x="134" y="16"/>
                        <a:pt x="135" y="17"/>
                        <a:pt x="135" y="17"/>
                      </a:cubicBezTo>
                      <a:cubicBezTo>
                        <a:pt x="135" y="17"/>
                        <a:pt x="135" y="17"/>
                        <a:pt x="136" y="17"/>
                      </a:cubicBezTo>
                      <a:cubicBezTo>
                        <a:pt x="136" y="17"/>
                        <a:pt x="136" y="16"/>
                        <a:pt x="137" y="16"/>
                      </a:cubicBezTo>
                      <a:cubicBezTo>
                        <a:pt x="137" y="17"/>
                        <a:pt x="137" y="15"/>
                        <a:pt x="137" y="15"/>
                      </a:cubicBezTo>
                      <a:cubicBezTo>
                        <a:pt x="137" y="15"/>
                        <a:pt x="137" y="15"/>
                        <a:pt x="138" y="14"/>
                      </a:cubicBezTo>
                      <a:cubicBezTo>
                        <a:pt x="138" y="14"/>
                        <a:pt x="139" y="13"/>
                        <a:pt x="139" y="12"/>
                      </a:cubicBezTo>
                      <a:cubicBezTo>
                        <a:pt x="139" y="12"/>
                        <a:pt x="138" y="11"/>
                        <a:pt x="138" y="11"/>
                      </a:cubicBezTo>
                      <a:cubicBezTo>
                        <a:pt x="138" y="11"/>
                        <a:pt x="137" y="9"/>
                        <a:pt x="137" y="8"/>
                      </a:cubicBezTo>
                      <a:cubicBezTo>
                        <a:pt x="137" y="8"/>
                        <a:pt x="137" y="8"/>
                        <a:pt x="137" y="7"/>
                      </a:cubicBezTo>
                      <a:cubicBezTo>
                        <a:pt x="138" y="7"/>
                        <a:pt x="138" y="6"/>
                        <a:pt x="138" y="6"/>
                      </a:cubicBezTo>
                      <a:cubicBezTo>
                        <a:pt x="139" y="5"/>
                        <a:pt x="140" y="4"/>
                        <a:pt x="140" y="4"/>
                      </a:cubicBezTo>
                      <a:cubicBezTo>
                        <a:pt x="140" y="4"/>
                        <a:pt x="142" y="4"/>
                        <a:pt x="143" y="4"/>
                      </a:cubicBezTo>
                      <a:cubicBezTo>
                        <a:pt x="143" y="4"/>
                        <a:pt x="142" y="3"/>
                        <a:pt x="144" y="4"/>
                      </a:cubicBezTo>
                      <a:cubicBezTo>
                        <a:pt x="145" y="5"/>
                        <a:pt x="145" y="5"/>
                        <a:pt x="145" y="5"/>
                      </a:cubicBezTo>
                      <a:cubicBezTo>
                        <a:pt x="145" y="6"/>
                        <a:pt x="144" y="6"/>
                        <a:pt x="146" y="6"/>
                      </a:cubicBezTo>
                      <a:cubicBezTo>
                        <a:pt x="147" y="6"/>
                        <a:pt x="148" y="6"/>
                        <a:pt x="147" y="6"/>
                      </a:cubicBezTo>
                      <a:cubicBezTo>
                        <a:pt x="146" y="5"/>
                        <a:pt x="146" y="4"/>
                        <a:pt x="145" y="4"/>
                      </a:cubicBezTo>
                      <a:cubicBezTo>
                        <a:pt x="145" y="4"/>
                        <a:pt x="144" y="3"/>
                        <a:pt x="144" y="3"/>
                      </a:cubicBezTo>
                      <a:cubicBezTo>
                        <a:pt x="144" y="2"/>
                        <a:pt x="144" y="0"/>
                        <a:pt x="145" y="1"/>
                      </a:cubicBezTo>
                      <a:cubicBezTo>
                        <a:pt x="146" y="1"/>
                        <a:pt x="145" y="0"/>
                        <a:pt x="146" y="1"/>
                      </a:cubicBezTo>
                      <a:cubicBezTo>
                        <a:pt x="148" y="3"/>
                        <a:pt x="149" y="4"/>
                        <a:pt x="149" y="4"/>
                      </a:cubicBezTo>
                      <a:cubicBezTo>
                        <a:pt x="149" y="5"/>
                        <a:pt x="150" y="5"/>
                        <a:pt x="150" y="5"/>
                      </a:cubicBezTo>
                      <a:cubicBezTo>
                        <a:pt x="150" y="6"/>
                        <a:pt x="150" y="6"/>
                        <a:pt x="150" y="6"/>
                      </a:cubicBezTo>
                      <a:cubicBezTo>
                        <a:pt x="151" y="7"/>
                        <a:pt x="152" y="8"/>
                        <a:pt x="152" y="8"/>
                      </a:cubicBezTo>
                      <a:cubicBezTo>
                        <a:pt x="152" y="8"/>
                        <a:pt x="152" y="8"/>
                        <a:pt x="153" y="8"/>
                      </a:cubicBezTo>
                      <a:cubicBezTo>
                        <a:pt x="153" y="9"/>
                        <a:pt x="155" y="10"/>
                        <a:pt x="155" y="10"/>
                      </a:cubicBezTo>
                      <a:cubicBezTo>
                        <a:pt x="155" y="10"/>
                        <a:pt x="156" y="11"/>
                        <a:pt x="156" y="11"/>
                      </a:cubicBezTo>
                      <a:cubicBezTo>
                        <a:pt x="155" y="12"/>
                        <a:pt x="155" y="13"/>
                        <a:pt x="155" y="13"/>
                      </a:cubicBezTo>
                      <a:cubicBezTo>
                        <a:pt x="153" y="16"/>
                        <a:pt x="153" y="16"/>
                        <a:pt x="153" y="16"/>
                      </a:cubicBezTo>
                      <a:cubicBezTo>
                        <a:pt x="152" y="18"/>
                        <a:pt x="152" y="18"/>
                        <a:pt x="152" y="18"/>
                      </a:cubicBezTo>
                      <a:cubicBezTo>
                        <a:pt x="152" y="19"/>
                        <a:pt x="152" y="19"/>
                        <a:pt x="152" y="19"/>
                      </a:cubicBezTo>
                      <a:cubicBezTo>
                        <a:pt x="151" y="20"/>
                        <a:pt x="151" y="21"/>
                        <a:pt x="151" y="21"/>
                      </a:cubicBezTo>
                      <a:cubicBezTo>
                        <a:pt x="151" y="21"/>
                        <a:pt x="150" y="22"/>
                        <a:pt x="148" y="22"/>
                      </a:cubicBezTo>
                      <a:cubicBezTo>
                        <a:pt x="146" y="21"/>
                        <a:pt x="144" y="23"/>
                        <a:pt x="144" y="23"/>
                      </a:cubicBezTo>
                      <a:cubicBezTo>
                        <a:pt x="144" y="23"/>
                        <a:pt x="139" y="22"/>
                        <a:pt x="138" y="22"/>
                      </a:cubicBezTo>
                      <a:cubicBezTo>
                        <a:pt x="137" y="22"/>
                        <a:pt x="137" y="26"/>
                        <a:pt x="137" y="27"/>
                      </a:cubicBezTo>
                      <a:cubicBezTo>
                        <a:pt x="137" y="28"/>
                        <a:pt x="135" y="29"/>
                        <a:pt x="132" y="29"/>
                      </a:cubicBezTo>
                      <a:cubicBezTo>
                        <a:pt x="129" y="30"/>
                        <a:pt x="131" y="30"/>
                        <a:pt x="130" y="33"/>
                      </a:cubicBezTo>
                      <a:cubicBezTo>
                        <a:pt x="129" y="37"/>
                        <a:pt x="128" y="34"/>
                        <a:pt x="126" y="33"/>
                      </a:cubicBezTo>
                      <a:cubicBezTo>
                        <a:pt x="124" y="33"/>
                        <a:pt x="124" y="33"/>
                        <a:pt x="121" y="33"/>
                      </a:cubicBezTo>
                      <a:cubicBezTo>
                        <a:pt x="118" y="34"/>
                        <a:pt x="120" y="36"/>
                        <a:pt x="120" y="36"/>
                      </a:cubicBezTo>
                      <a:cubicBezTo>
                        <a:pt x="120" y="36"/>
                        <a:pt x="122" y="38"/>
                        <a:pt x="123" y="38"/>
                      </a:cubicBezTo>
                      <a:cubicBezTo>
                        <a:pt x="125" y="39"/>
                        <a:pt x="123" y="41"/>
                        <a:pt x="123" y="41"/>
                      </a:cubicBezTo>
                      <a:cubicBezTo>
                        <a:pt x="123" y="41"/>
                        <a:pt x="122" y="43"/>
                        <a:pt x="121" y="43"/>
                      </a:cubicBezTo>
                      <a:cubicBezTo>
                        <a:pt x="120" y="42"/>
                        <a:pt x="115" y="42"/>
                        <a:pt x="115" y="42"/>
                      </a:cubicBezTo>
                      <a:cubicBezTo>
                        <a:pt x="110" y="45"/>
                        <a:pt x="110" y="45"/>
                        <a:pt x="110" y="45"/>
                      </a:cubicBezTo>
                      <a:cubicBezTo>
                        <a:pt x="110" y="45"/>
                        <a:pt x="111" y="49"/>
                        <a:pt x="114" y="53"/>
                      </a:cubicBezTo>
                      <a:cubicBezTo>
                        <a:pt x="117" y="57"/>
                        <a:pt x="114" y="54"/>
                        <a:pt x="114" y="54"/>
                      </a:cubicBezTo>
                      <a:cubicBezTo>
                        <a:pt x="114" y="54"/>
                        <a:pt x="115" y="57"/>
                        <a:pt x="115" y="59"/>
                      </a:cubicBezTo>
                      <a:cubicBezTo>
                        <a:pt x="115" y="61"/>
                        <a:pt x="115" y="60"/>
                        <a:pt x="116" y="60"/>
                      </a:cubicBezTo>
                      <a:cubicBezTo>
                        <a:pt x="117" y="60"/>
                        <a:pt x="119" y="60"/>
                        <a:pt x="119" y="60"/>
                      </a:cubicBezTo>
                      <a:cubicBezTo>
                        <a:pt x="119" y="60"/>
                        <a:pt x="123" y="66"/>
                        <a:pt x="123" y="66"/>
                      </a:cubicBezTo>
                      <a:cubicBezTo>
                        <a:pt x="124" y="66"/>
                        <a:pt x="129" y="65"/>
                        <a:pt x="129" y="65"/>
                      </a:cubicBezTo>
                      <a:cubicBezTo>
                        <a:pt x="129" y="65"/>
                        <a:pt x="133" y="64"/>
                        <a:pt x="135" y="64"/>
                      </a:cubicBezTo>
                      <a:cubicBezTo>
                        <a:pt x="137" y="63"/>
                        <a:pt x="135" y="61"/>
                        <a:pt x="135" y="61"/>
                      </a:cubicBezTo>
                      <a:cubicBezTo>
                        <a:pt x="137" y="56"/>
                        <a:pt x="137" y="56"/>
                        <a:pt x="137" y="56"/>
                      </a:cubicBezTo>
                      <a:cubicBezTo>
                        <a:pt x="143" y="55"/>
                        <a:pt x="143" y="55"/>
                        <a:pt x="143" y="55"/>
                      </a:cubicBezTo>
                      <a:cubicBezTo>
                        <a:pt x="146" y="61"/>
                        <a:pt x="146" y="61"/>
                        <a:pt x="146" y="61"/>
                      </a:cubicBezTo>
                      <a:cubicBezTo>
                        <a:pt x="145" y="65"/>
                        <a:pt x="145" y="65"/>
                        <a:pt x="145" y="65"/>
                      </a:cubicBezTo>
                      <a:cubicBezTo>
                        <a:pt x="150" y="70"/>
                        <a:pt x="150" y="70"/>
                        <a:pt x="150" y="70"/>
                      </a:cubicBezTo>
                      <a:cubicBezTo>
                        <a:pt x="151" y="75"/>
                        <a:pt x="151" y="75"/>
                        <a:pt x="151" y="75"/>
                      </a:cubicBezTo>
                      <a:cubicBezTo>
                        <a:pt x="151" y="75"/>
                        <a:pt x="156" y="76"/>
                        <a:pt x="157" y="77"/>
                      </a:cubicBezTo>
                      <a:cubicBezTo>
                        <a:pt x="158" y="77"/>
                        <a:pt x="161" y="76"/>
                        <a:pt x="161" y="76"/>
                      </a:cubicBezTo>
                      <a:cubicBezTo>
                        <a:pt x="165" y="81"/>
                        <a:pt x="165" y="81"/>
                        <a:pt x="165" y="81"/>
                      </a:cubicBezTo>
                      <a:cubicBezTo>
                        <a:pt x="166" y="80"/>
                        <a:pt x="166" y="80"/>
                        <a:pt x="166" y="80"/>
                      </a:cubicBezTo>
                      <a:cubicBezTo>
                        <a:pt x="166" y="81"/>
                        <a:pt x="166" y="81"/>
                        <a:pt x="166" y="81"/>
                      </a:cubicBezTo>
                      <a:cubicBezTo>
                        <a:pt x="166" y="81"/>
                        <a:pt x="166" y="83"/>
                        <a:pt x="165" y="83"/>
                      </a:cubicBezTo>
                      <a:cubicBezTo>
                        <a:pt x="163" y="82"/>
                        <a:pt x="162" y="82"/>
                        <a:pt x="162" y="82"/>
                      </a:cubicBezTo>
                      <a:cubicBezTo>
                        <a:pt x="159" y="80"/>
                        <a:pt x="159" y="80"/>
                        <a:pt x="159" y="80"/>
                      </a:cubicBezTo>
                      <a:cubicBezTo>
                        <a:pt x="158" y="81"/>
                        <a:pt x="158" y="81"/>
                        <a:pt x="158" y="81"/>
                      </a:cubicBezTo>
                      <a:cubicBezTo>
                        <a:pt x="155" y="85"/>
                        <a:pt x="155" y="85"/>
                        <a:pt x="155" y="85"/>
                      </a:cubicBezTo>
                      <a:cubicBezTo>
                        <a:pt x="157" y="86"/>
                        <a:pt x="157" y="86"/>
                        <a:pt x="157" y="86"/>
                      </a:cubicBezTo>
                      <a:cubicBezTo>
                        <a:pt x="159" y="88"/>
                        <a:pt x="159" y="88"/>
                        <a:pt x="159" y="88"/>
                      </a:cubicBezTo>
                      <a:cubicBezTo>
                        <a:pt x="159" y="91"/>
                        <a:pt x="159" y="91"/>
                        <a:pt x="159" y="91"/>
                      </a:cubicBezTo>
                      <a:cubicBezTo>
                        <a:pt x="159" y="95"/>
                        <a:pt x="159" y="95"/>
                        <a:pt x="159" y="95"/>
                      </a:cubicBezTo>
                      <a:cubicBezTo>
                        <a:pt x="157" y="98"/>
                        <a:pt x="157" y="98"/>
                        <a:pt x="157" y="98"/>
                      </a:cubicBezTo>
                      <a:cubicBezTo>
                        <a:pt x="157" y="98"/>
                        <a:pt x="158" y="100"/>
                        <a:pt x="158" y="101"/>
                      </a:cubicBezTo>
                      <a:cubicBezTo>
                        <a:pt x="158" y="101"/>
                        <a:pt x="160" y="103"/>
                        <a:pt x="160" y="103"/>
                      </a:cubicBezTo>
                      <a:cubicBezTo>
                        <a:pt x="162" y="105"/>
                        <a:pt x="162" y="105"/>
                        <a:pt x="162" y="105"/>
                      </a:cubicBezTo>
                      <a:cubicBezTo>
                        <a:pt x="160" y="110"/>
                        <a:pt x="160" y="110"/>
                        <a:pt x="160" y="110"/>
                      </a:cubicBezTo>
                      <a:cubicBezTo>
                        <a:pt x="158" y="112"/>
                        <a:pt x="158" y="112"/>
                        <a:pt x="158" y="112"/>
                      </a:cubicBezTo>
                      <a:cubicBezTo>
                        <a:pt x="158" y="114"/>
                        <a:pt x="158" y="114"/>
                        <a:pt x="158" y="114"/>
                      </a:cubicBezTo>
                      <a:cubicBezTo>
                        <a:pt x="158" y="114"/>
                        <a:pt x="160" y="115"/>
                        <a:pt x="159" y="115"/>
                      </a:cubicBezTo>
                      <a:cubicBezTo>
                        <a:pt x="158" y="115"/>
                        <a:pt x="156" y="115"/>
                        <a:pt x="156" y="115"/>
                      </a:cubicBezTo>
                      <a:cubicBezTo>
                        <a:pt x="156" y="115"/>
                        <a:pt x="156" y="116"/>
                        <a:pt x="156" y="117"/>
                      </a:cubicBezTo>
                      <a:cubicBezTo>
                        <a:pt x="156" y="117"/>
                        <a:pt x="157" y="119"/>
                        <a:pt x="157" y="119"/>
                      </a:cubicBezTo>
                      <a:cubicBezTo>
                        <a:pt x="157" y="119"/>
                        <a:pt x="158" y="119"/>
                        <a:pt x="158" y="120"/>
                      </a:cubicBezTo>
                      <a:cubicBezTo>
                        <a:pt x="158" y="121"/>
                        <a:pt x="157" y="123"/>
                        <a:pt x="157" y="123"/>
                      </a:cubicBezTo>
                      <a:cubicBezTo>
                        <a:pt x="157" y="123"/>
                        <a:pt x="156" y="127"/>
                        <a:pt x="156" y="127"/>
                      </a:cubicBezTo>
                      <a:cubicBezTo>
                        <a:pt x="157" y="127"/>
                        <a:pt x="157" y="129"/>
                        <a:pt x="157" y="129"/>
                      </a:cubicBezTo>
                      <a:cubicBezTo>
                        <a:pt x="157" y="133"/>
                        <a:pt x="157" y="133"/>
                        <a:pt x="157" y="133"/>
                      </a:cubicBezTo>
                      <a:cubicBezTo>
                        <a:pt x="156" y="136"/>
                        <a:pt x="156" y="136"/>
                        <a:pt x="156" y="136"/>
                      </a:cubicBezTo>
                      <a:cubicBezTo>
                        <a:pt x="157" y="138"/>
                        <a:pt x="157" y="138"/>
                        <a:pt x="157" y="138"/>
                      </a:cubicBezTo>
                      <a:cubicBezTo>
                        <a:pt x="154" y="140"/>
                        <a:pt x="154" y="140"/>
                        <a:pt x="154" y="140"/>
                      </a:cubicBezTo>
                      <a:cubicBezTo>
                        <a:pt x="153" y="142"/>
                        <a:pt x="153" y="142"/>
                        <a:pt x="153" y="142"/>
                      </a:cubicBezTo>
                      <a:cubicBezTo>
                        <a:pt x="153" y="142"/>
                        <a:pt x="151" y="143"/>
                        <a:pt x="151" y="144"/>
                      </a:cubicBezTo>
                      <a:cubicBezTo>
                        <a:pt x="151" y="144"/>
                        <a:pt x="150" y="145"/>
                        <a:pt x="150" y="146"/>
                      </a:cubicBezTo>
                      <a:cubicBezTo>
                        <a:pt x="150" y="147"/>
                        <a:pt x="149" y="148"/>
                        <a:pt x="149" y="148"/>
                      </a:cubicBezTo>
                      <a:cubicBezTo>
                        <a:pt x="148" y="149"/>
                        <a:pt x="146" y="151"/>
                        <a:pt x="146" y="151"/>
                      </a:cubicBezTo>
                      <a:cubicBezTo>
                        <a:pt x="145" y="153"/>
                        <a:pt x="145" y="153"/>
                        <a:pt x="145" y="153"/>
                      </a:cubicBezTo>
                      <a:cubicBezTo>
                        <a:pt x="145" y="153"/>
                        <a:pt x="146" y="155"/>
                        <a:pt x="146" y="155"/>
                      </a:cubicBezTo>
                      <a:cubicBezTo>
                        <a:pt x="146" y="156"/>
                        <a:pt x="146" y="156"/>
                        <a:pt x="146" y="156"/>
                      </a:cubicBezTo>
                      <a:cubicBezTo>
                        <a:pt x="144" y="158"/>
                        <a:pt x="144" y="158"/>
                        <a:pt x="144" y="158"/>
                      </a:cubicBezTo>
                      <a:cubicBezTo>
                        <a:pt x="139" y="162"/>
                        <a:pt x="139" y="162"/>
                        <a:pt x="139" y="162"/>
                      </a:cubicBezTo>
                      <a:cubicBezTo>
                        <a:pt x="139" y="162"/>
                        <a:pt x="139" y="163"/>
                        <a:pt x="138" y="164"/>
                      </a:cubicBezTo>
                      <a:cubicBezTo>
                        <a:pt x="138" y="166"/>
                        <a:pt x="137" y="166"/>
                        <a:pt x="137" y="166"/>
                      </a:cubicBezTo>
                      <a:cubicBezTo>
                        <a:pt x="137" y="166"/>
                        <a:pt x="136" y="166"/>
                        <a:pt x="135" y="166"/>
                      </a:cubicBezTo>
                      <a:cubicBezTo>
                        <a:pt x="135" y="166"/>
                        <a:pt x="134" y="165"/>
                        <a:pt x="134" y="165"/>
                      </a:cubicBezTo>
                      <a:cubicBezTo>
                        <a:pt x="134" y="167"/>
                        <a:pt x="134" y="167"/>
                        <a:pt x="134" y="167"/>
                      </a:cubicBezTo>
                      <a:cubicBezTo>
                        <a:pt x="134" y="167"/>
                        <a:pt x="134" y="168"/>
                        <a:pt x="135" y="168"/>
                      </a:cubicBezTo>
                      <a:cubicBezTo>
                        <a:pt x="136" y="169"/>
                        <a:pt x="136" y="170"/>
                        <a:pt x="137" y="170"/>
                      </a:cubicBezTo>
                      <a:cubicBezTo>
                        <a:pt x="137" y="171"/>
                        <a:pt x="138" y="172"/>
                        <a:pt x="138" y="172"/>
                      </a:cubicBezTo>
                      <a:cubicBezTo>
                        <a:pt x="136" y="174"/>
                        <a:pt x="136" y="174"/>
                        <a:pt x="136" y="174"/>
                      </a:cubicBezTo>
                      <a:cubicBezTo>
                        <a:pt x="136" y="175"/>
                        <a:pt x="136" y="175"/>
                        <a:pt x="136" y="175"/>
                      </a:cubicBezTo>
                      <a:cubicBezTo>
                        <a:pt x="134" y="175"/>
                        <a:pt x="134" y="175"/>
                        <a:pt x="134" y="175"/>
                      </a:cubicBezTo>
                      <a:cubicBezTo>
                        <a:pt x="133" y="174"/>
                        <a:pt x="133" y="174"/>
                        <a:pt x="133" y="174"/>
                      </a:cubicBezTo>
                      <a:cubicBezTo>
                        <a:pt x="133" y="174"/>
                        <a:pt x="132" y="174"/>
                        <a:pt x="132" y="174"/>
                      </a:cubicBezTo>
                      <a:close/>
                    </a:path>
                  </a:pathLst>
                </a:custGeom>
                <a:solidFill>
                  <a:srgbClr val="E6EFF1"/>
                </a:solidFill>
                <a:ln w="12700" cap="rnd" cmpd="sng">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Lato Light"/>
                  </a:endParaRPr>
                </a:p>
              </p:txBody>
            </p:sp>
            <p:sp>
              <p:nvSpPr>
                <p:cNvPr id="231" name="Freeform 45">
                  <a:extLst>
                    <a:ext uri="{FF2B5EF4-FFF2-40B4-BE49-F238E27FC236}">
                      <a16:creationId xmlns:a16="http://schemas.microsoft.com/office/drawing/2014/main" id="{66EC6513-E31B-EA2F-F7AF-22AEF336C350}"/>
                    </a:ext>
                  </a:extLst>
                </p:cNvPr>
                <p:cNvSpPr>
                  <a:spLocks/>
                </p:cNvSpPr>
                <p:nvPr/>
              </p:nvSpPr>
              <p:spPr bwMode="auto">
                <a:xfrm>
                  <a:off x="1519072" y="5026621"/>
                  <a:ext cx="512618" cy="775631"/>
                </a:xfrm>
                <a:custGeom>
                  <a:avLst/>
                  <a:gdLst>
                    <a:gd name="T0" fmla="*/ 84 w 178"/>
                    <a:gd name="T1" fmla="*/ 3 h 278"/>
                    <a:gd name="T2" fmla="*/ 97 w 178"/>
                    <a:gd name="T3" fmla="*/ 2 h 278"/>
                    <a:gd name="T4" fmla="*/ 107 w 178"/>
                    <a:gd name="T5" fmla="*/ 5 h 278"/>
                    <a:gd name="T6" fmla="*/ 102 w 178"/>
                    <a:gd name="T7" fmla="*/ 16 h 278"/>
                    <a:gd name="T8" fmla="*/ 113 w 178"/>
                    <a:gd name="T9" fmla="*/ 16 h 278"/>
                    <a:gd name="T10" fmla="*/ 119 w 178"/>
                    <a:gd name="T11" fmla="*/ 18 h 278"/>
                    <a:gd name="T12" fmla="*/ 126 w 178"/>
                    <a:gd name="T13" fmla="*/ 24 h 278"/>
                    <a:gd name="T14" fmla="*/ 134 w 178"/>
                    <a:gd name="T15" fmla="*/ 25 h 278"/>
                    <a:gd name="T16" fmla="*/ 145 w 178"/>
                    <a:gd name="T17" fmla="*/ 19 h 278"/>
                    <a:gd name="T18" fmla="*/ 154 w 178"/>
                    <a:gd name="T19" fmla="*/ 24 h 278"/>
                    <a:gd name="T20" fmla="*/ 164 w 178"/>
                    <a:gd name="T21" fmla="*/ 27 h 278"/>
                    <a:gd name="T22" fmla="*/ 167 w 178"/>
                    <a:gd name="T23" fmla="*/ 34 h 278"/>
                    <a:gd name="T24" fmla="*/ 165 w 178"/>
                    <a:gd name="T25" fmla="*/ 42 h 278"/>
                    <a:gd name="T26" fmla="*/ 178 w 178"/>
                    <a:gd name="T27" fmla="*/ 50 h 278"/>
                    <a:gd name="T28" fmla="*/ 168 w 178"/>
                    <a:gd name="T29" fmla="*/ 59 h 278"/>
                    <a:gd name="T30" fmla="*/ 156 w 178"/>
                    <a:gd name="T31" fmla="*/ 65 h 278"/>
                    <a:gd name="T32" fmla="*/ 144 w 178"/>
                    <a:gd name="T33" fmla="*/ 74 h 278"/>
                    <a:gd name="T34" fmla="*/ 142 w 178"/>
                    <a:gd name="T35" fmla="*/ 81 h 278"/>
                    <a:gd name="T36" fmla="*/ 141 w 178"/>
                    <a:gd name="T37" fmla="*/ 92 h 278"/>
                    <a:gd name="T38" fmla="*/ 137 w 178"/>
                    <a:gd name="T39" fmla="*/ 103 h 278"/>
                    <a:gd name="T40" fmla="*/ 135 w 178"/>
                    <a:gd name="T41" fmla="*/ 112 h 278"/>
                    <a:gd name="T42" fmla="*/ 126 w 178"/>
                    <a:gd name="T43" fmla="*/ 117 h 278"/>
                    <a:gd name="T44" fmla="*/ 130 w 178"/>
                    <a:gd name="T45" fmla="*/ 128 h 278"/>
                    <a:gd name="T46" fmla="*/ 123 w 178"/>
                    <a:gd name="T47" fmla="*/ 137 h 278"/>
                    <a:gd name="T48" fmla="*/ 120 w 178"/>
                    <a:gd name="T49" fmla="*/ 144 h 278"/>
                    <a:gd name="T50" fmla="*/ 111 w 178"/>
                    <a:gd name="T51" fmla="*/ 143 h 278"/>
                    <a:gd name="T52" fmla="*/ 102 w 178"/>
                    <a:gd name="T53" fmla="*/ 141 h 278"/>
                    <a:gd name="T54" fmla="*/ 102 w 178"/>
                    <a:gd name="T55" fmla="*/ 149 h 278"/>
                    <a:gd name="T56" fmla="*/ 103 w 178"/>
                    <a:gd name="T57" fmla="*/ 157 h 278"/>
                    <a:gd name="T58" fmla="*/ 104 w 178"/>
                    <a:gd name="T59" fmla="*/ 166 h 278"/>
                    <a:gd name="T60" fmla="*/ 107 w 178"/>
                    <a:gd name="T61" fmla="*/ 174 h 278"/>
                    <a:gd name="T62" fmla="*/ 114 w 178"/>
                    <a:gd name="T63" fmla="*/ 180 h 278"/>
                    <a:gd name="T64" fmla="*/ 106 w 178"/>
                    <a:gd name="T65" fmla="*/ 189 h 278"/>
                    <a:gd name="T66" fmla="*/ 96 w 178"/>
                    <a:gd name="T67" fmla="*/ 196 h 278"/>
                    <a:gd name="T68" fmla="*/ 93 w 178"/>
                    <a:gd name="T69" fmla="*/ 205 h 278"/>
                    <a:gd name="T70" fmla="*/ 94 w 178"/>
                    <a:gd name="T71" fmla="*/ 214 h 278"/>
                    <a:gd name="T72" fmla="*/ 100 w 178"/>
                    <a:gd name="T73" fmla="*/ 224 h 278"/>
                    <a:gd name="T74" fmla="*/ 100 w 178"/>
                    <a:gd name="T75" fmla="*/ 233 h 278"/>
                    <a:gd name="T76" fmla="*/ 91 w 178"/>
                    <a:gd name="T77" fmla="*/ 233 h 278"/>
                    <a:gd name="T78" fmla="*/ 80 w 178"/>
                    <a:gd name="T79" fmla="*/ 243 h 278"/>
                    <a:gd name="T80" fmla="*/ 71 w 178"/>
                    <a:gd name="T81" fmla="*/ 254 h 278"/>
                    <a:gd name="T82" fmla="*/ 71 w 178"/>
                    <a:gd name="T83" fmla="*/ 268 h 278"/>
                    <a:gd name="T84" fmla="*/ 62 w 178"/>
                    <a:gd name="T85" fmla="*/ 275 h 278"/>
                    <a:gd name="T86" fmla="*/ 40 w 178"/>
                    <a:gd name="T87" fmla="*/ 274 h 278"/>
                    <a:gd name="T88" fmla="*/ 26 w 178"/>
                    <a:gd name="T89" fmla="*/ 268 h 278"/>
                    <a:gd name="T90" fmla="*/ 11 w 178"/>
                    <a:gd name="T91" fmla="*/ 265 h 278"/>
                    <a:gd name="T92" fmla="*/ 4 w 178"/>
                    <a:gd name="T93" fmla="*/ 261 h 278"/>
                    <a:gd name="T94" fmla="*/ 14 w 178"/>
                    <a:gd name="T95" fmla="*/ 247 h 278"/>
                    <a:gd name="T96" fmla="*/ 21 w 178"/>
                    <a:gd name="T97" fmla="*/ 225 h 278"/>
                    <a:gd name="T98" fmla="*/ 28 w 178"/>
                    <a:gd name="T99" fmla="*/ 199 h 278"/>
                    <a:gd name="T100" fmla="*/ 25 w 178"/>
                    <a:gd name="T101" fmla="*/ 188 h 278"/>
                    <a:gd name="T102" fmla="*/ 11 w 178"/>
                    <a:gd name="T103" fmla="*/ 188 h 278"/>
                    <a:gd name="T104" fmla="*/ 14 w 178"/>
                    <a:gd name="T105" fmla="*/ 174 h 278"/>
                    <a:gd name="T106" fmla="*/ 4 w 178"/>
                    <a:gd name="T107" fmla="*/ 171 h 278"/>
                    <a:gd name="T108" fmla="*/ 11 w 178"/>
                    <a:gd name="T109" fmla="*/ 157 h 278"/>
                    <a:gd name="T110" fmla="*/ 18 w 178"/>
                    <a:gd name="T111" fmla="*/ 143 h 278"/>
                    <a:gd name="T112" fmla="*/ 22 w 178"/>
                    <a:gd name="T113" fmla="*/ 135 h 278"/>
                    <a:gd name="T114" fmla="*/ 32 w 178"/>
                    <a:gd name="T115" fmla="*/ 129 h 278"/>
                    <a:gd name="T116" fmla="*/ 49 w 178"/>
                    <a:gd name="T117" fmla="*/ 98 h 278"/>
                    <a:gd name="T118" fmla="*/ 71 w 178"/>
                    <a:gd name="T119" fmla="*/ 55 h 278"/>
                    <a:gd name="T120" fmla="*/ 70 w 178"/>
                    <a:gd name="T121" fmla="*/ 32 h 278"/>
                    <a:gd name="T122" fmla="*/ 72 w 178"/>
                    <a:gd name="T123" fmla="*/ 19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8" h="278">
                      <a:moveTo>
                        <a:pt x="74" y="9"/>
                      </a:moveTo>
                      <a:cubicBezTo>
                        <a:pt x="74" y="9"/>
                        <a:pt x="78" y="6"/>
                        <a:pt x="78" y="6"/>
                      </a:cubicBezTo>
                      <a:cubicBezTo>
                        <a:pt x="78" y="6"/>
                        <a:pt x="79" y="5"/>
                        <a:pt x="79" y="5"/>
                      </a:cubicBezTo>
                      <a:cubicBezTo>
                        <a:pt x="80" y="5"/>
                        <a:pt x="81" y="5"/>
                        <a:pt x="82" y="5"/>
                      </a:cubicBezTo>
                      <a:cubicBezTo>
                        <a:pt x="82" y="5"/>
                        <a:pt x="83" y="4"/>
                        <a:pt x="83" y="4"/>
                      </a:cubicBezTo>
                      <a:cubicBezTo>
                        <a:pt x="84" y="3"/>
                        <a:pt x="84" y="3"/>
                        <a:pt x="84" y="3"/>
                      </a:cubicBezTo>
                      <a:cubicBezTo>
                        <a:pt x="86" y="2"/>
                        <a:pt x="86" y="2"/>
                        <a:pt x="86" y="2"/>
                      </a:cubicBezTo>
                      <a:cubicBezTo>
                        <a:pt x="88" y="2"/>
                        <a:pt x="88" y="2"/>
                        <a:pt x="88" y="2"/>
                      </a:cubicBezTo>
                      <a:cubicBezTo>
                        <a:pt x="88" y="2"/>
                        <a:pt x="89" y="2"/>
                        <a:pt x="89" y="2"/>
                      </a:cubicBezTo>
                      <a:cubicBezTo>
                        <a:pt x="89" y="2"/>
                        <a:pt x="93" y="1"/>
                        <a:pt x="93" y="1"/>
                      </a:cubicBezTo>
                      <a:cubicBezTo>
                        <a:pt x="93" y="1"/>
                        <a:pt x="94" y="2"/>
                        <a:pt x="95" y="2"/>
                      </a:cubicBezTo>
                      <a:cubicBezTo>
                        <a:pt x="95" y="2"/>
                        <a:pt x="97" y="2"/>
                        <a:pt x="97" y="2"/>
                      </a:cubicBezTo>
                      <a:cubicBezTo>
                        <a:pt x="98" y="2"/>
                        <a:pt x="100" y="1"/>
                        <a:pt x="100" y="1"/>
                      </a:cubicBezTo>
                      <a:cubicBezTo>
                        <a:pt x="104" y="0"/>
                        <a:pt x="104" y="0"/>
                        <a:pt x="104" y="0"/>
                      </a:cubicBezTo>
                      <a:cubicBezTo>
                        <a:pt x="105" y="2"/>
                        <a:pt x="105" y="2"/>
                        <a:pt x="105" y="2"/>
                      </a:cubicBezTo>
                      <a:cubicBezTo>
                        <a:pt x="105" y="2"/>
                        <a:pt x="105" y="4"/>
                        <a:pt x="105" y="4"/>
                      </a:cubicBezTo>
                      <a:cubicBezTo>
                        <a:pt x="105" y="4"/>
                        <a:pt x="105" y="5"/>
                        <a:pt x="106" y="5"/>
                      </a:cubicBezTo>
                      <a:cubicBezTo>
                        <a:pt x="107" y="5"/>
                        <a:pt x="107" y="5"/>
                        <a:pt x="107" y="5"/>
                      </a:cubicBezTo>
                      <a:cubicBezTo>
                        <a:pt x="107" y="6"/>
                        <a:pt x="107" y="9"/>
                        <a:pt x="107" y="9"/>
                      </a:cubicBezTo>
                      <a:cubicBezTo>
                        <a:pt x="104" y="10"/>
                        <a:pt x="104" y="10"/>
                        <a:pt x="104" y="10"/>
                      </a:cubicBezTo>
                      <a:cubicBezTo>
                        <a:pt x="104" y="10"/>
                        <a:pt x="103" y="10"/>
                        <a:pt x="103" y="11"/>
                      </a:cubicBezTo>
                      <a:cubicBezTo>
                        <a:pt x="103" y="11"/>
                        <a:pt x="101" y="12"/>
                        <a:pt x="101" y="12"/>
                      </a:cubicBezTo>
                      <a:cubicBezTo>
                        <a:pt x="101" y="13"/>
                        <a:pt x="100" y="13"/>
                        <a:pt x="101" y="14"/>
                      </a:cubicBezTo>
                      <a:cubicBezTo>
                        <a:pt x="101" y="15"/>
                        <a:pt x="102" y="16"/>
                        <a:pt x="102" y="16"/>
                      </a:cubicBezTo>
                      <a:cubicBezTo>
                        <a:pt x="102" y="18"/>
                        <a:pt x="102" y="18"/>
                        <a:pt x="102" y="18"/>
                      </a:cubicBezTo>
                      <a:cubicBezTo>
                        <a:pt x="102" y="18"/>
                        <a:pt x="102" y="19"/>
                        <a:pt x="103" y="19"/>
                      </a:cubicBezTo>
                      <a:cubicBezTo>
                        <a:pt x="103" y="20"/>
                        <a:pt x="104" y="19"/>
                        <a:pt x="105" y="19"/>
                      </a:cubicBezTo>
                      <a:cubicBezTo>
                        <a:pt x="107" y="19"/>
                        <a:pt x="108" y="18"/>
                        <a:pt x="109" y="18"/>
                      </a:cubicBezTo>
                      <a:cubicBezTo>
                        <a:pt x="109" y="18"/>
                        <a:pt x="110" y="18"/>
                        <a:pt x="110" y="18"/>
                      </a:cubicBezTo>
                      <a:cubicBezTo>
                        <a:pt x="111" y="17"/>
                        <a:pt x="113" y="16"/>
                        <a:pt x="113" y="16"/>
                      </a:cubicBezTo>
                      <a:cubicBezTo>
                        <a:pt x="113" y="16"/>
                        <a:pt x="113" y="14"/>
                        <a:pt x="114" y="15"/>
                      </a:cubicBezTo>
                      <a:cubicBezTo>
                        <a:pt x="114" y="15"/>
                        <a:pt x="114" y="17"/>
                        <a:pt x="114" y="17"/>
                      </a:cubicBezTo>
                      <a:cubicBezTo>
                        <a:pt x="114" y="17"/>
                        <a:pt x="113" y="19"/>
                        <a:pt x="113" y="19"/>
                      </a:cubicBezTo>
                      <a:cubicBezTo>
                        <a:pt x="114" y="20"/>
                        <a:pt x="115" y="19"/>
                        <a:pt x="115" y="19"/>
                      </a:cubicBezTo>
                      <a:cubicBezTo>
                        <a:pt x="116" y="18"/>
                        <a:pt x="117" y="18"/>
                        <a:pt x="117" y="18"/>
                      </a:cubicBezTo>
                      <a:cubicBezTo>
                        <a:pt x="119" y="18"/>
                        <a:pt x="119" y="18"/>
                        <a:pt x="119" y="18"/>
                      </a:cubicBezTo>
                      <a:cubicBezTo>
                        <a:pt x="119" y="18"/>
                        <a:pt x="121" y="18"/>
                        <a:pt x="121" y="18"/>
                      </a:cubicBezTo>
                      <a:cubicBezTo>
                        <a:pt x="121" y="18"/>
                        <a:pt x="122" y="19"/>
                        <a:pt x="123" y="19"/>
                      </a:cubicBezTo>
                      <a:cubicBezTo>
                        <a:pt x="123" y="20"/>
                        <a:pt x="126" y="21"/>
                        <a:pt x="126" y="21"/>
                      </a:cubicBezTo>
                      <a:cubicBezTo>
                        <a:pt x="125" y="23"/>
                        <a:pt x="125" y="23"/>
                        <a:pt x="125" y="23"/>
                      </a:cubicBezTo>
                      <a:cubicBezTo>
                        <a:pt x="125" y="23"/>
                        <a:pt x="124" y="25"/>
                        <a:pt x="125" y="25"/>
                      </a:cubicBezTo>
                      <a:cubicBezTo>
                        <a:pt x="125" y="25"/>
                        <a:pt x="126" y="24"/>
                        <a:pt x="126" y="24"/>
                      </a:cubicBezTo>
                      <a:cubicBezTo>
                        <a:pt x="127" y="24"/>
                        <a:pt x="128" y="23"/>
                        <a:pt x="128" y="23"/>
                      </a:cubicBezTo>
                      <a:cubicBezTo>
                        <a:pt x="128" y="23"/>
                        <a:pt x="128" y="22"/>
                        <a:pt x="128" y="22"/>
                      </a:cubicBezTo>
                      <a:cubicBezTo>
                        <a:pt x="128" y="23"/>
                        <a:pt x="130" y="24"/>
                        <a:pt x="130" y="24"/>
                      </a:cubicBezTo>
                      <a:cubicBezTo>
                        <a:pt x="130" y="24"/>
                        <a:pt x="131" y="26"/>
                        <a:pt x="131" y="26"/>
                      </a:cubicBezTo>
                      <a:cubicBezTo>
                        <a:pt x="131" y="26"/>
                        <a:pt x="133" y="25"/>
                        <a:pt x="133" y="25"/>
                      </a:cubicBezTo>
                      <a:cubicBezTo>
                        <a:pt x="133" y="25"/>
                        <a:pt x="133" y="25"/>
                        <a:pt x="134" y="25"/>
                      </a:cubicBezTo>
                      <a:cubicBezTo>
                        <a:pt x="135" y="25"/>
                        <a:pt x="135" y="25"/>
                        <a:pt x="135" y="25"/>
                      </a:cubicBezTo>
                      <a:cubicBezTo>
                        <a:pt x="136" y="26"/>
                        <a:pt x="139" y="26"/>
                        <a:pt x="139" y="26"/>
                      </a:cubicBezTo>
                      <a:cubicBezTo>
                        <a:pt x="142" y="24"/>
                        <a:pt x="142" y="24"/>
                        <a:pt x="142" y="24"/>
                      </a:cubicBezTo>
                      <a:cubicBezTo>
                        <a:pt x="143" y="21"/>
                        <a:pt x="143" y="21"/>
                        <a:pt x="143" y="21"/>
                      </a:cubicBezTo>
                      <a:cubicBezTo>
                        <a:pt x="143" y="20"/>
                        <a:pt x="143" y="20"/>
                        <a:pt x="143" y="20"/>
                      </a:cubicBezTo>
                      <a:cubicBezTo>
                        <a:pt x="143" y="20"/>
                        <a:pt x="145" y="19"/>
                        <a:pt x="145" y="19"/>
                      </a:cubicBezTo>
                      <a:cubicBezTo>
                        <a:pt x="145" y="19"/>
                        <a:pt x="146" y="19"/>
                        <a:pt x="146" y="20"/>
                      </a:cubicBezTo>
                      <a:cubicBezTo>
                        <a:pt x="146" y="20"/>
                        <a:pt x="148" y="22"/>
                        <a:pt x="148" y="22"/>
                      </a:cubicBezTo>
                      <a:cubicBezTo>
                        <a:pt x="148" y="22"/>
                        <a:pt x="150" y="22"/>
                        <a:pt x="150" y="22"/>
                      </a:cubicBezTo>
                      <a:cubicBezTo>
                        <a:pt x="151" y="22"/>
                        <a:pt x="151" y="21"/>
                        <a:pt x="152" y="22"/>
                      </a:cubicBezTo>
                      <a:cubicBezTo>
                        <a:pt x="152" y="23"/>
                        <a:pt x="152" y="24"/>
                        <a:pt x="153" y="24"/>
                      </a:cubicBezTo>
                      <a:cubicBezTo>
                        <a:pt x="153" y="24"/>
                        <a:pt x="154" y="24"/>
                        <a:pt x="154" y="24"/>
                      </a:cubicBezTo>
                      <a:cubicBezTo>
                        <a:pt x="155" y="25"/>
                        <a:pt x="157" y="25"/>
                        <a:pt x="157" y="25"/>
                      </a:cubicBezTo>
                      <a:cubicBezTo>
                        <a:pt x="158" y="23"/>
                        <a:pt x="158" y="23"/>
                        <a:pt x="158" y="23"/>
                      </a:cubicBezTo>
                      <a:cubicBezTo>
                        <a:pt x="158" y="23"/>
                        <a:pt x="158" y="22"/>
                        <a:pt x="159" y="23"/>
                      </a:cubicBezTo>
                      <a:cubicBezTo>
                        <a:pt x="160" y="23"/>
                        <a:pt x="160" y="25"/>
                        <a:pt x="160" y="25"/>
                      </a:cubicBezTo>
                      <a:cubicBezTo>
                        <a:pt x="160" y="25"/>
                        <a:pt x="161" y="26"/>
                        <a:pt x="161" y="26"/>
                      </a:cubicBezTo>
                      <a:cubicBezTo>
                        <a:pt x="161" y="26"/>
                        <a:pt x="164" y="27"/>
                        <a:pt x="164" y="27"/>
                      </a:cubicBezTo>
                      <a:cubicBezTo>
                        <a:pt x="164" y="27"/>
                        <a:pt x="166" y="26"/>
                        <a:pt x="166" y="26"/>
                      </a:cubicBezTo>
                      <a:cubicBezTo>
                        <a:pt x="167" y="26"/>
                        <a:pt x="167" y="28"/>
                        <a:pt x="167" y="28"/>
                      </a:cubicBezTo>
                      <a:cubicBezTo>
                        <a:pt x="167" y="28"/>
                        <a:pt x="167" y="29"/>
                        <a:pt x="167" y="29"/>
                      </a:cubicBezTo>
                      <a:cubicBezTo>
                        <a:pt x="166" y="30"/>
                        <a:pt x="166" y="30"/>
                        <a:pt x="167" y="30"/>
                      </a:cubicBezTo>
                      <a:cubicBezTo>
                        <a:pt x="167" y="31"/>
                        <a:pt x="168" y="32"/>
                        <a:pt x="168" y="32"/>
                      </a:cubicBezTo>
                      <a:cubicBezTo>
                        <a:pt x="168" y="32"/>
                        <a:pt x="167" y="34"/>
                        <a:pt x="167" y="34"/>
                      </a:cubicBezTo>
                      <a:cubicBezTo>
                        <a:pt x="167" y="35"/>
                        <a:pt x="166" y="36"/>
                        <a:pt x="166" y="36"/>
                      </a:cubicBezTo>
                      <a:cubicBezTo>
                        <a:pt x="165" y="37"/>
                        <a:pt x="165" y="37"/>
                        <a:pt x="165" y="37"/>
                      </a:cubicBezTo>
                      <a:cubicBezTo>
                        <a:pt x="165" y="38"/>
                        <a:pt x="165" y="38"/>
                        <a:pt x="165" y="38"/>
                      </a:cubicBezTo>
                      <a:cubicBezTo>
                        <a:pt x="165" y="39"/>
                        <a:pt x="165" y="39"/>
                        <a:pt x="165" y="39"/>
                      </a:cubicBezTo>
                      <a:cubicBezTo>
                        <a:pt x="165" y="39"/>
                        <a:pt x="165" y="40"/>
                        <a:pt x="165" y="40"/>
                      </a:cubicBezTo>
                      <a:cubicBezTo>
                        <a:pt x="164" y="40"/>
                        <a:pt x="165" y="42"/>
                        <a:pt x="165" y="42"/>
                      </a:cubicBezTo>
                      <a:cubicBezTo>
                        <a:pt x="166" y="43"/>
                        <a:pt x="166" y="43"/>
                        <a:pt x="166" y="43"/>
                      </a:cubicBezTo>
                      <a:cubicBezTo>
                        <a:pt x="166" y="43"/>
                        <a:pt x="168" y="42"/>
                        <a:pt x="168" y="42"/>
                      </a:cubicBezTo>
                      <a:cubicBezTo>
                        <a:pt x="168" y="42"/>
                        <a:pt x="171" y="43"/>
                        <a:pt x="171" y="43"/>
                      </a:cubicBezTo>
                      <a:cubicBezTo>
                        <a:pt x="171" y="43"/>
                        <a:pt x="173" y="44"/>
                        <a:pt x="173" y="45"/>
                      </a:cubicBezTo>
                      <a:cubicBezTo>
                        <a:pt x="174" y="45"/>
                        <a:pt x="176" y="47"/>
                        <a:pt x="176" y="47"/>
                      </a:cubicBezTo>
                      <a:cubicBezTo>
                        <a:pt x="178" y="50"/>
                        <a:pt x="178" y="50"/>
                        <a:pt x="178" y="50"/>
                      </a:cubicBezTo>
                      <a:cubicBezTo>
                        <a:pt x="176" y="52"/>
                        <a:pt x="176" y="52"/>
                        <a:pt x="176" y="52"/>
                      </a:cubicBezTo>
                      <a:cubicBezTo>
                        <a:pt x="174" y="55"/>
                        <a:pt x="174" y="55"/>
                        <a:pt x="174" y="55"/>
                      </a:cubicBezTo>
                      <a:cubicBezTo>
                        <a:pt x="172" y="56"/>
                        <a:pt x="172" y="56"/>
                        <a:pt x="172" y="56"/>
                      </a:cubicBezTo>
                      <a:cubicBezTo>
                        <a:pt x="172" y="56"/>
                        <a:pt x="171" y="58"/>
                        <a:pt x="171" y="58"/>
                      </a:cubicBezTo>
                      <a:cubicBezTo>
                        <a:pt x="171" y="58"/>
                        <a:pt x="169" y="59"/>
                        <a:pt x="169" y="59"/>
                      </a:cubicBezTo>
                      <a:cubicBezTo>
                        <a:pt x="168" y="59"/>
                        <a:pt x="168" y="59"/>
                        <a:pt x="168" y="59"/>
                      </a:cubicBezTo>
                      <a:cubicBezTo>
                        <a:pt x="165" y="62"/>
                        <a:pt x="165" y="62"/>
                        <a:pt x="165" y="62"/>
                      </a:cubicBezTo>
                      <a:cubicBezTo>
                        <a:pt x="163" y="63"/>
                        <a:pt x="163" y="63"/>
                        <a:pt x="163" y="63"/>
                      </a:cubicBezTo>
                      <a:cubicBezTo>
                        <a:pt x="161" y="64"/>
                        <a:pt x="161" y="64"/>
                        <a:pt x="161" y="64"/>
                      </a:cubicBezTo>
                      <a:cubicBezTo>
                        <a:pt x="160" y="64"/>
                        <a:pt x="160" y="64"/>
                        <a:pt x="160" y="64"/>
                      </a:cubicBezTo>
                      <a:cubicBezTo>
                        <a:pt x="158" y="66"/>
                        <a:pt x="158" y="66"/>
                        <a:pt x="158" y="66"/>
                      </a:cubicBezTo>
                      <a:cubicBezTo>
                        <a:pt x="156" y="65"/>
                        <a:pt x="156" y="65"/>
                        <a:pt x="156" y="65"/>
                      </a:cubicBezTo>
                      <a:cubicBezTo>
                        <a:pt x="153" y="66"/>
                        <a:pt x="153" y="66"/>
                        <a:pt x="153" y="66"/>
                      </a:cubicBezTo>
                      <a:cubicBezTo>
                        <a:pt x="153" y="67"/>
                        <a:pt x="153" y="67"/>
                        <a:pt x="153" y="67"/>
                      </a:cubicBezTo>
                      <a:cubicBezTo>
                        <a:pt x="149" y="69"/>
                        <a:pt x="149" y="69"/>
                        <a:pt x="149" y="69"/>
                      </a:cubicBezTo>
                      <a:cubicBezTo>
                        <a:pt x="148" y="72"/>
                        <a:pt x="148" y="72"/>
                        <a:pt x="148" y="72"/>
                      </a:cubicBezTo>
                      <a:cubicBezTo>
                        <a:pt x="148" y="72"/>
                        <a:pt x="146" y="72"/>
                        <a:pt x="146" y="73"/>
                      </a:cubicBezTo>
                      <a:cubicBezTo>
                        <a:pt x="145" y="73"/>
                        <a:pt x="144" y="74"/>
                        <a:pt x="144" y="74"/>
                      </a:cubicBezTo>
                      <a:cubicBezTo>
                        <a:pt x="142" y="73"/>
                        <a:pt x="142" y="73"/>
                        <a:pt x="142" y="73"/>
                      </a:cubicBezTo>
                      <a:cubicBezTo>
                        <a:pt x="141" y="74"/>
                        <a:pt x="141" y="74"/>
                        <a:pt x="141" y="74"/>
                      </a:cubicBezTo>
                      <a:cubicBezTo>
                        <a:pt x="141" y="76"/>
                        <a:pt x="141" y="76"/>
                        <a:pt x="141" y="76"/>
                      </a:cubicBezTo>
                      <a:cubicBezTo>
                        <a:pt x="142" y="76"/>
                        <a:pt x="142" y="76"/>
                        <a:pt x="142" y="76"/>
                      </a:cubicBezTo>
                      <a:cubicBezTo>
                        <a:pt x="142" y="76"/>
                        <a:pt x="142" y="78"/>
                        <a:pt x="142" y="78"/>
                      </a:cubicBezTo>
                      <a:cubicBezTo>
                        <a:pt x="142" y="79"/>
                        <a:pt x="142" y="81"/>
                        <a:pt x="142" y="81"/>
                      </a:cubicBezTo>
                      <a:cubicBezTo>
                        <a:pt x="144" y="82"/>
                        <a:pt x="144" y="82"/>
                        <a:pt x="144" y="82"/>
                      </a:cubicBezTo>
                      <a:cubicBezTo>
                        <a:pt x="144" y="82"/>
                        <a:pt x="144" y="85"/>
                        <a:pt x="143" y="85"/>
                      </a:cubicBezTo>
                      <a:cubicBezTo>
                        <a:pt x="143" y="85"/>
                        <a:pt x="141" y="86"/>
                        <a:pt x="141" y="86"/>
                      </a:cubicBezTo>
                      <a:cubicBezTo>
                        <a:pt x="141" y="87"/>
                        <a:pt x="141" y="87"/>
                        <a:pt x="141" y="87"/>
                      </a:cubicBezTo>
                      <a:cubicBezTo>
                        <a:pt x="142" y="89"/>
                        <a:pt x="142" y="89"/>
                        <a:pt x="142" y="89"/>
                      </a:cubicBezTo>
                      <a:cubicBezTo>
                        <a:pt x="142" y="89"/>
                        <a:pt x="142" y="92"/>
                        <a:pt x="141" y="92"/>
                      </a:cubicBezTo>
                      <a:cubicBezTo>
                        <a:pt x="141" y="93"/>
                        <a:pt x="140" y="95"/>
                        <a:pt x="140" y="95"/>
                      </a:cubicBezTo>
                      <a:cubicBezTo>
                        <a:pt x="139" y="96"/>
                        <a:pt x="139" y="96"/>
                        <a:pt x="139" y="96"/>
                      </a:cubicBezTo>
                      <a:cubicBezTo>
                        <a:pt x="138" y="98"/>
                        <a:pt x="138" y="98"/>
                        <a:pt x="138" y="98"/>
                      </a:cubicBezTo>
                      <a:cubicBezTo>
                        <a:pt x="139" y="99"/>
                        <a:pt x="139" y="99"/>
                        <a:pt x="139" y="99"/>
                      </a:cubicBezTo>
                      <a:cubicBezTo>
                        <a:pt x="139" y="102"/>
                        <a:pt x="139" y="102"/>
                        <a:pt x="139" y="102"/>
                      </a:cubicBezTo>
                      <a:cubicBezTo>
                        <a:pt x="137" y="103"/>
                        <a:pt x="137" y="103"/>
                        <a:pt x="137" y="103"/>
                      </a:cubicBezTo>
                      <a:cubicBezTo>
                        <a:pt x="136" y="106"/>
                        <a:pt x="136" y="106"/>
                        <a:pt x="136" y="106"/>
                      </a:cubicBezTo>
                      <a:cubicBezTo>
                        <a:pt x="137" y="107"/>
                        <a:pt x="137" y="107"/>
                        <a:pt x="137" y="107"/>
                      </a:cubicBezTo>
                      <a:cubicBezTo>
                        <a:pt x="138" y="109"/>
                        <a:pt x="138" y="109"/>
                        <a:pt x="138" y="109"/>
                      </a:cubicBezTo>
                      <a:cubicBezTo>
                        <a:pt x="137" y="111"/>
                        <a:pt x="137" y="111"/>
                        <a:pt x="137" y="111"/>
                      </a:cubicBezTo>
                      <a:cubicBezTo>
                        <a:pt x="136" y="112"/>
                        <a:pt x="136" y="112"/>
                        <a:pt x="136" y="112"/>
                      </a:cubicBezTo>
                      <a:cubicBezTo>
                        <a:pt x="135" y="112"/>
                        <a:pt x="135" y="112"/>
                        <a:pt x="135" y="112"/>
                      </a:cubicBezTo>
                      <a:cubicBezTo>
                        <a:pt x="133" y="114"/>
                        <a:pt x="133" y="114"/>
                        <a:pt x="133" y="114"/>
                      </a:cubicBezTo>
                      <a:cubicBezTo>
                        <a:pt x="131" y="114"/>
                        <a:pt x="131" y="114"/>
                        <a:pt x="131" y="114"/>
                      </a:cubicBezTo>
                      <a:cubicBezTo>
                        <a:pt x="130" y="114"/>
                        <a:pt x="130" y="114"/>
                        <a:pt x="130" y="114"/>
                      </a:cubicBezTo>
                      <a:cubicBezTo>
                        <a:pt x="128" y="116"/>
                        <a:pt x="128" y="116"/>
                        <a:pt x="128" y="116"/>
                      </a:cubicBezTo>
                      <a:cubicBezTo>
                        <a:pt x="127" y="116"/>
                        <a:pt x="127" y="116"/>
                        <a:pt x="127" y="116"/>
                      </a:cubicBezTo>
                      <a:cubicBezTo>
                        <a:pt x="126" y="117"/>
                        <a:pt x="126" y="117"/>
                        <a:pt x="126" y="117"/>
                      </a:cubicBezTo>
                      <a:cubicBezTo>
                        <a:pt x="126" y="119"/>
                        <a:pt x="126" y="119"/>
                        <a:pt x="126" y="119"/>
                      </a:cubicBezTo>
                      <a:cubicBezTo>
                        <a:pt x="126" y="119"/>
                        <a:pt x="126" y="120"/>
                        <a:pt x="126" y="120"/>
                      </a:cubicBezTo>
                      <a:cubicBezTo>
                        <a:pt x="127" y="120"/>
                        <a:pt x="127" y="121"/>
                        <a:pt x="127" y="121"/>
                      </a:cubicBezTo>
                      <a:cubicBezTo>
                        <a:pt x="128" y="123"/>
                        <a:pt x="128" y="123"/>
                        <a:pt x="128" y="123"/>
                      </a:cubicBezTo>
                      <a:cubicBezTo>
                        <a:pt x="129" y="125"/>
                        <a:pt x="129" y="125"/>
                        <a:pt x="129" y="125"/>
                      </a:cubicBezTo>
                      <a:cubicBezTo>
                        <a:pt x="130" y="128"/>
                        <a:pt x="130" y="128"/>
                        <a:pt x="130" y="128"/>
                      </a:cubicBezTo>
                      <a:cubicBezTo>
                        <a:pt x="130" y="128"/>
                        <a:pt x="129" y="130"/>
                        <a:pt x="129" y="130"/>
                      </a:cubicBezTo>
                      <a:cubicBezTo>
                        <a:pt x="129" y="130"/>
                        <a:pt x="128" y="132"/>
                        <a:pt x="128" y="132"/>
                      </a:cubicBezTo>
                      <a:cubicBezTo>
                        <a:pt x="127" y="134"/>
                        <a:pt x="127" y="134"/>
                        <a:pt x="127" y="134"/>
                      </a:cubicBezTo>
                      <a:cubicBezTo>
                        <a:pt x="126" y="136"/>
                        <a:pt x="126" y="136"/>
                        <a:pt x="126" y="136"/>
                      </a:cubicBezTo>
                      <a:cubicBezTo>
                        <a:pt x="125" y="137"/>
                        <a:pt x="125" y="137"/>
                        <a:pt x="125" y="137"/>
                      </a:cubicBezTo>
                      <a:cubicBezTo>
                        <a:pt x="123" y="137"/>
                        <a:pt x="123" y="137"/>
                        <a:pt x="123" y="137"/>
                      </a:cubicBezTo>
                      <a:cubicBezTo>
                        <a:pt x="123" y="138"/>
                        <a:pt x="123" y="138"/>
                        <a:pt x="123" y="138"/>
                      </a:cubicBezTo>
                      <a:cubicBezTo>
                        <a:pt x="122" y="140"/>
                        <a:pt x="122" y="140"/>
                        <a:pt x="122" y="140"/>
                      </a:cubicBezTo>
                      <a:cubicBezTo>
                        <a:pt x="122" y="141"/>
                        <a:pt x="122" y="141"/>
                        <a:pt x="122" y="141"/>
                      </a:cubicBezTo>
                      <a:cubicBezTo>
                        <a:pt x="121" y="141"/>
                        <a:pt x="121" y="141"/>
                        <a:pt x="121" y="141"/>
                      </a:cubicBezTo>
                      <a:cubicBezTo>
                        <a:pt x="121" y="143"/>
                        <a:pt x="121" y="143"/>
                        <a:pt x="121" y="143"/>
                      </a:cubicBezTo>
                      <a:cubicBezTo>
                        <a:pt x="120" y="144"/>
                        <a:pt x="120" y="144"/>
                        <a:pt x="120" y="144"/>
                      </a:cubicBezTo>
                      <a:cubicBezTo>
                        <a:pt x="120" y="144"/>
                        <a:pt x="119" y="144"/>
                        <a:pt x="119" y="144"/>
                      </a:cubicBezTo>
                      <a:cubicBezTo>
                        <a:pt x="118" y="144"/>
                        <a:pt x="117" y="145"/>
                        <a:pt x="117" y="145"/>
                      </a:cubicBezTo>
                      <a:cubicBezTo>
                        <a:pt x="117" y="145"/>
                        <a:pt x="115" y="145"/>
                        <a:pt x="115" y="144"/>
                      </a:cubicBezTo>
                      <a:cubicBezTo>
                        <a:pt x="115" y="144"/>
                        <a:pt x="114" y="145"/>
                        <a:pt x="113" y="144"/>
                      </a:cubicBezTo>
                      <a:cubicBezTo>
                        <a:pt x="113" y="144"/>
                        <a:pt x="112" y="143"/>
                        <a:pt x="112" y="143"/>
                      </a:cubicBezTo>
                      <a:cubicBezTo>
                        <a:pt x="111" y="143"/>
                        <a:pt x="111" y="143"/>
                        <a:pt x="111" y="143"/>
                      </a:cubicBezTo>
                      <a:cubicBezTo>
                        <a:pt x="109" y="143"/>
                        <a:pt x="109" y="143"/>
                        <a:pt x="109" y="143"/>
                      </a:cubicBezTo>
                      <a:cubicBezTo>
                        <a:pt x="106" y="143"/>
                        <a:pt x="106" y="143"/>
                        <a:pt x="106" y="143"/>
                      </a:cubicBezTo>
                      <a:cubicBezTo>
                        <a:pt x="104" y="143"/>
                        <a:pt x="104" y="143"/>
                        <a:pt x="104" y="143"/>
                      </a:cubicBezTo>
                      <a:cubicBezTo>
                        <a:pt x="104" y="142"/>
                        <a:pt x="104" y="142"/>
                        <a:pt x="104" y="142"/>
                      </a:cubicBezTo>
                      <a:cubicBezTo>
                        <a:pt x="103" y="143"/>
                        <a:pt x="103" y="143"/>
                        <a:pt x="103" y="143"/>
                      </a:cubicBezTo>
                      <a:cubicBezTo>
                        <a:pt x="102" y="141"/>
                        <a:pt x="102" y="141"/>
                        <a:pt x="102" y="141"/>
                      </a:cubicBezTo>
                      <a:cubicBezTo>
                        <a:pt x="100" y="141"/>
                        <a:pt x="100" y="141"/>
                        <a:pt x="100" y="141"/>
                      </a:cubicBezTo>
                      <a:cubicBezTo>
                        <a:pt x="98" y="141"/>
                        <a:pt x="98" y="141"/>
                        <a:pt x="98" y="141"/>
                      </a:cubicBezTo>
                      <a:cubicBezTo>
                        <a:pt x="98" y="141"/>
                        <a:pt x="98" y="142"/>
                        <a:pt x="99" y="143"/>
                      </a:cubicBezTo>
                      <a:cubicBezTo>
                        <a:pt x="99" y="143"/>
                        <a:pt x="100" y="145"/>
                        <a:pt x="100" y="145"/>
                      </a:cubicBezTo>
                      <a:cubicBezTo>
                        <a:pt x="100" y="145"/>
                        <a:pt x="100" y="147"/>
                        <a:pt x="100" y="147"/>
                      </a:cubicBezTo>
                      <a:cubicBezTo>
                        <a:pt x="100" y="147"/>
                        <a:pt x="102" y="149"/>
                        <a:pt x="102" y="149"/>
                      </a:cubicBezTo>
                      <a:cubicBezTo>
                        <a:pt x="102" y="150"/>
                        <a:pt x="102" y="150"/>
                        <a:pt x="102" y="150"/>
                      </a:cubicBezTo>
                      <a:cubicBezTo>
                        <a:pt x="102" y="150"/>
                        <a:pt x="103" y="152"/>
                        <a:pt x="103" y="152"/>
                      </a:cubicBezTo>
                      <a:cubicBezTo>
                        <a:pt x="103" y="152"/>
                        <a:pt x="105" y="153"/>
                        <a:pt x="105" y="153"/>
                      </a:cubicBezTo>
                      <a:cubicBezTo>
                        <a:pt x="105" y="155"/>
                        <a:pt x="105" y="155"/>
                        <a:pt x="105" y="155"/>
                      </a:cubicBezTo>
                      <a:cubicBezTo>
                        <a:pt x="104" y="156"/>
                        <a:pt x="104" y="156"/>
                        <a:pt x="104" y="156"/>
                      </a:cubicBezTo>
                      <a:cubicBezTo>
                        <a:pt x="103" y="157"/>
                        <a:pt x="103" y="157"/>
                        <a:pt x="103" y="157"/>
                      </a:cubicBezTo>
                      <a:cubicBezTo>
                        <a:pt x="104" y="159"/>
                        <a:pt x="104" y="159"/>
                        <a:pt x="104" y="159"/>
                      </a:cubicBezTo>
                      <a:cubicBezTo>
                        <a:pt x="104" y="161"/>
                        <a:pt x="104" y="161"/>
                        <a:pt x="104" y="161"/>
                      </a:cubicBezTo>
                      <a:cubicBezTo>
                        <a:pt x="105" y="162"/>
                        <a:pt x="105" y="162"/>
                        <a:pt x="105" y="162"/>
                      </a:cubicBezTo>
                      <a:cubicBezTo>
                        <a:pt x="105" y="163"/>
                        <a:pt x="105" y="163"/>
                        <a:pt x="105" y="163"/>
                      </a:cubicBezTo>
                      <a:cubicBezTo>
                        <a:pt x="104" y="164"/>
                        <a:pt x="104" y="164"/>
                        <a:pt x="104" y="164"/>
                      </a:cubicBezTo>
                      <a:cubicBezTo>
                        <a:pt x="104" y="166"/>
                        <a:pt x="104" y="166"/>
                        <a:pt x="104" y="166"/>
                      </a:cubicBezTo>
                      <a:cubicBezTo>
                        <a:pt x="105" y="168"/>
                        <a:pt x="105" y="168"/>
                        <a:pt x="105" y="168"/>
                      </a:cubicBezTo>
                      <a:cubicBezTo>
                        <a:pt x="106" y="170"/>
                        <a:pt x="106" y="170"/>
                        <a:pt x="106" y="170"/>
                      </a:cubicBezTo>
                      <a:cubicBezTo>
                        <a:pt x="108" y="170"/>
                        <a:pt x="108" y="170"/>
                        <a:pt x="108" y="170"/>
                      </a:cubicBezTo>
                      <a:cubicBezTo>
                        <a:pt x="108" y="172"/>
                        <a:pt x="108" y="172"/>
                        <a:pt x="108" y="172"/>
                      </a:cubicBezTo>
                      <a:cubicBezTo>
                        <a:pt x="107" y="173"/>
                        <a:pt x="107" y="173"/>
                        <a:pt x="107" y="173"/>
                      </a:cubicBezTo>
                      <a:cubicBezTo>
                        <a:pt x="107" y="173"/>
                        <a:pt x="107" y="174"/>
                        <a:pt x="107" y="174"/>
                      </a:cubicBezTo>
                      <a:cubicBezTo>
                        <a:pt x="108" y="174"/>
                        <a:pt x="109" y="175"/>
                        <a:pt x="109" y="175"/>
                      </a:cubicBezTo>
                      <a:cubicBezTo>
                        <a:pt x="111" y="174"/>
                        <a:pt x="111" y="174"/>
                        <a:pt x="111" y="174"/>
                      </a:cubicBezTo>
                      <a:cubicBezTo>
                        <a:pt x="111" y="174"/>
                        <a:pt x="112" y="174"/>
                        <a:pt x="112" y="174"/>
                      </a:cubicBezTo>
                      <a:cubicBezTo>
                        <a:pt x="112" y="175"/>
                        <a:pt x="113" y="177"/>
                        <a:pt x="113" y="177"/>
                      </a:cubicBezTo>
                      <a:cubicBezTo>
                        <a:pt x="114" y="178"/>
                        <a:pt x="114" y="178"/>
                        <a:pt x="114" y="178"/>
                      </a:cubicBezTo>
                      <a:cubicBezTo>
                        <a:pt x="114" y="180"/>
                        <a:pt x="114" y="180"/>
                        <a:pt x="114" y="180"/>
                      </a:cubicBezTo>
                      <a:cubicBezTo>
                        <a:pt x="112" y="182"/>
                        <a:pt x="112" y="182"/>
                        <a:pt x="112" y="182"/>
                      </a:cubicBezTo>
                      <a:cubicBezTo>
                        <a:pt x="110" y="184"/>
                        <a:pt x="110" y="184"/>
                        <a:pt x="110" y="184"/>
                      </a:cubicBezTo>
                      <a:cubicBezTo>
                        <a:pt x="109" y="185"/>
                        <a:pt x="109" y="185"/>
                        <a:pt x="109" y="185"/>
                      </a:cubicBezTo>
                      <a:cubicBezTo>
                        <a:pt x="109" y="187"/>
                        <a:pt x="109" y="187"/>
                        <a:pt x="109" y="187"/>
                      </a:cubicBezTo>
                      <a:cubicBezTo>
                        <a:pt x="108" y="188"/>
                        <a:pt x="108" y="188"/>
                        <a:pt x="108" y="188"/>
                      </a:cubicBezTo>
                      <a:cubicBezTo>
                        <a:pt x="106" y="189"/>
                        <a:pt x="106" y="189"/>
                        <a:pt x="106" y="189"/>
                      </a:cubicBezTo>
                      <a:cubicBezTo>
                        <a:pt x="104" y="190"/>
                        <a:pt x="104" y="190"/>
                        <a:pt x="104" y="190"/>
                      </a:cubicBezTo>
                      <a:cubicBezTo>
                        <a:pt x="103" y="190"/>
                        <a:pt x="103" y="190"/>
                        <a:pt x="103" y="190"/>
                      </a:cubicBezTo>
                      <a:cubicBezTo>
                        <a:pt x="102" y="191"/>
                        <a:pt x="102" y="191"/>
                        <a:pt x="102" y="191"/>
                      </a:cubicBezTo>
                      <a:cubicBezTo>
                        <a:pt x="99" y="192"/>
                        <a:pt x="99" y="192"/>
                        <a:pt x="99" y="192"/>
                      </a:cubicBezTo>
                      <a:cubicBezTo>
                        <a:pt x="98" y="192"/>
                        <a:pt x="98" y="192"/>
                        <a:pt x="98" y="192"/>
                      </a:cubicBezTo>
                      <a:cubicBezTo>
                        <a:pt x="96" y="196"/>
                        <a:pt x="96" y="196"/>
                        <a:pt x="96" y="196"/>
                      </a:cubicBezTo>
                      <a:cubicBezTo>
                        <a:pt x="96" y="196"/>
                        <a:pt x="96" y="198"/>
                        <a:pt x="96" y="198"/>
                      </a:cubicBezTo>
                      <a:cubicBezTo>
                        <a:pt x="96" y="198"/>
                        <a:pt x="97" y="199"/>
                        <a:pt x="97" y="199"/>
                      </a:cubicBezTo>
                      <a:cubicBezTo>
                        <a:pt x="97" y="199"/>
                        <a:pt x="95" y="201"/>
                        <a:pt x="95" y="201"/>
                      </a:cubicBezTo>
                      <a:cubicBezTo>
                        <a:pt x="95" y="201"/>
                        <a:pt x="93" y="202"/>
                        <a:pt x="93" y="202"/>
                      </a:cubicBezTo>
                      <a:cubicBezTo>
                        <a:pt x="92" y="204"/>
                        <a:pt x="92" y="204"/>
                        <a:pt x="92" y="204"/>
                      </a:cubicBezTo>
                      <a:cubicBezTo>
                        <a:pt x="93" y="205"/>
                        <a:pt x="93" y="205"/>
                        <a:pt x="93" y="205"/>
                      </a:cubicBezTo>
                      <a:cubicBezTo>
                        <a:pt x="91" y="205"/>
                        <a:pt x="91" y="205"/>
                        <a:pt x="91" y="205"/>
                      </a:cubicBezTo>
                      <a:cubicBezTo>
                        <a:pt x="92" y="207"/>
                        <a:pt x="92" y="207"/>
                        <a:pt x="92" y="207"/>
                      </a:cubicBezTo>
                      <a:cubicBezTo>
                        <a:pt x="91" y="208"/>
                        <a:pt x="91" y="208"/>
                        <a:pt x="91" y="208"/>
                      </a:cubicBezTo>
                      <a:cubicBezTo>
                        <a:pt x="92" y="209"/>
                        <a:pt x="92" y="209"/>
                        <a:pt x="92" y="209"/>
                      </a:cubicBezTo>
                      <a:cubicBezTo>
                        <a:pt x="92" y="209"/>
                        <a:pt x="93" y="212"/>
                        <a:pt x="93" y="212"/>
                      </a:cubicBezTo>
                      <a:cubicBezTo>
                        <a:pt x="93" y="213"/>
                        <a:pt x="94" y="214"/>
                        <a:pt x="94" y="214"/>
                      </a:cubicBezTo>
                      <a:cubicBezTo>
                        <a:pt x="94" y="214"/>
                        <a:pt x="95" y="215"/>
                        <a:pt x="95" y="215"/>
                      </a:cubicBezTo>
                      <a:cubicBezTo>
                        <a:pt x="95" y="216"/>
                        <a:pt x="95" y="217"/>
                        <a:pt x="95" y="218"/>
                      </a:cubicBezTo>
                      <a:cubicBezTo>
                        <a:pt x="95" y="219"/>
                        <a:pt x="96" y="221"/>
                        <a:pt x="96" y="221"/>
                      </a:cubicBezTo>
                      <a:cubicBezTo>
                        <a:pt x="97" y="223"/>
                        <a:pt x="97" y="223"/>
                        <a:pt x="97" y="223"/>
                      </a:cubicBezTo>
                      <a:cubicBezTo>
                        <a:pt x="97" y="223"/>
                        <a:pt x="97" y="224"/>
                        <a:pt x="97" y="224"/>
                      </a:cubicBezTo>
                      <a:cubicBezTo>
                        <a:pt x="98" y="224"/>
                        <a:pt x="100" y="224"/>
                        <a:pt x="100" y="224"/>
                      </a:cubicBezTo>
                      <a:cubicBezTo>
                        <a:pt x="100" y="224"/>
                        <a:pt x="102" y="224"/>
                        <a:pt x="102" y="224"/>
                      </a:cubicBezTo>
                      <a:cubicBezTo>
                        <a:pt x="102" y="224"/>
                        <a:pt x="103" y="223"/>
                        <a:pt x="104" y="224"/>
                      </a:cubicBezTo>
                      <a:cubicBezTo>
                        <a:pt x="104" y="224"/>
                        <a:pt x="104" y="225"/>
                        <a:pt x="104" y="225"/>
                      </a:cubicBezTo>
                      <a:cubicBezTo>
                        <a:pt x="104" y="225"/>
                        <a:pt x="104" y="226"/>
                        <a:pt x="104" y="226"/>
                      </a:cubicBezTo>
                      <a:cubicBezTo>
                        <a:pt x="100" y="230"/>
                        <a:pt x="100" y="230"/>
                        <a:pt x="100" y="230"/>
                      </a:cubicBezTo>
                      <a:cubicBezTo>
                        <a:pt x="100" y="233"/>
                        <a:pt x="100" y="233"/>
                        <a:pt x="100" y="233"/>
                      </a:cubicBezTo>
                      <a:cubicBezTo>
                        <a:pt x="100" y="233"/>
                        <a:pt x="99" y="233"/>
                        <a:pt x="99" y="233"/>
                      </a:cubicBezTo>
                      <a:cubicBezTo>
                        <a:pt x="98" y="233"/>
                        <a:pt x="97" y="233"/>
                        <a:pt x="97" y="233"/>
                      </a:cubicBezTo>
                      <a:cubicBezTo>
                        <a:pt x="95" y="231"/>
                        <a:pt x="95" y="231"/>
                        <a:pt x="95" y="231"/>
                      </a:cubicBezTo>
                      <a:cubicBezTo>
                        <a:pt x="93" y="232"/>
                        <a:pt x="93" y="232"/>
                        <a:pt x="93" y="232"/>
                      </a:cubicBezTo>
                      <a:cubicBezTo>
                        <a:pt x="93" y="233"/>
                        <a:pt x="93" y="233"/>
                        <a:pt x="93" y="233"/>
                      </a:cubicBezTo>
                      <a:cubicBezTo>
                        <a:pt x="93" y="233"/>
                        <a:pt x="91" y="233"/>
                        <a:pt x="91" y="233"/>
                      </a:cubicBezTo>
                      <a:cubicBezTo>
                        <a:pt x="91" y="233"/>
                        <a:pt x="88" y="233"/>
                        <a:pt x="88" y="233"/>
                      </a:cubicBezTo>
                      <a:cubicBezTo>
                        <a:pt x="87" y="234"/>
                        <a:pt x="87" y="234"/>
                        <a:pt x="87" y="234"/>
                      </a:cubicBezTo>
                      <a:cubicBezTo>
                        <a:pt x="86" y="238"/>
                        <a:pt x="86" y="238"/>
                        <a:pt x="86" y="238"/>
                      </a:cubicBezTo>
                      <a:cubicBezTo>
                        <a:pt x="84" y="240"/>
                        <a:pt x="84" y="240"/>
                        <a:pt x="84" y="240"/>
                      </a:cubicBezTo>
                      <a:cubicBezTo>
                        <a:pt x="82" y="241"/>
                        <a:pt x="82" y="241"/>
                        <a:pt x="82" y="241"/>
                      </a:cubicBezTo>
                      <a:cubicBezTo>
                        <a:pt x="80" y="243"/>
                        <a:pt x="80" y="243"/>
                        <a:pt x="80" y="243"/>
                      </a:cubicBezTo>
                      <a:cubicBezTo>
                        <a:pt x="77" y="244"/>
                        <a:pt x="77" y="244"/>
                        <a:pt x="77" y="244"/>
                      </a:cubicBezTo>
                      <a:cubicBezTo>
                        <a:pt x="77" y="244"/>
                        <a:pt x="76" y="245"/>
                        <a:pt x="76" y="245"/>
                      </a:cubicBezTo>
                      <a:cubicBezTo>
                        <a:pt x="76" y="246"/>
                        <a:pt x="75" y="249"/>
                        <a:pt x="75" y="249"/>
                      </a:cubicBezTo>
                      <a:cubicBezTo>
                        <a:pt x="75" y="249"/>
                        <a:pt x="73" y="250"/>
                        <a:pt x="73" y="251"/>
                      </a:cubicBezTo>
                      <a:cubicBezTo>
                        <a:pt x="73" y="251"/>
                        <a:pt x="71" y="252"/>
                        <a:pt x="71" y="252"/>
                      </a:cubicBezTo>
                      <a:cubicBezTo>
                        <a:pt x="71" y="252"/>
                        <a:pt x="71" y="254"/>
                        <a:pt x="71" y="254"/>
                      </a:cubicBezTo>
                      <a:cubicBezTo>
                        <a:pt x="71" y="254"/>
                        <a:pt x="72" y="256"/>
                        <a:pt x="72" y="256"/>
                      </a:cubicBezTo>
                      <a:cubicBezTo>
                        <a:pt x="72" y="259"/>
                        <a:pt x="72" y="259"/>
                        <a:pt x="72" y="259"/>
                      </a:cubicBezTo>
                      <a:cubicBezTo>
                        <a:pt x="72" y="261"/>
                        <a:pt x="72" y="261"/>
                        <a:pt x="72" y="261"/>
                      </a:cubicBezTo>
                      <a:cubicBezTo>
                        <a:pt x="73" y="263"/>
                        <a:pt x="73" y="263"/>
                        <a:pt x="73" y="263"/>
                      </a:cubicBezTo>
                      <a:cubicBezTo>
                        <a:pt x="72" y="265"/>
                        <a:pt x="72" y="265"/>
                        <a:pt x="72" y="265"/>
                      </a:cubicBezTo>
                      <a:cubicBezTo>
                        <a:pt x="71" y="268"/>
                        <a:pt x="71" y="268"/>
                        <a:pt x="71" y="268"/>
                      </a:cubicBezTo>
                      <a:cubicBezTo>
                        <a:pt x="71" y="269"/>
                        <a:pt x="71" y="269"/>
                        <a:pt x="71" y="269"/>
                      </a:cubicBezTo>
                      <a:cubicBezTo>
                        <a:pt x="71" y="271"/>
                        <a:pt x="71" y="271"/>
                        <a:pt x="71" y="271"/>
                      </a:cubicBezTo>
                      <a:cubicBezTo>
                        <a:pt x="71" y="275"/>
                        <a:pt x="71" y="275"/>
                        <a:pt x="71" y="275"/>
                      </a:cubicBezTo>
                      <a:cubicBezTo>
                        <a:pt x="68" y="274"/>
                        <a:pt x="68" y="274"/>
                        <a:pt x="68" y="274"/>
                      </a:cubicBezTo>
                      <a:cubicBezTo>
                        <a:pt x="65" y="274"/>
                        <a:pt x="65" y="274"/>
                        <a:pt x="65" y="274"/>
                      </a:cubicBezTo>
                      <a:cubicBezTo>
                        <a:pt x="62" y="275"/>
                        <a:pt x="62" y="275"/>
                        <a:pt x="62" y="275"/>
                      </a:cubicBezTo>
                      <a:cubicBezTo>
                        <a:pt x="58" y="277"/>
                        <a:pt x="58" y="277"/>
                        <a:pt x="58" y="277"/>
                      </a:cubicBezTo>
                      <a:cubicBezTo>
                        <a:pt x="52" y="278"/>
                        <a:pt x="52" y="278"/>
                        <a:pt x="52" y="278"/>
                      </a:cubicBezTo>
                      <a:cubicBezTo>
                        <a:pt x="47" y="278"/>
                        <a:pt x="47" y="278"/>
                        <a:pt x="47" y="278"/>
                      </a:cubicBezTo>
                      <a:cubicBezTo>
                        <a:pt x="44" y="277"/>
                        <a:pt x="44" y="277"/>
                        <a:pt x="44" y="277"/>
                      </a:cubicBezTo>
                      <a:cubicBezTo>
                        <a:pt x="42" y="276"/>
                        <a:pt x="42" y="276"/>
                        <a:pt x="42" y="276"/>
                      </a:cubicBezTo>
                      <a:cubicBezTo>
                        <a:pt x="40" y="274"/>
                        <a:pt x="40" y="274"/>
                        <a:pt x="40" y="274"/>
                      </a:cubicBezTo>
                      <a:cubicBezTo>
                        <a:pt x="37" y="271"/>
                        <a:pt x="37" y="271"/>
                        <a:pt x="37" y="271"/>
                      </a:cubicBezTo>
                      <a:cubicBezTo>
                        <a:pt x="34" y="271"/>
                        <a:pt x="34" y="271"/>
                        <a:pt x="34" y="271"/>
                      </a:cubicBezTo>
                      <a:cubicBezTo>
                        <a:pt x="32" y="270"/>
                        <a:pt x="32" y="270"/>
                        <a:pt x="32" y="270"/>
                      </a:cubicBezTo>
                      <a:cubicBezTo>
                        <a:pt x="30" y="269"/>
                        <a:pt x="30" y="269"/>
                        <a:pt x="30" y="269"/>
                      </a:cubicBezTo>
                      <a:cubicBezTo>
                        <a:pt x="28" y="268"/>
                        <a:pt x="28" y="268"/>
                        <a:pt x="28" y="268"/>
                      </a:cubicBezTo>
                      <a:cubicBezTo>
                        <a:pt x="26" y="268"/>
                        <a:pt x="26" y="268"/>
                        <a:pt x="26" y="268"/>
                      </a:cubicBezTo>
                      <a:cubicBezTo>
                        <a:pt x="22" y="266"/>
                        <a:pt x="22" y="266"/>
                        <a:pt x="22" y="266"/>
                      </a:cubicBezTo>
                      <a:cubicBezTo>
                        <a:pt x="18" y="264"/>
                        <a:pt x="18" y="264"/>
                        <a:pt x="18" y="264"/>
                      </a:cubicBezTo>
                      <a:cubicBezTo>
                        <a:pt x="16" y="265"/>
                        <a:pt x="16" y="265"/>
                        <a:pt x="16" y="265"/>
                      </a:cubicBezTo>
                      <a:cubicBezTo>
                        <a:pt x="16" y="266"/>
                        <a:pt x="16" y="266"/>
                        <a:pt x="16" y="266"/>
                      </a:cubicBezTo>
                      <a:cubicBezTo>
                        <a:pt x="13" y="265"/>
                        <a:pt x="13" y="265"/>
                        <a:pt x="13" y="265"/>
                      </a:cubicBezTo>
                      <a:cubicBezTo>
                        <a:pt x="11" y="265"/>
                        <a:pt x="11" y="265"/>
                        <a:pt x="11" y="265"/>
                      </a:cubicBezTo>
                      <a:cubicBezTo>
                        <a:pt x="9" y="265"/>
                        <a:pt x="9" y="265"/>
                        <a:pt x="9" y="265"/>
                      </a:cubicBezTo>
                      <a:cubicBezTo>
                        <a:pt x="5" y="266"/>
                        <a:pt x="5" y="266"/>
                        <a:pt x="5" y="266"/>
                      </a:cubicBezTo>
                      <a:cubicBezTo>
                        <a:pt x="2" y="267"/>
                        <a:pt x="2" y="267"/>
                        <a:pt x="2" y="267"/>
                      </a:cubicBezTo>
                      <a:cubicBezTo>
                        <a:pt x="0" y="266"/>
                        <a:pt x="0" y="266"/>
                        <a:pt x="0" y="266"/>
                      </a:cubicBezTo>
                      <a:cubicBezTo>
                        <a:pt x="2" y="264"/>
                        <a:pt x="2" y="264"/>
                        <a:pt x="2" y="264"/>
                      </a:cubicBezTo>
                      <a:cubicBezTo>
                        <a:pt x="4" y="261"/>
                        <a:pt x="4" y="261"/>
                        <a:pt x="4" y="261"/>
                      </a:cubicBezTo>
                      <a:cubicBezTo>
                        <a:pt x="6" y="260"/>
                        <a:pt x="6" y="260"/>
                        <a:pt x="6" y="260"/>
                      </a:cubicBezTo>
                      <a:cubicBezTo>
                        <a:pt x="7" y="257"/>
                        <a:pt x="7" y="257"/>
                        <a:pt x="7" y="257"/>
                      </a:cubicBezTo>
                      <a:cubicBezTo>
                        <a:pt x="10" y="255"/>
                        <a:pt x="10" y="255"/>
                        <a:pt x="10" y="255"/>
                      </a:cubicBezTo>
                      <a:cubicBezTo>
                        <a:pt x="10" y="252"/>
                        <a:pt x="10" y="252"/>
                        <a:pt x="10" y="252"/>
                      </a:cubicBezTo>
                      <a:cubicBezTo>
                        <a:pt x="12" y="248"/>
                        <a:pt x="12" y="248"/>
                        <a:pt x="12" y="248"/>
                      </a:cubicBezTo>
                      <a:cubicBezTo>
                        <a:pt x="12" y="248"/>
                        <a:pt x="14" y="248"/>
                        <a:pt x="14" y="247"/>
                      </a:cubicBezTo>
                      <a:cubicBezTo>
                        <a:pt x="15" y="245"/>
                        <a:pt x="15" y="244"/>
                        <a:pt x="16" y="243"/>
                      </a:cubicBezTo>
                      <a:cubicBezTo>
                        <a:pt x="16" y="242"/>
                        <a:pt x="17" y="242"/>
                        <a:pt x="17" y="241"/>
                      </a:cubicBezTo>
                      <a:cubicBezTo>
                        <a:pt x="17" y="240"/>
                        <a:pt x="16" y="237"/>
                        <a:pt x="16" y="237"/>
                      </a:cubicBezTo>
                      <a:cubicBezTo>
                        <a:pt x="16" y="237"/>
                        <a:pt x="18" y="233"/>
                        <a:pt x="18" y="233"/>
                      </a:cubicBezTo>
                      <a:cubicBezTo>
                        <a:pt x="19" y="232"/>
                        <a:pt x="19" y="228"/>
                        <a:pt x="19" y="228"/>
                      </a:cubicBezTo>
                      <a:cubicBezTo>
                        <a:pt x="19" y="228"/>
                        <a:pt x="20" y="226"/>
                        <a:pt x="21" y="225"/>
                      </a:cubicBezTo>
                      <a:cubicBezTo>
                        <a:pt x="21" y="224"/>
                        <a:pt x="21" y="221"/>
                        <a:pt x="21" y="221"/>
                      </a:cubicBezTo>
                      <a:cubicBezTo>
                        <a:pt x="19" y="218"/>
                        <a:pt x="19" y="218"/>
                        <a:pt x="19" y="218"/>
                      </a:cubicBezTo>
                      <a:cubicBezTo>
                        <a:pt x="21" y="214"/>
                        <a:pt x="21" y="214"/>
                        <a:pt x="21" y="214"/>
                      </a:cubicBezTo>
                      <a:cubicBezTo>
                        <a:pt x="24" y="209"/>
                        <a:pt x="24" y="209"/>
                        <a:pt x="24" y="209"/>
                      </a:cubicBezTo>
                      <a:cubicBezTo>
                        <a:pt x="27" y="204"/>
                        <a:pt x="27" y="204"/>
                        <a:pt x="27" y="204"/>
                      </a:cubicBezTo>
                      <a:cubicBezTo>
                        <a:pt x="28" y="199"/>
                        <a:pt x="28" y="199"/>
                        <a:pt x="28" y="199"/>
                      </a:cubicBezTo>
                      <a:cubicBezTo>
                        <a:pt x="28" y="199"/>
                        <a:pt x="28" y="197"/>
                        <a:pt x="28" y="196"/>
                      </a:cubicBezTo>
                      <a:cubicBezTo>
                        <a:pt x="28" y="196"/>
                        <a:pt x="28" y="194"/>
                        <a:pt x="28" y="194"/>
                      </a:cubicBezTo>
                      <a:cubicBezTo>
                        <a:pt x="28" y="194"/>
                        <a:pt x="28" y="192"/>
                        <a:pt x="28" y="192"/>
                      </a:cubicBezTo>
                      <a:cubicBezTo>
                        <a:pt x="28" y="192"/>
                        <a:pt x="27" y="190"/>
                        <a:pt x="27" y="190"/>
                      </a:cubicBezTo>
                      <a:cubicBezTo>
                        <a:pt x="26" y="187"/>
                        <a:pt x="26" y="187"/>
                        <a:pt x="26" y="187"/>
                      </a:cubicBezTo>
                      <a:cubicBezTo>
                        <a:pt x="25" y="188"/>
                        <a:pt x="25" y="188"/>
                        <a:pt x="25" y="188"/>
                      </a:cubicBezTo>
                      <a:cubicBezTo>
                        <a:pt x="25" y="188"/>
                        <a:pt x="24" y="189"/>
                        <a:pt x="23" y="188"/>
                      </a:cubicBezTo>
                      <a:cubicBezTo>
                        <a:pt x="23" y="188"/>
                        <a:pt x="19" y="188"/>
                        <a:pt x="19" y="188"/>
                      </a:cubicBezTo>
                      <a:cubicBezTo>
                        <a:pt x="17" y="189"/>
                        <a:pt x="17" y="189"/>
                        <a:pt x="17" y="189"/>
                      </a:cubicBezTo>
                      <a:cubicBezTo>
                        <a:pt x="14" y="188"/>
                        <a:pt x="14" y="188"/>
                        <a:pt x="14" y="188"/>
                      </a:cubicBezTo>
                      <a:cubicBezTo>
                        <a:pt x="14" y="188"/>
                        <a:pt x="13" y="189"/>
                        <a:pt x="12" y="189"/>
                      </a:cubicBezTo>
                      <a:cubicBezTo>
                        <a:pt x="12" y="189"/>
                        <a:pt x="11" y="189"/>
                        <a:pt x="11" y="188"/>
                      </a:cubicBezTo>
                      <a:cubicBezTo>
                        <a:pt x="11" y="188"/>
                        <a:pt x="14" y="185"/>
                        <a:pt x="14" y="185"/>
                      </a:cubicBezTo>
                      <a:cubicBezTo>
                        <a:pt x="14" y="185"/>
                        <a:pt x="14" y="185"/>
                        <a:pt x="14" y="184"/>
                      </a:cubicBezTo>
                      <a:cubicBezTo>
                        <a:pt x="14" y="183"/>
                        <a:pt x="14" y="181"/>
                        <a:pt x="14" y="181"/>
                      </a:cubicBezTo>
                      <a:cubicBezTo>
                        <a:pt x="14" y="180"/>
                        <a:pt x="13" y="177"/>
                        <a:pt x="13" y="177"/>
                      </a:cubicBezTo>
                      <a:cubicBezTo>
                        <a:pt x="13" y="177"/>
                        <a:pt x="12" y="176"/>
                        <a:pt x="13" y="175"/>
                      </a:cubicBezTo>
                      <a:cubicBezTo>
                        <a:pt x="13" y="174"/>
                        <a:pt x="14" y="174"/>
                        <a:pt x="14" y="174"/>
                      </a:cubicBezTo>
                      <a:cubicBezTo>
                        <a:pt x="12" y="173"/>
                        <a:pt x="12" y="173"/>
                        <a:pt x="12" y="173"/>
                      </a:cubicBezTo>
                      <a:cubicBezTo>
                        <a:pt x="12" y="173"/>
                        <a:pt x="12" y="173"/>
                        <a:pt x="11" y="173"/>
                      </a:cubicBezTo>
                      <a:cubicBezTo>
                        <a:pt x="10" y="174"/>
                        <a:pt x="9" y="174"/>
                        <a:pt x="9" y="174"/>
                      </a:cubicBezTo>
                      <a:cubicBezTo>
                        <a:pt x="8" y="172"/>
                        <a:pt x="8" y="172"/>
                        <a:pt x="8" y="172"/>
                      </a:cubicBezTo>
                      <a:cubicBezTo>
                        <a:pt x="8" y="172"/>
                        <a:pt x="7" y="173"/>
                        <a:pt x="7" y="172"/>
                      </a:cubicBezTo>
                      <a:cubicBezTo>
                        <a:pt x="6" y="172"/>
                        <a:pt x="4" y="171"/>
                        <a:pt x="4" y="171"/>
                      </a:cubicBezTo>
                      <a:cubicBezTo>
                        <a:pt x="4" y="171"/>
                        <a:pt x="4" y="169"/>
                        <a:pt x="4" y="169"/>
                      </a:cubicBezTo>
                      <a:cubicBezTo>
                        <a:pt x="5" y="168"/>
                        <a:pt x="5" y="168"/>
                        <a:pt x="5" y="167"/>
                      </a:cubicBezTo>
                      <a:cubicBezTo>
                        <a:pt x="5" y="166"/>
                        <a:pt x="5" y="165"/>
                        <a:pt x="6" y="164"/>
                      </a:cubicBezTo>
                      <a:cubicBezTo>
                        <a:pt x="6" y="163"/>
                        <a:pt x="7" y="162"/>
                        <a:pt x="8" y="162"/>
                      </a:cubicBezTo>
                      <a:cubicBezTo>
                        <a:pt x="9" y="161"/>
                        <a:pt x="9" y="161"/>
                        <a:pt x="9" y="161"/>
                      </a:cubicBezTo>
                      <a:cubicBezTo>
                        <a:pt x="11" y="157"/>
                        <a:pt x="11" y="157"/>
                        <a:pt x="11" y="157"/>
                      </a:cubicBezTo>
                      <a:cubicBezTo>
                        <a:pt x="11" y="157"/>
                        <a:pt x="11" y="155"/>
                        <a:pt x="11" y="155"/>
                      </a:cubicBezTo>
                      <a:cubicBezTo>
                        <a:pt x="11" y="155"/>
                        <a:pt x="12" y="153"/>
                        <a:pt x="12" y="152"/>
                      </a:cubicBezTo>
                      <a:cubicBezTo>
                        <a:pt x="12" y="152"/>
                        <a:pt x="13" y="150"/>
                        <a:pt x="13" y="150"/>
                      </a:cubicBezTo>
                      <a:cubicBezTo>
                        <a:pt x="13" y="150"/>
                        <a:pt x="14" y="149"/>
                        <a:pt x="14" y="148"/>
                      </a:cubicBezTo>
                      <a:cubicBezTo>
                        <a:pt x="15" y="148"/>
                        <a:pt x="17" y="146"/>
                        <a:pt x="17" y="146"/>
                      </a:cubicBezTo>
                      <a:cubicBezTo>
                        <a:pt x="17" y="146"/>
                        <a:pt x="18" y="143"/>
                        <a:pt x="18" y="143"/>
                      </a:cubicBezTo>
                      <a:cubicBezTo>
                        <a:pt x="18" y="143"/>
                        <a:pt x="19" y="140"/>
                        <a:pt x="19" y="140"/>
                      </a:cubicBezTo>
                      <a:cubicBezTo>
                        <a:pt x="18" y="138"/>
                        <a:pt x="18" y="138"/>
                        <a:pt x="18" y="138"/>
                      </a:cubicBezTo>
                      <a:cubicBezTo>
                        <a:pt x="17" y="137"/>
                        <a:pt x="17" y="137"/>
                        <a:pt x="17" y="137"/>
                      </a:cubicBezTo>
                      <a:cubicBezTo>
                        <a:pt x="19" y="136"/>
                        <a:pt x="19" y="136"/>
                        <a:pt x="19" y="136"/>
                      </a:cubicBezTo>
                      <a:cubicBezTo>
                        <a:pt x="19" y="136"/>
                        <a:pt x="19" y="136"/>
                        <a:pt x="20" y="136"/>
                      </a:cubicBezTo>
                      <a:cubicBezTo>
                        <a:pt x="21" y="136"/>
                        <a:pt x="22" y="135"/>
                        <a:pt x="22" y="135"/>
                      </a:cubicBezTo>
                      <a:cubicBezTo>
                        <a:pt x="23" y="135"/>
                        <a:pt x="25" y="134"/>
                        <a:pt x="25" y="134"/>
                      </a:cubicBezTo>
                      <a:cubicBezTo>
                        <a:pt x="25" y="133"/>
                        <a:pt x="26" y="133"/>
                        <a:pt x="26" y="133"/>
                      </a:cubicBezTo>
                      <a:cubicBezTo>
                        <a:pt x="27" y="133"/>
                        <a:pt x="29" y="132"/>
                        <a:pt x="29" y="132"/>
                      </a:cubicBezTo>
                      <a:cubicBezTo>
                        <a:pt x="29" y="132"/>
                        <a:pt x="30" y="131"/>
                        <a:pt x="30" y="131"/>
                      </a:cubicBezTo>
                      <a:cubicBezTo>
                        <a:pt x="30" y="130"/>
                        <a:pt x="30" y="130"/>
                        <a:pt x="30" y="130"/>
                      </a:cubicBezTo>
                      <a:cubicBezTo>
                        <a:pt x="32" y="129"/>
                        <a:pt x="32" y="129"/>
                        <a:pt x="32" y="129"/>
                      </a:cubicBezTo>
                      <a:cubicBezTo>
                        <a:pt x="32" y="129"/>
                        <a:pt x="33" y="128"/>
                        <a:pt x="33" y="127"/>
                      </a:cubicBezTo>
                      <a:cubicBezTo>
                        <a:pt x="33" y="127"/>
                        <a:pt x="34" y="125"/>
                        <a:pt x="34" y="125"/>
                      </a:cubicBezTo>
                      <a:cubicBezTo>
                        <a:pt x="34" y="124"/>
                        <a:pt x="37" y="121"/>
                        <a:pt x="37" y="121"/>
                      </a:cubicBezTo>
                      <a:cubicBezTo>
                        <a:pt x="41" y="114"/>
                        <a:pt x="41" y="114"/>
                        <a:pt x="41" y="114"/>
                      </a:cubicBezTo>
                      <a:cubicBezTo>
                        <a:pt x="50" y="100"/>
                        <a:pt x="50" y="100"/>
                        <a:pt x="50" y="100"/>
                      </a:cubicBezTo>
                      <a:cubicBezTo>
                        <a:pt x="49" y="98"/>
                        <a:pt x="49" y="98"/>
                        <a:pt x="49" y="98"/>
                      </a:cubicBezTo>
                      <a:cubicBezTo>
                        <a:pt x="52" y="93"/>
                        <a:pt x="52" y="93"/>
                        <a:pt x="52" y="93"/>
                      </a:cubicBezTo>
                      <a:cubicBezTo>
                        <a:pt x="57" y="85"/>
                        <a:pt x="57" y="85"/>
                        <a:pt x="57" y="85"/>
                      </a:cubicBezTo>
                      <a:cubicBezTo>
                        <a:pt x="62" y="74"/>
                        <a:pt x="62" y="74"/>
                        <a:pt x="62" y="74"/>
                      </a:cubicBezTo>
                      <a:cubicBezTo>
                        <a:pt x="65" y="68"/>
                        <a:pt x="65" y="68"/>
                        <a:pt x="65" y="68"/>
                      </a:cubicBezTo>
                      <a:cubicBezTo>
                        <a:pt x="69" y="61"/>
                        <a:pt x="69" y="61"/>
                        <a:pt x="69" y="61"/>
                      </a:cubicBezTo>
                      <a:cubicBezTo>
                        <a:pt x="71" y="55"/>
                        <a:pt x="71" y="55"/>
                        <a:pt x="71" y="55"/>
                      </a:cubicBezTo>
                      <a:cubicBezTo>
                        <a:pt x="71" y="48"/>
                        <a:pt x="71" y="48"/>
                        <a:pt x="71" y="48"/>
                      </a:cubicBezTo>
                      <a:cubicBezTo>
                        <a:pt x="71" y="43"/>
                        <a:pt x="71" y="43"/>
                        <a:pt x="71" y="43"/>
                      </a:cubicBezTo>
                      <a:cubicBezTo>
                        <a:pt x="71" y="39"/>
                        <a:pt x="71" y="39"/>
                        <a:pt x="71" y="39"/>
                      </a:cubicBezTo>
                      <a:cubicBezTo>
                        <a:pt x="71" y="37"/>
                        <a:pt x="71" y="37"/>
                        <a:pt x="71" y="37"/>
                      </a:cubicBezTo>
                      <a:cubicBezTo>
                        <a:pt x="71" y="35"/>
                        <a:pt x="71" y="35"/>
                        <a:pt x="71" y="35"/>
                      </a:cubicBezTo>
                      <a:cubicBezTo>
                        <a:pt x="70" y="32"/>
                        <a:pt x="70" y="32"/>
                        <a:pt x="70" y="32"/>
                      </a:cubicBezTo>
                      <a:cubicBezTo>
                        <a:pt x="72" y="30"/>
                        <a:pt x="72" y="30"/>
                        <a:pt x="72" y="30"/>
                      </a:cubicBezTo>
                      <a:cubicBezTo>
                        <a:pt x="72" y="28"/>
                        <a:pt x="72" y="28"/>
                        <a:pt x="72" y="28"/>
                      </a:cubicBezTo>
                      <a:cubicBezTo>
                        <a:pt x="72" y="26"/>
                        <a:pt x="72" y="26"/>
                        <a:pt x="72" y="26"/>
                      </a:cubicBezTo>
                      <a:cubicBezTo>
                        <a:pt x="72" y="24"/>
                        <a:pt x="72" y="24"/>
                        <a:pt x="72" y="24"/>
                      </a:cubicBezTo>
                      <a:cubicBezTo>
                        <a:pt x="73" y="22"/>
                        <a:pt x="73" y="22"/>
                        <a:pt x="73" y="22"/>
                      </a:cubicBezTo>
                      <a:cubicBezTo>
                        <a:pt x="72" y="19"/>
                        <a:pt x="72" y="19"/>
                        <a:pt x="72" y="19"/>
                      </a:cubicBezTo>
                      <a:cubicBezTo>
                        <a:pt x="73" y="17"/>
                        <a:pt x="73" y="17"/>
                        <a:pt x="73" y="17"/>
                      </a:cubicBezTo>
                      <a:cubicBezTo>
                        <a:pt x="72" y="16"/>
                        <a:pt x="72" y="16"/>
                        <a:pt x="72" y="16"/>
                      </a:cubicBezTo>
                      <a:cubicBezTo>
                        <a:pt x="73" y="13"/>
                        <a:pt x="73" y="13"/>
                        <a:pt x="73" y="13"/>
                      </a:cubicBezTo>
                      <a:cubicBezTo>
                        <a:pt x="73" y="11"/>
                        <a:pt x="73" y="11"/>
                        <a:pt x="73" y="11"/>
                      </a:cubicBezTo>
                      <a:lnTo>
                        <a:pt x="74" y="9"/>
                      </a:lnTo>
                      <a:close/>
                    </a:path>
                  </a:pathLst>
                </a:custGeom>
                <a:solidFill>
                  <a:srgbClr val="E6EFF1"/>
                </a:solidFill>
                <a:ln w="12700" cap="rnd" cmpd="sng">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Lato Light"/>
                  </a:endParaRPr>
                </a:p>
              </p:txBody>
            </p:sp>
            <p:sp>
              <p:nvSpPr>
                <p:cNvPr id="232" name="Freeform 78">
                  <a:extLst>
                    <a:ext uri="{FF2B5EF4-FFF2-40B4-BE49-F238E27FC236}">
                      <a16:creationId xmlns:a16="http://schemas.microsoft.com/office/drawing/2014/main" id="{9DD476C8-9D2C-F594-75D8-292F798A2EAF}"/>
                    </a:ext>
                  </a:extLst>
                </p:cNvPr>
                <p:cNvSpPr>
                  <a:spLocks noEditPoints="1"/>
                </p:cNvSpPr>
                <p:nvPr/>
              </p:nvSpPr>
              <p:spPr bwMode="auto">
                <a:xfrm>
                  <a:off x="3525086" y="3350128"/>
                  <a:ext cx="898816" cy="1154019"/>
                </a:xfrm>
                <a:custGeom>
                  <a:avLst/>
                  <a:gdLst>
                    <a:gd name="T0" fmla="*/ 264 w 312"/>
                    <a:gd name="T1" fmla="*/ 340 h 413"/>
                    <a:gd name="T2" fmla="*/ 240 w 312"/>
                    <a:gd name="T3" fmla="*/ 363 h 413"/>
                    <a:gd name="T4" fmla="*/ 252 w 312"/>
                    <a:gd name="T5" fmla="*/ 385 h 413"/>
                    <a:gd name="T6" fmla="*/ 237 w 312"/>
                    <a:gd name="T7" fmla="*/ 387 h 413"/>
                    <a:gd name="T8" fmla="*/ 211 w 312"/>
                    <a:gd name="T9" fmla="*/ 393 h 413"/>
                    <a:gd name="T10" fmla="*/ 177 w 312"/>
                    <a:gd name="T11" fmla="*/ 404 h 413"/>
                    <a:gd name="T12" fmla="*/ 157 w 312"/>
                    <a:gd name="T13" fmla="*/ 404 h 413"/>
                    <a:gd name="T14" fmla="*/ 142 w 312"/>
                    <a:gd name="T15" fmla="*/ 400 h 413"/>
                    <a:gd name="T16" fmla="*/ 121 w 312"/>
                    <a:gd name="T17" fmla="*/ 394 h 413"/>
                    <a:gd name="T18" fmla="*/ 101 w 312"/>
                    <a:gd name="T19" fmla="*/ 391 h 413"/>
                    <a:gd name="T20" fmla="*/ 94 w 312"/>
                    <a:gd name="T21" fmla="*/ 388 h 413"/>
                    <a:gd name="T22" fmla="*/ 89 w 312"/>
                    <a:gd name="T23" fmla="*/ 383 h 413"/>
                    <a:gd name="T24" fmla="*/ 90 w 312"/>
                    <a:gd name="T25" fmla="*/ 393 h 413"/>
                    <a:gd name="T26" fmla="*/ 73 w 312"/>
                    <a:gd name="T27" fmla="*/ 396 h 413"/>
                    <a:gd name="T28" fmla="*/ 57 w 312"/>
                    <a:gd name="T29" fmla="*/ 396 h 413"/>
                    <a:gd name="T30" fmla="*/ 53 w 312"/>
                    <a:gd name="T31" fmla="*/ 368 h 413"/>
                    <a:gd name="T32" fmla="*/ 50 w 312"/>
                    <a:gd name="T33" fmla="*/ 308 h 413"/>
                    <a:gd name="T34" fmla="*/ 13 w 312"/>
                    <a:gd name="T35" fmla="*/ 292 h 413"/>
                    <a:gd name="T36" fmla="*/ 6 w 312"/>
                    <a:gd name="T37" fmla="*/ 262 h 413"/>
                    <a:gd name="T38" fmla="*/ 12 w 312"/>
                    <a:gd name="T39" fmla="*/ 245 h 413"/>
                    <a:gd name="T40" fmla="*/ 11 w 312"/>
                    <a:gd name="T41" fmla="*/ 228 h 413"/>
                    <a:gd name="T42" fmla="*/ 5 w 312"/>
                    <a:gd name="T43" fmla="*/ 217 h 413"/>
                    <a:gd name="T44" fmla="*/ 1 w 312"/>
                    <a:gd name="T45" fmla="*/ 207 h 413"/>
                    <a:gd name="T46" fmla="*/ 7 w 312"/>
                    <a:gd name="T47" fmla="*/ 198 h 413"/>
                    <a:gd name="T48" fmla="*/ 9 w 312"/>
                    <a:gd name="T49" fmla="*/ 175 h 413"/>
                    <a:gd name="T50" fmla="*/ 12 w 312"/>
                    <a:gd name="T51" fmla="*/ 161 h 413"/>
                    <a:gd name="T52" fmla="*/ 32 w 312"/>
                    <a:gd name="T53" fmla="*/ 160 h 413"/>
                    <a:gd name="T54" fmla="*/ 41 w 312"/>
                    <a:gd name="T55" fmla="*/ 146 h 413"/>
                    <a:gd name="T56" fmla="*/ 33 w 312"/>
                    <a:gd name="T57" fmla="*/ 128 h 413"/>
                    <a:gd name="T58" fmla="*/ 47 w 312"/>
                    <a:gd name="T59" fmla="*/ 94 h 413"/>
                    <a:gd name="T60" fmla="*/ 49 w 312"/>
                    <a:gd name="T61" fmla="*/ 65 h 413"/>
                    <a:gd name="T62" fmla="*/ 78 w 312"/>
                    <a:gd name="T63" fmla="*/ 80 h 413"/>
                    <a:gd name="T64" fmla="*/ 93 w 312"/>
                    <a:gd name="T65" fmla="*/ 74 h 413"/>
                    <a:gd name="T66" fmla="*/ 114 w 312"/>
                    <a:gd name="T67" fmla="*/ 57 h 413"/>
                    <a:gd name="T68" fmla="*/ 102 w 312"/>
                    <a:gd name="T69" fmla="*/ 41 h 413"/>
                    <a:gd name="T70" fmla="*/ 104 w 312"/>
                    <a:gd name="T71" fmla="*/ 25 h 413"/>
                    <a:gd name="T72" fmla="*/ 95 w 312"/>
                    <a:gd name="T73" fmla="*/ 12 h 413"/>
                    <a:gd name="T74" fmla="*/ 119 w 312"/>
                    <a:gd name="T75" fmla="*/ 5 h 413"/>
                    <a:gd name="T76" fmla="*/ 136 w 312"/>
                    <a:gd name="T77" fmla="*/ 25 h 413"/>
                    <a:gd name="T78" fmla="*/ 163 w 312"/>
                    <a:gd name="T79" fmla="*/ 35 h 413"/>
                    <a:gd name="T80" fmla="*/ 176 w 312"/>
                    <a:gd name="T81" fmla="*/ 25 h 413"/>
                    <a:gd name="T82" fmla="*/ 162 w 312"/>
                    <a:gd name="T83" fmla="*/ 46 h 413"/>
                    <a:gd name="T84" fmla="*/ 182 w 312"/>
                    <a:gd name="T85" fmla="*/ 53 h 413"/>
                    <a:gd name="T86" fmla="*/ 212 w 312"/>
                    <a:gd name="T87" fmla="*/ 30 h 413"/>
                    <a:gd name="T88" fmla="*/ 221 w 312"/>
                    <a:gd name="T89" fmla="*/ 28 h 413"/>
                    <a:gd name="T90" fmla="*/ 236 w 312"/>
                    <a:gd name="T91" fmla="*/ 18 h 413"/>
                    <a:gd name="T92" fmla="*/ 242 w 312"/>
                    <a:gd name="T93" fmla="*/ 21 h 413"/>
                    <a:gd name="T94" fmla="*/ 253 w 312"/>
                    <a:gd name="T95" fmla="*/ 29 h 413"/>
                    <a:gd name="T96" fmla="*/ 262 w 312"/>
                    <a:gd name="T97" fmla="*/ 42 h 413"/>
                    <a:gd name="T98" fmla="*/ 273 w 312"/>
                    <a:gd name="T99" fmla="*/ 58 h 413"/>
                    <a:gd name="T100" fmla="*/ 279 w 312"/>
                    <a:gd name="T101" fmla="*/ 113 h 413"/>
                    <a:gd name="T102" fmla="*/ 294 w 312"/>
                    <a:gd name="T103" fmla="*/ 162 h 413"/>
                    <a:gd name="T104" fmla="*/ 309 w 312"/>
                    <a:gd name="T105" fmla="*/ 197 h 413"/>
                    <a:gd name="T106" fmla="*/ 297 w 312"/>
                    <a:gd name="T107" fmla="*/ 205 h 413"/>
                    <a:gd name="T108" fmla="*/ 262 w 312"/>
                    <a:gd name="T109" fmla="*/ 224 h 413"/>
                    <a:gd name="T110" fmla="*/ 219 w 312"/>
                    <a:gd name="T111" fmla="*/ 253 h 413"/>
                    <a:gd name="T112" fmla="*/ 226 w 312"/>
                    <a:gd name="T113" fmla="*/ 277 h 413"/>
                    <a:gd name="T114" fmla="*/ 257 w 312"/>
                    <a:gd name="T115" fmla="*/ 309 h 413"/>
                    <a:gd name="T116" fmla="*/ 55 w 312"/>
                    <a:gd name="T117" fmla="*/ 394 h 413"/>
                    <a:gd name="T118" fmla="*/ 312 w 312"/>
                    <a:gd name="T119" fmla="*/ 204 h 4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12" h="413">
                      <a:moveTo>
                        <a:pt x="275" y="325"/>
                      </a:moveTo>
                      <a:cubicBezTo>
                        <a:pt x="275" y="325"/>
                        <a:pt x="275" y="325"/>
                        <a:pt x="275" y="325"/>
                      </a:cubicBezTo>
                      <a:cubicBezTo>
                        <a:pt x="275" y="328"/>
                        <a:pt x="275" y="328"/>
                        <a:pt x="275" y="328"/>
                      </a:cubicBezTo>
                      <a:cubicBezTo>
                        <a:pt x="276" y="333"/>
                        <a:pt x="276" y="333"/>
                        <a:pt x="276" y="333"/>
                      </a:cubicBezTo>
                      <a:cubicBezTo>
                        <a:pt x="276" y="336"/>
                        <a:pt x="276" y="336"/>
                        <a:pt x="276" y="336"/>
                      </a:cubicBezTo>
                      <a:cubicBezTo>
                        <a:pt x="276" y="336"/>
                        <a:pt x="275" y="338"/>
                        <a:pt x="274" y="338"/>
                      </a:cubicBezTo>
                      <a:cubicBezTo>
                        <a:pt x="274" y="338"/>
                        <a:pt x="273" y="339"/>
                        <a:pt x="272" y="339"/>
                      </a:cubicBezTo>
                      <a:cubicBezTo>
                        <a:pt x="271" y="338"/>
                        <a:pt x="270" y="337"/>
                        <a:pt x="270" y="337"/>
                      </a:cubicBezTo>
                      <a:cubicBezTo>
                        <a:pt x="264" y="337"/>
                        <a:pt x="264" y="337"/>
                        <a:pt x="264" y="337"/>
                      </a:cubicBezTo>
                      <a:cubicBezTo>
                        <a:pt x="264" y="337"/>
                        <a:pt x="264" y="339"/>
                        <a:pt x="264" y="340"/>
                      </a:cubicBezTo>
                      <a:cubicBezTo>
                        <a:pt x="263" y="342"/>
                        <a:pt x="263" y="342"/>
                        <a:pt x="263" y="342"/>
                      </a:cubicBezTo>
                      <a:cubicBezTo>
                        <a:pt x="263" y="347"/>
                        <a:pt x="263" y="347"/>
                        <a:pt x="263" y="347"/>
                      </a:cubicBezTo>
                      <a:cubicBezTo>
                        <a:pt x="258" y="352"/>
                        <a:pt x="258" y="352"/>
                        <a:pt x="258" y="352"/>
                      </a:cubicBezTo>
                      <a:cubicBezTo>
                        <a:pt x="257" y="352"/>
                        <a:pt x="257" y="352"/>
                        <a:pt x="257" y="352"/>
                      </a:cubicBezTo>
                      <a:cubicBezTo>
                        <a:pt x="257" y="352"/>
                        <a:pt x="256" y="353"/>
                        <a:pt x="256" y="353"/>
                      </a:cubicBezTo>
                      <a:cubicBezTo>
                        <a:pt x="256" y="353"/>
                        <a:pt x="251" y="355"/>
                        <a:pt x="251" y="355"/>
                      </a:cubicBezTo>
                      <a:cubicBezTo>
                        <a:pt x="249" y="357"/>
                        <a:pt x="249" y="357"/>
                        <a:pt x="249" y="357"/>
                      </a:cubicBezTo>
                      <a:cubicBezTo>
                        <a:pt x="248" y="357"/>
                        <a:pt x="248" y="357"/>
                        <a:pt x="248" y="357"/>
                      </a:cubicBezTo>
                      <a:cubicBezTo>
                        <a:pt x="248" y="357"/>
                        <a:pt x="245" y="359"/>
                        <a:pt x="243" y="361"/>
                      </a:cubicBezTo>
                      <a:cubicBezTo>
                        <a:pt x="240" y="363"/>
                        <a:pt x="240" y="363"/>
                        <a:pt x="240" y="363"/>
                      </a:cubicBezTo>
                      <a:cubicBezTo>
                        <a:pt x="240" y="363"/>
                        <a:pt x="240" y="363"/>
                        <a:pt x="240" y="363"/>
                      </a:cubicBezTo>
                      <a:cubicBezTo>
                        <a:pt x="240" y="363"/>
                        <a:pt x="240" y="363"/>
                        <a:pt x="240" y="363"/>
                      </a:cubicBezTo>
                      <a:cubicBezTo>
                        <a:pt x="242" y="368"/>
                        <a:pt x="242" y="368"/>
                        <a:pt x="242" y="368"/>
                      </a:cubicBezTo>
                      <a:cubicBezTo>
                        <a:pt x="245" y="371"/>
                        <a:pt x="245" y="371"/>
                        <a:pt x="245" y="371"/>
                      </a:cubicBezTo>
                      <a:cubicBezTo>
                        <a:pt x="248" y="376"/>
                        <a:pt x="248" y="376"/>
                        <a:pt x="248" y="376"/>
                      </a:cubicBezTo>
                      <a:cubicBezTo>
                        <a:pt x="248" y="379"/>
                        <a:pt x="248" y="379"/>
                        <a:pt x="248" y="379"/>
                      </a:cubicBezTo>
                      <a:cubicBezTo>
                        <a:pt x="248" y="379"/>
                        <a:pt x="246" y="381"/>
                        <a:pt x="246" y="381"/>
                      </a:cubicBezTo>
                      <a:cubicBezTo>
                        <a:pt x="246" y="382"/>
                        <a:pt x="245" y="384"/>
                        <a:pt x="246" y="384"/>
                      </a:cubicBezTo>
                      <a:cubicBezTo>
                        <a:pt x="247" y="384"/>
                        <a:pt x="251" y="385"/>
                        <a:pt x="251" y="385"/>
                      </a:cubicBezTo>
                      <a:cubicBezTo>
                        <a:pt x="251" y="385"/>
                        <a:pt x="252" y="385"/>
                        <a:pt x="252" y="385"/>
                      </a:cubicBezTo>
                      <a:cubicBezTo>
                        <a:pt x="253" y="385"/>
                        <a:pt x="253" y="386"/>
                        <a:pt x="253" y="386"/>
                      </a:cubicBezTo>
                      <a:cubicBezTo>
                        <a:pt x="253" y="390"/>
                        <a:pt x="253" y="390"/>
                        <a:pt x="253" y="390"/>
                      </a:cubicBezTo>
                      <a:cubicBezTo>
                        <a:pt x="253" y="390"/>
                        <a:pt x="253" y="391"/>
                        <a:pt x="253" y="395"/>
                      </a:cubicBezTo>
                      <a:cubicBezTo>
                        <a:pt x="253" y="399"/>
                        <a:pt x="252" y="398"/>
                        <a:pt x="252" y="398"/>
                      </a:cubicBezTo>
                      <a:cubicBezTo>
                        <a:pt x="252" y="398"/>
                        <a:pt x="247" y="396"/>
                        <a:pt x="247" y="396"/>
                      </a:cubicBezTo>
                      <a:cubicBezTo>
                        <a:pt x="247" y="396"/>
                        <a:pt x="245" y="394"/>
                        <a:pt x="245" y="394"/>
                      </a:cubicBezTo>
                      <a:cubicBezTo>
                        <a:pt x="244" y="393"/>
                        <a:pt x="244" y="392"/>
                        <a:pt x="244" y="391"/>
                      </a:cubicBezTo>
                      <a:cubicBezTo>
                        <a:pt x="244" y="390"/>
                        <a:pt x="245" y="388"/>
                        <a:pt x="245" y="388"/>
                      </a:cubicBezTo>
                      <a:cubicBezTo>
                        <a:pt x="245" y="388"/>
                        <a:pt x="241" y="387"/>
                        <a:pt x="241" y="387"/>
                      </a:cubicBezTo>
                      <a:cubicBezTo>
                        <a:pt x="241" y="387"/>
                        <a:pt x="238" y="387"/>
                        <a:pt x="237" y="387"/>
                      </a:cubicBezTo>
                      <a:cubicBezTo>
                        <a:pt x="236" y="387"/>
                        <a:pt x="235" y="389"/>
                        <a:pt x="235" y="389"/>
                      </a:cubicBezTo>
                      <a:cubicBezTo>
                        <a:pt x="234" y="390"/>
                        <a:pt x="233" y="389"/>
                        <a:pt x="232" y="389"/>
                      </a:cubicBezTo>
                      <a:cubicBezTo>
                        <a:pt x="232" y="389"/>
                        <a:pt x="231" y="387"/>
                        <a:pt x="231" y="387"/>
                      </a:cubicBezTo>
                      <a:cubicBezTo>
                        <a:pt x="230" y="387"/>
                        <a:pt x="226" y="386"/>
                        <a:pt x="225" y="386"/>
                      </a:cubicBezTo>
                      <a:cubicBezTo>
                        <a:pt x="225" y="386"/>
                        <a:pt x="223" y="386"/>
                        <a:pt x="221" y="386"/>
                      </a:cubicBezTo>
                      <a:cubicBezTo>
                        <a:pt x="220" y="387"/>
                        <a:pt x="221" y="387"/>
                        <a:pt x="222" y="390"/>
                      </a:cubicBezTo>
                      <a:cubicBezTo>
                        <a:pt x="222" y="393"/>
                        <a:pt x="221" y="391"/>
                        <a:pt x="220" y="391"/>
                      </a:cubicBezTo>
                      <a:cubicBezTo>
                        <a:pt x="219" y="391"/>
                        <a:pt x="219" y="391"/>
                        <a:pt x="217" y="391"/>
                      </a:cubicBezTo>
                      <a:cubicBezTo>
                        <a:pt x="215" y="391"/>
                        <a:pt x="214" y="391"/>
                        <a:pt x="212" y="391"/>
                      </a:cubicBezTo>
                      <a:cubicBezTo>
                        <a:pt x="211" y="392"/>
                        <a:pt x="211" y="392"/>
                        <a:pt x="211" y="393"/>
                      </a:cubicBezTo>
                      <a:cubicBezTo>
                        <a:pt x="210" y="394"/>
                        <a:pt x="208" y="394"/>
                        <a:pt x="207" y="394"/>
                      </a:cubicBezTo>
                      <a:cubicBezTo>
                        <a:pt x="206" y="394"/>
                        <a:pt x="202" y="394"/>
                        <a:pt x="202" y="394"/>
                      </a:cubicBezTo>
                      <a:cubicBezTo>
                        <a:pt x="201" y="394"/>
                        <a:pt x="200" y="396"/>
                        <a:pt x="199" y="397"/>
                      </a:cubicBezTo>
                      <a:cubicBezTo>
                        <a:pt x="199" y="397"/>
                        <a:pt x="195" y="397"/>
                        <a:pt x="195" y="397"/>
                      </a:cubicBezTo>
                      <a:cubicBezTo>
                        <a:pt x="194" y="398"/>
                        <a:pt x="194" y="398"/>
                        <a:pt x="193" y="399"/>
                      </a:cubicBezTo>
                      <a:cubicBezTo>
                        <a:pt x="191" y="400"/>
                        <a:pt x="191" y="400"/>
                        <a:pt x="190" y="402"/>
                      </a:cubicBezTo>
                      <a:cubicBezTo>
                        <a:pt x="188" y="404"/>
                        <a:pt x="189" y="403"/>
                        <a:pt x="185" y="402"/>
                      </a:cubicBezTo>
                      <a:cubicBezTo>
                        <a:pt x="182" y="402"/>
                        <a:pt x="184" y="403"/>
                        <a:pt x="183" y="403"/>
                      </a:cubicBezTo>
                      <a:cubicBezTo>
                        <a:pt x="182" y="403"/>
                        <a:pt x="181" y="404"/>
                        <a:pt x="180" y="405"/>
                      </a:cubicBezTo>
                      <a:cubicBezTo>
                        <a:pt x="180" y="406"/>
                        <a:pt x="178" y="404"/>
                        <a:pt x="177" y="404"/>
                      </a:cubicBezTo>
                      <a:cubicBezTo>
                        <a:pt x="176" y="405"/>
                        <a:pt x="176" y="403"/>
                        <a:pt x="176" y="400"/>
                      </a:cubicBezTo>
                      <a:cubicBezTo>
                        <a:pt x="175" y="398"/>
                        <a:pt x="173" y="398"/>
                        <a:pt x="173" y="398"/>
                      </a:cubicBezTo>
                      <a:cubicBezTo>
                        <a:pt x="173" y="398"/>
                        <a:pt x="171" y="398"/>
                        <a:pt x="171" y="397"/>
                      </a:cubicBezTo>
                      <a:cubicBezTo>
                        <a:pt x="171" y="396"/>
                        <a:pt x="167" y="396"/>
                        <a:pt x="166" y="396"/>
                      </a:cubicBezTo>
                      <a:cubicBezTo>
                        <a:pt x="166" y="396"/>
                        <a:pt x="163" y="396"/>
                        <a:pt x="163" y="396"/>
                      </a:cubicBezTo>
                      <a:cubicBezTo>
                        <a:pt x="163" y="396"/>
                        <a:pt x="160" y="396"/>
                        <a:pt x="160" y="397"/>
                      </a:cubicBezTo>
                      <a:cubicBezTo>
                        <a:pt x="160" y="397"/>
                        <a:pt x="159" y="397"/>
                        <a:pt x="157" y="398"/>
                      </a:cubicBezTo>
                      <a:cubicBezTo>
                        <a:pt x="154" y="399"/>
                        <a:pt x="156" y="398"/>
                        <a:pt x="156" y="400"/>
                      </a:cubicBezTo>
                      <a:cubicBezTo>
                        <a:pt x="157" y="401"/>
                        <a:pt x="157" y="402"/>
                        <a:pt x="157" y="402"/>
                      </a:cubicBezTo>
                      <a:cubicBezTo>
                        <a:pt x="158" y="403"/>
                        <a:pt x="157" y="402"/>
                        <a:pt x="157" y="404"/>
                      </a:cubicBezTo>
                      <a:cubicBezTo>
                        <a:pt x="156" y="406"/>
                        <a:pt x="156" y="405"/>
                        <a:pt x="156" y="407"/>
                      </a:cubicBezTo>
                      <a:cubicBezTo>
                        <a:pt x="155" y="408"/>
                        <a:pt x="155" y="407"/>
                        <a:pt x="154" y="410"/>
                      </a:cubicBezTo>
                      <a:cubicBezTo>
                        <a:pt x="153" y="412"/>
                        <a:pt x="154" y="410"/>
                        <a:pt x="153" y="412"/>
                      </a:cubicBezTo>
                      <a:cubicBezTo>
                        <a:pt x="152" y="413"/>
                        <a:pt x="150" y="412"/>
                        <a:pt x="148" y="411"/>
                      </a:cubicBezTo>
                      <a:cubicBezTo>
                        <a:pt x="147" y="411"/>
                        <a:pt x="148" y="410"/>
                        <a:pt x="148" y="408"/>
                      </a:cubicBezTo>
                      <a:cubicBezTo>
                        <a:pt x="149" y="406"/>
                        <a:pt x="148" y="407"/>
                        <a:pt x="148" y="406"/>
                      </a:cubicBezTo>
                      <a:cubicBezTo>
                        <a:pt x="148" y="405"/>
                        <a:pt x="147" y="406"/>
                        <a:pt x="145" y="407"/>
                      </a:cubicBezTo>
                      <a:cubicBezTo>
                        <a:pt x="144" y="407"/>
                        <a:pt x="144" y="405"/>
                        <a:pt x="145" y="403"/>
                      </a:cubicBezTo>
                      <a:cubicBezTo>
                        <a:pt x="145" y="401"/>
                        <a:pt x="144" y="402"/>
                        <a:pt x="144" y="401"/>
                      </a:cubicBezTo>
                      <a:cubicBezTo>
                        <a:pt x="144" y="401"/>
                        <a:pt x="143" y="400"/>
                        <a:pt x="142" y="400"/>
                      </a:cubicBezTo>
                      <a:cubicBezTo>
                        <a:pt x="141" y="400"/>
                        <a:pt x="140" y="399"/>
                        <a:pt x="140" y="399"/>
                      </a:cubicBezTo>
                      <a:cubicBezTo>
                        <a:pt x="139" y="398"/>
                        <a:pt x="137" y="396"/>
                        <a:pt x="136" y="395"/>
                      </a:cubicBezTo>
                      <a:cubicBezTo>
                        <a:pt x="134" y="394"/>
                        <a:pt x="132" y="395"/>
                        <a:pt x="132" y="395"/>
                      </a:cubicBezTo>
                      <a:cubicBezTo>
                        <a:pt x="132" y="395"/>
                        <a:pt x="130" y="397"/>
                        <a:pt x="128" y="399"/>
                      </a:cubicBezTo>
                      <a:cubicBezTo>
                        <a:pt x="128" y="399"/>
                        <a:pt x="128" y="400"/>
                        <a:pt x="128" y="400"/>
                      </a:cubicBezTo>
                      <a:cubicBezTo>
                        <a:pt x="127" y="400"/>
                        <a:pt x="127" y="400"/>
                        <a:pt x="127" y="399"/>
                      </a:cubicBezTo>
                      <a:cubicBezTo>
                        <a:pt x="127" y="399"/>
                        <a:pt x="126" y="398"/>
                        <a:pt x="126" y="398"/>
                      </a:cubicBezTo>
                      <a:cubicBezTo>
                        <a:pt x="126" y="398"/>
                        <a:pt x="126" y="396"/>
                        <a:pt x="125" y="396"/>
                      </a:cubicBezTo>
                      <a:cubicBezTo>
                        <a:pt x="125" y="396"/>
                        <a:pt x="124" y="396"/>
                        <a:pt x="123" y="395"/>
                      </a:cubicBezTo>
                      <a:cubicBezTo>
                        <a:pt x="122" y="395"/>
                        <a:pt x="121" y="394"/>
                        <a:pt x="121" y="394"/>
                      </a:cubicBezTo>
                      <a:cubicBezTo>
                        <a:pt x="120" y="394"/>
                        <a:pt x="118" y="392"/>
                        <a:pt x="118" y="392"/>
                      </a:cubicBezTo>
                      <a:cubicBezTo>
                        <a:pt x="118" y="392"/>
                        <a:pt x="118" y="392"/>
                        <a:pt x="117" y="392"/>
                      </a:cubicBezTo>
                      <a:cubicBezTo>
                        <a:pt x="117" y="392"/>
                        <a:pt x="116" y="391"/>
                        <a:pt x="116" y="391"/>
                      </a:cubicBezTo>
                      <a:cubicBezTo>
                        <a:pt x="115" y="391"/>
                        <a:pt x="115" y="391"/>
                        <a:pt x="115" y="391"/>
                      </a:cubicBezTo>
                      <a:cubicBezTo>
                        <a:pt x="115" y="391"/>
                        <a:pt x="115" y="391"/>
                        <a:pt x="115" y="391"/>
                      </a:cubicBezTo>
                      <a:cubicBezTo>
                        <a:pt x="114" y="391"/>
                        <a:pt x="114" y="391"/>
                        <a:pt x="113" y="390"/>
                      </a:cubicBezTo>
                      <a:cubicBezTo>
                        <a:pt x="111" y="390"/>
                        <a:pt x="112" y="390"/>
                        <a:pt x="110" y="390"/>
                      </a:cubicBezTo>
                      <a:cubicBezTo>
                        <a:pt x="109" y="390"/>
                        <a:pt x="108" y="390"/>
                        <a:pt x="108" y="390"/>
                      </a:cubicBezTo>
                      <a:cubicBezTo>
                        <a:pt x="108" y="390"/>
                        <a:pt x="107" y="389"/>
                        <a:pt x="105" y="389"/>
                      </a:cubicBezTo>
                      <a:cubicBezTo>
                        <a:pt x="104" y="390"/>
                        <a:pt x="102" y="391"/>
                        <a:pt x="101" y="391"/>
                      </a:cubicBezTo>
                      <a:cubicBezTo>
                        <a:pt x="101" y="391"/>
                        <a:pt x="100" y="390"/>
                        <a:pt x="100" y="390"/>
                      </a:cubicBezTo>
                      <a:cubicBezTo>
                        <a:pt x="100" y="390"/>
                        <a:pt x="100" y="389"/>
                        <a:pt x="100" y="389"/>
                      </a:cubicBezTo>
                      <a:cubicBezTo>
                        <a:pt x="100" y="389"/>
                        <a:pt x="99" y="388"/>
                        <a:pt x="98" y="387"/>
                      </a:cubicBezTo>
                      <a:cubicBezTo>
                        <a:pt x="98" y="387"/>
                        <a:pt x="97" y="387"/>
                        <a:pt x="97" y="387"/>
                      </a:cubicBezTo>
                      <a:cubicBezTo>
                        <a:pt x="97" y="387"/>
                        <a:pt x="97" y="387"/>
                        <a:pt x="97" y="388"/>
                      </a:cubicBezTo>
                      <a:cubicBezTo>
                        <a:pt x="97" y="389"/>
                        <a:pt x="99" y="389"/>
                        <a:pt x="97" y="389"/>
                      </a:cubicBezTo>
                      <a:cubicBezTo>
                        <a:pt x="96" y="388"/>
                        <a:pt x="95" y="388"/>
                        <a:pt x="95" y="388"/>
                      </a:cubicBezTo>
                      <a:cubicBezTo>
                        <a:pt x="92" y="389"/>
                        <a:pt x="92" y="389"/>
                        <a:pt x="92" y="389"/>
                      </a:cubicBezTo>
                      <a:cubicBezTo>
                        <a:pt x="93" y="388"/>
                        <a:pt x="93" y="388"/>
                        <a:pt x="93" y="388"/>
                      </a:cubicBezTo>
                      <a:cubicBezTo>
                        <a:pt x="93" y="388"/>
                        <a:pt x="94" y="388"/>
                        <a:pt x="94" y="388"/>
                      </a:cubicBezTo>
                      <a:cubicBezTo>
                        <a:pt x="94" y="387"/>
                        <a:pt x="94" y="387"/>
                        <a:pt x="94" y="387"/>
                      </a:cubicBezTo>
                      <a:cubicBezTo>
                        <a:pt x="94" y="387"/>
                        <a:pt x="94" y="386"/>
                        <a:pt x="94" y="386"/>
                      </a:cubicBezTo>
                      <a:cubicBezTo>
                        <a:pt x="95" y="386"/>
                        <a:pt x="96" y="385"/>
                        <a:pt x="95" y="385"/>
                      </a:cubicBezTo>
                      <a:cubicBezTo>
                        <a:pt x="94" y="385"/>
                        <a:pt x="93" y="385"/>
                        <a:pt x="93" y="385"/>
                      </a:cubicBezTo>
                      <a:cubicBezTo>
                        <a:pt x="93" y="384"/>
                        <a:pt x="93" y="384"/>
                        <a:pt x="93" y="384"/>
                      </a:cubicBezTo>
                      <a:cubicBezTo>
                        <a:pt x="93" y="384"/>
                        <a:pt x="92" y="383"/>
                        <a:pt x="92" y="383"/>
                      </a:cubicBezTo>
                      <a:cubicBezTo>
                        <a:pt x="92" y="384"/>
                        <a:pt x="92" y="385"/>
                        <a:pt x="92" y="385"/>
                      </a:cubicBezTo>
                      <a:cubicBezTo>
                        <a:pt x="91" y="385"/>
                        <a:pt x="91" y="385"/>
                        <a:pt x="91" y="384"/>
                      </a:cubicBezTo>
                      <a:cubicBezTo>
                        <a:pt x="91" y="383"/>
                        <a:pt x="91" y="383"/>
                        <a:pt x="91" y="383"/>
                      </a:cubicBezTo>
                      <a:cubicBezTo>
                        <a:pt x="90" y="383"/>
                        <a:pt x="89" y="383"/>
                        <a:pt x="89" y="383"/>
                      </a:cubicBezTo>
                      <a:cubicBezTo>
                        <a:pt x="89" y="383"/>
                        <a:pt x="90" y="384"/>
                        <a:pt x="88" y="384"/>
                      </a:cubicBezTo>
                      <a:cubicBezTo>
                        <a:pt x="87" y="384"/>
                        <a:pt x="86" y="385"/>
                        <a:pt x="85" y="385"/>
                      </a:cubicBezTo>
                      <a:cubicBezTo>
                        <a:pt x="84" y="386"/>
                        <a:pt x="84" y="387"/>
                        <a:pt x="84" y="387"/>
                      </a:cubicBezTo>
                      <a:cubicBezTo>
                        <a:pt x="84" y="388"/>
                        <a:pt x="82" y="388"/>
                        <a:pt x="82" y="389"/>
                      </a:cubicBezTo>
                      <a:cubicBezTo>
                        <a:pt x="83" y="389"/>
                        <a:pt x="82" y="389"/>
                        <a:pt x="84" y="390"/>
                      </a:cubicBezTo>
                      <a:cubicBezTo>
                        <a:pt x="85" y="390"/>
                        <a:pt x="85" y="390"/>
                        <a:pt x="86" y="390"/>
                      </a:cubicBezTo>
                      <a:cubicBezTo>
                        <a:pt x="87" y="391"/>
                        <a:pt x="88" y="390"/>
                        <a:pt x="88" y="390"/>
                      </a:cubicBezTo>
                      <a:cubicBezTo>
                        <a:pt x="88" y="390"/>
                        <a:pt x="88" y="390"/>
                        <a:pt x="89" y="391"/>
                      </a:cubicBezTo>
                      <a:cubicBezTo>
                        <a:pt x="89" y="391"/>
                        <a:pt x="90" y="390"/>
                        <a:pt x="90" y="391"/>
                      </a:cubicBezTo>
                      <a:cubicBezTo>
                        <a:pt x="90" y="392"/>
                        <a:pt x="91" y="393"/>
                        <a:pt x="90" y="393"/>
                      </a:cubicBezTo>
                      <a:cubicBezTo>
                        <a:pt x="89" y="393"/>
                        <a:pt x="88" y="394"/>
                        <a:pt x="88" y="393"/>
                      </a:cubicBezTo>
                      <a:cubicBezTo>
                        <a:pt x="88" y="393"/>
                        <a:pt x="88" y="392"/>
                        <a:pt x="87" y="392"/>
                      </a:cubicBezTo>
                      <a:cubicBezTo>
                        <a:pt x="87" y="392"/>
                        <a:pt x="86" y="392"/>
                        <a:pt x="86" y="392"/>
                      </a:cubicBezTo>
                      <a:cubicBezTo>
                        <a:pt x="85" y="394"/>
                        <a:pt x="85" y="394"/>
                        <a:pt x="85" y="394"/>
                      </a:cubicBezTo>
                      <a:cubicBezTo>
                        <a:pt x="85" y="394"/>
                        <a:pt x="85" y="395"/>
                        <a:pt x="84" y="395"/>
                      </a:cubicBezTo>
                      <a:cubicBezTo>
                        <a:pt x="83" y="395"/>
                        <a:pt x="84" y="395"/>
                        <a:pt x="82" y="395"/>
                      </a:cubicBezTo>
                      <a:cubicBezTo>
                        <a:pt x="80" y="395"/>
                        <a:pt x="80" y="394"/>
                        <a:pt x="79" y="394"/>
                      </a:cubicBezTo>
                      <a:cubicBezTo>
                        <a:pt x="79" y="394"/>
                        <a:pt x="79" y="394"/>
                        <a:pt x="78" y="394"/>
                      </a:cubicBezTo>
                      <a:cubicBezTo>
                        <a:pt x="78" y="394"/>
                        <a:pt x="76" y="392"/>
                        <a:pt x="75" y="394"/>
                      </a:cubicBezTo>
                      <a:cubicBezTo>
                        <a:pt x="74" y="395"/>
                        <a:pt x="73" y="396"/>
                        <a:pt x="73" y="396"/>
                      </a:cubicBezTo>
                      <a:cubicBezTo>
                        <a:pt x="70" y="396"/>
                        <a:pt x="70" y="396"/>
                        <a:pt x="70" y="396"/>
                      </a:cubicBezTo>
                      <a:cubicBezTo>
                        <a:pt x="70" y="396"/>
                        <a:pt x="69" y="396"/>
                        <a:pt x="68" y="396"/>
                      </a:cubicBezTo>
                      <a:cubicBezTo>
                        <a:pt x="67" y="396"/>
                        <a:pt x="66" y="396"/>
                        <a:pt x="66" y="396"/>
                      </a:cubicBezTo>
                      <a:cubicBezTo>
                        <a:pt x="65" y="397"/>
                        <a:pt x="64" y="394"/>
                        <a:pt x="64" y="394"/>
                      </a:cubicBezTo>
                      <a:cubicBezTo>
                        <a:pt x="64" y="394"/>
                        <a:pt x="65" y="392"/>
                        <a:pt x="62" y="394"/>
                      </a:cubicBezTo>
                      <a:cubicBezTo>
                        <a:pt x="59" y="396"/>
                        <a:pt x="58" y="396"/>
                        <a:pt x="58" y="396"/>
                      </a:cubicBezTo>
                      <a:cubicBezTo>
                        <a:pt x="58" y="396"/>
                        <a:pt x="57" y="396"/>
                        <a:pt x="57" y="397"/>
                      </a:cubicBezTo>
                      <a:cubicBezTo>
                        <a:pt x="57" y="396"/>
                        <a:pt x="57" y="396"/>
                        <a:pt x="57" y="396"/>
                      </a:cubicBezTo>
                      <a:cubicBezTo>
                        <a:pt x="57" y="396"/>
                        <a:pt x="57" y="396"/>
                        <a:pt x="57" y="396"/>
                      </a:cubicBezTo>
                      <a:cubicBezTo>
                        <a:pt x="57" y="396"/>
                        <a:pt x="57" y="396"/>
                        <a:pt x="57" y="396"/>
                      </a:cubicBezTo>
                      <a:cubicBezTo>
                        <a:pt x="57" y="396"/>
                        <a:pt x="57" y="396"/>
                        <a:pt x="57" y="396"/>
                      </a:cubicBezTo>
                      <a:cubicBezTo>
                        <a:pt x="57" y="396"/>
                        <a:pt x="57" y="396"/>
                        <a:pt x="57" y="396"/>
                      </a:cubicBezTo>
                      <a:cubicBezTo>
                        <a:pt x="57" y="396"/>
                        <a:pt x="57" y="396"/>
                        <a:pt x="57" y="396"/>
                      </a:cubicBezTo>
                      <a:cubicBezTo>
                        <a:pt x="56" y="396"/>
                        <a:pt x="56" y="396"/>
                        <a:pt x="56" y="395"/>
                      </a:cubicBezTo>
                      <a:cubicBezTo>
                        <a:pt x="56" y="395"/>
                        <a:pt x="56" y="395"/>
                        <a:pt x="56" y="395"/>
                      </a:cubicBezTo>
                      <a:cubicBezTo>
                        <a:pt x="56" y="395"/>
                        <a:pt x="55" y="395"/>
                        <a:pt x="55" y="394"/>
                      </a:cubicBezTo>
                      <a:cubicBezTo>
                        <a:pt x="53" y="392"/>
                        <a:pt x="50" y="388"/>
                        <a:pt x="50" y="388"/>
                      </a:cubicBezTo>
                      <a:cubicBezTo>
                        <a:pt x="52" y="384"/>
                        <a:pt x="52" y="384"/>
                        <a:pt x="52" y="384"/>
                      </a:cubicBezTo>
                      <a:cubicBezTo>
                        <a:pt x="52" y="384"/>
                        <a:pt x="53" y="377"/>
                        <a:pt x="53" y="375"/>
                      </a:cubicBezTo>
                      <a:cubicBezTo>
                        <a:pt x="53" y="374"/>
                        <a:pt x="53" y="368"/>
                        <a:pt x="53" y="368"/>
                      </a:cubicBezTo>
                      <a:cubicBezTo>
                        <a:pt x="53" y="368"/>
                        <a:pt x="49" y="367"/>
                        <a:pt x="52" y="364"/>
                      </a:cubicBezTo>
                      <a:cubicBezTo>
                        <a:pt x="55" y="360"/>
                        <a:pt x="58" y="355"/>
                        <a:pt x="58" y="355"/>
                      </a:cubicBezTo>
                      <a:cubicBezTo>
                        <a:pt x="58" y="345"/>
                        <a:pt x="58" y="345"/>
                        <a:pt x="58" y="345"/>
                      </a:cubicBezTo>
                      <a:cubicBezTo>
                        <a:pt x="58" y="345"/>
                        <a:pt x="55" y="342"/>
                        <a:pt x="59" y="340"/>
                      </a:cubicBezTo>
                      <a:cubicBezTo>
                        <a:pt x="63" y="337"/>
                        <a:pt x="70" y="328"/>
                        <a:pt x="70" y="328"/>
                      </a:cubicBezTo>
                      <a:cubicBezTo>
                        <a:pt x="77" y="320"/>
                        <a:pt x="77" y="320"/>
                        <a:pt x="77" y="320"/>
                      </a:cubicBezTo>
                      <a:cubicBezTo>
                        <a:pt x="65" y="317"/>
                        <a:pt x="65" y="317"/>
                        <a:pt x="65" y="317"/>
                      </a:cubicBezTo>
                      <a:cubicBezTo>
                        <a:pt x="58" y="316"/>
                        <a:pt x="58" y="316"/>
                        <a:pt x="58" y="316"/>
                      </a:cubicBezTo>
                      <a:cubicBezTo>
                        <a:pt x="53" y="313"/>
                        <a:pt x="53" y="313"/>
                        <a:pt x="53" y="313"/>
                      </a:cubicBezTo>
                      <a:cubicBezTo>
                        <a:pt x="50" y="308"/>
                        <a:pt x="50" y="308"/>
                        <a:pt x="50" y="308"/>
                      </a:cubicBezTo>
                      <a:cubicBezTo>
                        <a:pt x="47" y="310"/>
                        <a:pt x="47" y="310"/>
                        <a:pt x="47" y="310"/>
                      </a:cubicBezTo>
                      <a:cubicBezTo>
                        <a:pt x="44" y="312"/>
                        <a:pt x="44" y="312"/>
                        <a:pt x="44" y="312"/>
                      </a:cubicBezTo>
                      <a:cubicBezTo>
                        <a:pt x="37" y="311"/>
                        <a:pt x="37" y="311"/>
                        <a:pt x="37" y="311"/>
                      </a:cubicBezTo>
                      <a:cubicBezTo>
                        <a:pt x="32" y="306"/>
                        <a:pt x="32" y="306"/>
                        <a:pt x="32" y="306"/>
                      </a:cubicBezTo>
                      <a:cubicBezTo>
                        <a:pt x="28" y="309"/>
                        <a:pt x="28" y="309"/>
                        <a:pt x="28" y="309"/>
                      </a:cubicBezTo>
                      <a:cubicBezTo>
                        <a:pt x="24" y="306"/>
                        <a:pt x="24" y="306"/>
                        <a:pt x="24" y="306"/>
                      </a:cubicBezTo>
                      <a:cubicBezTo>
                        <a:pt x="21" y="301"/>
                        <a:pt x="21" y="301"/>
                        <a:pt x="21" y="301"/>
                      </a:cubicBezTo>
                      <a:cubicBezTo>
                        <a:pt x="20" y="297"/>
                        <a:pt x="20" y="297"/>
                        <a:pt x="20" y="297"/>
                      </a:cubicBezTo>
                      <a:cubicBezTo>
                        <a:pt x="15" y="292"/>
                        <a:pt x="15" y="292"/>
                        <a:pt x="15" y="292"/>
                      </a:cubicBezTo>
                      <a:cubicBezTo>
                        <a:pt x="13" y="292"/>
                        <a:pt x="13" y="292"/>
                        <a:pt x="13" y="292"/>
                      </a:cubicBezTo>
                      <a:cubicBezTo>
                        <a:pt x="13" y="291"/>
                        <a:pt x="13" y="291"/>
                        <a:pt x="13" y="291"/>
                      </a:cubicBezTo>
                      <a:cubicBezTo>
                        <a:pt x="12" y="285"/>
                        <a:pt x="12" y="285"/>
                        <a:pt x="12" y="285"/>
                      </a:cubicBezTo>
                      <a:cubicBezTo>
                        <a:pt x="15" y="283"/>
                        <a:pt x="15" y="283"/>
                        <a:pt x="15" y="283"/>
                      </a:cubicBezTo>
                      <a:cubicBezTo>
                        <a:pt x="17" y="280"/>
                        <a:pt x="17" y="280"/>
                        <a:pt x="17" y="280"/>
                      </a:cubicBezTo>
                      <a:cubicBezTo>
                        <a:pt x="19" y="277"/>
                        <a:pt x="19" y="277"/>
                        <a:pt x="19" y="277"/>
                      </a:cubicBezTo>
                      <a:cubicBezTo>
                        <a:pt x="18" y="273"/>
                        <a:pt x="18" y="273"/>
                        <a:pt x="18" y="273"/>
                      </a:cubicBezTo>
                      <a:cubicBezTo>
                        <a:pt x="18" y="273"/>
                        <a:pt x="14" y="273"/>
                        <a:pt x="13" y="272"/>
                      </a:cubicBezTo>
                      <a:cubicBezTo>
                        <a:pt x="12" y="272"/>
                        <a:pt x="9" y="270"/>
                        <a:pt x="9" y="270"/>
                      </a:cubicBezTo>
                      <a:cubicBezTo>
                        <a:pt x="8" y="265"/>
                        <a:pt x="8" y="265"/>
                        <a:pt x="8" y="265"/>
                      </a:cubicBezTo>
                      <a:cubicBezTo>
                        <a:pt x="6" y="262"/>
                        <a:pt x="6" y="262"/>
                        <a:pt x="6" y="262"/>
                      </a:cubicBezTo>
                      <a:cubicBezTo>
                        <a:pt x="5" y="257"/>
                        <a:pt x="5" y="257"/>
                        <a:pt x="5" y="257"/>
                      </a:cubicBezTo>
                      <a:cubicBezTo>
                        <a:pt x="6" y="252"/>
                        <a:pt x="6" y="252"/>
                        <a:pt x="6" y="252"/>
                      </a:cubicBezTo>
                      <a:cubicBezTo>
                        <a:pt x="6" y="252"/>
                        <a:pt x="6" y="252"/>
                        <a:pt x="6" y="252"/>
                      </a:cubicBezTo>
                      <a:cubicBezTo>
                        <a:pt x="6" y="252"/>
                        <a:pt x="6" y="252"/>
                        <a:pt x="6" y="252"/>
                      </a:cubicBezTo>
                      <a:cubicBezTo>
                        <a:pt x="7" y="252"/>
                        <a:pt x="7" y="252"/>
                        <a:pt x="7" y="252"/>
                      </a:cubicBezTo>
                      <a:cubicBezTo>
                        <a:pt x="8" y="250"/>
                        <a:pt x="8" y="250"/>
                        <a:pt x="8" y="250"/>
                      </a:cubicBezTo>
                      <a:cubicBezTo>
                        <a:pt x="8" y="249"/>
                        <a:pt x="8" y="249"/>
                        <a:pt x="8" y="249"/>
                      </a:cubicBezTo>
                      <a:cubicBezTo>
                        <a:pt x="8" y="249"/>
                        <a:pt x="9" y="248"/>
                        <a:pt x="10" y="248"/>
                      </a:cubicBezTo>
                      <a:cubicBezTo>
                        <a:pt x="10" y="248"/>
                        <a:pt x="11" y="248"/>
                        <a:pt x="11" y="248"/>
                      </a:cubicBezTo>
                      <a:cubicBezTo>
                        <a:pt x="12" y="248"/>
                        <a:pt x="12" y="245"/>
                        <a:pt x="12" y="245"/>
                      </a:cubicBezTo>
                      <a:cubicBezTo>
                        <a:pt x="14" y="245"/>
                        <a:pt x="14" y="245"/>
                        <a:pt x="14" y="245"/>
                      </a:cubicBezTo>
                      <a:cubicBezTo>
                        <a:pt x="14" y="245"/>
                        <a:pt x="15" y="244"/>
                        <a:pt x="15" y="244"/>
                      </a:cubicBezTo>
                      <a:cubicBezTo>
                        <a:pt x="15" y="243"/>
                        <a:pt x="15" y="242"/>
                        <a:pt x="15" y="242"/>
                      </a:cubicBezTo>
                      <a:cubicBezTo>
                        <a:pt x="15" y="242"/>
                        <a:pt x="16" y="240"/>
                        <a:pt x="16" y="239"/>
                      </a:cubicBezTo>
                      <a:cubicBezTo>
                        <a:pt x="16" y="238"/>
                        <a:pt x="15" y="237"/>
                        <a:pt x="15" y="237"/>
                      </a:cubicBezTo>
                      <a:cubicBezTo>
                        <a:pt x="15" y="237"/>
                        <a:pt x="14" y="235"/>
                        <a:pt x="13" y="235"/>
                      </a:cubicBezTo>
                      <a:cubicBezTo>
                        <a:pt x="13" y="235"/>
                        <a:pt x="11" y="235"/>
                        <a:pt x="11" y="235"/>
                      </a:cubicBezTo>
                      <a:cubicBezTo>
                        <a:pt x="10" y="235"/>
                        <a:pt x="9" y="233"/>
                        <a:pt x="9" y="233"/>
                      </a:cubicBezTo>
                      <a:cubicBezTo>
                        <a:pt x="9" y="233"/>
                        <a:pt x="10" y="232"/>
                        <a:pt x="10" y="231"/>
                      </a:cubicBezTo>
                      <a:cubicBezTo>
                        <a:pt x="11" y="231"/>
                        <a:pt x="11" y="228"/>
                        <a:pt x="11" y="228"/>
                      </a:cubicBezTo>
                      <a:cubicBezTo>
                        <a:pt x="11" y="228"/>
                        <a:pt x="10" y="227"/>
                        <a:pt x="9" y="227"/>
                      </a:cubicBezTo>
                      <a:cubicBezTo>
                        <a:pt x="9" y="227"/>
                        <a:pt x="7" y="227"/>
                        <a:pt x="7" y="227"/>
                      </a:cubicBezTo>
                      <a:cubicBezTo>
                        <a:pt x="7" y="224"/>
                        <a:pt x="7" y="224"/>
                        <a:pt x="7" y="224"/>
                      </a:cubicBezTo>
                      <a:cubicBezTo>
                        <a:pt x="7" y="224"/>
                        <a:pt x="5" y="223"/>
                        <a:pt x="4" y="223"/>
                      </a:cubicBezTo>
                      <a:cubicBezTo>
                        <a:pt x="4" y="223"/>
                        <a:pt x="4" y="222"/>
                        <a:pt x="3" y="222"/>
                      </a:cubicBezTo>
                      <a:cubicBezTo>
                        <a:pt x="4" y="222"/>
                        <a:pt x="4" y="222"/>
                        <a:pt x="4" y="222"/>
                      </a:cubicBezTo>
                      <a:cubicBezTo>
                        <a:pt x="4" y="222"/>
                        <a:pt x="4" y="222"/>
                        <a:pt x="4" y="222"/>
                      </a:cubicBezTo>
                      <a:cubicBezTo>
                        <a:pt x="4" y="221"/>
                        <a:pt x="3" y="220"/>
                        <a:pt x="3" y="219"/>
                      </a:cubicBezTo>
                      <a:cubicBezTo>
                        <a:pt x="3" y="219"/>
                        <a:pt x="4" y="219"/>
                        <a:pt x="4" y="219"/>
                      </a:cubicBezTo>
                      <a:cubicBezTo>
                        <a:pt x="4" y="219"/>
                        <a:pt x="4" y="218"/>
                        <a:pt x="5" y="217"/>
                      </a:cubicBezTo>
                      <a:cubicBezTo>
                        <a:pt x="5" y="217"/>
                        <a:pt x="5" y="217"/>
                        <a:pt x="6" y="217"/>
                      </a:cubicBezTo>
                      <a:cubicBezTo>
                        <a:pt x="6" y="217"/>
                        <a:pt x="6" y="216"/>
                        <a:pt x="7" y="216"/>
                      </a:cubicBezTo>
                      <a:cubicBezTo>
                        <a:pt x="7" y="215"/>
                        <a:pt x="7" y="213"/>
                        <a:pt x="7" y="213"/>
                      </a:cubicBezTo>
                      <a:cubicBezTo>
                        <a:pt x="7" y="213"/>
                        <a:pt x="7" y="213"/>
                        <a:pt x="6" y="212"/>
                      </a:cubicBezTo>
                      <a:cubicBezTo>
                        <a:pt x="5" y="212"/>
                        <a:pt x="5" y="212"/>
                        <a:pt x="5" y="211"/>
                      </a:cubicBezTo>
                      <a:cubicBezTo>
                        <a:pt x="4" y="211"/>
                        <a:pt x="5" y="210"/>
                        <a:pt x="5" y="210"/>
                      </a:cubicBezTo>
                      <a:cubicBezTo>
                        <a:pt x="5" y="210"/>
                        <a:pt x="3" y="209"/>
                        <a:pt x="3" y="209"/>
                      </a:cubicBezTo>
                      <a:cubicBezTo>
                        <a:pt x="3" y="209"/>
                        <a:pt x="1" y="209"/>
                        <a:pt x="1" y="209"/>
                      </a:cubicBezTo>
                      <a:cubicBezTo>
                        <a:pt x="1" y="209"/>
                        <a:pt x="1" y="209"/>
                        <a:pt x="1" y="209"/>
                      </a:cubicBezTo>
                      <a:cubicBezTo>
                        <a:pt x="1" y="207"/>
                        <a:pt x="1" y="207"/>
                        <a:pt x="1" y="207"/>
                      </a:cubicBezTo>
                      <a:cubicBezTo>
                        <a:pt x="0" y="205"/>
                        <a:pt x="0" y="205"/>
                        <a:pt x="0" y="205"/>
                      </a:cubicBezTo>
                      <a:cubicBezTo>
                        <a:pt x="1" y="204"/>
                        <a:pt x="1" y="204"/>
                        <a:pt x="1" y="204"/>
                      </a:cubicBezTo>
                      <a:cubicBezTo>
                        <a:pt x="3" y="206"/>
                        <a:pt x="3" y="206"/>
                        <a:pt x="3" y="206"/>
                      </a:cubicBezTo>
                      <a:cubicBezTo>
                        <a:pt x="3" y="206"/>
                        <a:pt x="3" y="205"/>
                        <a:pt x="3" y="204"/>
                      </a:cubicBezTo>
                      <a:cubicBezTo>
                        <a:pt x="4" y="204"/>
                        <a:pt x="5" y="202"/>
                        <a:pt x="5" y="202"/>
                      </a:cubicBezTo>
                      <a:cubicBezTo>
                        <a:pt x="7" y="202"/>
                        <a:pt x="7" y="202"/>
                        <a:pt x="7" y="202"/>
                      </a:cubicBezTo>
                      <a:cubicBezTo>
                        <a:pt x="7" y="202"/>
                        <a:pt x="11" y="202"/>
                        <a:pt x="11" y="202"/>
                      </a:cubicBezTo>
                      <a:cubicBezTo>
                        <a:pt x="12" y="201"/>
                        <a:pt x="10" y="199"/>
                        <a:pt x="10" y="199"/>
                      </a:cubicBezTo>
                      <a:cubicBezTo>
                        <a:pt x="10" y="199"/>
                        <a:pt x="8" y="201"/>
                        <a:pt x="8" y="201"/>
                      </a:cubicBezTo>
                      <a:cubicBezTo>
                        <a:pt x="7" y="201"/>
                        <a:pt x="7" y="198"/>
                        <a:pt x="7" y="198"/>
                      </a:cubicBezTo>
                      <a:cubicBezTo>
                        <a:pt x="7" y="196"/>
                        <a:pt x="7" y="196"/>
                        <a:pt x="7" y="196"/>
                      </a:cubicBezTo>
                      <a:cubicBezTo>
                        <a:pt x="9" y="195"/>
                        <a:pt x="9" y="195"/>
                        <a:pt x="9" y="195"/>
                      </a:cubicBezTo>
                      <a:cubicBezTo>
                        <a:pt x="10" y="193"/>
                        <a:pt x="10" y="193"/>
                        <a:pt x="10" y="193"/>
                      </a:cubicBezTo>
                      <a:cubicBezTo>
                        <a:pt x="10" y="193"/>
                        <a:pt x="12" y="191"/>
                        <a:pt x="12" y="191"/>
                      </a:cubicBezTo>
                      <a:cubicBezTo>
                        <a:pt x="13" y="190"/>
                        <a:pt x="12" y="188"/>
                        <a:pt x="12" y="188"/>
                      </a:cubicBezTo>
                      <a:cubicBezTo>
                        <a:pt x="13" y="185"/>
                        <a:pt x="13" y="185"/>
                        <a:pt x="13" y="185"/>
                      </a:cubicBezTo>
                      <a:cubicBezTo>
                        <a:pt x="11" y="182"/>
                        <a:pt x="11" y="182"/>
                        <a:pt x="11" y="182"/>
                      </a:cubicBezTo>
                      <a:cubicBezTo>
                        <a:pt x="11" y="179"/>
                        <a:pt x="11" y="179"/>
                        <a:pt x="11" y="179"/>
                      </a:cubicBezTo>
                      <a:cubicBezTo>
                        <a:pt x="9" y="176"/>
                        <a:pt x="9" y="176"/>
                        <a:pt x="9" y="176"/>
                      </a:cubicBezTo>
                      <a:cubicBezTo>
                        <a:pt x="9" y="175"/>
                        <a:pt x="9" y="175"/>
                        <a:pt x="9" y="175"/>
                      </a:cubicBezTo>
                      <a:cubicBezTo>
                        <a:pt x="8" y="173"/>
                        <a:pt x="8" y="173"/>
                        <a:pt x="8" y="173"/>
                      </a:cubicBezTo>
                      <a:cubicBezTo>
                        <a:pt x="8" y="171"/>
                        <a:pt x="8" y="171"/>
                        <a:pt x="8" y="171"/>
                      </a:cubicBezTo>
                      <a:cubicBezTo>
                        <a:pt x="8" y="171"/>
                        <a:pt x="6" y="169"/>
                        <a:pt x="5" y="169"/>
                      </a:cubicBezTo>
                      <a:cubicBezTo>
                        <a:pt x="4" y="169"/>
                        <a:pt x="5" y="168"/>
                        <a:pt x="5" y="168"/>
                      </a:cubicBezTo>
                      <a:cubicBezTo>
                        <a:pt x="5" y="166"/>
                        <a:pt x="5" y="166"/>
                        <a:pt x="5" y="166"/>
                      </a:cubicBezTo>
                      <a:cubicBezTo>
                        <a:pt x="5" y="163"/>
                        <a:pt x="5" y="163"/>
                        <a:pt x="5" y="163"/>
                      </a:cubicBezTo>
                      <a:cubicBezTo>
                        <a:pt x="10" y="164"/>
                        <a:pt x="10" y="164"/>
                        <a:pt x="10" y="164"/>
                      </a:cubicBezTo>
                      <a:cubicBezTo>
                        <a:pt x="12" y="164"/>
                        <a:pt x="12" y="164"/>
                        <a:pt x="12" y="164"/>
                      </a:cubicBezTo>
                      <a:cubicBezTo>
                        <a:pt x="9" y="162"/>
                        <a:pt x="9" y="162"/>
                        <a:pt x="9" y="162"/>
                      </a:cubicBezTo>
                      <a:cubicBezTo>
                        <a:pt x="12" y="161"/>
                        <a:pt x="12" y="161"/>
                        <a:pt x="12" y="161"/>
                      </a:cubicBezTo>
                      <a:cubicBezTo>
                        <a:pt x="14" y="163"/>
                        <a:pt x="14" y="163"/>
                        <a:pt x="14" y="163"/>
                      </a:cubicBezTo>
                      <a:cubicBezTo>
                        <a:pt x="17" y="164"/>
                        <a:pt x="17" y="164"/>
                        <a:pt x="17" y="164"/>
                      </a:cubicBezTo>
                      <a:cubicBezTo>
                        <a:pt x="18" y="166"/>
                        <a:pt x="18" y="166"/>
                        <a:pt x="18" y="166"/>
                      </a:cubicBezTo>
                      <a:cubicBezTo>
                        <a:pt x="19" y="164"/>
                        <a:pt x="19" y="164"/>
                        <a:pt x="19" y="164"/>
                      </a:cubicBezTo>
                      <a:cubicBezTo>
                        <a:pt x="22" y="164"/>
                        <a:pt x="22" y="164"/>
                        <a:pt x="22" y="164"/>
                      </a:cubicBezTo>
                      <a:cubicBezTo>
                        <a:pt x="23" y="164"/>
                        <a:pt x="23" y="164"/>
                        <a:pt x="23" y="164"/>
                      </a:cubicBezTo>
                      <a:cubicBezTo>
                        <a:pt x="26" y="163"/>
                        <a:pt x="26" y="163"/>
                        <a:pt x="26" y="163"/>
                      </a:cubicBezTo>
                      <a:cubicBezTo>
                        <a:pt x="29" y="163"/>
                        <a:pt x="29" y="163"/>
                        <a:pt x="29" y="163"/>
                      </a:cubicBezTo>
                      <a:cubicBezTo>
                        <a:pt x="30" y="161"/>
                        <a:pt x="30" y="161"/>
                        <a:pt x="30" y="161"/>
                      </a:cubicBezTo>
                      <a:cubicBezTo>
                        <a:pt x="32" y="160"/>
                        <a:pt x="32" y="160"/>
                        <a:pt x="32" y="160"/>
                      </a:cubicBezTo>
                      <a:cubicBezTo>
                        <a:pt x="33" y="159"/>
                        <a:pt x="33" y="159"/>
                        <a:pt x="33" y="159"/>
                      </a:cubicBezTo>
                      <a:cubicBezTo>
                        <a:pt x="30" y="157"/>
                        <a:pt x="30" y="157"/>
                        <a:pt x="30" y="157"/>
                      </a:cubicBezTo>
                      <a:cubicBezTo>
                        <a:pt x="28" y="154"/>
                        <a:pt x="28" y="154"/>
                        <a:pt x="28" y="154"/>
                      </a:cubicBezTo>
                      <a:cubicBezTo>
                        <a:pt x="30" y="154"/>
                        <a:pt x="30" y="154"/>
                        <a:pt x="30" y="154"/>
                      </a:cubicBezTo>
                      <a:cubicBezTo>
                        <a:pt x="30" y="151"/>
                        <a:pt x="30" y="151"/>
                        <a:pt x="30" y="151"/>
                      </a:cubicBezTo>
                      <a:cubicBezTo>
                        <a:pt x="30" y="151"/>
                        <a:pt x="34" y="152"/>
                        <a:pt x="34" y="152"/>
                      </a:cubicBezTo>
                      <a:cubicBezTo>
                        <a:pt x="34" y="151"/>
                        <a:pt x="34" y="151"/>
                        <a:pt x="35" y="150"/>
                      </a:cubicBezTo>
                      <a:cubicBezTo>
                        <a:pt x="36" y="150"/>
                        <a:pt x="38" y="149"/>
                        <a:pt x="38" y="149"/>
                      </a:cubicBezTo>
                      <a:cubicBezTo>
                        <a:pt x="39" y="147"/>
                        <a:pt x="39" y="147"/>
                        <a:pt x="39" y="147"/>
                      </a:cubicBezTo>
                      <a:cubicBezTo>
                        <a:pt x="39" y="147"/>
                        <a:pt x="41" y="146"/>
                        <a:pt x="41" y="146"/>
                      </a:cubicBezTo>
                      <a:cubicBezTo>
                        <a:pt x="42" y="146"/>
                        <a:pt x="41" y="145"/>
                        <a:pt x="41" y="144"/>
                      </a:cubicBezTo>
                      <a:cubicBezTo>
                        <a:pt x="41" y="143"/>
                        <a:pt x="41" y="141"/>
                        <a:pt x="41" y="141"/>
                      </a:cubicBezTo>
                      <a:cubicBezTo>
                        <a:pt x="42" y="139"/>
                        <a:pt x="42" y="139"/>
                        <a:pt x="42" y="139"/>
                      </a:cubicBezTo>
                      <a:cubicBezTo>
                        <a:pt x="40" y="135"/>
                        <a:pt x="40" y="135"/>
                        <a:pt x="40" y="135"/>
                      </a:cubicBezTo>
                      <a:cubicBezTo>
                        <a:pt x="37" y="136"/>
                        <a:pt x="37" y="136"/>
                        <a:pt x="37" y="136"/>
                      </a:cubicBezTo>
                      <a:cubicBezTo>
                        <a:pt x="35" y="134"/>
                        <a:pt x="35" y="134"/>
                        <a:pt x="35" y="134"/>
                      </a:cubicBezTo>
                      <a:cubicBezTo>
                        <a:pt x="35" y="134"/>
                        <a:pt x="32" y="134"/>
                        <a:pt x="32" y="133"/>
                      </a:cubicBezTo>
                      <a:cubicBezTo>
                        <a:pt x="31" y="132"/>
                        <a:pt x="30" y="130"/>
                        <a:pt x="30" y="130"/>
                      </a:cubicBezTo>
                      <a:cubicBezTo>
                        <a:pt x="30" y="128"/>
                        <a:pt x="30" y="128"/>
                        <a:pt x="30" y="128"/>
                      </a:cubicBezTo>
                      <a:cubicBezTo>
                        <a:pt x="33" y="128"/>
                        <a:pt x="33" y="128"/>
                        <a:pt x="33" y="128"/>
                      </a:cubicBezTo>
                      <a:cubicBezTo>
                        <a:pt x="31" y="127"/>
                        <a:pt x="31" y="127"/>
                        <a:pt x="31" y="127"/>
                      </a:cubicBezTo>
                      <a:cubicBezTo>
                        <a:pt x="31" y="124"/>
                        <a:pt x="31" y="124"/>
                        <a:pt x="31" y="124"/>
                      </a:cubicBezTo>
                      <a:cubicBezTo>
                        <a:pt x="35" y="123"/>
                        <a:pt x="35" y="123"/>
                        <a:pt x="35" y="123"/>
                      </a:cubicBezTo>
                      <a:cubicBezTo>
                        <a:pt x="35" y="123"/>
                        <a:pt x="40" y="125"/>
                        <a:pt x="41" y="125"/>
                      </a:cubicBezTo>
                      <a:cubicBezTo>
                        <a:pt x="42" y="126"/>
                        <a:pt x="42" y="122"/>
                        <a:pt x="42" y="122"/>
                      </a:cubicBezTo>
                      <a:cubicBezTo>
                        <a:pt x="43" y="117"/>
                        <a:pt x="43" y="117"/>
                        <a:pt x="43" y="117"/>
                      </a:cubicBezTo>
                      <a:cubicBezTo>
                        <a:pt x="43" y="117"/>
                        <a:pt x="42" y="113"/>
                        <a:pt x="43" y="112"/>
                      </a:cubicBezTo>
                      <a:cubicBezTo>
                        <a:pt x="44" y="112"/>
                        <a:pt x="47" y="106"/>
                        <a:pt x="47" y="106"/>
                      </a:cubicBezTo>
                      <a:cubicBezTo>
                        <a:pt x="47" y="106"/>
                        <a:pt x="47" y="100"/>
                        <a:pt x="47" y="99"/>
                      </a:cubicBezTo>
                      <a:cubicBezTo>
                        <a:pt x="47" y="98"/>
                        <a:pt x="47" y="94"/>
                        <a:pt x="47" y="94"/>
                      </a:cubicBezTo>
                      <a:cubicBezTo>
                        <a:pt x="47" y="93"/>
                        <a:pt x="47" y="93"/>
                        <a:pt x="47" y="93"/>
                      </a:cubicBezTo>
                      <a:cubicBezTo>
                        <a:pt x="47" y="93"/>
                        <a:pt x="44" y="92"/>
                        <a:pt x="43" y="92"/>
                      </a:cubicBezTo>
                      <a:cubicBezTo>
                        <a:pt x="43" y="91"/>
                        <a:pt x="44" y="89"/>
                        <a:pt x="44" y="89"/>
                      </a:cubicBezTo>
                      <a:cubicBezTo>
                        <a:pt x="39" y="88"/>
                        <a:pt x="39" y="88"/>
                        <a:pt x="39" y="88"/>
                      </a:cubicBezTo>
                      <a:cubicBezTo>
                        <a:pt x="40" y="85"/>
                        <a:pt x="41" y="80"/>
                        <a:pt x="42" y="80"/>
                      </a:cubicBezTo>
                      <a:cubicBezTo>
                        <a:pt x="43" y="79"/>
                        <a:pt x="45" y="77"/>
                        <a:pt x="45" y="77"/>
                      </a:cubicBezTo>
                      <a:cubicBezTo>
                        <a:pt x="45" y="73"/>
                        <a:pt x="45" y="73"/>
                        <a:pt x="45" y="73"/>
                      </a:cubicBezTo>
                      <a:cubicBezTo>
                        <a:pt x="43" y="70"/>
                        <a:pt x="43" y="70"/>
                        <a:pt x="43" y="70"/>
                      </a:cubicBezTo>
                      <a:cubicBezTo>
                        <a:pt x="45" y="67"/>
                        <a:pt x="45" y="67"/>
                        <a:pt x="45" y="67"/>
                      </a:cubicBezTo>
                      <a:cubicBezTo>
                        <a:pt x="45" y="67"/>
                        <a:pt x="49" y="65"/>
                        <a:pt x="49" y="65"/>
                      </a:cubicBezTo>
                      <a:cubicBezTo>
                        <a:pt x="50" y="65"/>
                        <a:pt x="56" y="65"/>
                        <a:pt x="56" y="65"/>
                      </a:cubicBezTo>
                      <a:cubicBezTo>
                        <a:pt x="60" y="63"/>
                        <a:pt x="60" y="63"/>
                        <a:pt x="60" y="63"/>
                      </a:cubicBezTo>
                      <a:cubicBezTo>
                        <a:pt x="66" y="63"/>
                        <a:pt x="66" y="63"/>
                        <a:pt x="66" y="63"/>
                      </a:cubicBezTo>
                      <a:cubicBezTo>
                        <a:pt x="70" y="62"/>
                        <a:pt x="70" y="62"/>
                        <a:pt x="70" y="62"/>
                      </a:cubicBezTo>
                      <a:cubicBezTo>
                        <a:pt x="73" y="64"/>
                        <a:pt x="73" y="64"/>
                        <a:pt x="73" y="64"/>
                      </a:cubicBezTo>
                      <a:cubicBezTo>
                        <a:pt x="73" y="64"/>
                        <a:pt x="75" y="66"/>
                        <a:pt x="75" y="67"/>
                      </a:cubicBezTo>
                      <a:cubicBezTo>
                        <a:pt x="75" y="67"/>
                        <a:pt x="77" y="69"/>
                        <a:pt x="77" y="70"/>
                      </a:cubicBezTo>
                      <a:cubicBezTo>
                        <a:pt x="76" y="70"/>
                        <a:pt x="78" y="73"/>
                        <a:pt x="78" y="73"/>
                      </a:cubicBezTo>
                      <a:cubicBezTo>
                        <a:pt x="78" y="73"/>
                        <a:pt x="77" y="75"/>
                        <a:pt x="77" y="76"/>
                      </a:cubicBezTo>
                      <a:cubicBezTo>
                        <a:pt x="77" y="76"/>
                        <a:pt x="78" y="80"/>
                        <a:pt x="78" y="80"/>
                      </a:cubicBezTo>
                      <a:cubicBezTo>
                        <a:pt x="78" y="81"/>
                        <a:pt x="80" y="82"/>
                        <a:pt x="80" y="82"/>
                      </a:cubicBezTo>
                      <a:cubicBezTo>
                        <a:pt x="82" y="81"/>
                        <a:pt x="82" y="81"/>
                        <a:pt x="82" y="81"/>
                      </a:cubicBezTo>
                      <a:cubicBezTo>
                        <a:pt x="83" y="79"/>
                        <a:pt x="83" y="79"/>
                        <a:pt x="83" y="79"/>
                      </a:cubicBezTo>
                      <a:cubicBezTo>
                        <a:pt x="81" y="76"/>
                        <a:pt x="81" y="76"/>
                        <a:pt x="81" y="76"/>
                      </a:cubicBezTo>
                      <a:cubicBezTo>
                        <a:pt x="80" y="76"/>
                        <a:pt x="80" y="76"/>
                        <a:pt x="80" y="76"/>
                      </a:cubicBezTo>
                      <a:cubicBezTo>
                        <a:pt x="81" y="72"/>
                        <a:pt x="81" y="72"/>
                        <a:pt x="81" y="72"/>
                      </a:cubicBezTo>
                      <a:cubicBezTo>
                        <a:pt x="81" y="72"/>
                        <a:pt x="83" y="71"/>
                        <a:pt x="84" y="72"/>
                      </a:cubicBezTo>
                      <a:cubicBezTo>
                        <a:pt x="85" y="72"/>
                        <a:pt x="88" y="75"/>
                        <a:pt x="88" y="75"/>
                      </a:cubicBezTo>
                      <a:cubicBezTo>
                        <a:pt x="90" y="76"/>
                        <a:pt x="90" y="76"/>
                        <a:pt x="90" y="76"/>
                      </a:cubicBezTo>
                      <a:cubicBezTo>
                        <a:pt x="90" y="76"/>
                        <a:pt x="93" y="74"/>
                        <a:pt x="93" y="74"/>
                      </a:cubicBezTo>
                      <a:cubicBezTo>
                        <a:pt x="93" y="74"/>
                        <a:pt x="90" y="70"/>
                        <a:pt x="90" y="70"/>
                      </a:cubicBezTo>
                      <a:cubicBezTo>
                        <a:pt x="91" y="65"/>
                        <a:pt x="91" y="65"/>
                        <a:pt x="91" y="65"/>
                      </a:cubicBezTo>
                      <a:cubicBezTo>
                        <a:pt x="92" y="61"/>
                        <a:pt x="92" y="61"/>
                        <a:pt x="92" y="61"/>
                      </a:cubicBezTo>
                      <a:cubicBezTo>
                        <a:pt x="96" y="58"/>
                        <a:pt x="96" y="58"/>
                        <a:pt x="96" y="58"/>
                      </a:cubicBezTo>
                      <a:cubicBezTo>
                        <a:pt x="99" y="60"/>
                        <a:pt x="99" y="60"/>
                        <a:pt x="99" y="60"/>
                      </a:cubicBezTo>
                      <a:cubicBezTo>
                        <a:pt x="104" y="60"/>
                        <a:pt x="104" y="60"/>
                        <a:pt x="104" y="60"/>
                      </a:cubicBezTo>
                      <a:cubicBezTo>
                        <a:pt x="109" y="60"/>
                        <a:pt x="109" y="60"/>
                        <a:pt x="109" y="60"/>
                      </a:cubicBezTo>
                      <a:cubicBezTo>
                        <a:pt x="112" y="59"/>
                        <a:pt x="112" y="59"/>
                        <a:pt x="112" y="59"/>
                      </a:cubicBezTo>
                      <a:cubicBezTo>
                        <a:pt x="116" y="59"/>
                        <a:pt x="116" y="59"/>
                        <a:pt x="116" y="59"/>
                      </a:cubicBezTo>
                      <a:cubicBezTo>
                        <a:pt x="116" y="59"/>
                        <a:pt x="114" y="57"/>
                        <a:pt x="114" y="57"/>
                      </a:cubicBezTo>
                      <a:cubicBezTo>
                        <a:pt x="113" y="57"/>
                        <a:pt x="111" y="55"/>
                        <a:pt x="111" y="55"/>
                      </a:cubicBezTo>
                      <a:cubicBezTo>
                        <a:pt x="111" y="55"/>
                        <a:pt x="110" y="57"/>
                        <a:pt x="110" y="57"/>
                      </a:cubicBezTo>
                      <a:cubicBezTo>
                        <a:pt x="109" y="58"/>
                        <a:pt x="106" y="58"/>
                        <a:pt x="106" y="57"/>
                      </a:cubicBezTo>
                      <a:cubicBezTo>
                        <a:pt x="105" y="57"/>
                        <a:pt x="104" y="54"/>
                        <a:pt x="104" y="54"/>
                      </a:cubicBezTo>
                      <a:cubicBezTo>
                        <a:pt x="104" y="51"/>
                        <a:pt x="104" y="51"/>
                        <a:pt x="104" y="51"/>
                      </a:cubicBezTo>
                      <a:cubicBezTo>
                        <a:pt x="106" y="50"/>
                        <a:pt x="106" y="50"/>
                        <a:pt x="106" y="50"/>
                      </a:cubicBezTo>
                      <a:cubicBezTo>
                        <a:pt x="103" y="47"/>
                        <a:pt x="103" y="47"/>
                        <a:pt x="103" y="47"/>
                      </a:cubicBezTo>
                      <a:cubicBezTo>
                        <a:pt x="103" y="47"/>
                        <a:pt x="103" y="44"/>
                        <a:pt x="104" y="43"/>
                      </a:cubicBezTo>
                      <a:cubicBezTo>
                        <a:pt x="105" y="43"/>
                        <a:pt x="105" y="41"/>
                        <a:pt x="105" y="41"/>
                      </a:cubicBezTo>
                      <a:cubicBezTo>
                        <a:pt x="102" y="41"/>
                        <a:pt x="102" y="41"/>
                        <a:pt x="102" y="41"/>
                      </a:cubicBezTo>
                      <a:cubicBezTo>
                        <a:pt x="102" y="41"/>
                        <a:pt x="101" y="41"/>
                        <a:pt x="101" y="39"/>
                      </a:cubicBezTo>
                      <a:cubicBezTo>
                        <a:pt x="102" y="37"/>
                        <a:pt x="102" y="36"/>
                        <a:pt x="102" y="36"/>
                      </a:cubicBezTo>
                      <a:cubicBezTo>
                        <a:pt x="98" y="36"/>
                        <a:pt x="98" y="36"/>
                        <a:pt x="98" y="36"/>
                      </a:cubicBezTo>
                      <a:cubicBezTo>
                        <a:pt x="96" y="36"/>
                        <a:pt x="96" y="36"/>
                        <a:pt x="96" y="36"/>
                      </a:cubicBezTo>
                      <a:cubicBezTo>
                        <a:pt x="93" y="33"/>
                        <a:pt x="93" y="33"/>
                        <a:pt x="93" y="33"/>
                      </a:cubicBezTo>
                      <a:cubicBezTo>
                        <a:pt x="94" y="30"/>
                        <a:pt x="94" y="30"/>
                        <a:pt x="94" y="30"/>
                      </a:cubicBezTo>
                      <a:cubicBezTo>
                        <a:pt x="100" y="29"/>
                        <a:pt x="100" y="29"/>
                        <a:pt x="100" y="29"/>
                      </a:cubicBezTo>
                      <a:cubicBezTo>
                        <a:pt x="107" y="26"/>
                        <a:pt x="107" y="26"/>
                        <a:pt x="107" y="26"/>
                      </a:cubicBezTo>
                      <a:cubicBezTo>
                        <a:pt x="106" y="24"/>
                        <a:pt x="106" y="24"/>
                        <a:pt x="106" y="24"/>
                      </a:cubicBezTo>
                      <a:cubicBezTo>
                        <a:pt x="104" y="25"/>
                        <a:pt x="104" y="25"/>
                        <a:pt x="104" y="25"/>
                      </a:cubicBezTo>
                      <a:cubicBezTo>
                        <a:pt x="104" y="25"/>
                        <a:pt x="103" y="26"/>
                        <a:pt x="103" y="26"/>
                      </a:cubicBezTo>
                      <a:cubicBezTo>
                        <a:pt x="102" y="26"/>
                        <a:pt x="100" y="26"/>
                        <a:pt x="100" y="26"/>
                      </a:cubicBezTo>
                      <a:cubicBezTo>
                        <a:pt x="100" y="24"/>
                        <a:pt x="100" y="24"/>
                        <a:pt x="100" y="24"/>
                      </a:cubicBezTo>
                      <a:cubicBezTo>
                        <a:pt x="103" y="24"/>
                        <a:pt x="103" y="24"/>
                        <a:pt x="103" y="24"/>
                      </a:cubicBezTo>
                      <a:cubicBezTo>
                        <a:pt x="105" y="23"/>
                        <a:pt x="105" y="23"/>
                        <a:pt x="105" y="23"/>
                      </a:cubicBezTo>
                      <a:cubicBezTo>
                        <a:pt x="103" y="22"/>
                        <a:pt x="103" y="22"/>
                        <a:pt x="103" y="22"/>
                      </a:cubicBezTo>
                      <a:cubicBezTo>
                        <a:pt x="100" y="18"/>
                        <a:pt x="100" y="18"/>
                        <a:pt x="100" y="18"/>
                      </a:cubicBezTo>
                      <a:cubicBezTo>
                        <a:pt x="99" y="15"/>
                        <a:pt x="99" y="15"/>
                        <a:pt x="99" y="15"/>
                      </a:cubicBezTo>
                      <a:cubicBezTo>
                        <a:pt x="97" y="14"/>
                        <a:pt x="97" y="14"/>
                        <a:pt x="97" y="14"/>
                      </a:cubicBezTo>
                      <a:cubicBezTo>
                        <a:pt x="95" y="12"/>
                        <a:pt x="95" y="12"/>
                        <a:pt x="95" y="12"/>
                      </a:cubicBezTo>
                      <a:cubicBezTo>
                        <a:pt x="95" y="9"/>
                        <a:pt x="95" y="9"/>
                        <a:pt x="95" y="9"/>
                      </a:cubicBezTo>
                      <a:cubicBezTo>
                        <a:pt x="94" y="1"/>
                        <a:pt x="94" y="1"/>
                        <a:pt x="94" y="1"/>
                      </a:cubicBezTo>
                      <a:cubicBezTo>
                        <a:pt x="97" y="1"/>
                        <a:pt x="97" y="1"/>
                        <a:pt x="97" y="1"/>
                      </a:cubicBezTo>
                      <a:cubicBezTo>
                        <a:pt x="99" y="0"/>
                        <a:pt x="99" y="0"/>
                        <a:pt x="99" y="0"/>
                      </a:cubicBezTo>
                      <a:cubicBezTo>
                        <a:pt x="99" y="0"/>
                        <a:pt x="104" y="2"/>
                        <a:pt x="105" y="2"/>
                      </a:cubicBezTo>
                      <a:cubicBezTo>
                        <a:pt x="106" y="2"/>
                        <a:pt x="108" y="3"/>
                        <a:pt x="108" y="3"/>
                      </a:cubicBezTo>
                      <a:cubicBezTo>
                        <a:pt x="112" y="5"/>
                        <a:pt x="112" y="5"/>
                        <a:pt x="112" y="5"/>
                      </a:cubicBezTo>
                      <a:cubicBezTo>
                        <a:pt x="115" y="6"/>
                        <a:pt x="115" y="6"/>
                        <a:pt x="115" y="6"/>
                      </a:cubicBezTo>
                      <a:cubicBezTo>
                        <a:pt x="115" y="6"/>
                        <a:pt x="116" y="6"/>
                        <a:pt x="116" y="6"/>
                      </a:cubicBezTo>
                      <a:cubicBezTo>
                        <a:pt x="117" y="6"/>
                        <a:pt x="119" y="5"/>
                        <a:pt x="119" y="5"/>
                      </a:cubicBezTo>
                      <a:cubicBezTo>
                        <a:pt x="119" y="5"/>
                        <a:pt x="122" y="3"/>
                        <a:pt x="123" y="3"/>
                      </a:cubicBezTo>
                      <a:cubicBezTo>
                        <a:pt x="123" y="2"/>
                        <a:pt x="124" y="2"/>
                        <a:pt x="124" y="2"/>
                      </a:cubicBezTo>
                      <a:cubicBezTo>
                        <a:pt x="126" y="6"/>
                        <a:pt x="126" y="6"/>
                        <a:pt x="126" y="6"/>
                      </a:cubicBezTo>
                      <a:cubicBezTo>
                        <a:pt x="128" y="4"/>
                        <a:pt x="128" y="4"/>
                        <a:pt x="128" y="4"/>
                      </a:cubicBezTo>
                      <a:cubicBezTo>
                        <a:pt x="129" y="2"/>
                        <a:pt x="129" y="2"/>
                        <a:pt x="129" y="2"/>
                      </a:cubicBezTo>
                      <a:cubicBezTo>
                        <a:pt x="137" y="11"/>
                        <a:pt x="137" y="11"/>
                        <a:pt x="137" y="11"/>
                      </a:cubicBezTo>
                      <a:cubicBezTo>
                        <a:pt x="138" y="15"/>
                        <a:pt x="138" y="15"/>
                        <a:pt x="138" y="15"/>
                      </a:cubicBezTo>
                      <a:cubicBezTo>
                        <a:pt x="138" y="15"/>
                        <a:pt x="138" y="18"/>
                        <a:pt x="138" y="18"/>
                      </a:cubicBezTo>
                      <a:cubicBezTo>
                        <a:pt x="137" y="18"/>
                        <a:pt x="136" y="22"/>
                        <a:pt x="136" y="22"/>
                      </a:cubicBezTo>
                      <a:cubicBezTo>
                        <a:pt x="136" y="25"/>
                        <a:pt x="136" y="25"/>
                        <a:pt x="136" y="25"/>
                      </a:cubicBezTo>
                      <a:cubicBezTo>
                        <a:pt x="138" y="26"/>
                        <a:pt x="138" y="26"/>
                        <a:pt x="138" y="26"/>
                      </a:cubicBezTo>
                      <a:cubicBezTo>
                        <a:pt x="141" y="26"/>
                        <a:pt x="141" y="26"/>
                        <a:pt x="141" y="26"/>
                      </a:cubicBezTo>
                      <a:cubicBezTo>
                        <a:pt x="143" y="28"/>
                        <a:pt x="143" y="28"/>
                        <a:pt x="143" y="28"/>
                      </a:cubicBezTo>
                      <a:cubicBezTo>
                        <a:pt x="144" y="29"/>
                        <a:pt x="144" y="29"/>
                        <a:pt x="144" y="29"/>
                      </a:cubicBezTo>
                      <a:cubicBezTo>
                        <a:pt x="147" y="29"/>
                        <a:pt x="147" y="29"/>
                        <a:pt x="147" y="29"/>
                      </a:cubicBezTo>
                      <a:cubicBezTo>
                        <a:pt x="148" y="28"/>
                        <a:pt x="148" y="28"/>
                        <a:pt x="148" y="28"/>
                      </a:cubicBezTo>
                      <a:cubicBezTo>
                        <a:pt x="152" y="29"/>
                        <a:pt x="152" y="29"/>
                        <a:pt x="152" y="29"/>
                      </a:cubicBezTo>
                      <a:cubicBezTo>
                        <a:pt x="155" y="31"/>
                        <a:pt x="155" y="31"/>
                        <a:pt x="155" y="31"/>
                      </a:cubicBezTo>
                      <a:cubicBezTo>
                        <a:pt x="158" y="33"/>
                        <a:pt x="158" y="33"/>
                        <a:pt x="158" y="33"/>
                      </a:cubicBezTo>
                      <a:cubicBezTo>
                        <a:pt x="163" y="35"/>
                        <a:pt x="163" y="35"/>
                        <a:pt x="163" y="35"/>
                      </a:cubicBezTo>
                      <a:cubicBezTo>
                        <a:pt x="164" y="32"/>
                        <a:pt x="164" y="32"/>
                        <a:pt x="164" y="32"/>
                      </a:cubicBezTo>
                      <a:cubicBezTo>
                        <a:pt x="165" y="31"/>
                        <a:pt x="165" y="31"/>
                        <a:pt x="165" y="31"/>
                      </a:cubicBezTo>
                      <a:cubicBezTo>
                        <a:pt x="168" y="31"/>
                        <a:pt x="168" y="31"/>
                        <a:pt x="168" y="31"/>
                      </a:cubicBezTo>
                      <a:cubicBezTo>
                        <a:pt x="170" y="30"/>
                        <a:pt x="170" y="30"/>
                        <a:pt x="170" y="30"/>
                      </a:cubicBezTo>
                      <a:cubicBezTo>
                        <a:pt x="171" y="29"/>
                        <a:pt x="171" y="29"/>
                        <a:pt x="171" y="29"/>
                      </a:cubicBezTo>
                      <a:cubicBezTo>
                        <a:pt x="168" y="26"/>
                        <a:pt x="168" y="26"/>
                        <a:pt x="168" y="26"/>
                      </a:cubicBezTo>
                      <a:cubicBezTo>
                        <a:pt x="168" y="23"/>
                        <a:pt x="168" y="23"/>
                        <a:pt x="168" y="23"/>
                      </a:cubicBezTo>
                      <a:cubicBezTo>
                        <a:pt x="168" y="23"/>
                        <a:pt x="170" y="21"/>
                        <a:pt x="170" y="21"/>
                      </a:cubicBezTo>
                      <a:cubicBezTo>
                        <a:pt x="171" y="21"/>
                        <a:pt x="175" y="22"/>
                        <a:pt x="175" y="22"/>
                      </a:cubicBezTo>
                      <a:cubicBezTo>
                        <a:pt x="176" y="25"/>
                        <a:pt x="176" y="25"/>
                        <a:pt x="176" y="25"/>
                      </a:cubicBezTo>
                      <a:cubicBezTo>
                        <a:pt x="177" y="28"/>
                        <a:pt x="177" y="28"/>
                        <a:pt x="177" y="28"/>
                      </a:cubicBezTo>
                      <a:cubicBezTo>
                        <a:pt x="173" y="29"/>
                        <a:pt x="173" y="29"/>
                        <a:pt x="173" y="29"/>
                      </a:cubicBezTo>
                      <a:cubicBezTo>
                        <a:pt x="172" y="31"/>
                        <a:pt x="172" y="31"/>
                        <a:pt x="172" y="31"/>
                      </a:cubicBezTo>
                      <a:cubicBezTo>
                        <a:pt x="172" y="35"/>
                        <a:pt x="172" y="35"/>
                        <a:pt x="172" y="35"/>
                      </a:cubicBezTo>
                      <a:cubicBezTo>
                        <a:pt x="172" y="39"/>
                        <a:pt x="172" y="39"/>
                        <a:pt x="172" y="39"/>
                      </a:cubicBezTo>
                      <a:cubicBezTo>
                        <a:pt x="172" y="39"/>
                        <a:pt x="172" y="41"/>
                        <a:pt x="171" y="41"/>
                      </a:cubicBezTo>
                      <a:cubicBezTo>
                        <a:pt x="170" y="42"/>
                        <a:pt x="168" y="42"/>
                        <a:pt x="168" y="42"/>
                      </a:cubicBezTo>
                      <a:cubicBezTo>
                        <a:pt x="168" y="44"/>
                        <a:pt x="168" y="44"/>
                        <a:pt x="168" y="44"/>
                      </a:cubicBezTo>
                      <a:cubicBezTo>
                        <a:pt x="165" y="46"/>
                        <a:pt x="165" y="46"/>
                        <a:pt x="165" y="46"/>
                      </a:cubicBezTo>
                      <a:cubicBezTo>
                        <a:pt x="162" y="46"/>
                        <a:pt x="162" y="46"/>
                        <a:pt x="162" y="46"/>
                      </a:cubicBezTo>
                      <a:cubicBezTo>
                        <a:pt x="161" y="47"/>
                        <a:pt x="161" y="47"/>
                        <a:pt x="161" y="47"/>
                      </a:cubicBezTo>
                      <a:cubicBezTo>
                        <a:pt x="162" y="50"/>
                        <a:pt x="162" y="50"/>
                        <a:pt x="162" y="50"/>
                      </a:cubicBezTo>
                      <a:cubicBezTo>
                        <a:pt x="164" y="52"/>
                        <a:pt x="164" y="52"/>
                        <a:pt x="164" y="52"/>
                      </a:cubicBezTo>
                      <a:cubicBezTo>
                        <a:pt x="167" y="53"/>
                        <a:pt x="167" y="53"/>
                        <a:pt x="167" y="53"/>
                      </a:cubicBezTo>
                      <a:cubicBezTo>
                        <a:pt x="169" y="52"/>
                        <a:pt x="169" y="52"/>
                        <a:pt x="169" y="52"/>
                      </a:cubicBezTo>
                      <a:cubicBezTo>
                        <a:pt x="170" y="50"/>
                        <a:pt x="170" y="50"/>
                        <a:pt x="170" y="50"/>
                      </a:cubicBezTo>
                      <a:cubicBezTo>
                        <a:pt x="173" y="49"/>
                        <a:pt x="173" y="49"/>
                        <a:pt x="173" y="49"/>
                      </a:cubicBezTo>
                      <a:cubicBezTo>
                        <a:pt x="177" y="51"/>
                        <a:pt x="177" y="51"/>
                        <a:pt x="177" y="51"/>
                      </a:cubicBezTo>
                      <a:cubicBezTo>
                        <a:pt x="178" y="53"/>
                        <a:pt x="178" y="53"/>
                        <a:pt x="178" y="53"/>
                      </a:cubicBezTo>
                      <a:cubicBezTo>
                        <a:pt x="178" y="53"/>
                        <a:pt x="182" y="53"/>
                        <a:pt x="182" y="53"/>
                      </a:cubicBezTo>
                      <a:cubicBezTo>
                        <a:pt x="182" y="53"/>
                        <a:pt x="183" y="50"/>
                        <a:pt x="183" y="50"/>
                      </a:cubicBezTo>
                      <a:cubicBezTo>
                        <a:pt x="183" y="50"/>
                        <a:pt x="184" y="48"/>
                        <a:pt x="185" y="48"/>
                      </a:cubicBezTo>
                      <a:cubicBezTo>
                        <a:pt x="186" y="48"/>
                        <a:pt x="187" y="46"/>
                        <a:pt x="188" y="46"/>
                      </a:cubicBezTo>
                      <a:cubicBezTo>
                        <a:pt x="188" y="45"/>
                        <a:pt x="189" y="43"/>
                        <a:pt x="189" y="43"/>
                      </a:cubicBezTo>
                      <a:cubicBezTo>
                        <a:pt x="189" y="43"/>
                        <a:pt x="191" y="42"/>
                        <a:pt x="192" y="42"/>
                      </a:cubicBezTo>
                      <a:cubicBezTo>
                        <a:pt x="193" y="42"/>
                        <a:pt x="199" y="41"/>
                        <a:pt x="199" y="41"/>
                      </a:cubicBezTo>
                      <a:cubicBezTo>
                        <a:pt x="199" y="41"/>
                        <a:pt x="203" y="40"/>
                        <a:pt x="204" y="39"/>
                      </a:cubicBezTo>
                      <a:cubicBezTo>
                        <a:pt x="204" y="39"/>
                        <a:pt x="208" y="36"/>
                        <a:pt x="208" y="36"/>
                      </a:cubicBezTo>
                      <a:cubicBezTo>
                        <a:pt x="209" y="33"/>
                        <a:pt x="209" y="33"/>
                        <a:pt x="209" y="33"/>
                      </a:cubicBezTo>
                      <a:cubicBezTo>
                        <a:pt x="212" y="30"/>
                        <a:pt x="212" y="30"/>
                        <a:pt x="212" y="30"/>
                      </a:cubicBezTo>
                      <a:cubicBezTo>
                        <a:pt x="212" y="30"/>
                        <a:pt x="213" y="30"/>
                        <a:pt x="213" y="29"/>
                      </a:cubicBezTo>
                      <a:cubicBezTo>
                        <a:pt x="213" y="28"/>
                        <a:pt x="214" y="25"/>
                        <a:pt x="214" y="25"/>
                      </a:cubicBezTo>
                      <a:cubicBezTo>
                        <a:pt x="216" y="24"/>
                        <a:pt x="216" y="24"/>
                        <a:pt x="216" y="24"/>
                      </a:cubicBezTo>
                      <a:cubicBezTo>
                        <a:pt x="216" y="24"/>
                        <a:pt x="218" y="25"/>
                        <a:pt x="218" y="26"/>
                      </a:cubicBezTo>
                      <a:cubicBezTo>
                        <a:pt x="218" y="26"/>
                        <a:pt x="217" y="28"/>
                        <a:pt x="217" y="28"/>
                      </a:cubicBezTo>
                      <a:cubicBezTo>
                        <a:pt x="217" y="28"/>
                        <a:pt x="215" y="29"/>
                        <a:pt x="214" y="30"/>
                      </a:cubicBezTo>
                      <a:cubicBezTo>
                        <a:pt x="214" y="30"/>
                        <a:pt x="214" y="32"/>
                        <a:pt x="214" y="32"/>
                      </a:cubicBezTo>
                      <a:cubicBezTo>
                        <a:pt x="216" y="30"/>
                        <a:pt x="216" y="30"/>
                        <a:pt x="216" y="30"/>
                      </a:cubicBezTo>
                      <a:cubicBezTo>
                        <a:pt x="216" y="30"/>
                        <a:pt x="217" y="29"/>
                        <a:pt x="217" y="29"/>
                      </a:cubicBezTo>
                      <a:cubicBezTo>
                        <a:pt x="217" y="29"/>
                        <a:pt x="221" y="28"/>
                        <a:pt x="221" y="28"/>
                      </a:cubicBezTo>
                      <a:cubicBezTo>
                        <a:pt x="221" y="28"/>
                        <a:pt x="223" y="29"/>
                        <a:pt x="223" y="29"/>
                      </a:cubicBezTo>
                      <a:cubicBezTo>
                        <a:pt x="223" y="29"/>
                        <a:pt x="225" y="30"/>
                        <a:pt x="225" y="30"/>
                      </a:cubicBezTo>
                      <a:cubicBezTo>
                        <a:pt x="229" y="29"/>
                        <a:pt x="229" y="29"/>
                        <a:pt x="229" y="29"/>
                      </a:cubicBezTo>
                      <a:cubicBezTo>
                        <a:pt x="229" y="27"/>
                        <a:pt x="229" y="27"/>
                        <a:pt x="229" y="27"/>
                      </a:cubicBezTo>
                      <a:cubicBezTo>
                        <a:pt x="229" y="27"/>
                        <a:pt x="229" y="26"/>
                        <a:pt x="230" y="26"/>
                      </a:cubicBezTo>
                      <a:cubicBezTo>
                        <a:pt x="231" y="25"/>
                        <a:pt x="233" y="24"/>
                        <a:pt x="233" y="24"/>
                      </a:cubicBezTo>
                      <a:cubicBezTo>
                        <a:pt x="233" y="24"/>
                        <a:pt x="233" y="22"/>
                        <a:pt x="233" y="21"/>
                      </a:cubicBezTo>
                      <a:cubicBezTo>
                        <a:pt x="233" y="21"/>
                        <a:pt x="234" y="19"/>
                        <a:pt x="234" y="19"/>
                      </a:cubicBezTo>
                      <a:cubicBezTo>
                        <a:pt x="234" y="19"/>
                        <a:pt x="234" y="19"/>
                        <a:pt x="234" y="19"/>
                      </a:cubicBezTo>
                      <a:cubicBezTo>
                        <a:pt x="234" y="19"/>
                        <a:pt x="236" y="18"/>
                        <a:pt x="236" y="18"/>
                      </a:cubicBezTo>
                      <a:cubicBezTo>
                        <a:pt x="236" y="18"/>
                        <a:pt x="237" y="15"/>
                        <a:pt x="237" y="15"/>
                      </a:cubicBezTo>
                      <a:cubicBezTo>
                        <a:pt x="237" y="15"/>
                        <a:pt x="237" y="14"/>
                        <a:pt x="238" y="14"/>
                      </a:cubicBezTo>
                      <a:cubicBezTo>
                        <a:pt x="238" y="14"/>
                        <a:pt x="240" y="12"/>
                        <a:pt x="240" y="12"/>
                      </a:cubicBezTo>
                      <a:cubicBezTo>
                        <a:pt x="241" y="11"/>
                        <a:pt x="241" y="11"/>
                        <a:pt x="242" y="11"/>
                      </a:cubicBezTo>
                      <a:cubicBezTo>
                        <a:pt x="242" y="11"/>
                        <a:pt x="243" y="13"/>
                        <a:pt x="243" y="13"/>
                      </a:cubicBezTo>
                      <a:cubicBezTo>
                        <a:pt x="243" y="13"/>
                        <a:pt x="243" y="14"/>
                        <a:pt x="242" y="15"/>
                      </a:cubicBezTo>
                      <a:cubicBezTo>
                        <a:pt x="241" y="15"/>
                        <a:pt x="240" y="16"/>
                        <a:pt x="240" y="16"/>
                      </a:cubicBezTo>
                      <a:cubicBezTo>
                        <a:pt x="240" y="16"/>
                        <a:pt x="242" y="18"/>
                        <a:pt x="242" y="18"/>
                      </a:cubicBezTo>
                      <a:cubicBezTo>
                        <a:pt x="242" y="18"/>
                        <a:pt x="243" y="19"/>
                        <a:pt x="243" y="19"/>
                      </a:cubicBezTo>
                      <a:cubicBezTo>
                        <a:pt x="243" y="20"/>
                        <a:pt x="242" y="21"/>
                        <a:pt x="242" y="21"/>
                      </a:cubicBezTo>
                      <a:cubicBezTo>
                        <a:pt x="243" y="21"/>
                        <a:pt x="246" y="20"/>
                        <a:pt x="246" y="20"/>
                      </a:cubicBezTo>
                      <a:cubicBezTo>
                        <a:pt x="246" y="20"/>
                        <a:pt x="246" y="18"/>
                        <a:pt x="246" y="18"/>
                      </a:cubicBezTo>
                      <a:cubicBezTo>
                        <a:pt x="246" y="18"/>
                        <a:pt x="248" y="16"/>
                        <a:pt x="248" y="16"/>
                      </a:cubicBezTo>
                      <a:cubicBezTo>
                        <a:pt x="249" y="16"/>
                        <a:pt x="251" y="17"/>
                        <a:pt x="251" y="17"/>
                      </a:cubicBezTo>
                      <a:cubicBezTo>
                        <a:pt x="251" y="17"/>
                        <a:pt x="251" y="18"/>
                        <a:pt x="251" y="19"/>
                      </a:cubicBezTo>
                      <a:cubicBezTo>
                        <a:pt x="250" y="19"/>
                        <a:pt x="248" y="21"/>
                        <a:pt x="248" y="21"/>
                      </a:cubicBezTo>
                      <a:cubicBezTo>
                        <a:pt x="248" y="22"/>
                        <a:pt x="247" y="22"/>
                        <a:pt x="248" y="22"/>
                      </a:cubicBezTo>
                      <a:cubicBezTo>
                        <a:pt x="248" y="23"/>
                        <a:pt x="250" y="25"/>
                        <a:pt x="250" y="25"/>
                      </a:cubicBezTo>
                      <a:cubicBezTo>
                        <a:pt x="253" y="27"/>
                        <a:pt x="253" y="27"/>
                        <a:pt x="253" y="27"/>
                      </a:cubicBezTo>
                      <a:cubicBezTo>
                        <a:pt x="253" y="27"/>
                        <a:pt x="253" y="28"/>
                        <a:pt x="253" y="29"/>
                      </a:cubicBezTo>
                      <a:cubicBezTo>
                        <a:pt x="253" y="29"/>
                        <a:pt x="248" y="29"/>
                        <a:pt x="248" y="29"/>
                      </a:cubicBezTo>
                      <a:cubicBezTo>
                        <a:pt x="248" y="29"/>
                        <a:pt x="248" y="29"/>
                        <a:pt x="247" y="30"/>
                      </a:cubicBezTo>
                      <a:cubicBezTo>
                        <a:pt x="247" y="30"/>
                        <a:pt x="246" y="31"/>
                        <a:pt x="244" y="32"/>
                      </a:cubicBezTo>
                      <a:cubicBezTo>
                        <a:pt x="242" y="32"/>
                        <a:pt x="242" y="32"/>
                        <a:pt x="242" y="33"/>
                      </a:cubicBezTo>
                      <a:cubicBezTo>
                        <a:pt x="242" y="34"/>
                        <a:pt x="241" y="35"/>
                        <a:pt x="242" y="36"/>
                      </a:cubicBezTo>
                      <a:cubicBezTo>
                        <a:pt x="243" y="37"/>
                        <a:pt x="245" y="38"/>
                        <a:pt x="245" y="38"/>
                      </a:cubicBezTo>
                      <a:cubicBezTo>
                        <a:pt x="245" y="38"/>
                        <a:pt x="250" y="40"/>
                        <a:pt x="250" y="39"/>
                      </a:cubicBezTo>
                      <a:cubicBezTo>
                        <a:pt x="250" y="39"/>
                        <a:pt x="257" y="39"/>
                        <a:pt x="257" y="39"/>
                      </a:cubicBezTo>
                      <a:cubicBezTo>
                        <a:pt x="260" y="39"/>
                        <a:pt x="260" y="39"/>
                        <a:pt x="260" y="39"/>
                      </a:cubicBezTo>
                      <a:cubicBezTo>
                        <a:pt x="260" y="39"/>
                        <a:pt x="261" y="41"/>
                        <a:pt x="262" y="42"/>
                      </a:cubicBezTo>
                      <a:cubicBezTo>
                        <a:pt x="262" y="42"/>
                        <a:pt x="266" y="45"/>
                        <a:pt x="266" y="45"/>
                      </a:cubicBezTo>
                      <a:cubicBezTo>
                        <a:pt x="268" y="45"/>
                        <a:pt x="268" y="45"/>
                        <a:pt x="268" y="45"/>
                      </a:cubicBezTo>
                      <a:cubicBezTo>
                        <a:pt x="269" y="49"/>
                        <a:pt x="269" y="49"/>
                        <a:pt x="269" y="49"/>
                      </a:cubicBezTo>
                      <a:cubicBezTo>
                        <a:pt x="268" y="52"/>
                        <a:pt x="268" y="52"/>
                        <a:pt x="268" y="52"/>
                      </a:cubicBezTo>
                      <a:cubicBezTo>
                        <a:pt x="265" y="53"/>
                        <a:pt x="265" y="53"/>
                        <a:pt x="265" y="53"/>
                      </a:cubicBezTo>
                      <a:cubicBezTo>
                        <a:pt x="261" y="56"/>
                        <a:pt x="261" y="56"/>
                        <a:pt x="261" y="56"/>
                      </a:cubicBezTo>
                      <a:cubicBezTo>
                        <a:pt x="259" y="55"/>
                        <a:pt x="259" y="55"/>
                        <a:pt x="259" y="55"/>
                      </a:cubicBezTo>
                      <a:cubicBezTo>
                        <a:pt x="259" y="55"/>
                        <a:pt x="261" y="57"/>
                        <a:pt x="262" y="57"/>
                      </a:cubicBezTo>
                      <a:cubicBezTo>
                        <a:pt x="263" y="57"/>
                        <a:pt x="264" y="58"/>
                        <a:pt x="264" y="58"/>
                      </a:cubicBezTo>
                      <a:cubicBezTo>
                        <a:pt x="265" y="58"/>
                        <a:pt x="269" y="58"/>
                        <a:pt x="273" y="58"/>
                      </a:cubicBezTo>
                      <a:cubicBezTo>
                        <a:pt x="273" y="59"/>
                        <a:pt x="273" y="59"/>
                        <a:pt x="273" y="60"/>
                      </a:cubicBezTo>
                      <a:cubicBezTo>
                        <a:pt x="274" y="61"/>
                        <a:pt x="275" y="65"/>
                        <a:pt x="275" y="66"/>
                      </a:cubicBezTo>
                      <a:cubicBezTo>
                        <a:pt x="275" y="66"/>
                        <a:pt x="276" y="70"/>
                        <a:pt x="278" y="73"/>
                      </a:cubicBezTo>
                      <a:cubicBezTo>
                        <a:pt x="281" y="77"/>
                        <a:pt x="280" y="78"/>
                        <a:pt x="280" y="78"/>
                      </a:cubicBezTo>
                      <a:cubicBezTo>
                        <a:pt x="280" y="87"/>
                        <a:pt x="280" y="87"/>
                        <a:pt x="280" y="87"/>
                      </a:cubicBezTo>
                      <a:cubicBezTo>
                        <a:pt x="280" y="95"/>
                        <a:pt x="280" y="95"/>
                        <a:pt x="280" y="95"/>
                      </a:cubicBezTo>
                      <a:cubicBezTo>
                        <a:pt x="275" y="99"/>
                        <a:pt x="275" y="99"/>
                        <a:pt x="275" y="99"/>
                      </a:cubicBezTo>
                      <a:cubicBezTo>
                        <a:pt x="273" y="108"/>
                        <a:pt x="273" y="108"/>
                        <a:pt x="273" y="108"/>
                      </a:cubicBezTo>
                      <a:cubicBezTo>
                        <a:pt x="273" y="108"/>
                        <a:pt x="274" y="109"/>
                        <a:pt x="275" y="109"/>
                      </a:cubicBezTo>
                      <a:cubicBezTo>
                        <a:pt x="276" y="110"/>
                        <a:pt x="279" y="113"/>
                        <a:pt x="279" y="113"/>
                      </a:cubicBezTo>
                      <a:cubicBezTo>
                        <a:pt x="280" y="114"/>
                        <a:pt x="286" y="117"/>
                        <a:pt x="289" y="118"/>
                      </a:cubicBezTo>
                      <a:cubicBezTo>
                        <a:pt x="292" y="120"/>
                        <a:pt x="291" y="125"/>
                        <a:pt x="291" y="125"/>
                      </a:cubicBezTo>
                      <a:cubicBezTo>
                        <a:pt x="289" y="132"/>
                        <a:pt x="289" y="132"/>
                        <a:pt x="289" y="132"/>
                      </a:cubicBezTo>
                      <a:cubicBezTo>
                        <a:pt x="289" y="132"/>
                        <a:pt x="290" y="136"/>
                        <a:pt x="292" y="136"/>
                      </a:cubicBezTo>
                      <a:cubicBezTo>
                        <a:pt x="293" y="135"/>
                        <a:pt x="294" y="141"/>
                        <a:pt x="294" y="141"/>
                      </a:cubicBezTo>
                      <a:cubicBezTo>
                        <a:pt x="294" y="141"/>
                        <a:pt x="295" y="147"/>
                        <a:pt x="295" y="148"/>
                      </a:cubicBezTo>
                      <a:cubicBezTo>
                        <a:pt x="294" y="149"/>
                        <a:pt x="295" y="150"/>
                        <a:pt x="295" y="150"/>
                      </a:cubicBezTo>
                      <a:cubicBezTo>
                        <a:pt x="297" y="154"/>
                        <a:pt x="297" y="154"/>
                        <a:pt x="297" y="154"/>
                      </a:cubicBezTo>
                      <a:cubicBezTo>
                        <a:pt x="297" y="154"/>
                        <a:pt x="296" y="157"/>
                        <a:pt x="295" y="158"/>
                      </a:cubicBezTo>
                      <a:cubicBezTo>
                        <a:pt x="295" y="160"/>
                        <a:pt x="294" y="162"/>
                        <a:pt x="294" y="162"/>
                      </a:cubicBezTo>
                      <a:cubicBezTo>
                        <a:pt x="295" y="165"/>
                        <a:pt x="295" y="165"/>
                        <a:pt x="295" y="165"/>
                      </a:cubicBezTo>
                      <a:cubicBezTo>
                        <a:pt x="299" y="170"/>
                        <a:pt x="299" y="170"/>
                        <a:pt x="299" y="170"/>
                      </a:cubicBezTo>
                      <a:cubicBezTo>
                        <a:pt x="299" y="175"/>
                        <a:pt x="299" y="175"/>
                        <a:pt x="299" y="175"/>
                      </a:cubicBezTo>
                      <a:cubicBezTo>
                        <a:pt x="299" y="178"/>
                        <a:pt x="299" y="178"/>
                        <a:pt x="299" y="178"/>
                      </a:cubicBezTo>
                      <a:cubicBezTo>
                        <a:pt x="299" y="178"/>
                        <a:pt x="302" y="179"/>
                        <a:pt x="303" y="179"/>
                      </a:cubicBezTo>
                      <a:cubicBezTo>
                        <a:pt x="304" y="179"/>
                        <a:pt x="306" y="181"/>
                        <a:pt x="306" y="181"/>
                      </a:cubicBezTo>
                      <a:cubicBezTo>
                        <a:pt x="306" y="181"/>
                        <a:pt x="306" y="183"/>
                        <a:pt x="306" y="184"/>
                      </a:cubicBezTo>
                      <a:cubicBezTo>
                        <a:pt x="306" y="184"/>
                        <a:pt x="309" y="188"/>
                        <a:pt x="309" y="188"/>
                      </a:cubicBezTo>
                      <a:cubicBezTo>
                        <a:pt x="310" y="189"/>
                        <a:pt x="312" y="192"/>
                        <a:pt x="312" y="192"/>
                      </a:cubicBezTo>
                      <a:cubicBezTo>
                        <a:pt x="312" y="192"/>
                        <a:pt x="312" y="194"/>
                        <a:pt x="309" y="197"/>
                      </a:cubicBezTo>
                      <a:cubicBezTo>
                        <a:pt x="307" y="200"/>
                        <a:pt x="308" y="200"/>
                        <a:pt x="308" y="201"/>
                      </a:cubicBezTo>
                      <a:cubicBezTo>
                        <a:pt x="308" y="202"/>
                        <a:pt x="309" y="204"/>
                        <a:pt x="309" y="204"/>
                      </a:cubicBezTo>
                      <a:cubicBezTo>
                        <a:pt x="309" y="204"/>
                        <a:pt x="308" y="205"/>
                        <a:pt x="307" y="206"/>
                      </a:cubicBezTo>
                      <a:cubicBezTo>
                        <a:pt x="307" y="206"/>
                        <a:pt x="306" y="208"/>
                        <a:pt x="306" y="210"/>
                      </a:cubicBezTo>
                      <a:cubicBezTo>
                        <a:pt x="302" y="213"/>
                        <a:pt x="302" y="213"/>
                        <a:pt x="302" y="213"/>
                      </a:cubicBezTo>
                      <a:cubicBezTo>
                        <a:pt x="302" y="213"/>
                        <a:pt x="302" y="213"/>
                        <a:pt x="301" y="214"/>
                      </a:cubicBezTo>
                      <a:cubicBezTo>
                        <a:pt x="301" y="213"/>
                        <a:pt x="300" y="213"/>
                        <a:pt x="299" y="213"/>
                      </a:cubicBezTo>
                      <a:cubicBezTo>
                        <a:pt x="298" y="212"/>
                        <a:pt x="297" y="211"/>
                        <a:pt x="297" y="211"/>
                      </a:cubicBezTo>
                      <a:cubicBezTo>
                        <a:pt x="297" y="211"/>
                        <a:pt x="297" y="209"/>
                        <a:pt x="297" y="207"/>
                      </a:cubicBezTo>
                      <a:cubicBezTo>
                        <a:pt x="297" y="205"/>
                        <a:pt x="297" y="206"/>
                        <a:pt x="297" y="205"/>
                      </a:cubicBezTo>
                      <a:cubicBezTo>
                        <a:pt x="296" y="204"/>
                        <a:pt x="294" y="203"/>
                        <a:pt x="292" y="202"/>
                      </a:cubicBezTo>
                      <a:cubicBezTo>
                        <a:pt x="290" y="202"/>
                        <a:pt x="286" y="202"/>
                        <a:pt x="285" y="203"/>
                      </a:cubicBezTo>
                      <a:cubicBezTo>
                        <a:pt x="285" y="203"/>
                        <a:pt x="285" y="207"/>
                        <a:pt x="285" y="207"/>
                      </a:cubicBezTo>
                      <a:cubicBezTo>
                        <a:pt x="287" y="210"/>
                        <a:pt x="287" y="210"/>
                        <a:pt x="287" y="210"/>
                      </a:cubicBezTo>
                      <a:cubicBezTo>
                        <a:pt x="286" y="212"/>
                        <a:pt x="286" y="212"/>
                        <a:pt x="286" y="212"/>
                      </a:cubicBezTo>
                      <a:cubicBezTo>
                        <a:pt x="286" y="212"/>
                        <a:pt x="277" y="214"/>
                        <a:pt x="274" y="214"/>
                      </a:cubicBezTo>
                      <a:cubicBezTo>
                        <a:pt x="271" y="214"/>
                        <a:pt x="272" y="216"/>
                        <a:pt x="272" y="216"/>
                      </a:cubicBezTo>
                      <a:cubicBezTo>
                        <a:pt x="270" y="220"/>
                        <a:pt x="270" y="220"/>
                        <a:pt x="270" y="220"/>
                      </a:cubicBezTo>
                      <a:cubicBezTo>
                        <a:pt x="268" y="222"/>
                        <a:pt x="268" y="222"/>
                        <a:pt x="268" y="222"/>
                      </a:cubicBezTo>
                      <a:cubicBezTo>
                        <a:pt x="262" y="224"/>
                        <a:pt x="262" y="224"/>
                        <a:pt x="262" y="224"/>
                      </a:cubicBezTo>
                      <a:cubicBezTo>
                        <a:pt x="262" y="224"/>
                        <a:pt x="256" y="229"/>
                        <a:pt x="255" y="229"/>
                      </a:cubicBezTo>
                      <a:cubicBezTo>
                        <a:pt x="251" y="232"/>
                        <a:pt x="251" y="232"/>
                        <a:pt x="251" y="232"/>
                      </a:cubicBezTo>
                      <a:cubicBezTo>
                        <a:pt x="251" y="232"/>
                        <a:pt x="250" y="232"/>
                        <a:pt x="247" y="234"/>
                      </a:cubicBezTo>
                      <a:cubicBezTo>
                        <a:pt x="243" y="235"/>
                        <a:pt x="245" y="237"/>
                        <a:pt x="244" y="238"/>
                      </a:cubicBezTo>
                      <a:cubicBezTo>
                        <a:pt x="244" y="240"/>
                        <a:pt x="243" y="240"/>
                        <a:pt x="241" y="241"/>
                      </a:cubicBezTo>
                      <a:cubicBezTo>
                        <a:pt x="240" y="241"/>
                        <a:pt x="237" y="240"/>
                        <a:pt x="235" y="240"/>
                      </a:cubicBezTo>
                      <a:cubicBezTo>
                        <a:pt x="234" y="240"/>
                        <a:pt x="231" y="242"/>
                        <a:pt x="229" y="242"/>
                      </a:cubicBezTo>
                      <a:cubicBezTo>
                        <a:pt x="226" y="242"/>
                        <a:pt x="226" y="242"/>
                        <a:pt x="226" y="242"/>
                      </a:cubicBezTo>
                      <a:cubicBezTo>
                        <a:pt x="222" y="247"/>
                        <a:pt x="222" y="247"/>
                        <a:pt x="222" y="247"/>
                      </a:cubicBezTo>
                      <a:cubicBezTo>
                        <a:pt x="219" y="253"/>
                        <a:pt x="219" y="253"/>
                        <a:pt x="219" y="253"/>
                      </a:cubicBezTo>
                      <a:cubicBezTo>
                        <a:pt x="218" y="250"/>
                        <a:pt x="218" y="250"/>
                        <a:pt x="218" y="250"/>
                      </a:cubicBezTo>
                      <a:cubicBezTo>
                        <a:pt x="217" y="246"/>
                        <a:pt x="217" y="246"/>
                        <a:pt x="217" y="246"/>
                      </a:cubicBezTo>
                      <a:cubicBezTo>
                        <a:pt x="212" y="246"/>
                        <a:pt x="212" y="246"/>
                        <a:pt x="212" y="246"/>
                      </a:cubicBezTo>
                      <a:cubicBezTo>
                        <a:pt x="213" y="249"/>
                        <a:pt x="213" y="249"/>
                        <a:pt x="213" y="249"/>
                      </a:cubicBezTo>
                      <a:cubicBezTo>
                        <a:pt x="213" y="249"/>
                        <a:pt x="215" y="256"/>
                        <a:pt x="216" y="257"/>
                      </a:cubicBezTo>
                      <a:cubicBezTo>
                        <a:pt x="217" y="258"/>
                        <a:pt x="218" y="258"/>
                        <a:pt x="220" y="259"/>
                      </a:cubicBezTo>
                      <a:cubicBezTo>
                        <a:pt x="223" y="261"/>
                        <a:pt x="223" y="261"/>
                        <a:pt x="226" y="263"/>
                      </a:cubicBezTo>
                      <a:cubicBezTo>
                        <a:pt x="229" y="265"/>
                        <a:pt x="228" y="267"/>
                        <a:pt x="228" y="268"/>
                      </a:cubicBezTo>
                      <a:cubicBezTo>
                        <a:pt x="228" y="270"/>
                        <a:pt x="228" y="270"/>
                        <a:pt x="226" y="272"/>
                      </a:cubicBezTo>
                      <a:cubicBezTo>
                        <a:pt x="224" y="275"/>
                        <a:pt x="226" y="277"/>
                        <a:pt x="226" y="277"/>
                      </a:cubicBezTo>
                      <a:cubicBezTo>
                        <a:pt x="226" y="277"/>
                        <a:pt x="227" y="279"/>
                        <a:pt x="229" y="281"/>
                      </a:cubicBezTo>
                      <a:cubicBezTo>
                        <a:pt x="231" y="283"/>
                        <a:pt x="230" y="284"/>
                        <a:pt x="231" y="287"/>
                      </a:cubicBezTo>
                      <a:cubicBezTo>
                        <a:pt x="231" y="290"/>
                        <a:pt x="231" y="289"/>
                        <a:pt x="233" y="292"/>
                      </a:cubicBezTo>
                      <a:cubicBezTo>
                        <a:pt x="235" y="294"/>
                        <a:pt x="234" y="293"/>
                        <a:pt x="236" y="295"/>
                      </a:cubicBezTo>
                      <a:cubicBezTo>
                        <a:pt x="238" y="297"/>
                        <a:pt x="238" y="298"/>
                        <a:pt x="238" y="298"/>
                      </a:cubicBezTo>
                      <a:cubicBezTo>
                        <a:pt x="238" y="298"/>
                        <a:pt x="244" y="296"/>
                        <a:pt x="246" y="298"/>
                      </a:cubicBezTo>
                      <a:cubicBezTo>
                        <a:pt x="248" y="300"/>
                        <a:pt x="247" y="299"/>
                        <a:pt x="251" y="302"/>
                      </a:cubicBezTo>
                      <a:cubicBezTo>
                        <a:pt x="254" y="306"/>
                        <a:pt x="251" y="304"/>
                        <a:pt x="252" y="307"/>
                      </a:cubicBezTo>
                      <a:cubicBezTo>
                        <a:pt x="253" y="309"/>
                        <a:pt x="254" y="308"/>
                        <a:pt x="254" y="308"/>
                      </a:cubicBezTo>
                      <a:cubicBezTo>
                        <a:pt x="254" y="308"/>
                        <a:pt x="255" y="309"/>
                        <a:pt x="257" y="309"/>
                      </a:cubicBezTo>
                      <a:cubicBezTo>
                        <a:pt x="259" y="309"/>
                        <a:pt x="259" y="311"/>
                        <a:pt x="259" y="313"/>
                      </a:cubicBezTo>
                      <a:cubicBezTo>
                        <a:pt x="260" y="315"/>
                        <a:pt x="260" y="315"/>
                        <a:pt x="262" y="317"/>
                      </a:cubicBezTo>
                      <a:cubicBezTo>
                        <a:pt x="263" y="318"/>
                        <a:pt x="264" y="317"/>
                        <a:pt x="267" y="316"/>
                      </a:cubicBezTo>
                      <a:cubicBezTo>
                        <a:pt x="269" y="316"/>
                        <a:pt x="268" y="318"/>
                        <a:pt x="268" y="319"/>
                      </a:cubicBezTo>
                      <a:cubicBezTo>
                        <a:pt x="268" y="320"/>
                        <a:pt x="270" y="320"/>
                        <a:pt x="272" y="321"/>
                      </a:cubicBezTo>
                      <a:cubicBezTo>
                        <a:pt x="274" y="322"/>
                        <a:pt x="273" y="322"/>
                        <a:pt x="275" y="324"/>
                      </a:cubicBezTo>
                      <a:cubicBezTo>
                        <a:pt x="275" y="324"/>
                        <a:pt x="275" y="324"/>
                        <a:pt x="275" y="325"/>
                      </a:cubicBezTo>
                      <a:close/>
                      <a:moveTo>
                        <a:pt x="55" y="394"/>
                      </a:moveTo>
                      <a:cubicBezTo>
                        <a:pt x="55" y="394"/>
                        <a:pt x="55" y="394"/>
                        <a:pt x="55" y="394"/>
                      </a:cubicBezTo>
                      <a:cubicBezTo>
                        <a:pt x="55" y="394"/>
                        <a:pt x="55" y="394"/>
                        <a:pt x="55" y="394"/>
                      </a:cubicBezTo>
                      <a:cubicBezTo>
                        <a:pt x="55" y="394"/>
                        <a:pt x="55" y="394"/>
                        <a:pt x="55" y="394"/>
                      </a:cubicBezTo>
                      <a:close/>
                      <a:moveTo>
                        <a:pt x="128" y="400"/>
                      </a:moveTo>
                      <a:cubicBezTo>
                        <a:pt x="128" y="400"/>
                        <a:pt x="128" y="400"/>
                        <a:pt x="128" y="400"/>
                      </a:cubicBezTo>
                      <a:cubicBezTo>
                        <a:pt x="128" y="400"/>
                        <a:pt x="128" y="400"/>
                        <a:pt x="128" y="400"/>
                      </a:cubicBezTo>
                      <a:cubicBezTo>
                        <a:pt x="128" y="400"/>
                        <a:pt x="128" y="400"/>
                        <a:pt x="128" y="400"/>
                      </a:cubicBezTo>
                      <a:cubicBezTo>
                        <a:pt x="128" y="400"/>
                        <a:pt x="128" y="400"/>
                        <a:pt x="128" y="400"/>
                      </a:cubicBezTo>
                      <a:close/>
                      <a:moveTo>
                        <a:pt x="312" y="204"/>
                      </a:moveTo>
                      <a:cubicBezTo>
                        <a:pt x="312" y="204"/>
                        <a:pt x="312" y="204"/>
                        <a:pt x="312" y="204"/>
                      </a:cubicBezTo>
                      <a:cubicBezTo>
                        <a:pt x="312" y="204"/>
                        <a:pt x="312" y="204"/>
                        <a:pt x="312" y="204"/>
                      </a:cubicBezTo>
                      <a:cubicBezTo>
                        <a:pt x="312" y="204"/>
                        <a:pt x="312" y="204"/>
                        <a:pt x="312" y="204"/>
                      </a:cubicBezTo>
                      <a:close/>
                    </a:path>
                  </a:pathLst>
                </a:custGeom>
                <a:solidFill>
                  <a:srgbClr val="1C6D7D"/>
                </a:solidFill>
                <a:ln w="12700" cap="rnd" cmpd="sng">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Lato Light"/>
                  </a:endParaRPr>
                </a:p>
              </p:txBody>
            </p:sp>
            <p:sp>
              <p:nvSpPr>
                <p:cNvPr id="233" name="Freeform 80">
                  <a:extLst>
                    <a:ext uri="{FF2B5EF4-FFF2-40B4-BE49-F238E27FC236}">
                      <a16:creationId xmlns:a16="http://schemas.microsoft.com/office/drawing/2014/main" id="{7E888F81-00A4-E00D-BB9F-FF8EFD1E4BDA}"/>
                    </a:ext>
                  </a:extLst>
                </p:cNvPr>
                <p:cNvSpPr>
                  <a:spLocks noEditPoints="1"/>
                </p:cNvSpPr>
                <p:nvPr/>
              </p:nvSpPr>
              <p:spPr bwMode="auto">
                <a:xfrm>
                  <a:off x="3565374" y="4523000"/>
                  <a:ext cx="1416991" cy="1567420"/>
                </a:xfrm>
                <a:custGeom>
                  <a:avLst/>
                  <a:gdLst>
                    <a:gd name="T0" fmla="*/ 372 w 492"/>
                    <a:gd name="T1" fmla="*/ 536 h 561"/>
                    <a:gd name="T2" fmla="*/ 338 w 492"/>
                    <a:gd name="T3" fmla="*/ 556 h 561"/>
                    <a:gd name="T4" fmla="*/ 272 w 492"/>
                    <a:gd name="T5" fmla="*/ 521 h 561"/>
                    <a:gd name="T6" fmla="*/ 260 w 492"/>
                    <a:gd name="T7" fmla="*/ 489 h 561"/>
                    <a:gd name="T8" fmla="*/ 318 w 492"/>
                    <a:gd name="T9" fmla="*/ 489 h 561"/>
                    <a:gd name="T10" fmla="*/ 376 w 492"/>
                    <a:gd name="T11" fmla="*/ 476 h 561"/>
                    <a:gd name="T12" fmla="*/ 403 w 492"/>
                    <a:gd name="T13" fmla="*/ 478 h 561"/>
                    <a:gd name="T14" fmla="*/ 442 w 492"/>
                    <a:gd name="T15" fmla="*/ 422 h 561"/>
                    <a:gd name="T16" fmla="*/ 411 w 492"/>
                    <a:gd name="T17" fmla="*/ 385 h 561"/>
                    <a:gd name="T18" fmla="*/ 455 w 492"/>
                    <a:gd name="T19" fmla="*/ 350 h 561"/>
                    <a:gd name="T20" fmla="*/ 490 w 492"/>
                    <a:gd name="T21" fmla="*/ 351 h 561"/>
                    <a:gd name="T22" fmla="*/ 379 w 492"/>
                    <a:gd name="T23" fmla="*/ 295 h 561"/>
                    <a:gd name="T24" fmla="*/ 340 w 492"/>
                    <a:gd name="T25" fmla="*/ 271 h 561"/>
                    <a:gd name="T26" fmla="*/ 275 w 492"/>
                    <a:gd name="T27" fmla="*/ 186 h 561"/>
                    <a:gd name="T28" fmla="*/ 218 w 492"/>
                    <a:gd name="T29" fmla="*/ 109 h 561"/>
                    <a:gd name="T30" fmla="*/ 247 w 492"/>
                    <a:gd name="T31" fmla="*/ 78 h 561"/>
                    <a:gd name="T32" fmla="*/ 267 w 492"/>
                    <a:gd name="T33" fmla="*/ 63 h 561"/>
                    <a:gd name="T34" fmla="*/ 262 w 492"/>
                    <a:gd name="T35" fmla="*/ 56 h 561"/>
                    <a:gd name="T36" fmla="*/ 258 w 492"/>
                    <a:gd name="T37" fmla="*/ 46 h 561"/>
                    <a:gd name="T38" fmla="*/ 267 w 492"/>
                    <a:gd name="T39" fmla="*/ 30 h 561"/>
                    <a:gd name="T40" fmla="*/ 212 w 492"/>
                    <a:gd name="T41" fmla="*/ 15 h 561"/>
                    <a:gd name="T42" fmla="*/ 185 w 492"/>
                    <a:gd name="T43" fmla="*/ 4 h 561"/>
                    <a:gd name="T44" fmla="*/ 148 w 492"/>
                    <a:gd name="T45" fmla="*/ 15 h 561"/>
                    <a:gd name="T46" fmla="*/ 148 w 492"/>
                    <a:gd name="T47" fmla="*/ 26 h 561"/>
                    <a:gd name="T48" fmla="*/ 139 w 492"/>
                    <a:gd name="T49" fmla="*/ 27 h 561"/>
                    <a:gd name="T50" fmla="*/ 132 w 492"/>
                    <a:gd name="T51" fmla="*/ 34 h 561"/>
                    <a:gd name="T52" fmla="*/ 136 w 492"/>
                    <a:gd name="T53" fmla="*/ 46 h 561"/>
                    <a:gd name="T54" fmla="*/ 129 w 492"/>
                    <a:gd name="T55" fmla="*/ 40 h 561"/>
                    <a:gd name="T56" fmla="*/ 114 w 492"/>
                    <a:gd name="T57" fmla="*/ 45 h 561"/>
                    <a:gd name="T58" fmla="*/ 104 w 492"/>
                    <a:gd name="T59" fmla="*/ 34 h 561"/>
                    <a:gd name="T60" fmla="*/ 101 w 492"/>
                    <a:gd name="T61" fmla="*/ 47 h 561"/>
                    <a:gd name="T62" fmla="*/ 94 w 492"/>
                    <a:gd name="T63" fmla="*/ 61 h 561"/>
                    <a:gd name="T64" fmla="*/ 89 w 492"/>
                    <a:gd name="T65" fmla="*/ 71 h 561"/>
                    <a:gd name="T66" fmla="*/ 87 w 492"/>
                    <a:gd name="T67" fmla="*/ 58 h 561"/>
                    <a:gd name="T68" fmla="*/ 73 w 492"/>
                    <a:gd name="T69" fmla="*/ 51 h 561"/>
                    <a:gd name="T70" fmla="*/ 65 w 492"/>
                    <a:gd name="T71" fmla="*/ 39 h 561"/>
                    <a:gd name="T72" fmla="*/ 58 w 492"/>
                    <a:gd name="T73" fmla="*/ 51 h 561"/>
                    <a:gd name="T74" fmla="*/ 50 w 492"/>
                    <a:gd name="T75" fmla="*/ 63 h 561"/>
                    <a:gd name="T76" fmla="*/ 35 w 492"/>
                    <a:gd name="T77" fmla="*/ 63 h 561"/>
                    <a:gd name="T78" fmla="*/ 19 w 492"/>
                    <a:gd name="T79" fmla="*/ 69 h 561"/>
                    <a:gd name="T80" fmla="*/ 18 w 492"/>
                    <a:gd name="T81" fmla="*/ 100 h 561"/>
                    <a:gd name="T82" fmla="*/ 14 w 492"/>
                    <a:gd name="T83" fmla="*/ 134 h 561"/>
                    <a:gd name="T84" fmla="*/ 31 w 492"/>
                    <a:gd name="T85" fmla="*/ 180 h 561"/>
                    <a:gd name="T86" fmla="*/ 86 w 492"/>
                    <a:gd name="T87" fmla="*/ 147 h 561"/>
                    <a:gd name="T88" fmla="*/ 139 w 492"/>
                    <a:gd name="T89" fmla="*/ 179 h 561"/>
                    <a:gd name="T90" fmla="*/ 162 w 492"/>
                    <a:gd name="T91" fmla="*/ 237 h 561"/>
                    <a:gd name="T92" fmla="*/ 207 w 492"/>
                    <a:gd name="T93" fmla="*/ 276 h 561"/>
                    <a:gd name="T94" fmla="*/ 251 w 492"/>
                    <a:gd name="T95" fmla="*/ 307 h 561"/>
                    <a:gd name="T96" fmla="*/ 289 w 492"/>
                    <a:gd name="T97" fmla="*/ 317 h 561"/>
                    <a:gd name="T98" fmla="*/ 334 w 492"/>
                    <a:gd name="T99" fmla="*/ 346 h 561"/>
                    <a:gd name="T100" fmla="*/ 357 w 492"/>
                    <a:gd name="T101" fmla="*/ 374 h 561"/>
                    <a:gd name="T102" fmla="*/ 395 w 492"/>
                    <a:gd name="T103" fmla="*/ 418 h 561"/>
                    <a:gd name="T104" fmla="*/ 390 w 492"/>
                    <a:gd name="T105" fmla="*/ 463 h 561"/>
                    <a:gd name="T106" fmla="*/ 75 w 492"/>
                    <a:gd name="T107" fmla="*/ 342 h 561"/>
                    <a:gd name="T108" fmla="*/ 126 w 492"/>
                    <a:gd name="T109" fmla="*/ 355 h 561"/>
                    <a:gd name="T110" fmla="*/ 113 w 492"/>
                    <a:gd name="T111" fmla="*/ 441 h 561"/>
                    <a:gd name="T112" fmla="*/ 71 w 492"/>
                    <a:gd name="T113" fmla="*/ 446 h 561"/>
                    <a:gd name="T114" fmla="*/ 73 w 492"/>
                    <a:gd name="T115" fmla="*/ 395 h 561"/>
                    <a:gd name="T116" fmla="*/ 57 w 492"/>
                    <a:gd name="T117" fmla="*/ 358 h 5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92" h="561">
                      <a:moveTo>
                        <a:pt x="376" y="476"/>
                      </a:moveTo>
                      <a:cubicBezTo>
                        <a:pt x="377" y="483"/>
                        <a:pt x="377" y="483"/>
                        <a:pt x="377" y="483"/>
                      </a:cubicBezTo>
                      <a:cubicBezTo>
                        <a:pt x="377" y="483"/>
                        <a:pt x="371" y="493"/>
                        <a:pt x="371" y="494"/>
                      </a:cubicBezTo>
                      <a:cubicBezTo>
                        <a:pt x="371" y="495"/>
                        <a:pt x="369" y="499"/>
                        <a:pt x="367" y="502"/>
                      </a:cubicBezTo>
                      <a:cubicBezTo>
                        <a:pt x="366" y="504"/>
                        <a:pt x="360" y="512"/>
                        <a:pt x="360" y="512"/>
                      </a:cubicBezTo>
                      <a:cubicBezTo>
                        <a:pt x="360" y="512"/>
                        <a:pt x="360" y="515"/>
                        <a:pt x="362" y="517"/>
                      </a:cubicBezTo>
                      <a:cubicBezTo>
                        <a:pt x="363" y="519"/>
                        <a:pt x="366" y="522"/>
                        <a:pt x="366" y="525"/>
                      </a:cubicBezTo>
                      <a:cubicBezTo>
                        <a:pt x="366" y="527"/>
                        <a:pt x="371" y="530"/>
                        <a:pt x="371" y="530"/>
                      </a:cubicBezTo>
                      <a:cubicBezTo>
                        <a:pt x="372" y="536"/>
                        <a:pt x="372" y="536"/>
                        <a:pt x="372" y="536"/>
                      </a:cubicBezTo>
                      <a:cubicBezTo>
                        <a:pt x="372" y="536"/>
                        <a:pt x="375" y="539"/>
                        <a:pt x="375" y="540"/>
                      </a:cubicBezTo>
                      <a:cubicBezTo>
                        <a:pt x="374" y="541"/>
                        <a:pt x="369" y="546"/>
                        <a:pt x="369" y="546"/>
                      </a:cubicBezTo>
                      <a:cubicBezTo>
                        <a:pt x="368" y="552"/>
                        <a:pt x="368" y="552"/>
                        <a:pt x="368" y="552"/>
                      </a:cubicBezTo>
                      <a:cubicBezTo>
                        <a:pt x="368" y="555"/>
                        <a:pt x="368" y="555"/>
                        <a:pt x="368" y="555"/>
                      </a:cubicBezTo>
                      <a:cubicBezTo>
                        <a:pt x="368" y="555"/>
                        <a:pt x="369" y="555"/>
                        <a:pt x="368" y="558"/>
                      </a:cubicBezTo>
                      <a:cubicBezTo>
                        <a:pt x="367" y="560"/>
                        <a:pt x="367" y="560"/>
                        <a:pt x="366" y="560"/>
                      </a:cubicBezTo>
                      <a:cubicBezTo>
                        <a:pt x="365" y="561"/>
                        <a:pt x="355" y="560"/>
                        <a:pt x="355" y="560"/>
                      </a:cubicBezTo>
                      <a:cubicBezTo>
                        <a:pt x="345" y="558"/>
                        <a:pt x="345" y="558"/>
                        <a:pt x="345" y="558"/>
                      </a:cubicBezTo>
                      <a:cubicBezTo>
                        <a:pt x="345" y="558"/>
                        <a:pt x="340" y="557"/>
                        <a:pt x="338" y="556"/>
                      </a:cubicBezTo>
                      <a:cubicBezTo>
                        <a:pt x="337" y="555"/>
                        <a:pt x="335" y="554"/>
                        <a:pt x="335" y="554"/>
                      </a:cubicBezTo>
                      <a:cubicBezTo>
                        <a:pt x="332" y="545"/>
                        <a:pt x="332" y="545"/>
                        <a:pt x="332" y="545"/>
                      </a:cubicBezTo>
                      <a:cubicBezTo>
                        <a:pt x="324" y="544"/>
                        <a:pt x="324" y="544"/>
                        <a:pt x="324" y="544"/>
                      </a:cubicBezTo>
                      <a:cubicBezTo>
                        <a:pt x="304" y="541"/>
                        <a:pt x="304" y="541"/>
                        <a:pt x="304" y="541"/>
                      </a:cubicBezTo>
                      <a:cubicBezTo>
                        <a:pt x="304" y="541"/>
                        <a:pt x="297" y="535"/>
                        <a:pt x="296" y="534"/>
                      </a:cubicBezTo>
                      <a:cubicBezTo>
                        <a:pt x="294" y="533"/>
                        <a:pt x="292" y="530"/>
                        <a:pt x="292" y="530"/>
                      </a:cubicBezTo>
                      <a:cubicBezTo>
                        <a:pt x="288" y="529"/>
                        <a:pt x="288" y="529"/>
                        <a:pt x="288" y="529"/>
                      </a:cubicBezTo>
                      <a:cubicBezTo>
                        <a:pt x="280" y="521"/>
                        <a:pt x="280" y="521"/>
                        <a:pt x="280" y="521"/>
                      </a:cubicBezTo>
                      <a:cubicBezTo>
                        <a:pt x="272" y="521"/>
                        <a:pt x="272" y="521"/>
                        <a:pt x="272" y="521"/>
                      </a:cubicBezTo>
                      <a:cubicBezTo>
                        <a:pt x="266" y="517"/>
                        <a:pt x="266" y="517"/>
                        <a:pt x="266" y="517"/>
                      </a:cubicBezTo>
                      <a:cubicBezTo>
                        <a:pt x="259" y="517"/>
                        <a:pt x="259" y="517"/>
                        <a:pt x="259" y="517"/>
                      </a:cubicBezTo>
                      <a:cubicBezTo>
                        <a:pt x="259" y="517"/>
                        <a:pt x="254" y="516"/>
                        <a:pt x="254" y="515"/>
                      </a:cubicBezTo>
                      <a:cubicBezTo>
                        <a:pt x="253" y="513"/>
                        <a:pt x="247" y="510"/>
                        <a:pt x="247" y="510"/>
                      </a:cubicBezTo>
                      <a:cubicBezTo>
                        <a:pt x="247" y="510"/>
                        <a:pt x="247" y="504"/>
                        <a:pt x="247" y="503"/>
                      </a:cubicBezTo>
                      <a:cubicBezTo>
                        <a:pt x="247" y="502"/>
                        <a:pt x="248" y="492"/>
                        <a:pt x="248" y="492"/>
                      </a:cubicBezTo>
                      <a:cubicBezTo>
                        <a:pt x="252" y="487"/>
                        <a:pt x="252" y="487"/>
                        <a:pt x="252" y="487"/>
                      </a:cubicBezTo>
                      <a:cubicBezTo>
                        <a:pt x="258" y="485"/>
                        <a:pt x="258" y="485"/>
                        <a:pt x="258" y="485"/>
                      </a:cubicBezTo>
                      <a:cubicBezTo>
                        <a:pt x="260" y="489"/>
                        <a:pt x="260" y="489"/>
                        <a:pt x="260" y="489"/>
                      </a:cubicBezTo>
                      <a:cubicBezTo>
                        <a:pt x="267" y="492"/>
                        <a:pt x="267" y="492"/>
                        <a:pt x="267" y="492"/>
                      </a:cubicBezTo>
                      <a:cubicBezTo>
                        <a:pt x="271" y="489"/>
                        <a:pt x="271" y="489"/>
                        <a:pt x="271" y="489"/>
                      </a:cubicBezTo>
                      <a:cubicBezTo>
                        <a:pt x="273" y="483"/>
                        <a:pt x="273" y="483"/>
                        <a:pt x="273" y="483"/>
                      </a:cubicBezTo>
                      <a:cubicBezTo>
                        <a:pt x="279" y="481"/>
                        <a:pt x="279" y="481"/>
                        <a:pt x="279" y="481"/>
                      </a:cubicBezTo>
                      <a:cubicBezTo>
                        <a:pt x="286" y="484"/>
                        <a:pt x="286" y="484"/>
                        <a:pt x="286" y="484"/>
                      </a:cubicBezTo>
                      <a:cubicBezTo>
                        <a:pt x="291" y="489"/>
                        <a:pt x="291" y="489"/>
                        <a:pt x="291" y="489"/>
                      </a:cubicBezTo>
                      <a:cubicBezTo>
                        <a:pt x="301" y="492"/>
                        <a:pt x="301" y="492"/>
                        <a:pt x="301" y="492"/>
                      </a:cubicBezTo>
                      <a:cubicBezTo>
                        <a:pt x="310" y="490"/>
                        <a:pt x="310" y="490"/>
                        <a:pt x="310" y="490"/>
                      </a:cubicBezTo>
                      <a:cubicBezTo>
                        <a:pt x="318" y="489"/>
                        <a:pt x="318" y="489"/>
                        <a:pt x="318" y="489"/>
                      </a:cubicBezTo>
                      <a:cubicBezTo>
                        <a:pt x="318" y="489"/>
                        <a:pt x="322" y="489"/>
                        <a:pt x="324" y="489"/>
                      </a:cubicBezTo>
                      <a:cubicBezTo>
                        <a:pt x="325" y="488"/>
                        <a:pt x="331" y="486"/>
                        <a:pt x="331" y="486"/>
                      </a:cubicBezTo>
                      <a:cubicBezTo>
                        <a:pt x="341" y="483"/>
                        <a:pt x="341" y="483"/>
                        <a:pt x="341" y="483"/>
                      </a:cubicBezTo>
                      <a:cubicBezTo>
                        <a:pt x="347" y="475"/>
                        <a:pt x="347" y="475"/>
                        <a:pt x="347" y="475"/>
                      </a:cubicBezTo>
                      <a:cubicBezTo>
                        <a:pt x="355" y="478"/>
                        <a:pt x="355" y="478"/>
                        <a:pt x="355" y="478"/>
                      </a:cubicBezTo>
                      <a:cubicBezTo>
                        <a:pt x="362" y="479"/>
                        <a:pt x="362" y="479"/>
                        <a:pt x="362" y="479"/>
                      </a:cubicBezTo>
                      <a:cubicBezTo>
                        <a:pt x="365" y="474"/>
                        <a:pt x="365" y="474"/>
                        <a:pt x="365" y="474"/>
                      </a:cubicBezTo>
                      <a:cubicBezTo>
                        <a:pt x="372" y="470"/>
                        <a:pt x="372" y="470"/>
                        <a:pt x="372" y="470"/>
                      </a:cubicBezTo>
                      <a:cubicBezTo>
                        <a:pt x="376" y="476"/>
                        <a:pt x="376" y="476"/>
                        <a:pt x="376" y="476"/>
                      </a:cubicBezTo>
                      <a:close/>
                      <a:moveTo>
                        <a:pt x="388" y="469"/>
                      </a:moveTo>
                      <a:cubicBezTo>
                        <a:pt x="388" y="469"/>
                        <a:pt x="388" y="469"/>
                        <a:pt x="388" y="469"/>
                      </a:cubicBezTo>
                      <a:cubicBezTo>
                        <a:pt x="384" y="473"/>
                        <a:pt x="384" y="473"/>
                        <a:pt x="384" y="473"/>
                      </a:cubicBezTo>
                      <a:cubicBezTo>
                        <a:pt x="380" y="476"/>
                        <a:pt x="380" y="476"/>
                        <a:pt x="380" y="476"/>
                      </a:cubicBezTo>
                      <a:cubicBezTo>
                        <a:pt x="380" y="476"/>
                        <a:pt x="381" y="480"/>
                        <a:pt x="381" y="482"/>
                      </a:cubicBezTo>
                      <a:cubicBezTo>
                        <a:pt x="382" y="484"/>
                        <a:pt x="385" y="489"/>
                        <a:pt x="385" y="489"/>
                      </a:cubicBezTo>
                      <a:cubicBezTo>
                        <a:pt x="395" y="489"/>
                        <a:pt x="395" y="489"/>
                        <a:pt x="395" y="489"/>
                      </a:cubicBezTo>
                      <a:cubicBezTo>
                        <a:pt x="402" y="485"/>
                        <a:pt x="402" y="485"/>
                        <a:pt x="402" y="485"/>
                      </a:cubicBezTo>
                      <a:cubicBezTo>
                        <a:pt x="403" y="478"/>
                        <a:pt x="403" y="478"/>
                        <a:pt x="403" y="478"/>
                      </a:cubicBezTo>
                      <a:cubicBezTo>
                        <a:pt x="406" y="471"/>
                        <a:pt x="406" y="471"/>
                        <a:pt x="406" y="471"/>
                      </a:cubicBezTo>
                      <a:cubicBezTo>
                        <a:pt x="412" y="467"/>
                        <a:pt x="412" y="467"/>
                        <a:pt x="412" y="467"/>
                      </a:cubicBezTo>
                      <a:cubicBezTo>
                        <a:pt x="417" y="462"/>
                        <a:pt x="417" y="462"/>
                        <a:pt x="417" y="462"/>
                      </a:cubicBezTo>
                      <a:cubicBezTo>
                        <a:pt x="420" y="457"/>
                        <a:pt x="420" y="457"/>
                        <a:pt x="420" y="457"/>
                      </a:cubicBezTo>
                      <a:cubicBezTo>
                        <a:pt x="421" y="444"/>
                        <a:pt x="421" y="444"/>
                        <a:pt x="421" y="444"/>
                      </a:cubicBezTo>
                      <a:cubicBezTo>
                        <a:pt x="424" y="434"/>
                        <a:pt x="424" y="434"/>
                        <a:pt x="424" y="434"/>
                      </a:cubicBezTo>
                      <a:cubicBezTo>
                        <a:pt x="440" y="428"/>
                        <a:pt x="440" y="428"/>
                        <a:pt x="440" y="428"/>
                      </a:cubicBezTo>
                      <a:cubicBezTo>
                        <a:pt x="443" y="426"/>
                        <a:pt x="443" y="426"/>
                        <a:pt x="443" y="426"/>
                      </a:cubicBezTo>
                      <a:cubicBezTo>
                        <a:pt x="443" y="426"/>
                        <a:pt x="443" y="424"/>
                        <a:pt x="442" y="422"/>
                      </a:cubicBezTo>
                      <a:cubicBezTo>
                        <a:pt x="442" y="421"/>
                        <a:pt x="439" y="418"/>
                        <a:pt x="439" y="418"/>
                      </a:cubicBezTo>
                      <a:cubicBezTo>
                        <a:pt x="439" y="418"/>
                        <a:pt x="440" y="415"/>
                        <a:pt x="440" y="414"/>
                      </a:cubicBezTo>
                      <a:cubicBezTo>
                        <a:pt x="440" y="413"/>
                        <a:pt x="439" y="406"/>
                        <a:pt x="439" y="406"/>
                      </a:cubicBezTo>
                      <a:cubicBezTo>
                        <a:pt x="437" y="399"/>
                        <a:pt x="437" y="399"/>
                        <a:pt x="437" y="399"/>
                      </a:cubicBezTo>
                      <a:cubicBezTo>
                        <a:pt x="437" y="399"/>
                        <a:pt x="435" y="399"/>
                        <a:pt x="432" y="397"/>
                      </a:cubicBezTo>
                      <a:cubicBezTo>
                        <a:pt x="429" y="396"/>
                        <a:pt x="424" y="393"/>
                        <a:pt x="424" y="393"/>
                      </a:cubicBezTo>
                      <a:cubicBezTo>
                        <a:pt x="419" y="391"/>
                        <a:pt x="419" y="391"/>
                        <a:pt x="419" y="391"/>
                      </a:cubicBezTo>
                      <a:cubicBezTo>
                        <a:pt x="413" y="390"/>
                        <a:pt x="413" y="390"/>
                        <a:pt x="413" y="390"/>
                      </a:cubicBezTo>
                      <a:cubicBezTo>
                        <a:pt x="411" y="385"/>
                        <a:pt x="411" y="385"/>
                        <a:pt x="411" y="385"/>
                      </a:cubicBezTo>
                      <a:cubicBezTo>
                        <a:pt x="415" y="371"/>
                        <a:pt x="415" y="371"/>
                        <a:pt x="415" y="371"/>
                      </a:cubicBezTo>
                      <a:cubicBezTo>
                        <a:pt x="412" y="364"/>
                        <a:pt x="412" y="364"/>
                        <a:pt x="412" y="364"/>
                      </a:cubicBezTo>
                      <a:cubicBezTo>
                        <a:pt x="421" y="354"/>
                        <a:pt x="421" y="354"/>
                        <a:pt x="421" y="354"/>
                      </a:cubicBezTo>
                      <a:cubicBezTo>
                        <a:pt x="425" y="347"/>
                        <a:pt x="425" y="347"/>
                        <a:pt x="425" y="347"/>
                      </a:cubicBezTo>
                      <a:cubicBezTo>
                        <a:pt x="430" y="343"/>
                        <a:pt x="430" y="343"/>
                        <a:pt x="430" y="343"/>
                      </a:cubicBezTo>
                      <a:cubicBezTo>
                        <a:pt x="438" y="345"/>
                        <a:pt x="438" y="345"/>
                        <a:pt x="438" y="345"/>
                      </a:cubicBezTo>
                      <a:cubicBezTo>
                        <a:pt x="441" y="349"/>
                        <a:pt x="441" y="349"/>
                        <a:pt x="441" y="349"/>
                      </a:cubicBezTo>
                      <a:cubicBezTo>
                        <a:pt x="446" y="350"/>
                        <a:pt x="446" y="350"/>
                        <a:pt x="446" y="350"/>
                      </a:cubicBezTo>
                      <a:cubicBezTo>
                        <a:pt x="455" y="350"/>
                        <a:pt x="455" y="350"/>
                        <a:pt x="455" y="350"/>
                      </a:cubicBezTo>
                      <a:cubicBezTo>
                        <a:pt x="465" y="352"/>
                        <a:pt x="465" y="352"/>
                        <a:pt x="465" y="352"/>
                      </a:cubicBezTo>
                      <a:cubicBezTo>
                        <a:pt x="469" y="358"/>
                        <a:pt x="469" y="358"/>
                        <a:pt x="469" y="358"/>
                      </a:cubicBezTo>
                      <a:cubicBezTo>
                        <a:pt x="473" y="365"/>
                        <a:pt x="473" y="365"/>
                        <a:pt x="473" y="365"/>
                      </a:cubicBezTo>
                      <a:cubicBezTo>
                        <a:pt x="473" y="365"/>
                        <a:pt x="475" y="368"/>
                        <a:pt x="476" y="369"/>
                      </a:cubicBezTo>
                      <a:cubicBezTo>
                        <a:pt x="476" y="369"/>
                        <a:pt x="480" y="372"/>
                        <a:pt x="481" y="372"/>
                      </a:cubicBezTo>
                      <a:cubicBezTo>
                        <a:pt x="482" y="373"/>
                        <a:pt x="488" y="374"/>
                        <a:pt x="488" y="374"/>
                      </a:cubicBezTo>
                      <a:cubicBezTo>
                        <a:pt x="488" y="374"/>
                        <a:pt x="488" y="367"/>
                        <a:pt x="489" y="365"/>
                      </a:cubicBezTo>
                      <a:cubicBezTo>
                        <a:pt x="490" y="364"/>
                        <a:pt x="492" y="360"/>
                        <a:pt x="492" y="359"/>
                      </a:cubicBezTo>
                      <a:cubicBezTo>
                        <a:pt x="492" y="358"/>
                        <a:pt x="490" y="351"/>
                        <a:pt x="490" y="351"/>
                      </a:cubicBezTo>
                      <a:cubicBezTo>
                        <a:pt x="483" y="343"/>
                        <a:pt x="483" y="343"/>
                        <a:pt x="483" y="343"/>
                      </a:cubicBezTo>
                      <a:cubicBezTo>
                        <a:pt x="476" y="338"/>
                        <a:pt x="476" y="338"/>
                        <a:pt x="476" y="338"/>
                      </a:cubicBezTo>
                      <a:cubicBezTo>
                        <a:pt x="459" y="327"/>
                        <a:pt x="459" y="327"/>
                        <a:pt x="459" y="327"/>
                      </a:cubicBezTo>
                      <a:cubicBezTo>
                        <a:pt x="435" y="319"/>
                        <a:pt x="435" y="319"/>
                        <a:pt x="435" y="319"/>
                      </a:cubicBezTo>
                      <a:cubicBezTo>
                        <a:pt x="419" y="309"/>
                        <a:pt x="419" y="309"/>
                        <a:pt x="419" y="309"/>
                      </a:cubicBezTo>
                      <a:cubicBezTo>
                        <a:pt x="406" y="306"/>
                        <a:pt x="406" y="306"/>
                        <a:pt x="406" y="306"/>
                      </a:cubicBezTo>
                      <a:cubicBezTo>
                        <a:pt x="406" y="306"/>
                        <a:pt x="392" y="299"/>
                        <a:pt x="391" y="299"/>
                      </a:cubicBezTo>
                      <a:cubicBezTo>
                        <a:pt x="390" y="299"/>
                        <a:pt x="387" y="298"/>
                        <a:pt x="387" y="298"/>
                      </a:cubicBezTo>
                      <a:cubicBezTo>
                        <a:pt x="387" y="298"/>
                        <a:pt x="379" y="296"/>
                        <a:pt x="379" y="295"/>
                      </a:cubicBezTo>
                      <a:cubicBezTo>
                        <a:pt x="378" y="294"/>
                        <a:pt x="377" y="291"/>
                        <a:pt x="376" y="290"/>
                      </a:cubicBezTo>
                      <a:cubicBezTo>
                        <a:pt x="376" y="289"/>
                        <a:pt x="377" y="286"/>
                        <a:pt x="377" y="286"/>
                      </a:cubicBezTo>
                      <a:cubicBezTo>
                        <a:pt x="381" y="282"/>
                        <a:pt x="381" y="282"/>
                        <a:pt x="381" y="282"/>
                      </a:cubicBezTo>
                      <a:cubicBezTo>
                        <a:pt x="381" y="282"/>
                        <a:pt x="385" y="278"/>
                        <a:pt x="385" y="277"/>
                      </a:cubicBezTo>
                      <a:cubicBezTo>
                        <a:pt x="385" y="276"/>
                        <a:pt x="386" y="270"/>
                        <a:pt x="386" y="270"/>
                      </a:cubicBezTo>
                      <a:cubicBezTo>
                        <a:pt x="381" y="268"/>
                        <a:pt x="381" y="268"/>
                        <a:pt x="381" y="268"/>
                      </a:cubicBezTo>
                      <a:cubicBezTo>
                        <a:pt x="369" y="269"/>
                        <a:pt x="369" y="269"/>
                        <a:pt x="369" y="269"/>
                      </a:cubicBezTo>
                      <a:cubicBezTo>
                        <a:pt x="350" y="271"/>
                        <a:pt x="350" y="271"/>
                        <a:pt x="350" y="271"/>
                      </a:cubicBezTo>
                      <a:cubicBezTo>
                        <a:pt x="340" y="271"/>
                        <a:pt x="340" y="271"/>
                        <a:pt x="340" y="271"/>
                      </a:cubicBezTo>
                      <a:cubicBezTo>
                        <a:pt x="327" y="263"/>
                        <a:pt x="327" y="263"/>
                        <a:pt x="327" y="263"/>
                      </a:cubicBezTo>
                      <a:cubicBezTo>
                        <a:pt x="316" y="254"/>
                        <a:pt x="316" y="254"/>
                        <a:pt x="316" y="254"/>
                      </a:cubicBezTo>
                      <a:cubicBezTo>
                        <a:pt x="309" y="250"/>
                        <a:pt x="309" y="250"/>
                        <a:pt x="309" y="250"/>
                      </a:cubicBezTo>
                      <a:cubicBezTo>
                        <a:pt x="299" y="239"/>
                        <a:pt x="299" y="239"/>
                        <a:pt x="299" y="239"/>
                      </a:cubicBezTo>
                      <a:cubicBezTo>
                        <a:pt x="294" y="232"/>
                        <a:pt x="294" y="232"/>
                        <a:pt x="294" y="232"/>
                      </a:cubicBezTo>
                      <a:cubicBezTo>
                        <a:pt x="294" y="232"/>
                        <a:pt x="291" y="222"/>
                        <a:pt x="290" y="218"/>
                      </a:cubicBezTo>
                      <a:cubicBezTo>
                        <a:pt x="289" y="215"/>
                        <a:pt x="281" y="204"/>
                        <a:pt x="281" y="204"/>
                      </a:cubicBezTo>
                      <a:cubicBezTo>
                        <a:pt x="281" y="204"/>
                        <a:pt x="277" y="195"/>
                        <a:pt x="277" y="194"/>
                      </a:cubicBezTo>
                      <a:cubicBezTo>
                        <a:pt x="277" y="193"/>
                        <a:pt x="275" y="186"/>
                        <a:pt x="275" y="186"/>
                      </a:cubicBezTo>
                      <a:cubicBezTo>
                        <a:pt x="262" y="180"/>
                        <a:pt x="262" y="180"/>
                        <a:pt x="262" y="180"/>
                      </a:cubicBezTo>
                      <a:cubicBezTo>
                        <a:pt x="245" y="170"/>
                        <a:pt x="245" y="170"/>
                        <a:pt x="245" y="170"/>
                      </a:cubicBezTo>
                      <a:cubicBezTo>
                        <a:pt x="231" y="161"/>
                        <a:pt x="231" y="161"/>
                        <a:pt x="231" y="161"/>
                      </a:cubicBezTo>
                      <a:cubicBezTo>
                        <a:pt x="224" y="151"/>
                        <a:pt x="224" y="151"/>
                        <a:pt x="224" y="151"/>
                      </a:cubicBezTo>
                      <a:cubicBezTo>
                        <a:pt x="218" y="135"/>
                        <a:pt x="218" y="135"/>
                        <a:pt x="218" y="135"/>
                      </a:cubicBezTo>
                      <a:cubicBezTo>
                        <a:pt x="217" y="122"/>
                        <a:pt x="217" y="122"/>
                        <a:pt x="217" y="122"/>
                      </a:cubicBezTo>
                      <a:cubicBezTo>
                        <a:pt x="224" y="119"/>
                        <a:pt x="224" y="119"/>
                        <a:pt x="224" y="119"/>
                      </a:cubicBezTo>
                      <a:cubicBezTo>
                        <a:pt x="224" y="113"/>
                        <a:pt x="224" y="113"/>
                        <a:pt x="224" y="113"/>
                      </a:cubicBezTo>
                      <a:cubicBezTo>
                        <a:pt x="218" y="109"/>
                        <a:pt x="218" y="109"/>
                        <a:pt x="218" y="109"/>
                      </a:cubicBezTo>
                      <a:cubicBezTo>
                        <a:pt x="218" y="103"/>
                        <a:pt x="218" y="103"/>
                        <a:pt x="218" y="103"/>
                      </a:cubicBezTo>
                      <a:cubicBezTo>
                        <a:pt x="215" y="101"/>
                        <a:pt x="215" y="101"/>
                        <a:pt x="215" y="101"/>
                      </a:cubicBezTo>
                      <a:cubicBezTo>
                        <a:pt x="211" y="96"/>
                        <a:pt x="211" y="96"/>
                        <a:pt x="211" y="96"/>
                      </a:cubicBezTo>
                      <a:cubicBezTo>
                        <a:pt x="219" y="92"/>
                        <a:pt x="219" y="92"/>
                        <a:pt x="219" y="92"/>
                      </a:cubicBezTo>
                      <a:cubicBezTo>
                        <a:pt x="219" y="92"/>
                        <a:pt x="222" y="88"/>
                        <a:pt x="226" y="88"/>
                      </a:cubicBezTo>
                      <a:cubicBezTo>
                        <a:pt x="230" y="88"/>
                        <a:pt x="233" y="84"/>
                        <a:pt x="233" y="84"/>
                      </a:cubicBezTo>
                      <a:cubicBezTo>
                        <a:pt x="233" y="84"/>
                        <a:pt x="236" y="81"/>
                        <a:pt x="237" y="81"/>
                      </a:cubicBezTo>
                      <a:cubicBezTo>
                        <a:pt x="239" y="81"/>
                        <a:pt x="241" y="80"/>
                        <a:pt x="243" y="79"/>
                      </a:cubicBezTo>
                      <a:cubicBezTo>
                        <a:pt x="244" y="79"/>
                        <a:pt x="247" y="78"/>
                        <a:pt x="247" y="78"/>
                      </a:cubicBezTo>
                      <a:cubicBezTo>
                        <a:pt x="247" y="77"/>
                        <a:pt x="248" y="70"/>
                        <a:pt x="249" y="70"/>
                      </a:cubicBezTo>
                      <a:cubicBezTo>
                        <a:pt x="250" y="70"/>
                        <a:pt x="252" y="74"/>
                        <a:pt x="255" y="74"/>
                      </a:cubicBezTo>
                      <a:cubicBezTo>
                        <a:pt x="256" y="74"/>
                        <a:pt x="258" y="76"/>
                        <a:pt x="259" y="75"/>
                      </a:cubicBezTo>
                      <a:cubicBezTo>
                        <a:pt x="261" y="74"/>
                        <a:pt x="262" y="71"/>
                        <a:pt x="262" y="71"/>
                      </a:cubicBezTo>
                      <a:cubicBezTo>
                        <a:pt x="263" y="70"/>
                        <a:pt x="264" y="69"/>
                        <a:pt x="267" y="68"/>
                      </a:cubicBezTo>
                      <a:cubicBezTo>
                        <a:pt x="267" y="68"/>
                        <a:pt x="267" y="68"/>
                        <a:pt x="267" y="68"/>
                      </a:cubicBezTo>
                      <a:cubicBezTo>
                        <a:pt x="267" y="68"/>
                        <a:pt x="265" y="67"/>
                        <a:pt x="265" y="67"/>
                      </a:cubicBezTo>
                      <a:cubicBezTo>
                        <a:pt x="265" y="66"/>
                        <a:pt x="265" y="66"/>
                        <a:pt x="266" y="65"/>
                      </a:cubicBezTo>
                      <a:cubicBezTo>
                        <a:pt x="266" y="64"/>
                        <a:pt x="266" y="64"/>
                        <a:pt x="267" y="63"/>
                      </a:cubicBezTo>
                      <a:cubicBezTo>
                        <a:pt x="267" y="63"/>
                        <a:pt x="267" y="61"/>
                        <a:pt x="267" y="61"/>
                      </a:cubicBezTo>
                      <a:cubicBezTo>
                        <a:pt x="267" y="61"/>
                        <a:pt x="268" y="60"/>
                        <a:pt x="267" y="60"/>
                      </a:cubicBezTo>
                      <a:cubicBezTo>
                        <a:pt x="267" y="59"/>
                        <a:pt x="266" y="58"/>
                        <a:pt x="266" y="58"/>
                      </a:cubicBezTo>
                      <a:cubicBezTo>
                        <a:pt x="266" y="58"/>
                        <a:pt x="266" y="58"/>
                        <a:pt x="265" y="58"/>
                      </a:cubicBezTo>
                      <a:cubicBezTo>
                        <a:pt x="265" y="59"/>
                        <a:pt x="265" y="59"/>
                        <a:pt x="265" y="59"/>
                      </a:cubicBezTo>
                      <a:cubicBezTo>
                        <a:pt x="263" y="60"/>
                        <a:pt x="263" y="60"/>
                        <a:pt x="263" y="60"/>
                      </a:cubicBezTo>
                      <a:cubicBezTo>
                        <a:pt x="263" y="60"/>
                        <a:pt x="262" y="58"/>
                        <a:pt x="262" y="58"/>
                      </a:cubicBezTo>
                      <a:cubicBezTo>
                        <a:pt x="261" y="58"/>
                        <a:pt x="261" y="58"/>
                        <a:pt x="261" y="57"/>
                      </a:cubicBezTo>
                      <a:cubicBezTo>
                        <a:pt x="261" y="57"/>
                        <a:pt x="262" y="56"/>
                        <a:pt x="262" y="56"/>
                      </a:cubicBezTo>
                      <a:cubicBezTo>
                        <a:pt x="262" y="56"/>
                        <a:pt x="261" y="55"/>
                        <a:pt x="261" y="55"/>
                      </a:cubicBezTo>
                      <a:cubicBezTo>
                        <a:pt x="261" y="55"/>
                        <a:pt x="262" y="53"/>
                        <a:pt x="263" y="53"/>
                      </a:cubicBezTo>
                      <a:cubicBezTo>
                        <a:pt x="264" y="52"/>
                        <a:pt x="266" y="50"/>
                        <a:pt x="266" y="50"/>
                      </a:cubicBezTo>
                      <a:cubicBezTo>
                        <a:pt x="267" y="48"/>
                        <a:pt x="267" y="48"/>
                        <a:pt x="267" y="48"/>
                      </a:cubicBezTo>
                      <a:cubicBezTo>
                        <a:pt x="266" y="47"/>
                        <a:pt x="266" y="47"/>
                        <a:pt x="266" y="47"/>
                      </a:cubicBezTo>
                      <a:cubicBezTo>
                        <a:pt x="266" y="47"/>
                        <a:pt x="265" y="48"/>
                        <a:pt x="265" y="48"/>
                      </a:cubicBezTo>
                      <a:cubicBezTo>
                        <a:pt x="263" y="47"/>
                        <a:pt x="263" y="47"/>
                        <a:pt x="263" y="47"/>
                      </a:cubicBezTo>
                      <a:cubicBezTo>
                        <a:pt x="261" y="46"/>
                        <a:pt x="261" y="46"/>
                        <a:pt x="261" y="46"/>
                      </a:cubicBezTo>
                      <a:cubicBezTo>
                        <a:pt x="258" y="46"/>
                        <a:pt x="258" y="46"/>
                        <a:pt x="258" y="46"/>
                      </a:cubicBezTo>
                      <a:cubicBezTo>
                        <a:pt x="256" y="44"/>
                        <a:pt x="256" y="44"/>
                        <a:pt x="256" y="44"/>
                      </a:cubicBezTo>
                      <a:cubicBezTo>
                        <a:pt x="257" y="42"/>
                        <a:pt x="257" y="42"/>
                        <a:pt x="257" y="42"/>
                      </a:cubicBezTo>
                      <a:cubicBezTo>
                        <a:pt x="257" y="40"/>
                        <a:pt x="257" y="40"/>
                        <a:pt x="257" y="40"/>
                      </a:cubicBezTo>
                      <a:cubicBezTo>
                        <a:pt x="257" y="40"/>
                        <a:pt x="259" y="38"/>
                        <a:pt x="259" y="38"/>
                      </a:cubicBezTo>
                      <a:cubicBezTo>
                        <a:pt x="260" y="37"/>
                        <a:pt x="262" y="36"/>
                        <a:pt x="262" y="36"/>
                      </a:cubicBezTo>
                      <a:cubicBezTo>
                        <a:pt x="263" y="34"/>
                        <a:pt x="263" y="34"/>
                        <a:pt x="263" y="34"/>
                      </a:cubicBezTo>
                      <a:cubicBezTo>
                        <a:pt x="263" y="34"/>
                        <a:pt x="264" y="33"/>
                        <a:pt x="265" y="33"/>
                      </a:cubicBezTo>
                      <a:cubicBezTo>
                        <a:pt x="266" y="33"/>
                        <a:pt x="266" y="34"/>
                        <a:pt x="266" y="33"/>
                      </a:cubicBezTo>
                      <a:cubicBezTo>
                        <a:pt x="267" y="33"/>
                        <a:pt x="267" y="31"/>
                        <a:pt x="267" y="30"/>
                      </a:cubicBezTo>
                      <a:cubicBezTo>
                        <a:pt x="267" y="27"/>
                        <a:pt x="267" y="27"/>
                        <a:pt x="267" y="27"/>
                      </a:cubicBezTo>
                      <a:cubicBezTo>
                        <a:pt x="262" y="28"/>
                        <a:pt x="262" y="28"/>
                        <a:pt x="262" y="28"/>
                      </a:cubicBezTo>
                      <a:cubicBezTo>
                        <a:pt x="262" y="28"/>
                        <a:pt x="257" y="27"/>
                        <a:pt x="254" y="27"/>
                      </a:cubicBezTo>
                      <a:cubicBezTo>
                        <a:pt x="250" y="27"/>
                        <a:pt x="242" y="25"/>
                        <a:pt x="242" y="25"/>
                      </a:cubicBezTo>
                      <a:cubicBezTo>
                        <a:pt x="232" y="22"/>
                        <a:pt x="232" y="22"/>
                        <a:pt x="232" y="22"/>
                      </a:cubicBezTo>
                      <a:cubicBezTo>
                        <a:pt x="226" y="22"/>
                        <a:pt x="226" y="22"/>
                        <a:pt x="226" y="22"/>
                      </a:cubicBezTo>
                      <a:cubicBezTo>
                        <a:pt x="217" y="21"/>
                        <a:pt x="217" y="21"/>
                        <a:pt x="217" y="21"/>
                      </a:cubicBezTo>
                      <a:cubicBezTo>
                        <a:pt x="217" y="21"/>
                        <a:pt x="216" y="19"/>
                        <a:pt x="215" y="18"/>
                      </a:cubicBezTo>
                      <a:cubicBezTo>
                        <a:pt x="215" y="17"/>
                        <a:pt x="212" y="15"/>
                        <a:pt x="212" y="15"/>
                      </a:cubicBezTo>
                      <a:cubicBezTo>
                        <a:pt x="212" y="13"/>
                        <a:pt x="212" y="13"/>
                        <a:pt x="212" y="13"/>
                      </a:cubicBezTo>
                      <a:cubicBezTo>
                        <a:pt x="210" y="8"/>
                        <a:pt x="210" y="8"/>
                        <a:pt x="210" y="8"/>
                      </a:cubicBezTo>
                      <a:cubicBezTo>
                        <a:pt x="208" y="4"/>
                        <a:pt x="208" y="4"/>
                        <a:pt x="208" y="4"/>
                      </a:cubicBezTo>
                      <a:cubicBezTo>
                        <a:pt x="210" y="1"/>
                        <a:pt x="210" y="1"/>
                        <a:pt x="210" y="1"/>
                      </a:cubicBezTo>
                      <a:cubicBezTo>
                        <a:pt x="208" y="0"/>
                        <a:pt x="208" y="0"/>
                        <a:pt x="208" y="0"/>
                      </a:cubicBezTo>
                      <a:cubicBezTo>
                        <a:pt x="208" y="0"/>
                        <a:pt x="204" y="1"/>
                        <a:pt x="202" y="1"/>
                      </a:cubicBezTo>
                      <a:cubicBezTo>
                        <a:pt x="201" y="2"/>
                        <a:pt x="195" y="3"/>
                        <a:pt x="195" y="3"/>
                      </a:cubicBezTo>
                      <a:cubicBezTo>
                        <a:pt x="193" y="4"/>
                        <a:pt x="193" y="4"/>
                        <a:pt x="193" y="4"/>
                      </a:cubicBezTo>
                      <a:cubicBezTo>
                        <a:pt x="185" y="4"/>
                        <a:pt x="185" y="4"/>
                        <a:pt x="185" y="4"/>
                      </a:cubicBezTo>
                      <a:cubicBezTo>
                        <a:pt x="177" y="5"/>
                        <a:pt x="177" y="5"/>
                        <a:pt x="177" y="5"/>
                      </a:cubicBezTo>
                      <a:cubicBezTo>
                        <a:pt x="174" y="7"/>
                        <a:pt x="174" y="7"/>
                        <a:pt x="174" y="7"/>
                      </a:cubicBezTo>
                      <a:cubicBezTo>
                        <a:pt x="168" y="10"/>
                        <a:pt x="168" y="10"/>
                        <a:pt x="168" y="10"/>
                      </a:cubicBezTo>
                      <a:cubicBezTo>
                        <a:pt x="168" y="14"/>
                        <a:pt x="168" y="14"/>
                        <a:pt x="168" y="14"/>
                      </a:cubicBezTo>
                      <a:cubicBezTo>
                        <a:pt x="165" y="18"/>
                        <a:pt x="165" y="18"/>
                        <a:pt x="165" y="18"/>
                      </a:cubicBezTo>
                      <a:cubicBezTo>
                        <a:pt x="160" y="18"/>
                        <a:pt x="160" y="18"/>
                        <a:pt x="160" y="18"/>
                      </a:cubicBezTo>
                      <a:cubicBezTo>
                        <a:pt x="155" y="14"/>
                        <a:pt x="155" y="14"/>
                        <a:pt x="155" y="14"/>
                      </a:cubicBezTo>
                      <a:cubicBezTo>
                        <a:pt x="153" y="16"/>
                        <a:pt x="153" y="16"/>
                        <a:pt x="153" y="16"/>
                      </a:cubicBezTo>
                      <a:cubicBezTo>
                        <a:pt x="148" y="15"/>
                        <a:pt x="148" y="15"/>
                        <a:pt x="148" y="15"/>
                      </a:cubicBezTo>
                      <a:cubicBezTo>
                        <a:pt x="147" y="15"/>
                        <a:pt x="147" y="15"/>
                        <a:pt x="147" y="15"/>
                      </a:cubicBezTo>
                      <a:cubicBezTo>
                        <a:pt x="146" y="15"/>
                        <a:pt x="146" y="15"/>
                        <a:pt x="146" y="15"/>
                      </a:cubicBezTo>
                      <a:cubicBezTo>
                        <a:pt x="146" y="15"/>
                        <a:pt x="145" y="16"/>
                        <a:pt x="145" y="16"/>
                      </a:cubicBezTo>
                      <a:cubicBezTo>
                        <a:pt x="146" y="18"/>
                        <a:pt x="146" y="18"/>
                        <a:pt x="146" y="18"/>
                      </a:cubicBezTo>
                      <a:cubicBezTo>
                        <a:pt x="145" y="19"/>
                        <a:pt x="145" y="19"/>
                        <a:pt x="145" y="19"/>
                      </a:cubicBezTo>
                      <a:cubicBezTo>
                        <a:pt x="146" y="21"/>
                        <a:pt x="146" y="21"/>
                        <a:pt x="146" y="21"/>
                      </a:cubicBezTo>
                      <a:cubicBezTo>
                        <a:pt x="146" y="21"/>
                        <a:pt x="145" y="22"/>
                        <a:pt x="144" y="23"/>
                      </a:cubicBezTo>
                      <a:cubicBezTo>
                        <a:pt x="143" y="23"/>
                        <a:pt x="145" y="25"/>
                        <a:pt x="145" y="25"/>
                      </a:cubicBezTo>
                      <a:cubicBezTo>
                        <a:pt x="145" y="25"/>
                        <a:pt x="146" y="25"/>
                        <a:pt x="148" y="26"/>
                      </a:cubicBezTo>
                      <a:cubicBezTo>
                        <a:pt x="149" y="27"/>
                        <a:pt x="148" y="27"/>
                        <a:pt x="148" y="27"/>
                      </a:cubicBezTo>
                      <a:cubicBezTo>
                        <a:pt x="148" y="28"/>
                        <a:pt x="148" y="29"/>
                        <a:pt x="147" y="29"/>
                      </a:cubicBezTo>
                      <a:cubicBezTo>
                        <a:pt x="147" y="30"/>
                        <a:pt x="147" y="30"/>
                        <a:pt x="147" y="30"/>
                      </a:cubicBezTo>
                      <a:cubicBezTo>
                        <a:pt x="146" y="30"/>
                        <a:pt x="146" y="30"/>
                        <a:pt x="146" y="30"/>
                      </a:cubicBezTo>
                      <a:cubicBezTo>
                        <a:pt x="146" y="30"/>
                        <a:pt x="143" y="31"/>
                        <a:pt x="143" y="30"/>
                      </a:cubicBezTo>
                      <a:cubicBezTo>
                        <a:pt x="142" y="30"/>
                        <a:pt x="143" y="30"/>
                        <a:pt x="143" y="30"/>
                      </a:cubicBezTo>
                      <a:cubicBezTo>
                        <a:pt x="142" y="30"/>
                        <a:pt x="142" y="30"/>
                        <a:pt x="142" y="30"/>
                      </a:cubicBezTo>
                      <a:cubicBezTo>
                        <a:pt x="142" y="30"/>
                        <a:pt x="139" y="28"/>
                        <a:pt x="139" y="28"/>
                      </a:cubicBezTo>
                      <a:cubicBezTo>
                        <a:pt x="139" y="27"/>
                        <a:pt x="139" y="27"/>
                        <a:pt x="139" y="27"/>
                      </a:cubicBezTo>
                      <a:cubicBezTo>
                        <a:pt x="139" y="27"/>
                        <a:pt x="138" y="26"/>
                        <a:pt x="138" y="26"/>
                      </a:cubicBezTo>
                      <a:cubicBezTo>
                        <a:pt x="137" y="26"/>
                        <a:pt x="137" y="27"/>
                        <a:pt x="137" y="27"/>
                      </a:cubicBezTo>
                      <a:cubicBezTo>
                        <a:pt x="136" y="27"/>
                        <a:pt x="135" y="27"/>
                        <a:pt x="134" y="27"/>
                      </a:cubicBezTo>
                      <a:cubicBezTo>
                        <a:pt x="134" y="27"/>
                        <a:pt x="134" y="28"/>
                        <a:pt x="133" y="28"/>
                      </a:cubicBezTo>
                      <a:cubicBezTo>
                        <a:pt x="133" y="29"/>
                        <a:pt x="133" y="29"/>
                        <a:pt x="133" y="30"/>
                      </a:cubicBezTo>
                      <a:cubicBezTo>
                        <a:pt x="132" y="30"/>
                        <a:pt x="132" y="31"/>
                        <a:pt x="132" y="31"/>
                      </a:cubicBezTo>
                      <a:cubicBezTo>
                        <a:pt x="132" y="32"/>
                        <a:pt x="132" y="32"/>
                        <a:pt x="132" y="32"/>
                      </a:cubicBezTo>
                      <a:cubicBezTo>
                        <a:pt x="131" y="34"/>
                        <a:pt x="131" y="34"/>
                        <a:pt x="131" y="34"/>
                      </a:cubicBezTo>
                      <a:cubicBezTo>
                        <a:pt x="132" y="34"/>
                        <a:pt x="132" y="34"/>
                        <a:pt x="132" y="34"/>
                      </a:cubicBezTo>
                      <a:cubicBezTo>
                        <a:pt x="132" y="34"/>
                        <a:pt x="132" y="36"/>
                        <a:pt x="132" y="36"/>
                      </a:cubicBezTo>
                      <a:cubicBezTo>
                        <a:pt x="132" y="37"/>
                        <a:pt x="132" y="37"/>
                        <a:pt x="132" y="37"/>
                      </a:cubicBezTo>
                      <a:cubicBezTo>
                        <a:pt x="133" y="38"/>
                        <a:pt x="134" y="37"/>
                        <a:pt x="134" y="37"/>
                      </a:cubicBezTo>
                      <a:cubicBezTo>
                        <a:pt x="134" y="37"/>
                        <a:pt x="135" y="38"/>
                        <a:pt x="135" y="39"/>
                      </a:cubicBezTo>
                      <a:cubicBezTo>
                        <a:pt x="136" y="39"/>
                        <a:pt x="135" y="40"/>
                        <a:pt x="135" y="40"/>
                      </a:cubicBezTo>
                      <a:cubicBezTo>
                        <a:pt x="135" y="40"/>
                        <a:pt x="134" y="41"/>
                        <a:pt x="134" y="41"/>
                      </a:cubicBezTo>
                      <a:cubicBezTo>
                        <a:pt x="133" y="41"/>
                        <a:pt x="133" y="41"/>
                        <a:pt x="134" y="42"/>
                      </a:cubicBezTo>
                      <a:cubicBezTo>
                        <a:pt x="134" y="43"/>
                        <a:pt x="135" y="43"/>
                        <a:pt x="135" y="43"/>
                      </a:cubicBezTo>
                      <a:cubicBezTo>
                        <a:pt x="136" y="43"/>
                        <a:pt x="136" y="46"/>
                        <a:pt x="136" y="46"/>
                      </a:cubicBezTo>
                      <a:cubicBezTo>
                        <a:pt x="136" y="47"/>
                        <a:pt x="135" y="48"/>
                        <a:pt x="135" y="48"/>
                      </a:cubicBezTo>
                      <a:cubicBezTo>
                        <a:pt x="135" y="48"/>
                        <a:pt x="135" y="48"/>
                        <a:pt x="135" y="48"/>
                      </a:cubicBezTo>
                      <a:cubicBezTo>
                        <a:pt x="134" y="48"/>
                        <a:pt x="134" y="48"/>
                        <a:pt x="134" y="49"/>
                      </a:cubicBezTo>
                      <a:cubicBezTo>
                        <a:pt x="134" y="49"/>
                        <a:pt x="132" y="49"/>
                        <a:pt x="132" y="49"/>
                      </a:cubicBezTo>
                      <a:cubicBezTo>
                        <a:pt x="132" y="49"/>
                        <a:pt x="133" y="47"/>
                        <a:pt x="132" y="47"/>
                      </a:cubicBezTo>
                      <a:cubicBezTo>
                        <a:pt x="132" y="46"/>
                        <a:pt x="131" y="46"/>
                        <a:pt x="130" y="45"/>
                      </a:cubicBezTo>
                      <a:cubicBezTo>
                        <a:pt x="129" y="43"/>
                        <a:pt x="130" y="43"/>
                        <a:pt x="130" y="43"/>
                      </a:cubicBezTo>
                      <a:cubicBezTo>
                        <a:pt x="130" y="43"/>
                        <a:pt x="130" y="43"/>
                        <a:pt x="129" y="42"/>
                      </a:cubicBezTo>
                      <a:cubicBezTo>
                        <a:pt x="129" y="41"/>
                        <a:pt x="129" y="40"/>
                        <a:pt x="129" y="40"/>
                      </a:cubicBezTo>
                      <a:cubicBezTo>
                        <a:pt x="129" y="40"/>
                        <a:pt x="127" y="40"/>
                        <a:pt x="126" y="40"/>
                      </a:cubicBezTo>
                      <a:cubicBezTo>
                        <a:pt x="124" y="40"/>
                        <a:pt x="125" y="41"/>
                        <a:pt x="125" y="41"/>
                      </a:cubicBezTo>
                      <a:cubicBezTo>
                        <a:pt x="123" y="41"/>
                        <a:pt x="123" y="41"/>
                        <a:pt x="123" y="41"/>
                      </a:cubicBezTo>
                      <a:cubicBezTo>
                        <a:pt x="123" y="41"/>
                        <a:pt x="122" y="42"/>
                        <a:pt x="122" y="42"/>
                      </a:cubicBezTo>
                      <a:cubicBezTo>
                        <a:pt x="121" y="43"/>
                        <a:pt x="121" y="42"/>
                        <a:pt x="120" y="42"/>
                      </a:cubicBezTo>
                      <a:cubicBezTo>
                        <a:pt x="120" y="42"/>
                        <a:pt x="119" y="42"/>
                        <a:pt x="119" y="42"/>
                      </a:cubicBezTo>
                      <a:cubicBezTo>
                        <a:pt x="119" y="42"/>
                        <a:pt x="118" y="43"/>
                        <a:pt x="119" y="44"/>
                      </a:cubicBezTo>
                      <a:cubicBezTo>
                        <a:pt x="119" y="45"/>
                        <a:pt x="119" y="45"/>
                        <a:pt x="118" y="45"/>
                      </a:cubicBezTo>
                      <a:cubicBezTo>
                        <a:pt x="118" y="46"/>
                        <a:pt x="116" y="45"/>
                        <a:pt x="114" y="45"/>
                      </a:cubicBezTo>
                      <a:cubicBezTo>
                        <a:pt x="111" y="45"/>
                        <a:pt x="113" y="44"/>
                        <a:pt x="112" y="44"/>
                      </a:cubicBezTo>
                      <a:cubicBezTo>
                        <a:pt x="112" y="43"/>
                        <a:pt x="110" y="43"/>
                        <a:pt x="110" y="42"/>
                      </a:cubicBezTo>
                      <a:cubicBezTo>
                        <a:pt x="110" y="40"/>
                        <a:pt x="110" y="40"/>
                        <a:pt x="110" y="39"/>
                      </a:cubicBezTo>
                      <a:cubicBezTo>
                        <a:pt x="110" y="38"/>
                        <a:pt x="109" y="37"/>
                        <a:pt x="109" y="37"/>
                      </a:cubicBezTo>
                      <a:cubicBezTo>
                        <a:pt x="108" y="36"/>
                        <a:pt x="109" y="35"/>
                        <a:pt x="110" y="35"/>
                      </a:cubicBezTo>
                      <a:cubicBezTo>
                        <a:pt x="110" y="34"/>
                        <a:pt x="109" y="34"/>
                        <a:pt x="109" y="34"/>
                      </a:cubicBezTo>
                      <a:cubicBezTo>
                        <a:pt x="107" y="35"/>
                        <a:pt x="107" y="35"/>
                        <a:pt x="107" y="35"/>
                      </a:cubicBezTo>
                      <a:cubicBezTo>
                        <a:pt x="106" y="35"/>
                        <a:pt x="106" y="35"/>
                        <a:pt x="106" y="35"/>
                      </a:cubicBezTo>
                      <a:cubicBezTo>
                        <a:pt x="106" y="35"/>
                        <a:pt x="105" y="34"/>
                        <a:pt x="104" y="34"/>
                      </a:cubicBezTo>
                      <a:cubicBezTo>
                        <a:pt x="104" y="33"/>
                        <a:pt x="103" y="34"/>
                        <a:pt x="103" y="34"/>
                      </a:cubicBezTo>
                      <a:cubicBezTo>
                        <a:pt x="101" y="36"/>
                        <a:pt x="101" y="36"/>
                        <a:pt x="101" y="36"/>
                      </a:cubicBezTo>
                      <a:cubicBezTo>
                        <a:pt x="101" y="37"/>
                        <a:pt x="101" y="37"/>
                        <a:pt x="101" y="37"/>
                      </a:cubicBezTo>
                      <a:cubicBezTo>
                        <a:pt x="102" y="39"/>
                        <a:pt x="102" y="39"/>
                        <a:pt x="102" y="39"/>
                      </a:cubicBezTo>
                      <a:cubicBezTo>
                        <a:pt x="102" y="41"/>
                        <a:pt x="102" y="41"/>
                        <a:pt x="102" y="41"/>
                      </a:cubicBezTo>
                      <a:cubicBezTo>
                        <a:pt x="102" y="41"/>
                        <a:pt x="102" y="42"/>
                        <a:pt x="102" y="43"/>
                      </a:cubicBezTo>
                      <a:cubicBezTo>
                        <a:pt x="102" y="43"/>
                        <a:pt x="102" y="44"/>
                        <a:pt x="102" y="44"/>
                      </a:cubicBezTo>
                      <a:cubicBezTo>
                        <a:pt x="102" y="45"/>
                        <a:pt x="102" y="45"/>
                        <a:pt x="102" y="45"/>
                      </a:cubicBezTo>
                      <a:cubicBezTo>
                        <a:pt x="102" y="45"/>
                        <a:pt x="101" y="46"/>
                        <a:pt x="101" y="47"/>
                      </a:cubicBezTo>
                      <a:cubicBezTo>
                        <a:pt x="101" y="47"/>
                        <a:pt x="101" y="48"/>
                        <a:pt x="101" y="49"/>
                      </a:cubicBezTo>
                      <a:cubicBezTo>
                        <a:pt x="100" y="50"/>
                        <a:pt x="100" y="50"/>
                        <a:pt x="100" y="50"/>
                      </a:cubicBezTo>
                      <a:cubicBezTo>
                        <a:pt x="100" y="50"/>
                        <a:pt x="99" y="51"/>
                        <a:pt x="99" y="52"/>
                      </a:cubicBezTo>
                      <a:cubicBezTo>
                        <a:pt x="99" y="52"/>
                        <a:pt x="97" y="52"/>
                        <a:pt x="97" y="52"/>
                      </a:cubicBezTo>
                      <a:cubicBezTo>
                        <a:pt x="97" y="52"/>
                        <a:pt x="96" y="54"/>
                        <a:pt x="95" y="54"/>
                      </a:cubicBezTo>
                      <a:cubicBezTo>
                        <a:pt x="95" y="54"/>
                        <a:pt x="95" y="56"/>
                        <a:pt x="95" y="57"/>
                      </a:cubicBezTo>
                      <a:cubicBezTo>
                        <a:pt x="95" y="57"/>
                        <a:pt x="95" y="58"/>
                        <a:pt x="95" y="58"/>
                      </a:cubicBezTo>
                      <a:cubicBezTo>
                        <a:pt x="93" y="59"/>
                        <a:pt x="93" y="59"/>
                        <a:pt x="93" y="59"/>
                      </a:cubicBezTo>
                      <a:cubicBezTo>
                        <a:pt x="93" y="59"/>
                        <a:pt x="94" y="61"/>
                        <a:pt x="94" y="61"/>
                      </a:cubicBezTo>
                      <a:cubicBezTo>
                        <a:pt x="94" y="62"/>
                        <a:pt x="93" y="62"/>
                        <a:pt x="93" y="62"/>
                      </a:cubicBezTo>
                      <a:cubicBezTo>
                        <a:pt x="92" y="63"/>
                        <a:pt x="93" y="63"/>
                        <a:pt x="93" y="64"/>
                      </a:cubicBezTo>
                      <a:cubicBezTo>
                        <a:pt x="92" y="65"/>
                        <a:pt x="93" y="65"/>
                        <a:pt x="93" y="65"/>
                      </a:cubicBezTo>
                      <a:cubicBezTo>
                        <a:pt x="93" y="66"/>
                        <a:pt x="96" y="67"/>
                        <a:pt x="96" y="67"/>
                      </a:cubicBezTo>
                      <a:cubicBezTo>
                        <a:pt x="96" y="67"/>
                        <a:pt x="96" y="67"/>
                        <a:pt x="95" y="68"/>
                      </a:cubicBezTo>
                      <a:cubicBezTo>
                        <a:pt x="93" y="69"/>
                        <a:pt x="94" y="71"/>
                        <a:pt x="94" y="71"/>
                      </a:cubicBezTo>
                      <a:cubicBezTo>
                        <a:pt x="93" y="72"/>
                        <a:pt x="93" y="72"/>
                        <a:pt x="93" y="72"/>
                      </a:cubicBezTo>
                      <a:cubicBezTo>
                        <a:pt x="93" y="72"/>
                        <a:pt x="92" y="71"/>
                        <a:pt x="91" y="71"/>
                      </a:cubicBezTo>
                      <a:cubicBezTo>
                        <a:pt x="91" y="71"/>
                        <a:pt x="91" y="71"/>
                        <a:pt x="89" y="71"/>
                      </a:cubicBezTo>
                      <a:cubicBezTo>
                        <a:pt x="87" y="71"/>
                        <a:pt x="89" y="70"/>
                        <a:pt x="89" y="70"/>
                      </a:cubicBezTo>
                      <a:cubicBezTo>
                        <a:pt x="89" y="70"/>
                        <a:pt x="89" y="68"/>
                        <a:pt x="89" y="67"/>
                      </a:cubicBezTo>
                      <a:cubicBezTo>
                        <a:pt x="89" y="67"/>
                        <a:pt x="89" y="67"/>
                        <a:pt x="89" y="67"/>
                      </a:cubicBezTo>
                      <a:cubicBezTo>
                        <a:pt x="89" y="67"/>
                        <a:pt x="89" y="66"/>
                        <a:pt x="88" y="65"/>
                      </a:cubicBezTo>
                      <a:cubicBezTo>
                        <a:pt x="88" y="64"/>
                        <a:pt x="87" y="64"/>
                        <a:pt x="87" y="64"/>
                      </a:cubicBezTo>
                      <a:cubicBezTo>
                        <a:pt x="84" y="62"/>
                        <a:pt x="84" y="62"/>
                        <a:pt x="84" y="62"/>
                      </a:cubicBezTo>
                      <a:cubicBezTo>
                        <a:pt x="84" y="62"/>
                        <a:pt x="85" y="60"/>
                        <a:pt x="86" y="59"/>
                      </a:cubicBezTo>
                      <a:cubicBezTo>
                        <a:pt x="86" y="59"/>
                        <a:pt x="86" y="59"/>
                        <a:pt x="86" y="59"/>
                      </a:cubicBezTo>
                      <a:cubicBezTo>
                        <a:pt x="86" y="59"/>
                        <a:pt x="86" y="59"/>
                        <a:pt x="87" y="58"/>
                      </a:cubicBezTo>
                      <a:cubicBezTo>
                        <a:pt x="87" y="57"/>
                        <a:pt x="86" y="57"/>
                        <a:pt x="86" y="57"/>
                      </a:cubicBezTo>
                      <a:cubicBezTo>
                        <a:pt x="85" y="57"/>
                        <a:pt x="85" y="57"/>
                        <a:pt x="85" y="57"/>
                      </a:cubicBezTo>
                      <a:cubicBezTo>
                        <a:pt x="84" y="56"/>
                        <a:pt x="84" y="56"/>
                        <a:pt x="84" y="56"/>
                      </a:cubicBezTo>
                      <a:cubicBezTo>
                        <a:pt x="84" y="56"/>
                        <a:pt x="82" y="57"/>
                        <a:pt x="82" y="56"/>
                      </a:cubicBezTo>
                      <a:cubicBezTo>
                        <a:pt x="81" y="56"/>
                        <a:pt x="79" y="56"/>
                        <a:pt x="79" y="55"/>
                      </a:cubicBezTo>
                      <a:cubicBezTo>
                        <a:pt x="79" y="55"/>
                        <a:pt x="78" y="55"/>
                        <a:pt x="77" y="55"/>
                      </a:cubicBezTo>
                      <a:cubicBezTo>
                        <a:pt x="77" y="55"/>
                        <a:pt x="76" y="55"/>
                        <a:pt x="76" y="55"/>
                      </a:cubicBezTo>
                      <a:cubicBezTo>
                        <a:pt x="75" y="54"/>
                        <a:pt x="74" y="53"/>
                        <a:pt x="74" y="53"/>
                      </a:cubicBezTo>
                      <a:cubicBezTo>
                        <a:pt x="74" y="52"/>
                        <a:pt x="73" y="51"/>
                        <a:pt x="73" y="51"/>
                      </a:cubicBezTo>
                      <a:cubicBezTo>
                        <a:pt x="72" y="51"/>
                        <a:pt x="72" y="51"/>
                        <a:pt x="72" y="51"/>
                      </a:cubicBezTo>
                      <a:cubicBezTo>
                        <a:pt x="72" y="51"/>
                        <a:pt x="71" y="49"/>
                        <a:pt x="70" y="49"/>
                      </a:cubicBezTo>
                      <a:cubicBezTo>
                        <a:pt x="70" y="49"/>
                        <a:pt x="70" y="48"/>
                        <a:pt x="70" y="48"/>
                      </a:cubicBezTo>
                      <a:cubicBezTo>
                        <a:pt x="69" y="47"/>
                        <a:pt x="69" y="47"/>
                        <a:pt x="69" y="47"/>
                      </a:cubicBezTo>
                      <a:cubicBezTo>
                        <a:pt x="69" y="47"/>
                        <a:pt x="69" y="46"/>
                        <a:pt x="69" y="45"/>
                      </a:cubicBezTo>
                      <a:cubicBezTo>
                        <a:pt x="69" y="45"/>
                        <a:pt x="70" y="43"/>
                        <a:pt x="70" y="43"/>
                      </a:cubicBezTo>
                      <a:cubicBezTo>
                        <a:pt x="70" y="43"/>
                        <a:pt x="69" y="41"/>
                        <a:pt x="69" y="40"/>
                      </a:cubicBezTo>
                      <a:cubicBezTo>
                        <a:pt x="69" y="39"/>
                        <a:pt x="70" y="37"/>
                        <a:pt x="70" y="37"/>
                      </a:cubicBezTo>
                      <a:cubicBezTo>
                        <a:pt x="70" y="37"/>
                        <a:pt x="66" y="38"/>
                        <a:pt x="65" y="39"/>
                      </a:cubicBezTo>
                      <a:cubicBezTo>
                        <a:pt x="64" y="39"/>
                        <a:pt x="64" y="40"/>
                        <a:pt x="64" y="40"/>
                      </a:cubicBezTo>
                      <a:cubicBezTo>
                        <a:pt x="64" y="40"/>
                        <a:pt x="64" y="41"/>
                        <a:pt x="64" y="42"/>
                      </a:cubicBezTo>
                      <a:cubicBezTo>
                        <a:pt x="63" y="42"/>
                        <a:pt x="63" y="42"/>
                        <a:pt x="63" y="42"/>
                      </a:cubicBezTo>
                      <a:cubicBezTo>
                        <a:pt x="63" y="42"/>
                        <a:pt x="61" y="44"/>
                        <a:pt x="60" y="44"/>
                      </a:cubicBezTo>
                      <a:cubicBezTo>
                        <a:pt x="60" y="45"/>
                        <a:pt x="60" y="45"/>
                        <a:pt x="59" y="45"/>
                      </a:cubicBezTo>
                      <a:cubicBezTo>
                        <a:pt x="58" y="45"/>
                        <a:pt x="57" y="46"/>
                        <a:pt x="57" y="46"/>
                      </a:cubicBezTo>
                      <a:cubicBezTo>
                        <a:pt x="56" y="47"/>
                        <a:pt x="56" y="47"/>
                        <a:pt x="56" y="47"/>
                      </a:cubicBezTo>
                      <a:cubicBezTo>
                        <a:pt x="57" y="48"/>
                        <a:pt x="57" y="48"/>
                        <a:pt x="57" y="48"/>
                      </a:cubicBezTo>
                      <a:cubicBezTo>
                        <a:pt x="58" y="51"/>
                        <a:pt x="58" y="51"/>
                        <a:pt x="58" y="51"/>
                      </a:cubicBezTo>
                      <a:cubicBezTo>
                        <a:pt x="57" y="53"/>
                        <a:pt x="57" y="53"/>
                        <a:pt x="57" y="53"/>
                      </a:cubicBezTo>
                      <a:cubicBezTo>
                        <a:pt x="57" y="53"/>
                        <a:pt x="57" y="53"/>
                        <a:pt x="57" y="54"/>
                      </a:cubicBezTo>
                      <a:cubicBezTo>
                        <a:pt x="56" y="56"/>
                        <a:pt x="56" y="56"/>
                        <a:pt x="56" y="56"/>
                      </a:cubicBezTo>
                      <a:cubicBezTo>
                        <a:pt x="55" y="57"/>
                        <a:pt x="55" y="57"/>
                        <a:pt x="55" y="57"/>
                      </a:cubicBezTo>
                      <a:cubicBezTo>
                        <a:pt x="54" y="58"/>
                        <a:pt x="54" y="58"/>
                        <a:pt x="54" y="58"/>
                      </a:cubicBezTo>
                      <a:cubicBezTo>
                        <a:pt x="54" y="58"/>
                        <a:pt x="54" y="59"/>
                        <a:pt x="54" y="60"/>
                      </a:cubicBezTo>
                      <a:cubicBezTo>
                        <a:pt x="54" y="60"/>
                        <a:pt x="54" y="61"/>
                        <a:pt x="53" y="62"/>
                      </a:cubicBezTo>
                      <a:cubicBezTo>
                        <a:pt x="52" y="63"/>
                        <a:pt x="52" y="63"/>
                        <a:pt x="52" y="63"/>
                      </a:cubicBezTo>
                      <a:cubicBezTo>
                        <a:pt x="52" y="63"/>
                        <a:pt x="51" y="63"/>
                        <a:pt x="50" y="63"/>
                      </a:cubicBezTo>
                      <a:cubicBezTo>
                        <a:pt x="49" y="63"/>
                        <a:pt x="49" y="64"/>
                        <a:pt x="48" y="64"/>
                      </a:cubicBezTo>
                      <a:cubicBezTo>
                        <a:pt x="46" y="64"/>
                        <a:pt x="47" y="65"/>
                        <a:pt x="47" y="66"/>
                      </a:cubicBezTo>
                      <a:cubicBezTo>
                        <a:pt x="47" y="66"/>
                        <a:pt x="47" y="66"/>
                        <a:pt x="47" y="67"/>
                      </a:cubicBezTo>
                      <a:cubicBezTo>
                        <a:pt x="46" y="67"/>
                        <a:pt x="44" y="67"/>
                        <a:pt x="44" y="66"/>
                      </a:cubicBezTo>
                      <a:cubicBezTo>
                        <a:pt x="43" y="66"/>
                        <a:pt x="43" y="66"/>
                        <a:pt x="42" y="66"/>
                      </a:cubicBezTo>
                      <a:cubicBezTo>
                        <a:pt x="42" y="67"/>
                        <a:pt x="41" y="65"/>
                        <a:pt x="41" y="65"/>
                      </a:cubicBezTo>
                      <a:cubicBezTo>
                        <a:pt x="41" y="65"/>
                        <a:pt x="40" y="64"/>
                        <a:pt x="40" y="64"/>
                      </a:cubicBezTo>
                      <a:cubicBezTo>
                        <a:pt x="40" y="63"/>
                        <a:pt x="38" y="64"/>
                        <a:pt x="38" y="64"/>
                      </a:cubicBezTo>
                      <a:cubicBezTo>
                        <a:pt x="37" y="63"/>
                        <a:pt x="35" y="63"/>
                        <a:pt x="35" y="63"/>
                      </a:cubicBezTo>
                      <a:cubicBezTo>
                        <a:pt x="34" y="63"/>
                        <a:pt x="35" y="64"/>
                        <a:pt x="35" y="64"/>
                      </a:cubicBezTo>
                      <a:cubicBezTo>
                        <a:pt x="35" y="64"/>
                        <a:pt x="34" y="64"/>
                        <a:pt x="33" y="64"/>
                      </a:cubicBezTo>
                      <a:cubicBezTo>
                        <a:pt x="32" y="64"/>
                        <a:pt x="32" y="65"/>
                        <a:pt x="32" y="65"/>
                      </a:cubicBezTo>
                      <a:cubicBezTo>
                        <a:pt x="32" y="67"/>
                        <a:pt x="32" y="67"/>
                        <a:pt x="32" y="67"/>
                      </a:cubicBezTo>
                      <a:cubicBezTo>
                        <a:pt x="32" y="67"/>
                        <a:pt x="29" y="67"/>
                        <a:pt x="28" y="67"/>
                      </a:cubicBezTo>
                      <a:cubicBezTo>
                        <a:pt x="27" y="67"/>
                        <a:pt x="26" y="66"/>
                        <a:pt x="25" y="66"/>
                      </a:cubicBezTo>
                      <a:cubicBezTo>
                        <a:pt x="24" y="66"/>
                        <a:pt x="23" y="67"/>
                        <a:pt x="23" y="67"/>
                      </a:cubicBezTo>
                      <a:cubicBezTo>
                        <a:pt x="23" y="67"/>
                        <a:pt x="21" y="68"/>
                        <a:pt x="21" y="68"/>
                      </a:cubicBezTo>
                      <a:cubicBezTo>
                        <a:pt x="21" y="68"/>
                        <a:pt x="20" y="69"/>
                        <a:pt x="19" y="69"/>
                      </a:cubicBezTo>
                      <a:cubicBezTo>
                        <a:pt x="18" y="69"/>
                        <a:pt x="18" y="68"/>
                        <a:pt x="18" y="68"/>
                      </a:cubicBezTo>
                      <a:cubicBezTo>
                        <a:pt x="18" y="68"/>
                        <a:pt x="16" y="66"/>
                        <a:pt x="16" y="66"/>
                      </a:cubicBezTo>
                      <a:cubicBezTo>
                        <a:pt x="16" y="66"/>
                        <a:pt x="16" y="66"/>
                        <a:pt x="16" y="66"/>
                      </a:cubicBezTo>
                      <a:cubicBezTo>
                        <a:pt x="12" y="68"/>
                        <a:pt x="12" y="68"/>
                        <a:pt x="12" y="68"/>
                      </a:cubicBezTo>
                      <a:cubicBezTo>
                        <a:pt x="7" y="72"/>
                        <a:pt x="7" y="72"/>
                        <a:pt x="7" y="72"/>
                      </a:cubicBezTo>
                      <a:cubicBezTo>
                        <a:pt x="7" y="77"/>
                        <a:pt x="7" y="77"/>
                        <a:pt x="7" y="77"/>
                      </a:cubicBezTo>
                      <a:cubicBezTo>
                        <a:pt x="11" y="79"/>
                        <a:pt x="9" y="81"/>
                        <a:pt x="18" y="85"/>
                      </a:cubicBezTo>
                      <a:cubicBezTo>
                        <a:pt x="19" y="85"/>
                        <a:pt x="21" y="90"/>
                        <a:pt x="21" y="90"/>
                      </a:cubicBezTo>
                      <a:cubicBezTo>
                        <a:pt x="21" y="91"/>
                        <a:pt x="19" y="99"/>
                        <a:pt x="18" y="100"/>
                      </a:cubicBezTo>
                      <a:cubicBezTo>
                        <a:pt x="16" y="101"/>
                        <a:pt x="14" y="105"/>
                        <a:pt x="14" y="105"/>
                      </a:cubicBezTo>
                      <a:cubicBezTo>
                        <a:pt x="14" y="105"/>
                        <a:pt x="10" y="109"/>
                        <a:pt x="9" y="109"/>
                      </a:cubicBezTo>
                      <a:cubicBezTo>
                        <a:pt x="8" y="109"/>
                        <a:pt x="5" y="110"/>
                        <a:pt x="4" y="110"/>
                      </a:cubicBezTo>
                      <a:cubicBezTo>
                        <a:pt x="4" y="110"/>
                        <a:pt x="0" y="110"/>
                        <a:pt x="1" y="111"/>
                      </a:cubicBezTo>
                      <a:cubicBezTo>
                        <a:pt x="1" y="111"/>
                        <a:pt x="1" y="113"/>
                        <a:pt x="1" y="113"/>
                      </a:cubicBezTo>
                      <a:cubicBezTo>
                        <a:pt x="2" y="114"/>
                        <a:pt x="5" y="118"/>
                        <a:pt x="5" y="118"/>
                      </a:cubicBezTo>
                      <a:cubicBezTo>
                        <a:pt x="10" y="121"/>
                        <a:pt x="10" y="121"/>
                        <a:pt x="10" y="121"/>
                      </a:cubicBezTo>
                      <a:cubicBezTo>
                        <a:pt x="13" y="124"/>
                        <a:pt x="13" y="124"/>
                        <a:pt x="13" y="124"/>
                      </a:cubicBezTo>
                      <a:cubicBezTo>
                        <a:pt x="14" y="134"/>
                        <a:pt x="14" y="134"/>
                        <a:pt x="14" y="134"/>
                      </a:cubicBezTo>
                      <a:cubicBezTo>
                        <a:pt x="10" y="140"/>
                        <a:pt x="10" y="140"/>
                        <a:pt x="10" y="140"/>
                      </a:cubicBezTo>
                      <a:cubicBezTo>
                        <a:pt x="6" y="145"/>
                        <a:pt x="8" y="142"/>
                        <a:pt x="9" y="149"/>
                      </a:cubicBezTo>
                      <a:cubicBezTo>
                        <a:pt x="12" y="149"/>
                        <a:pt x="12" y="149"/>
                        <a:pt x="12" y="149"/>
                      </a:cubicBezTo>
                      <a:cubicBezTo>
                        <a:pt x="17" y="157"/>
                        <a:pt x="17" y="157"/>
                        <a:pt x="17" y="157"/>
                      </a:cubicBezTo>
                      <a:cubicBezTo>
                        <a:pt x="27" y="161"/>
                        <a:pt x="27" y="161"/>
                        <a:pt x="27" y="161"/>
                      </a:cubicBezTo>
                      <a:cubicBezTo>
                        <a:pt x="36" y="161"/>
                        <a:pt x="36" y="161"/>
                        <a:pt x="36" y="161"/>
                      </a:cubicBezTo>
                      <a:cubicBezTo>
                        <a:pt x="40" y="164"/>
                        <a:pt x="40" y="164"/>
                        <a:pt x="40" y="164"/>
                      </a:cubicBezTo>
                      <a:cubicBezTo>
                        <a:pt x="37" y="175"/>
                        <a:pt x="37" y="175"/>
                        <a:pt x="37" y="175"/>
                      </a:cubicBezTo>
                      <a:cubicBezTo>
                        <a:pt x="31" y="180"/>
                        <a:pt x="31" y="180"/>
                        <a:pt x="31" y="180"/>
                      </a:cubicBezTo>
                      <a:cubicBezTo>
                        <a:pt x="31" y="180"/>
                        <a:pt x="31" y="180"/>
                        <a:pt x="30" y="180"/>
                      </a:cubicBezTo>
                      <a:cubicBezTo>
                        <a:pt x="30" y="180"/>
                        <a:pt x="31" y="181"/>
                        <a:pt x="34" y="182"/>
                      </a:cubicBezTo>
                      <a:cubicBezTo>
                        <a:pt x="36" y="182"/>
                        <a:pt x="36" y="184"/>
                        <a:pt x="39" y="183"/>
                      </a:cubicBezTo>
                      <a:cubicBezTo>
                        <a:pt x="42" y="182"/>
                        <a:pt x="46" y="181"/>
                        <a:pt x="47" y="180"/>
                      </a:cubicBezTo>
                      <a:cubicBezTo>
                        <a:pt x="48" y="178"/>
                        <a:pt x="50" y="177"/>
                        <a:pt x="51" y="176"/>
                      </a:cubicBezTo>
                      <a:cubicBezTo>
                        <a:pt x="52" y="174"/>
                        <a:pt x="58" y="167"/>
                        <a:pt x="59" y="167"/>
                      </a:cubicBezTo>
                      <a:cubicBezTo>
                        <a:pt x="59" y="167"/>
                        <a:pt x="65" y="159"/>
                        <a:pt x="66" y="158"/>
                      </a:cubicBezTo>
                      <a:cubicBezTo>
                        <a:pt x="67" y="157"/>
                        <a:pt x="75" y="151"/>
                        <a:pt x="75" y="151"/>
                      </a:cubicBezTo>
                      <a:cubicBezTo>
                        <a:pt x="86" y="147"/>
                        <a:pt x="86" y="147"/>
                        <a:pt x="86" y="147"/>
                      </a:cubicBezTo>
                      <a:cubicBezTo>
                        <a:pt x="86" y="147"/>
                        <a:pt x="91" y="152"/>
                        <a:pt x="92" y="153"/>
                      </a:cubicBezTo>
                      <a:cubicBezTo>
                        <a:pt x="93" y="153"/>
                        <a:pt x="104" y="158"/>
                        <a:pt x="104" y="158"/>
                      </a:cubicBezTo>
                      <a:cubicBezTo>
                        <a:pt x="104" y="158"/>
                        <a:pt x="111" y="161"/>
                        <a:pt x="112" y="162"/>
                      </a:cubicBezTo>
                      <a:cubicBezTo>
                        <a:pt x="112" y="163"/>
                        <a:pt x="118" y="168"/>
                        <a:pt x="118" y="168"/>
                      </a:cubicBezTo>
                      <a:cubicBezTo>
                        <a:pt x="122" y="170"/>
                        <a:pt x="122" y="170"/>
                        <a:pt x="122" y="170"/>
                      </a:cubicBezTo>
                      <a:cubicBezTo>
                        <a:pt x="125" y="167"/>
                        <a:pt x="125" y="167"/>
                        <a:pt x="125" y="167"/>
                      </a:cubicBezTo>
                      <a:cubicBezTo>
                        <a:pt x="129" y="169"/>
                        <a:pt x="129" y="169"/>
                        <a:pt x="129" y="169"/>
                      </a:cubicBezTo>
                      <a:cubicBezTo>
                        <a:pt x="136" y="173"/>
                        <a:pt x="136" y="173"/>
                        <a:pt x="136" y="173"/>
                      </a:cubicBezTo>
                      <a:cubicBezTo>
                        <a:pt x="139" y="179"/>
                        <a:pt x="139" y="179"/>
                        <a:pt x="139" y="179"/>
                      </a:cubicBezTo>
                      <a:cubicBezTo>
                        <a:pt x="139" y="179"/>
                        <a:pt x="141" y="187"/>
                        <a:pt x="141" y="190"/>
                      </a:cubicBezTo>
                      <a:cubicBezTo>
                        <a:pt x="141" y="193"/>
                        <a:pt x="142" y="198"/>
                        <a:pt x="142" y="198"/>
                      </a:cubicBezTo>
                      <a:cubicBezTo>
                        <a:pt x="151" y="202"/>
                        <a:pt x="151" y="202"/>
                        <a:pt x="151" y="202"/>
                      </a:cubicBezTo>
                      <a:cubicBezTo>
                        <a:pt x="151" y="202"/>
                        <a:pt x="151" y="211"/>
                        <a:pt x="151" y="212"/>
                      </a:cubicBezTo>
                      <a:cubicBezTo>
                        <a:pt x="151" y="214"/>
                        <a:pt x="152" y="217"/>
                        <a:pt x="152" y="220"/>
                      </a:cubicBezTo>
                      <a:cubicBezTo>
                        <a:pt x="152" y="223"/>
                        <a:pt x="152" y="226"/>
                        <a:pt x="152" y="226"/>
                      </a:cubicBezTo>
                      <a:cubicBezTo>
                        <a:pt x="156" y="229"/>
                        <a:pt x="156" y="229"/>
                        <a:pt x="156" y="229"/>
                      </a:cubicBezTo>
                      <a:cubicBezTo>
                        <a:pt x="161" y="232"/>
                        <a:pt x="161" y="232"/>
                        <a:pt x="161" y="232"/>
                      </a:cubicBezTo>
                      <a:cubicBezTo>
                        <a:pt x="162" y="237"/>
                        <a:pt x="162" y="237"/>
                        <a:pt x="162" y="237"/>
                      </a:cubicBezTo>
                      <a:cubicBezTo>
                        <a:pt x="170" y="240"/>
                        <a:pt x="170" y="240"/>
                        <a:pt x="170" y="240"/>
                      </a:cubicBezTo>
                      <a:cubicBezTo>
                        <a:pt x="172" y="246"/>
                        <a:pt x="172" y="246"/>
                        <a:pt x="172" y="246"/>
                      </a:cubicBezTo>
                      <a:cubicBezTo>
                        <a:pt x="177" y="251"/>
                        <a:pt x="177" y="251"/>
                        <a:pt x="177" y="251"/>
                      </a:cubicBezTo>
                      <a:cubicBezTo>
                        <a:pt x="177" y="255"/>
                        <a:pt x="177" y="255"/>
                        <a:pt x="177" y="255"/>
                      </a:cubicBezTo>
                      <a:cubicBezTo>
                        <a:pt x="177" y="255"/>
                        <a:pt x="177" y="257"/>
                        <a:pt x="179" y="257"/>
                      </a:cubicBezTo>
                      <a:cubicBezTo>
                        <a:pt x="181" y="257"/>
                        <a:pt x="188" y="256"/>
                        <a:pt x="188" y="256"/>
                      </a:cubicBezTo>
                      <a:cubicBezTo>
                        <a:pt x="195" y="262"/>
                        <a:pt x="195" y="262"/>
                        <a:pt x="195" y="262"/>
                      </a:cubicBezTo>
                      <a:cubicBezTo>
                        <a:pt x="203" y="269"/>
                        <a:pt x="203" y="269"/>
                        <a:pt x="203" y="269"/>
                      </a:cubicBezTo>
                      <a:cubicBezTo>
                        <a:pt x="207" y="276"/>
                        <a:pt x="207" y="276"/>
                        <a:pt x="207" y="276"/>
                      </a:cubicBezTo>
                      <a:cubicBezTo>
                        <a:pt x="213" y="278"/>
                        <a:pt x="213" y="278"/>
                        <a:pt x="213" y="278"/>
                      </a:cubicBezTo>
                      <a:cubicBezTo>
                        <a:pt x="221" y="283"/>
                        <a:pt x="221" y="283"/>
                        <a:pt x="221" y="283"/>
                      </a:cubicBezTo>
                      <a:cubicBezTo>
                        <a:pt x="224" y="290"/>
                        <a:pt x="224" y="290"/>
                        <a:pt x="224" y="290"/>
                      </a:cubicBezTo>
                      <a:cubicBezTo>
                        <a:pt x="231" y="297"/>
                        <a:pt x="231" y="297"/>
                        <a:pt x="231" y="297"/>
                      </a:cubicBezTo>
                      <a:cubicBezTo>
                        <a:pt x="235" y="299"/>
                        <a:pt x="235" y="299"/>
                        <a:pt x="235" y="299"/>
                      </a:cubicBezTo>
                      <a:cubicBezTo>
                        <a:pt x="237" y="303"/>
                        <a:pt x="237" y="303"/>
                        <a:pt x="237" y="303"/>
                      </a:cubicBezTo>
                      <a:cubicBezTo>
                        <a:pt x="241" y="305"/>
                        <a:pt x="241" y="305"/>
                        <a:pt x="241" y="305"/>
                      </a:cubicBezTo>
                      <a:cubicBezTo>
                        <a:pt x="245" y="306"/>
                        <a:pt x="245" y="306"/>
                        <a:pt x="245" y="306"/>
                      </a:cubicBezTo>
                      <a:cubicBezTo>
                        <a:pt x="251" y="307"/>
                        <a:pt x="251" y="307"/>
                        <a:pt x="251" y="307"/>
                      </a:cubicBezTo>
                      <a:cubicBezTo>
                        <a:pt x="255" y="311"/>
                        <a:pt x="255" y="311"/>
                        <a:pt x="255" y="311"/>
                      </a:cubicBezTo>
                      <a:cubicBezTo>
                        <a:pt x="255" y="311"/>
                        <a:pt x="257" y="313"/>
                        <a:pt x="257" y="314"/>
                      </a:cubicBezTo>
                      <a:cubicBezTo>
                        <a:pt x="257" y="316"/>
                        <a:pt x="255" y="317"/>
                        <a:pt x="258" y="317"/>
                      </a:cubicBezTo>
                      <a:cubicBezTo>
                        <a:pt x="261" y="317"/>
                        <a:pt x="264" y="316"/>
                        <a:pt x="264" y="316"/>
                      </a:cubicBezTo>
                      <a:cubicBezTo>
                        <a:pt x="270" y="315"/>
                        <a:pt x="270" y="315"/>
                        <a:pt x="270" y="315"/>
                      </a:cubicBezTo>
                      <a:cubicBezTo>
                        <a:pt x="274" y="315"/>
                        <a:pt x="274" y="315"/>
                        <a:pt x="274" y="315"/>
                      </a:cubicBezTo>
                      <a:cubicBezTo>
                        <a:pt x="278" y="315"/>
                        <a:pt x="278" y="315"/>
                        <a:pt x="278" y="315"/>
                      </a:cubicBezTo>
                      <a:cubicBezTo>
                        <a:pt x="285" y="314"/>
                        <a:pt x="285" y="314"/>
                        <a:pt x="285" y="314"/>
                      </a:cubicBezTo>
                      <a:cubicBezTo>
                        <a:pt x="289" y="317"/>
                        <a:pt x="289" y="317"/>
                        <a:pt x="289" y="317"/>
                      </a:cubicBezTo>
                      <a:cubicBezTo>
                        <a:pt x="300" y="330"/>
                        <a:pt x="300" y="330"/>
                        <a:pt x="300" y="330"/>
                      </a:cubicBezTo>
                      <a:cubicBezTo>
                        <a:pt x="300" y="330"/>
                        <a:pt x="303" y="335"/>
                        <a:pt x="303" y="337"/>
                      </a:cubicBezTo>
                      <a:cubicBezTo>
                        <a:pt x="303" y="338"/>
                        <a:pt x="307" y="337"/>
                        <a:pt x="308" y="337"/>
                      </a:cubicBezTo>
                      <a:cubicBezTo>
                        <a:pt x="309" y="337"/>
                        <a:pt x="317" y="337"/>
                        <a:pt x="317" y="337"/>
                      </a:cubicBezTo>
                      <a:cubicBezTo>
                        <a:pt x="323" y="341"/>
                        <a:pt x="323" y="341"/>
                        <a:pt x="323" y="341"/>
                      </a:cubicBezTo>
                      <a:cubicBezTo>
                        <a:pt x="319" y="346"/>
                        <a:pt x="319" y="346"/>
                        <a:pt x="319" y="346"/>
                      </a:cubicBezTo>
                      <a:cubicBezTo>
                        <a:pt x="325" y="349"/>
                        <a:pt x="325" y="349"/>
                        <a:pt x="325" y="349"/>
                      </a:cubicBezTo>
                      <a:cubicBezTo>
                        <a:pt x="328" y="345"/>
                        <a:pt x="328" y="345"/>
                        <a:pt x="328" y="345"/>
                      </a:cubicBezTo>
                      <a:cubicBezTo>
                        <a:pt x="334" y="346"/>
                        <a:pt x="334" y="346"/>
                        <a:pt x="334" y="346"/>
                      </a:cubicBezTo>
                      <a:cubicBezTo>
                        <a:pt x="339" y="350"/>
                        <a:pt x="339" y="350"/>
                        <a:pt x="339" y="350"/>
                      </a:cubicBezTo>
                      <a:cubicBezTo>
                        <a:pt x="340" y="353"/>
                        <a:pt x="340" y="353"/>
                        <a:pt x="340" y="353"/>
                      </a:cubicBezTo>
                      <a:cubicBezTo>
                        <a:pt x="343" y="355"/>
                        <a:pt x="343" y="355"/>
                        <a:pt x="343" y="355"/>
                      </a:cubicBezTo>
                      <a:cubicBezTo>
                        <a:pt x="342" y="360"/>
                        <a:pt x="342" y="360"/>
                        <a:pt x="342" y="360"/>
                      </a:cubicBezTo>
                      <a:cubicBezTo>
                        <a:pt x="342" y="363"/>
                        <a:pt x="342" y="363"/>
                        <a:pt x="342" y="363"/>
                      </a:cubicBezTo>
                      <a:cubicBezTo>
                        <a:pt x="344" y="367"/>
                        <a:pt x="344" y="367"/>
                        <a:pt x="344" y="367"/>
                      </a:cubicBezTo>
                      <a:cubicBezTo>
                        <a:pt x="349" y="369"/>
                        <a:pt x="349" y="369"/>
                        <a:pt x="349" y="369"/>
                      </a:cubicBezTo>
                      <a:cubicBezTo>
                        <a:pt x="354" y="372"/>
                        <a:pt x="354" y="372"/>
                        <a:pt x="354" y="372"/>
                      </a:cubicBezTo>
                      <a:cubicBezTo>
                        <a:pt x="357" y="374"/>
                        <a:pt x="357" y="374"/>
                        <a:pt x="357" y="374"/>
                      </a:cubicBezTo>
                      <a:cubicBezTo>
                        <a:pt x="361" y="374"/>
                        <a:pt x="361" y="374"/>
                        <a:pt x="361" y="374"/>
                      </a:cubicBezTo>
                      <a:cubicBezTo>
                        <a:pt x="367" y="373"/>
                        <a:pt x="367" y="373"/>
                        <a:pt x="367" y="373"/>
                      </a:cubicBezTo>
                      <a:cubicBezTo>
                        <a:pt x="374" y="374"/>
                        <a:pt x="374" y="374"/>
                        <a:pt x="374" y="374"/>
                      </a:cubicBezTo>
                      <a:cubicBezTo>
                        <a:pt x="380" y="384"/>
                        <a:pt x="380" y="384"/>
                        <a:pt x="380" y="384"/>
                      </a:cubicBezTo>
                      <a:cubicBezTo>
                        <a:pt x="383" y="393"/>
                        <a:pt x="383" y="393"/>
                        <a:pt x="383" y="393"/>
                      </a:cubicBezTo>
                      <a:cubicBezTo>
                        <a:pt x="387" y="401"/>
                        <a:pt x="387" y="401"/>
                        <a:pt x="387" y="401"/>
                      </a:cubicBezTo>
                      <a:cubicBezTo>
                        <a:pt x="390" y="406"/>
                        <a:pt x="390" y="406"/>
                        <a:pt x="390" y="406"/>
                      </a:cubicBezTo>
                      <a:cubicBezTo>
                        <a:pt x="392" y="414"/>
                        <a:pt x="392" y="414"/>
                        <a:pt x="392" y="414"/>
                      </a:cubicBezTo>
                      <a:cubicBezTo>
                        <a:pt x="395" y="418"/>
                        <a:pt x="395" y="418"/>
                        <a:pt x="395" y="418"/>
                      </a:cubicBezTo>
                      <a:cubicBezTo>
                        <a:pt x="400" y="428"/>
                        <a:pt x="400" y="428"/>
                        <a:pt x="400" y="428"/>
                      </a:cubicBezTo>
                      <a:cubicBezTo>
                        <a:pt x="402" y="432"/>
                        <a:pt x="402" y="432"/>
                        <a:pt x="402" y="432"/>
                      </a:cubicBezTo>
                      <a:cubicBezTo>
                        <a:pt x="400" y="437"/>
                        <a:pt x="400" y="437"/>
                        <a:pt x="400" y="437"/>
                      </a:cubicBezTo>
                      <a:cubicBezTo>
                        <a:pt x="400" y="437"/>
                        <a:pt x="398" y="442"/>
                        <a:pt x="397" y="442"/>
                      </a:cubicBezTo>
                      <a:cubicBezTo>
                        <a:pt x="397" y="443"/>
                        <a:pt x="394" y="444"/>
                        <a:pt x="393" y="444"/>
                      </a:cubicBezTo>
                      <a:cubicBezTo>
                        <a:pt x="392" y="445"/>
                        <a:pt x="391" y="445"/>
                        <a:pt x="390" y="446"/>
                      </a:cubicBezTo>
                      <a:cubicBezTo>
                        <a:pt x="389" y="447"/>
                        <a:pt x="388" y="450"/>
                        <a:pt x="388" y="450"/>
                      </a:cubicBezTo>
                      <a:cubicBezTo>
                        <a:pt x="391" y="456"/>
                        <a:pt x="391" y="456"/>
                        <a:pt x="391" y="456"/>
                      </a:cubicBezTo>
                      <a:cubicBezTo>
                        <a:pt x="390" y="463"/>
                        <a:pt x="390" y="463"/>
                        <a:pt x="390" y="463"/>
                      </a:cubicBezTo>
                      <a:cubicBezTo>
                        <a:pt x="388" y="469"/>
                        <a:pt x="388" y="469"/>
                        <a:pt x="388" y="469"/>
                      </a:cubicBezTo>
                      <a:close/>
                      <a:moveTo>
                        <a:pt x="57" y="345"/>
                      </a:moveTo>
                      <a:cubicBezTo>
                        <a:pt x="57" y="345"/>
                        <a:pt x="57" y="345"/>
                        <a:pt x="57" y="345"/>
                      </a:cubicBezTo>
                      <a:cubicBezTo>
                        <a:pt x="60" y="335"/>
                        <a:pt x="60" y="335"/>
                        <a:pt x="60" y="335"/>
                      </a:cubicBezTo>
                      <a:cubicBezTo>
                        <a:pt x="64" y="331"/>
                        <a:pt x="64" y="331"/>
                        <a:pt x="64" y="331"/>
                      </a:cubicBezTo>
                      <a:cubicBezTo>
                        <a:pt x="63" y="336"/>
                        <a:pt x="63" y="336"/>
                        <a:pt x="63" y="336"/>
                      </a:cubicBezTo>
                      <a:cubicBezTo>
                        <a:pt x="62" y="342"/>
                        <a:pt x="62" y="342"/>
                        <a:pt x="62" y="342"/>
                      </a:cubicBezTo>
                      <a:cubicBezTo>
                        <a:pt x="62" y="342"/>
                        <a:pt x="70" y="345"/>
                        <a:pt x="71" y="345"/>
                      </a:cubicBezTo>
                      <a:cubicBezTo>
                        <a:pt x="72" y="345"/>
                        <a:pt x="73" y="343"/>
                        <a:pt x="75" y="342"/>
                      </a:cubicBezTo>
                      <a:cubicBezTo>
                        <a:pt x="76" y="341"/>
                        <a:pt x="83" y="341"/>
                        <a:pt x="83" y="341"/>
                      </a:cubicBezTo>
                      <a:cubicBezTo>
                        <a:pt x="83" y="341"/>
                        <a:pt x="84" y="338"/>
                        <a:pt x="85" y="336"/>
                      </a:cubicBezTo>
                      <a:cubicBezTo>
                        <a:pt x="86" y="334"/>
                        <a:pt x="91" y="329"/>
                        <a:pt x="92" y="328"/>
                      </a:cubicBezTo>
                      <a:cubicBezTo>
                        <a:pt x="93" y="328"/>
                        <a:pt x="95" y="326"/>
                        <a:pt x="96" y="326"/>
                      </a:cubicBezTo>
                      <a:cubicBezTo>
                        <a:pt x="97" y="325"/>
                        <a:pt x="102" y="323"/>
                        <a:pt x="102" y="323"/>
                      </a:cubicBezTo>
                      <a:cubicBezTo>
                        <a:pt x="115" y="328"/>
                        <a:pt x="115" y="328"/>
                        <a:pt x="115" y="328"/>
                      </a:cubicBezTo>
                      <a:cubicBezTo>
                        <a:pt x="117" y="336"/>
                        <a:pt x="117" y="336"/>
                        <a:pt x="117" y="336"/>
                      </a:cubicBezTo>
                      <a:cubicBezTo>
                        <a:pt x="124" y="349"/>
                        <a:pt x="124" y="349"/>
                        <a:pt x="124" y="349"/>
                      </a:cubicBezTo>
                      <a:cubicBezTo>
                        <a:pt x="126" y="355"/>
                        <a:pt x="126" y="355"/>
                        <a:pt x="126" y="355"/>
                      </a:cubicBezTo>
                      <a:cubicBezTo>
                        <a:pt x="126" y="355"/>
                        <a:pt x="129" y="358"/>
                        <a:pt x="128" y="361"/>
                      </a:cubicBezTo>
                      <a:cubicBezTo>
                        <a:pt x="127" y="365"/>
                        <a:pt x="121" y="375"/>
                        <a:pt x="121" y="375"/>
                      </a:cubicBezTo>
                      <a:cubicBezTo>
                        <a:pt x="121" y="381"/>
                        <a:pt x="121" y="381"/>
                        <a:pt x="121" y="381"/>
                      </a:cubicBezTo>
                      <a:cubicBezTo>
                        <a:pt x="125" y="389"/>
                        <a:pt x="125" y="389"/>
                        <a:pt x="125" y="389"/>
                      </a:cubicBezTo>
                      <a:cubicBezTo>
                        <a:pt x="119" y="404"/>
                        <a:pt x="119" y="404"/>
                        <a:pt x="119" y="404"/>
                      </a:cubicBezTo>
                      <a:cubicBezTo>
                        <a:pt x="122" y="415"/>
                        <a:pt x="122" y="415"/>
                        <a:pt x="122" y="415"/>
                      </a:cubicBezTo>
                      <a:cubicBezTo>
                        <a:pt x="120" y="430"/>
                        <a:pt x="120" y="430"/>
                        <a:pt x="120" y="430"/>
                      </a:cubicBezTo>
                      <a:cubicBezTo>
                        <a:pt x="119" y="438"/>
                        <a:pt x="119" y="438"/>
                        <a:pt x="119" y="438"/>
                      </a:cubicBezTo>
                      <a:cubicBezTo>
                        <a:pt x="119" y="438"/>
                        <a:pt x="115" y="442"/>
                        <a:pt x="113" y="441"/>
                      </a:cubicBezTo>
                      <a:cubicBezTo>
                        <a:pt x="111" y="440"/>
                        <a:pt x="101" y="433"/>
                        <a:pt x="101" y="433"/>
                      </a:cubicBezTo>
                      <a:cubicBezTo>
                        <a:pt x="97" y="432"/>
                        <a:pt x="97" y="432"/>
                        <a:pt x="97" y="432"/>
                      </a:cubicBezTo>
                      <a:cubicBezTo>
                        <a:pt x="94" y="439"/>
                        <a:pt x="94" y="439"/>
                        <a:pt x="94" y="439"/>
                      </a:cubicBezTo>
                      <a:cubicBezTo>
                        <a:pt x="95" y="444"/>
                        <a:pt x="95" y="444"/>
                        <a:pt x="95" y="444"/>
                      </a:cubicBezTo>
                      <a:cubicBezTo>
                        <a:pt x="90" y="453"/>
                        <a:pt x="90" y="453"/>
                        <a:pt x="90" y="453"/>
                      </a:cubicBezTo>
                      <a:cubicBezTo>
                        <a:pt x="85" y="453"/>
                        <a:pt x="85" y="453"/>
                        <a:pt x="85" y="453"/>
                      </a:cubicBezTo>
                      <a:cubicBezTo>
                        <a:pt x="79" y="451"/>
                        <a:pt x="79" y="451"/>
                        <a:pt x="79" y="451"/>
                      </a:cubicBezTo>
                      <a:cubicBezTo>
                        <a:pt x="73" y="443"/>
                        <a:pt x="73" y="443"/>
                        <a:pt x="73" y="443"/>
                      </a:cubicBezTo>
                      <a:cubicBezTo>
                        <a:pt x="73" y="443"/>
                        <a:pt x="73" y="445"/>
                        <a:pt x="71" y="446"/>
                      </a:cubicBezTo>
                      <a:cubicBezTo>
                        <a:pt x="69" y="446"/>
                        <a:pt x="66" y="445"/>
                        <a:pt x="66" y="445"/>
                      </a:cubicBezTo>
                      <a:cubicBezTo>
                        <a:pt x="68" y="439"/>
                        <a:pt x="68" y="439"/>
                        <a:pt x="68" y="439"/>
                      </a:cubicBezTo>
                      <a:cubicBezTo>
                        <a:pt x="66" y="432"/>
                        <a:pt x="66" y="432"/>
                        <a:pt x="66" y="432"/>
                      </a:cubicBezTo>
                      <a:cubicBezTo>
                        <a:pt x="68" y="425"/>
                        <a:pt x="68" y="425"/>
                        <a:pt x="68" y="425"/>
                      </a:cubicBezTo>
                      <a:cubicBezTo>
                        <a:pt x="68" y="415"/>
                        <a:pt x="68" y="415"/>
                        <a:pt x="68" y="415"/>
                      </a:cubicBezTo>
                      <a:cubicBezTo>
                        <a:pt x="70" y="411"/>
                        <a:pt x="70" y="411"/>
                        <a:pt x="70" y="411"/>
                      </a:cubicBezTo>
                      <a:cubicBezTo>
                        <a:pt x="71" y="406"/>
                        <a:pt x="71" y="406"/>
                        <a:pt x="71" y="406"/>
                      </a:cubicBezTo>
                      <a:cubicBezTo>
                        <a:pt x="74" y="400"/>
                        <a:pt x="74" y="400"/>
                        <a:pt x="74" y="400"/>
                      </a:cubicBezTo>
                      <a:cubicBezTo>
                        <a:pt x="73" y="395"/>
                        <a:pt x="73" y="395"/>
                        <a:pt x="73" y="395"/>
                      </a:cubicBezTo>
                      <a:cubicBezTo>
                        <a:pt x="71" y="396"/>
                        <a:pt x="71" y="396"/>
                        <a:pt x="71" y="396"/>
                      </a:cubicBezTo>
                      <a:cubicBezTo>
                        <a:pt x="65" y="390"/>
                        <a:pt x="65" y="390"/>
                        <a:pt x="65" y="390"/>
                      </a:cubicBezTo>
                      <a:cubicBezTo>
                        <a:pt x="65" y="390"/>
                        <a:pt x="67" y="388"/>
                        <a:pt x="69" y="386"/>
                      </a:cubicBezTo>
                      <a:cubicBezTo>
                        <a:pt x="71" y="384"/>
                        <a:pt x="71" y="383"/>
                        <a:pt x="71" y="381"/>
                      </a:cubicBezTo>
                      <a:cubicBezTo>
                        <a:pt x="71" y="379"/>
                        <a:pt x="70" y="374"/>
                        <a:pt x="69" y="374"/>
                      </a:cubicBezTo>
                      <a:cubicBezTo>
                        <a:pt x="68" y="373"/>
                        <a:pt x="66" y="371"/>
                        <a:pt x="66" y="371"/>
                      </a:cubicBezTo>
                      <a:cubicBezTo>
                        <a:pt x="66" y="365"/>
                        <a:pt x="66" y="365"/>
                        <a:pt x="66" y="365"/>
                      </a:cubicBezTo>
                      <a:cubicBezTo>
                        <a:pt x="66" y="365"/>
                        <a:pt x="65" y="362"/>
                        <a:pt x="64" y="362"/>
                      </a:cubicBezTo>
                      <a:cubicBezTo>
                        <a:pt x="62" y="361"/>
                        <a:pt x="57" y="358"/>
                        <a:pt x="57" y="358"/>
                      </a:cubicBezTo>
                      <a:cubicBezTo>
                        <a:pt x="58" y="351"/>
                        <a:pt x="58" y="351"/>
                        <a:pt x="58" y="351"/>
                      </a:cubicBezTo>
                      <a:cubicBezTo>
                        <a:pt x="56" y="349"/>
                        <a:pt x="56" y="349"/>
                        <a:pt x="56" y="349"/>
                      </a:cubicBezTo>
                      <a:lnTo>
                        <a:pt x="57" y="345"/>
                      </a:lnTo>
                      <a:close/>
                    </a:path>
                  </a:pathLst>
                </a:custGeom>
                <a:solidFill>
                  <a:srgbClr val="E6EFF1"/>
                </a:solidFill>
                <a:ln w="12700" cap="rnd" cmpd="sng">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Lato Light"/>
                  </a:endParaRPr>
                </a:p>
              </p:txBody>
            </p:sp>
            <p:sp>
              <p:nvSpPr>
                <p:cNvPr id="234" name="Freeform 86">
                  <a:extLst>
                    <a:ext uri="{FF2B5EF4-FFF2-40B4-BE49-F238E27FC236}">
                      <a16:creationId xmlns:a16="http://schemas.microsoft.com/office/drawing/2014/main" id="{7B2076C3-896B-DD68-6552-C574FC1F7A81}"/>
                    </a:ext>
                  </a:extLst>
                </p:cNvPr>
                <p:cNvSpPr>
                  <a:spLocks/>
                </p:cNvSpPr>
                <p:nvPr/>
              </p:nvSpPr>
              <p:spPr bwMode="auto">
                <a:xfrm>
                  <a:off x="5040711" y="4140571"/>
                  <a:ext cx="1062743" cy="743313"/>
                </a:xfrm>
                <a:custGeom>
                  <a:avLst/>
                  <a:gdLst>
                    <a:gd name="T0" fmla="*/ 59 w 369"/>
                    <a:gd name="T1" fmla="*/ 73 h 266"/>
                    <a:gd name="T2" fmla="*/ 59 w 369"/>
                    <a:gd name="T3" fmla="*/ 83 h 266"/>
                    <a:gd name="T4" fmla="*/ 59 w 369"/>
                    <a:gd name="T5" fmla="*/ 83 h 266"/>
                    <a:gd name="T6" fmla="*/ 58 w 369"/>
                    <a:gd name="T7" fmla="*/ 84 h 266"/>
                    <a:gd name="T8" fmla="*/ 58 w 369"/>
                    <a:gd name="T9" fmla="*/ 84 h 266"/>
                    <a:gd name="T10" fmla="*/ 56 w 369"/>
                    <a:gd name="T11" fmla="*/ 84 h 266"/>
                    <a:gd name="T12" fmla="*/ 56 w 369"/>
                    <a:gd name="T13" fmla="*/ 85 h 266"/>
                    <a:gd name="T14" fmla="*/ 56 w 369"/>
                    <a:gd name="T15" fmla="*/ 85 h 266"/>
                    <a:gd name="T16" fmla="*/ 56 w 369"/>
                    <a:gd name="T17" fmla="*/ 85 h 266"/>
                    <a:gd name="T18" fmla="*/ 51 w 369"/>
                    <a:gd name="T19" fmla="*/ 97 h 266"/>
                    <a:gd name="T20" fmla="*/ 50 w 369"/>
                    <a:gd name="T21" fmla="*/ 106 h 266"/>
                    <a:gd name="T22" fmla="*/ 50 w 369"/>
                    <a:gd name="T23" fmla="*/ 106 h 266"/>
                    <a:gd name="T24" fmla="*/ 50 w 369"/>
                    <a:gd name="T25" fmla="*/ 106 h 266"/>
                    <a:gd name="T26" fmla="*/ 50 w 369"/>
                    <a:gd name="T27" fmla="*/ 107 h 266"/>
                    <a:gd name="T28" fmla="*/ 50 w 369"/>
                    <a:gd name="T29" fmla="*/ 107 h 266"/>
                    <a:gd name="T30" fmla="*/ 50 w 369"/>
                    <a:gd name="T31" fmla="*/ 107 h 266"/>
                    <a:gd name="T32" fmla="*/ 50 w 369"/>
                    <a:gd name="T33" fmla="*/ 108 h 266"/>
                    <a:gd name="T34" fmla="*/ 49 w 369"/>
                    <a:gd name="T35" fmla="*/ 109 h 266"/>
                    <a:gd name="T36" fmla="*/ 42 w 369"/>
                    <a:gd name="T37" fmla="*/ 131 h 266"/>
                    <a:gd name="T38" fmla="*/ 26 w 369"/>
                    <a:gd name="T39" fmla="*/ 154 h 266"/>
                    <a:gd name="T40" fmla="*/ 6 w 369"/>
                    <a:gd name="T41" fmla="*/ 161 h 266"/>
                    <a:gd name="T42" fmla="*/ 2 w 369"/>
                    <a:gd name="T43" fmla="*/ 161 h 266"/>
                    <a:gd name="T44" fmla="*/ 1 w 369"/>
                    <a:gd name="T45" fmla="*/ 161 h 266"/>
                    <a:gd name="T46" fmla="*/ 0 w 369"/>
                    <a:gd name="T47" fmla="*/ 161 h 266"/>
                    <a:gd name="T48" fmla="*/ 0 w 369"/>
                    <a:gd name="T49" fmla="*/ 161 h 266"/>
                    <a:gd name="T50" fmla="*/ 14 w 369"/>
                    <a:gd name="T51" fmla="*/ 169 h 266"/>
                    <a:gd name="T52" fmla="*/ 28 w 369"/>
                    <a:gd name="T53" fmla="*/ 190 h 266"/>
                    <a:gd name="T54" fmla="*/ 52 w 369"/>
                    <a:gd name="T55" fmla="*/ 201 h 266"/>
                    <a:gd name="T56" fmla="*/ 64 w 369"/>
                    <a:gd name="T57" fmla="*/ 216 h 266"/>
                    <a:gd name="T58" fmla="*/ 69 w 369"/>
                    <a:gd name="T59" fmla="*/ 229 h 266"/>
                    <a:gd name="T60" fmla="*/ 90 w 369"/>
                    <a:gd name="T61" fmla="*/ 232 h 266"/>
                    <a:gd name="T62" fmla="*/ 113 w 369"/>
                    <a:gd name="T63" fmla="*/ 227 h 266"/>
                    <a:gd name="T64" fmla="*/ 107 w 369"/>
                    <a:gd name="T65" fmla="*/ 240 h 266"/>
                    <a:gd name="T66" fmla="*/ 128 w 369"/>
                    <a:gd name="T67" fmla="*/ 250 h 266"/>
                    <a:gd name="T68" fmla="*/ 241 w 369"/>
                    <a:gd name="T69" fmla="*/ 249 h 266"/>
                    <a:gd name="T70" fmla="*/ 346 w 369"/>
                    <a:gd name="T71" fmla="*/ 215 h 266"/>
                    <a:gd name="T72" fmla="*/ 361 w 369"/>
                    <a:gd name="T73" fmla="*/ 123 h 266"/>
                    <a:gd name="T74" fmla="*/ 350 w 369"/>
                    <a:gd name="T75" fmla="*/ 120 h 266"/>
                    <a:gd name="T76" fmla="*/ 302 w 369"/>
                    <a:gd name="T77" fmla="*/ 127 h 266"/>
                    <a:gd name="T78" fmla="*/ 300 w 369"/>
                    <a:gd name="T79" fmla="*/ 118 h 266"/>
                    <a:gd name="T80" fmla="*/ 293 w 369"/>
                    <a:gd name="T81" fmla="*/ 101 h 266"/>
                    <a:gd name="T82" fmla="*/ 293 w 369"/>
                    <a:gd name="T83" fmla="*/ 88 h 266"/>
                    <a:gd name="T84" fmla="*/ 290 w 369"/>
                    <a:gd name="T85" fmla="*/ 74 h 266"/>
                    <a:gd name="T86" fmla="*/ 280 w 369"/>
                    <a:gd name="T87" fmla="*/ 57 h 266"/>
                    <a:gd name="T88" fmla="*/ 264 w 369"/>
                    <a:gd name="T89" fmla="*/ 44 h 266"/>
                    <a:gd name="T90" fmla="*/ 251 w 369"/>
                    <a:gd name="T91" fmla="*/ 33 h 266"/>
                    <a:gd name="T92" fmla="*/ 242 w 369"/>
                    <a:gd name="T93" fmla="*/ 26 h 266"/>
                    <a:gd name="T94" fmla="*/ 237 w 369"/>
                    <a:gd name="T95" fmla="*/ 17 h 266"/>
                    <a:gd name="T96" fmla="*/ 232 w 369"/>
                    <a:gd name="T97" fmla="*/ 11 h 266"/>
                    <a:gd name="T98" fmla="*/ 224 w 369"/>
                    <a:gd name="T99" fmla="*/ 5 h 266"/>
                    <a:gd name="T100" fmla="*/ 217 w 369"/>
                    <a:gd name="T101" fmla="*/ 1 h 266"/>
                    <a:gd name="T102" fmla="*/ 199 w 369"/>
                    <a:gd name="T103" fmla="*/ 7 h 266"/>
                    <a:gd name="T104" fmla="*/ 150 w 369"/>
                    <a:gd name="T105" fmla="*/ 40 h 266"/>
                    <a:gd name="T106" fmla="*/ 110 w 369"/>
                    <a:gd name="T107" fmla="*/ 38 h 266"/>
                    <a:gd name="T108" fmla="*/ 85 w 369"/>
                    <a:gd name="T109" fmla="*/ 50 h 266"/>
                    <a:gd name="T110" fmla="*/ 81 w 369"/>
                    <a:gd name="T111" fmla="*/ 54 h 266"/>
                    <a:gd name="T112" fmla="*/ 81 w 369"/>
                    <a:gd name="T113" fmla="*/ 54 h 266"/>
                    <a:gd name="T114" fmla="*/ 77 w 369"/>
                    <a:gd name="T115" fmla="*/ 56 h 266"/>
                    <a:gd name="T116" fmla="*/ 77 w 369"/>
                    <a:gd name="T117" fmla="*/ 56 h 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69" h="266">
                      <a:moveTo>
                        <a:pt x="69" y="61"/>
                      </a:moveTo>
                      <a:cubicBezTo>
                        <a:pt x="69" y="61"/>
                        <a:pt x="69" y="61"/>
                        <a:pt x="69" y="61"/>
                      </a:cubicBezTo>
                      <a:cubicBezTo>
                        <a:pt x="66" y="62"/>
                        <a:pt x="66" y="62"/>
                        <a:pt x="66" y="62"/>
                      </a:cubicBezTo>
                      <a:cubicBezTo>
                        <a:pt x="64" y="64"/>
                        <a:pt x="64" y="64"/>
                        <a:pt x="64" y="64"/>
                      </a:cubicBezTo>
                      <a:cubicBezTo>
                        <a:pt x="62" y="70"/>
                        <a:pt x="62" y="70"/>
                        <a:pt x="62" y="70"/>
                      </a:cubicBezTo>
                      <a:cubicBezTo>
                        <a:pt x="62" y="70"/>
                        <a:pt x="62" y="70"/>
                        <a:pt x="62" y="70"/>
                      </a:cubicBezTo>
                      <a:cubicBezTo>
                        <a:pt x="59" y="73"/>
                        <a:pt x="59" y="73"/>
                        <a:pt x="59" y="73"/>
                      </a:cubicBezTo>
                      <a:cubicBezTo>
                        <a:pt x="59" y="73"/>
                        <a:pt x="59" y="73"/>
                        <a:pt x="59" y="73"/>
                      </a:cubicBezTo>
                      <a:cubicBezTo>
                        <a:pt x="58" y="78"/>
                        <a:pt x="58" y="78"/>
                        <a:pt x="58" y="78"/>
                      </a:cubicBezTo>
                      <a:cubicBezTo>
                        <a:pt x="58" y="78"/>
                        <a:pt x="59" y="82"/>
                        <a:pt x="59" y="83"/>
                      </a:cubicBezTo>
                      <a:cubicBezTo>
                        <a:pt x="59" y="83"/>
                        <a:pt x="59" y="83"/>
                        <a:pt x="59" y="83"/>
                      </a:cubicBezTo>
                      <a:cubicBezTo>
                        <a:pt x="59" y="83"/>
                        <a:pt x="59" y="83"/>
                        <a:pt x="59" y="83"/>
                      </a:cubicBezTo>
                      <a:cubicBezTo>
                        <a:pt x="59" y="83"/>
                        <a:pt x="59" y="83"/>
                        <a:pt x="59" y="83"/>
                      </a:cubicBezTo>
                      <a:cubicBezTo>
                        <a:pt x="59" y="83"/>
                        <a:pt x="59" y="83"/>
                        <a:pt x="59" y="83"/>
                      </a:cubicBezTo>
                      <a:cubicBezTo>
                        <a:pt x="59" y="83"/>
                        <a:pt x="59" y="83"/>
                        <a:pt x="59" y="83"/>
                      </a:cubicBezTo>
                      <a:cubicBezTo>
                        <a:pt x="59" y="83"/>
                        <a:pt x="59" y="83"/>
                        <a:pt x="59" y="83"/>
                      </a:cubicBezTo>
                      <a:cubicBezTo>
                        <a:pt x="59" y="83"/>
                        <a:pt x="59" y="83"/>
                        <a:pt x="59" y="83"/>
                      </a:cubicBezTo>
                      <a:cubicBezTo>
                        <a:pt x="59" y="83"/>
                        <a:pt x="59" y="83"/>
                        <a:pt x="59" y="83"/>
                      </a:cubicBezTo>
                      <a:cubicBezTo>
                        <a:pt x="59" y="83"/>
                        <a:pt x="59" y="83"/>
                        <a:pt x="59" y="83"/>
                      </a:cubicBezTo>
                      <a:cubicBezTo>
                        <a:pt x="59" y="83"/>
                        <a:pt x="59" y="83"/>
                        <a:pt x="59" y="83"/>
                      </a:cubicBezTo>
                      <a:cubicBezTo>
                        <a:pt x="59" y="83"/>
                        <a:pt x="59" y="83"/>
                        <a:pt x="59" y="83"/>
                      </a:cubicBezTo>
                      <a:cubicBezTo>
                        <a:pt x="59" y="83"/>
                        <a:pt x="59" y="83"/>
                        <a:pt x="59" y="83"/>
                      </a:cubicBezTo>
                      <a:cubicBezTo>
                        <a:pt x="58" y="84"/>
                        <a:pt x="58" y="84"/>
                        <a:pt x="58" y="84"/>
                      </a:cubicBezTo>
                      <a:cubicBezTo>
                        <a:pt x="58" y="84"/>
                        <a:pt x="58" y="84"/>
                        <a:pt x="58" y="84"/>
                      </a:cubicBezTo>
                      <a:cubicBezTo>
                        <a:pt x="58" y="84"/>
                        <a:pt x="58" y="84"/>
                        <a:pt x="58" y="84"/>
                      </a:cubicBezTo>
                      <a:cubicBezTo>
                        <a:pt x="58" y="84"/>
                        <a:pt x="58" y="84"/>
                        <a:pt x="58" y="84"/>
                      </a:cubicBezTo>
                      <a:cubicBezTo>
                        <a:pt x="58" y="84"/>
                        <a:pt x="58" y="84"/>
                        <a:pt x="58" y="84"/>
                      </a:cubicBezTo>
                      <a:cubicBezTo>
                        <a:pt x="58" y="84"/>
                        <a:pt x="58" y="84"/>
                        <a:pt x="58" y="84"/>
                      </a:cubicBezTo>
                      <a:cubicBezTo>
                        <a:pt x="58" y="84"/>
                        <a:pt x="58" y="84"/>
                        <a:pt x="58" y="84"/>
                      </a:cubicBezTo>
                      <a:cubicBezTo>
                        <a:pt x="58" y="84"/>
                        <a:pt x="58" y="84"/>
                        <a:pt x="58" y="84"/>
                      </a:cubicBezTo>
                      <a:cubicBezTo>
                        <a:pt x="58" y="84"/>
                        <a:pt x="58" y="84"/>
                        <a:pt x="58" y="84"/>
                      </a:cubicBezTo>
                      <a:cubicBezTo>
                        <a:pt x="58" y="84"/>
                        <a:pt x="58" y="84"/>
                        <a:pt x="58" y="84"/>
                      </a:cubicBezTo>
                      <a:cubicBezTo>
                        <a:pt x="58" y="84"/>
                        <a:pt x="58" y="84"/>
                        <a:pt x="58" y="84"/>
                      </a:cubicBezTo>
                      <a:cubicBezTo>
                        <a:pt x="58" y="84"/>
                        <a:pt x="58" y="84"/>
                        <a:pt x="58" y="84"/>
                      </a:cubicBezTo>
                      <a:cubicBezTo>
                        <a:pt x="58" y="84"/>
                        <a:pt x="58" y="84"/>
                        <a:pt x="58" y="84"/>
                      </a:cubicBezTo>
                      <a:cubicBezTo>
                        <a:pt x="58" y="84"/>
                        <a:pt x="58" y="84"/>
                        <a:pt x="58" y="84"/>
                      </a:cubicBezTo>
                      <a:cubicBezTo>
                        <a:pt x="58" y="84"/>
                        <a:pt x="58" y="84"/>
                        <a:pt x="58" y="84"/>
                      </a:cubicBezTo>
                      <a:cubicBezTo>
                        <a:pt x="57" y="84"/>
                        <a:pt x="56" y="84"/>
                        <a:pt x="56" y="84"/>
                      </a:cubicBezTo>
                      <a:cubicBezTo>
                        <a:pt x="56" y="84"/>
                        <a:pt x="56" y="84"/>
                        <a:pt x="56" y="84"/>
                      </a:cubicBezTo>
                      <a:cubicBezTo>
                        <a:pt x="56" y="84"/>
                        <a:pt x="56" y="84"/>
                        <a:pt x="56" y="84"/>
                      </a:cubicBezTo>
                      <a:cubicBezTo>
                        <a:pt x="56" y="84"/>
                        <a:pt x="56" y="84"/>
                        <a:pt x="56" y="84"/>
                      </a:cubicBezTo>
                      <a:cubicBezTo>
                        <a:pt x="56" y="84"/>
                        <a:pt x="56" y="84"/>
                        <a:pt x="56" y="84"/>
                      </a:cubicBezTo>
                      <a:cubicBezTo>
                        <a:pt x="56" y="84"/>
                        <a:pt x="56" y="84"/>
                        <a:pt x="56" y="84"/>
                      </a:cubicBezTo>
                      <a:cubicBezTo>
                        <a:pt x="56" y="84"/>
                        <a:pt x="56" y="84"/>
                        <a:pt x="56" y="84"/>
                      </a:cubicBezTo>
                      <a:cubicBezTo>
                        <a:pt x="56" y="84"/>
                        <a:pt x="56" y="84"/>
                        <a:pt x="56" y="84"/>
                      </a:cubicBezTo>
                      <a:cubicBezTo>
                        <a:pt x="56" y="84"/>
                        <a:pt x="56" y="84"/>
                        <a:pt x="56" y="84"/>
                      </a:cubicBezTo>
                      <a:cubicBezTo>
                        <a:pt x="56" y="85"/>
                        <a:pt x="56" y="85"/>
                        <a:pt x="56" y="85"/>
                      </a:cubicBezTo>
                      <a:cubicBezTo>
                        <a:pt x="56" y="85"/>
                        <a:pt x="56" y="85"/>
                        <a:pt x="56" y="85"/>
                      </a:cubicBezTo>
                      <a:cubicBezTo>
                        <a:pt x="56" y="85"/>
                        <a:pt x="56" y="85"/>
                        <a:pt x="56" y="85"/>
                      </a:cubicBezTo>
                      <a:cubicBezTo>
                        <a:pt x="56" y="85"/>
                        <a:pt x="56" y="85"/>
                        <a:pt x="56" y="85"/>
                      </a:cubicBezTo>
                      <a:cubicBezTo>
                        <a:pt x="56" y="85"/>
                        <a:pt x="56" y="85"/>
                        <a:pt x="56" y="85"/>
                      </a:cubicBezTo>
                      <a:cubicBezTo>
                        <a:pt x="56" y="85"/>
                        <a:pt x="56" y="85"/>
                        <a:pt x="56" y="85"/>
                      </a:cubicBezTo>
                      <a:cubicBezTo>
                        <a:pt x="56" y="85"/>
                        <a:pt x="56" y="85"/>
                        <a:pt x="56" y="85"/>
                      </a:cubicBezTo>
                      <a:cubicBezTo>
                        <a:pt x="56" y="85"/>
                        <a:pt x="56" y="85"/>
                        <a:pt x="56" y="85"/>
                      </a:cubicBezTo>
                      <a:cubicBezTo>
                        <a:pt x="56" y="85"/>
                        <a:pt x="56" y="85"/>
                        <a:pt x="56" y="85"/>
                      </a:cubicBezTo>
                      <a:cubicBezTo>
                        <a:pt x="56" y="85"/>
                        <a:pt x="56" y="85"/>
                        <a:pt x="56" y="85"/>
                      </a:cubicBezTo>
                      <a:cubicBezTo>
                        <a:pt x="56" y="85"/>
                        <a:pt x="56" y="85"/>
                        <a:pt x="56" y="85"/>
                      </a:cubicBezTo>
                      <a:cubicBezTo>
                        <a:pt x="56" y="85"/>
                        <a:pt x="56" y="85"/>
                        <a:pt x="56" y="85"/>
                      </a:cubicBezTo>
                      <a:cubicBezTo>
                        <a:pt x="56" y="85"/>
                        <a:pt x="56" y="85"/>
                        <a:pt x="56" y="85"/>
                      </a:cubicBezTo>
                      <a:cubicBezTo>
                        <a:pt x="56" y="85"/>
                        <a:pt x="56" y="85"/>
                        <a:pt x="56" y="85"/>
                      </a:cubicBezTo>
                      <a:cubicBezTo>
                        <a:pt x="56" y="85"/>
                        <a:pt x="56" y="85"/>
                        <a:pt x="56" y="85"/>
                      </a:cubicBezTo>
                      <a:cubicBezTo>
                        <a:pt x="56" y="85"/>
                        <a:pt x="56" y="85"/>
                        <a:pt x="56" y="85"/>
                      </a:cubicBezTo>
                      <a:cubicBezTo>
                        <a:pt x="56" y="85"/>
                        <a:pt x="56" y="85"/>
                        <a:pt x="56" y="85"/>
                      </a:cubicBezTo>
                      <a:cubicBezTo>
                        <a:pt x="56" y="85"/>
                        <a:pt x="56" y="85"/>
                        <a:pt x="56" y="85"/>
                      </a:cubicBezTo>
                      <a:cubicBezTo>
                        <a:pt x="56" y="85"/>
                        <a:pt x="56" y="85"/>
                        <a:pt x="56" y="85"/>
                      </a:cubicBezTo>
                      <a:cubicBezTo>
                        <a:pt x="56" y="85"/>
                        <a:pt x="56" y="85"/>
                        <a:pt x="56" y="85"/>
                      </a:cubicBezTo>
                      <a:cubicBezTo>
                        <a:pt x="56" y="85"/>
                        <a:pt x="56" y="85"/>
                        <a:pt x="56" y="85"/>
                      </a:cubicBezTo>
                      <a:cubicBezTo>
                        <a:pt x="56" y="85"/>
                        <a:pt x="56" y="85"/>
                        <a:pt x="56" y="85"/>
                      </a:cubicBezTo>
                      <a:cubicBezTo>
                        <a:pt x="55" y="93"/>
                        <a:pt x="55" y="93"/>
                        <a:pt x="55" y="93"/>
                      </a:cubicBezTo>
                      <a:cubicBezTo>
                        <a:pt x="51" y="97"/>
                        <a:pt x="51" y="97"/>
                        <a:pt x="51" y="97"/>
                      </a:cubicBezTo>
                      <a:cubicBezTo>
                        <a:pt x="50" y="102"/>
                        <a:pt x="50" y="102"/>
                        <a:pt x="50" y="102"/>
                      </a:cubicBezTo>
                      <a:cubicBezTo>
                        <a:pt x="50" y="105"/>
                        <a:pt x="50" y="105"/>
                        <a:pt x="50" y="105"/>
                      </a:cubicBezTo>
                      <a:cubicBezTo>
                        <a:pt x="50" y="105"/>
                        <a:pt x="50" y="105"/>
                        <a:pt x="50" y="105"/>
                      </a:cubicBezTo>
                      <a:cubicBezTo>
                        <a:pt x="50" y="105"/>
                        <a:pt x="50" y="105"/>
                        <a:pt x="50" y="105"/>
                      </a:cubicBezTo>
                      <a:cubicBezTo>
                        <a:pt x="50" y="106"/>
                        <a:pt x="50" y="106"/>
                        <a:pt x="50" y="106"/>
                      </a:cubicBezTo>
                      <a:cubicBezTo>
                        <a:pt x="50" y="106"/>
                        <a:pt x="50" y="106"/>
                        <a:pt x="50" y="106"/>
                      </a:cubicBezTo>
                      <a:cubicBezTo>
                        <a:pt x="50" y="106"/>
                        <a:pt x="50" y="106"/>
                        <a:pt x="50" y="106"/>
                      </a:cubicBezTo>
                      <a:cubicBezTo>
                        <a:pt x="50" y="106"/>
                        <a:pt x="50" y="106"/>
                        <a:pt x="50" y="106"/>
                      </a:cubicBezTo>
                      <a:cubicBezTo>
                        <a:pt x="50" y="106"/>
                        <a:pt x="50" y="106"/>
                        <a:pt x="50" y="106"/>
                      </a:cubicBezTo>
                      <a:cubicBezTo>
                        <a:pt x="50" y="106"/>
                        <a:pt x="50" y="106"/>
                        <a:pt x="50" y="106"/>
                      </a:cubicBezTo>
                      <a:cubicBezTo>
                        <a:pt x="50" y="106"/>
                        <a:pt x="50" y="106"/>
                        <a:pt x="50" y="106"/>
                      </a:cubicBezTo>
                      <a:cubicBezTo>
                        <a:pt x="50" y="106"/>
                        <a:pt x="50" y="106"/>
                        <a:pt x="50" y="106"/>
                      </a:cubicBezTo>
                      <a:cubicBezTo>
                        <a:pt x="50" y="106"/>
                        <a:pt x="50" y="106"/>
                        <a:pt x="50" y="106"/>
                      </a:cubicBezTo>
                      <a:cubicBezTo>
                        <a:pt x="50" y="106"/>
                        <a:pt x="50" y="106"/>
                        <a:pt x="50" y="106"/>
                      </a:cubicBezTo>
                      <a:cubicBezTo>
                        <a:pt x="50" y="106"/>
                        <a:pt x="50" y="106"/>
                        <a:pt x="50" y="106"/>
                      </a:cubicBezTo>
                      <a:cubicBezTo>
                        <a:pt x="50" y="106"/>
                        <a:pt x="50" y="106"/>
                        <a:pt x="50" y="106"/>
                      </a:cubicBezTo>
                      <a:cubicBezTo>
                        <a:pt x="50" y="106"/>
                        <a:pt x="50" y="106"/>
                        <a:pt x="50" y="106"/>
                      </a:cubicBezTo>
                      <a:cubicBezTo>
                        <a:pt x="50" y="106"/>
                        <a:pt x="50" y="106"/>
                        <a:pt x="50" y="106"/>
                      </a:cubicBezTo>
                      <a:cubicBezTo>
                        <a:pt x="50" y="106"/>
                        <a:pt x="50" y="106"/>
                        <a:pt x="50" y="106"/>
                      </a:cubicBezTo>
                      <a:cubicBezTo>
                        <a:pt x="50" y="106"/>
                        <a:pt x="50" y="106"/>
                        <a:pt x="50" y="106"/>
                      </a:cubicBezTo>
                      <a:cubicBezTo>
                        <a:pt x="50" y="106"/>
                        <a:pt x="50" y="106"/>
                        <a:pt x="50" y="106"/>
                      </a:cubicBezTo>
                      <a:cubicBezTo>
                        <a:pt x="50" y="106"/>
                        <a:pt x="50" y="106"/>
                        <a:pt x="50" y="106"/>
                      </a:cubicBezTo>
                      <a:cubicBezTo>
                        <a:pt x="50" y="107"/>
                        <a:pt x="50" y="107"/>
                        <a:pt x="50" y="107"/>
                      </a:cubicBezTo>
                      <a:cubicBezTo>
                        <a:pt x="50" y="107"/>
                        <a:pt x="50" y="107"/>
                        <a:pt x="50" y="107"/>
                      </a:cubicBezTo>
                      <a:cubicBezTo>
                        <a:pt x="50" y="107"/>
                        <a:pt x="50" y="107"/>
                        <a:pt x="50" y="107"/>
                      </a:cubicBezTo>
                      <a:cubicBezTo>
                        <a:pt x="50" y="107"/>
                        <a:pt x="50" y="107"/>
                        <a:pt x="50" y="107"/>
                      </a:cubicBezTo>
                      <a:cubicBezTo>
                        <a:pt x="50" y="107"/>
                        <a:pt x="50" y="107"/>
                        <a:pt x="50" y="107"/>
                      </a:cubicBezTo>
                      <a:cubicBezTo>
                        <a:pt x="50" y="107"/>
                        <a:pt x="50" y="107"/>
                        <a:pt x="50" y="107"/>
                      </a:cubicBezTo>
                      <a:cubicBezTo>
                        <a:pt x="50" y="107"/>
                        <a:pt x="50" y="107"/>
                        <a:pt x="50" y="107"/>
                      </a:cubicBezTo>
                      <a:cubicBezTo>
                        <a:pt x="50" y="107"/>
                        <a:pt x="50" y="107"/>
                        <a:pt x="50" y="107"/>
                      </a:cubicBezTo>
                      <a:cubicBezTo>
                        <a:pt x="50" y="107"/>
                        <a:pt x="50" y="107"/>
                        <a:pt x="50" y="107"/>
                      </a:cubicBezTo>
                      <a:cubicBezTo>
                        <a:pt x="50" y="107"/>
                        <a:pt x="50" y="107"/>
                        <a:pt x="50" y="107"/>
                      </a:cubicBezTo>
                      <a:cubicBezTo>
                        <a:pt x="50" y="107"/>
                        <a:pt x="50" y="107"/>
                        <a:pt x="50" y="107"/>
                      </a:cubicBezTo>
                      <a:cubicBezTo>
                        <a:pt x="50" y="107"/>
                        <a:pt x="50" y="107"/>
                        <a:pt x="50" y="107"/>
                      </a:cubicBezTo>
                      <a:cubicBezTo>
                        <a:pt x="50" y="107"/>
                        <a:pt x="50" y="107"/>
                        <a:pt x="50" y="107"/>
                      </a:cubicBezTo>
                      <a:cubicBezTo>
                        <a:pt x="50" y="107"/>
                        <a:pt x="50" y="107"/>
                        <a:pt x="50" y="107"/>
                      </a:cubicBezTo>
                      <a:cubicBezTo>
                        <a:pt x="50" y="107"/>
                        <a:pt x="50" y="107"/>
                        <a:pt x="50" y="107"/>
                      </a:cubicBezTo>
                      <a:cubicBezTo>
                        <a:pt x="50" y="107"/>
                        <a:pt x="50" y="107"/>
                        <a:pt x="50" y="107"/>
                      </a:cubicBezTo>
                      <a:cubicBezTo>
                        <a:pt x="50" y="107"/>
                        <a:pt x="50" y="107"/>
                        <a:pt x="50" y="107"/>
                      </a:cubicBezTo>
                      <a:cubicBezTo>
                        <a:pt x="50" y="107"/>
                        <a:pt x="50" y="107"/>
                        <a:pt x="50" y="107"/>
                      </a:cubicBezTo>
                      <a:cubicBezTo>
                        <a:pt x="50" y="107"/>
                        <a:pt x="50" y="107"/>
                        <a:pt x="50" y="107"/>
                      </a:cubicBezTo>
                      <a:cubicBezTo>
                        <a:pt x="50" y="107"/>
                        <a:pt x="50" y="107"/>
                        <a:pt x="50" y="107"/>
                      </a:cubicBezTo>
                      <a:cubicBezTo>
                        <a:pt x="50" y="108"/>
                        <a:pt x="50" y="108"/>
                        <a:pt x="50" y="108"/>
                      </a:cubicBezTo>
                      <a:cubicBezTo>
                        <a:pt x="50" y="108"/>
                        <a:pt x="50" y="108"/>
                        <a:pt x="50" y="108"/>
                      </a:cubicBezTo>
                      <a:cubicBezTo>
                        <a:pt x="50" y="108"/>
                        <a:pt x="50" y="108"/>
                        <a:pt x="50" y="108"/>
                      </a:cubicBezTo>
                      <a:cubicBezTo>
                        <a:pt x="50" y="108"/>
                        <a:pt x="50" y="108"/>
                        <a:pt x="50" y="108"/>
                      </a:cubicBezTo>
                      <a:cubicBezTo>
                        <a:pt x="50" y="108"/>
                        <a:pt x="50" y="108"/>
                        <a:pt x="50" y="108"/>
                      </a:cubicBezTo>
                      <a:cubicBezTo>
                        <a:pt x="50" y="108"/>
                        <a:pt x="50" y="108"/>
                        <a:pt x="50" y="108"/>
                      </a:cubicBezTo>
                      <a:cubicBezTo>
                        <a:pt x="50" y="108"/>
                        <a:pt x="50" y="108"/>
                        <a:pt x="50" y="108"/>
                      </a:cubicBezTo>
                      <a:cubicBezTo>
                        <a:pt x="50" y="108"/>
                        <a:pt x="50" y="108"/>
                        <a:pt x="50" y="108"/>
                      </a:cubicBezTo>
                      <a:cubicBezTo>
                        <a:pt x="50" y="108"/>
                        <a:pt x="50" y="108"/>
                        <a:pt x="50" y="108"/>
                      </a:cubicBezTo>
                      <a:cubicBezTo>
                        <a:pt x="50" y="108"/>
                        <a:pt x="50" y="108"/>
                        <a:pt x="50" y="108"/>
                      </a:cubicBezTo>
                      <a:cubicBezTo>
                        <a:pt x="50" y="108"/>
                        <a:pt x="50" y="108"/>
                        <a:pt x="50" y="108"/>
                      </a:cubicBezTo>
                      <a:cubicBezTo>
                        <a:pt x="50" y="108"/>
                        <a:pt x="50" y="108"/>
                        <a:pt x="50" y="108"/>
                      </a:cubicBezTo>
                      <a:cubicBezTo>
                        <a:pt x="50" y="108"/>
                        <a:pt x="50" y="108"/>
                        <a:pt x="50" y="108"/>
                      </a:cubicBezTo>
                      <a:cubicBezTo>
                        <a:pt x="50" y="109"/>
                        <a:pt x="50" y="109"/>
                        <a:pt x="49" y="109"/>
                      </a:cubicBezTo>
                      <a:cubicBezTo>
                        <a:pt x="47" y="110"/>
                        <a:pt x="46" y="112"/>
                        <a:pt x="46" y="112"/>
                      </a:cubicBezTo>
                      <a:cubicBezTo>
                        <a:pt x="46" y="119"/>
                        <a:pt x="46" y="119"/>
                        <a:pt x="46" y="119"/>
                      </a:cubicBezTo>
                      <a:cubicBezTo>
                        <a:pt x="45" y="121"/>
                        <a:pt x="45" y="121"/>
                        <a:pt x="45" y="121"/>
                      </a:cubicBezTo>
                      <a:cubicBezTo>
                        <a:pt x="43" y="124"/>
                        <a:pt x="43" y="124"/>
                        <a:pt x="43" y="124"/>
                      </a:cubicBezTo>
                      <a:cubicBezTo>
                        <a:pt x="44" y="128"/>
                        <a:pt x="44" y="128"/>
                        <a:pt x="44" y="128"/>
                      </a:cubicBezTo>
                      <a:cubicBezTo>
                        <a:pt x="44" y="128"/>
                        <a:pt x="44" y="128"/>
                        <a:pt x="44" y="128"/>
                      </a:cubicBezTo>
                      <a:cubicBezTo>
                        <a:pt x="42" y="131"/>
                        <a:pt x="42" y="131"/>
                        <a:pt x="42" y="131"/>
                      </a:cubicBezTo>
                      <a:cubicBezTo>
                        <a:pt x="43" y="136"/>
                        <a:pt x="43" y="136"/>
                        <a:pt x="43" y="136"/>
                      </a:cubicBezTo>
                      <a:cubicBezTo>
                        <a:pt x="41" y="139"/>
                        <a:pt x="41" y="139"/>
                        <a:pt x="41" y="139"/>
                      </a:cubicBezTo>
                      <a:cubicBezTo>
                        <a:pt x="40" y="140"/>
                        <a:pt x="40" y="140"/>
                        <a:pt x="40" y="140"/>
                      </a:cubicBezTo>
                      <a:cubicBezTo>
                        <a:pt x="39" y="143"/>
                        <a:pt x="39" y="143"/>
                        <a:pt x="39" y="143"/>
                      </a:cubicBezTo>
                      <a:cubicBezTo>
                        <a:pt x="37" y="148"/>
                        <a:pt x="37" y="148"/>
                        <a:pt x="37" y="148"/>
                      </a:cubicBezTo>
                      <a:cubicBezTo>
                        <a:pt x="29" y="155"/>
                        <a:pt x="29" y="155"/>
                        <a:pt x="29" y="155"/>
                      </a:cubicBezTo>
                      <a:cubicBezTo>
                        <a:pt x="26" y="154"/>
                        <a:pt x="26" y="154"/>
                        <a:pt x="26" y="154"/>
                      </a:cubicBezTo>
                      <a:cubicBezTo>
                        <a:pt x="24" y="155"/>
                        <a:pt x="24" y="155"/>
                        <a:pt x="24" y="155"/>
                      </a:cubicBezTo>
                      <a:cubicBezTo>
                        <a:pt x="22" y="157"/>
                        <a:pt x="22" y="157"/>
                        <a:pt x="22" y="157"/>
                      </a:cubicBezTo>
                      <a:cubicBezTo>
                        <a:pt x="22" y="157"/>
                        <a:pt x="23" y="157"/>
                        <a:pt x="21" y="159"/>
                      </a:cubicBezTo>
                      <a:cubicBezTo>
                        <a:pt x="19" y="160"/>
                        <a:pt x="15" y="161"/>
                        <a:pt x="15" y="161"/>
                      </a:cubicBezTo>
                      <a:cubicBezTo>
                        <a:pt x="13" y="161"/>
                        <a:pt x="13" y="161"/>
                        <a:pt x="13" y="161"/>
                      </a:cubicBezTo>
                      <a:cubicBezTo>
                        <a:pt x="6" y="161"/>
                        <a:pt x="6" y="161"/>
                        <a:pt x="6" y="161"/>
                      </a:cubicBezTo>
                      <a:cubicBezTo>
                        <a:pt x="6" y="161"/>
                        <a:pt x="6" y="161"/>
                        <a:pt x="6" y="161"/>
                      </a:cubicBezTo>
                      <a:cubicBezTo>
                        <a:pt x="6" y="161"/>
                        <a:pt x="6" y="161"/>
                        <a:pt x="6" y="161"/>
                      </a:cubicBezTo>
                      <a:cubicBezTo>
                        <a:pt x="6" y="161"/>
                        <a:pt x="5" y="160"/>
                        <a:pt x="4" y="161"/>
                      </a:cubicBezTo>
                      <a:cubicBezTo>
                        <a:pt x="4" y="161"/>
                        <a:pt x="3" y="161"/>
                        <a:pt x="3" y="161"/>
                      </a:cubicBezTo>
                      <a:cubicBezTo>
                        <a:pt x="3" y="161"/>
                        <a:pt x="3" y="161"/>
                        <a:pt x="3" y="161"/>
                      </a:cubicBezTo>
                      <a:cubicBezTo>
                        <a:pt x="2" y="161"/>
                        <a:pt x="2" y="161"/>
                        <a:pt x="2" y="161"/>
                      </a:cubicBezTo>
                      <a:cubicBezTo>
                        <a:pt x="2" y="161"/>
                        <a:pt x="2" y="161"/>
                        <a:pt x="2" y="161"/>
                      </a:cubicBezTo>
                      <a:cubicBezTo>
                        <a:pt x="2" y="161"/>
                        <a:pt x="2" y="161"/>
                        <a:pt x="2" y="161"/>
                      </a:cubicBezTo>
                      <a:cubicBezTo>
                        <a:pt x="2" y="161"/>
                        <a:pt x="2" y="161"/>
                        <a:pt x="2" y="161"/>
                      </a:cubicBezTo>
                      <a:cubicBezTo>
                        <a:pt x="2" y="161"/>
                        <a:pt x="2" y="161"/>
                        <a:pt x="2" y="161"/>
                      </a:cubicBezTo>
                      <a:cubicBezTo>
                        <a:pt x="2" y="161"/>
                        <a:pt x="2" y="161"/>
                        <a:pt x="2" y="161"/>
                      </a:cubicBezTo>
                      <a:cubicBezTo>
                        <a:pt x="2" y="161"/>
                        <a:pt x="2" y="161"/>
                        <a:pt x="2" y="161"/>
                      </a:cubicBezTo>
                      <a:cubicBezTo>
                        <a:pt x="2" y="161"/>
                        <a:pt x="2" y="161"/>
                        <a:pt x="2" y="161"/>
                      </a:cubicBezTo>
                      <a:cubicBezTo>
                        <a:pt x="2" y="161"/>
                        <a:pt x="2" y="161"/>
                        <a:pt x="2" y="161"/>
                      </a:cubicBezTo>
                      <a:cubicBezTo>
                        <a:pt x="1" y="161"/>
                        <a:pt x="1" y="161"/>
                        <a:pt x="1" y="161"/>
                      </a:cubicBezTo>
                      <a:cubicBezTo>
                        <a:pt x="1" y="161"/>
                        <a:pt x="1" y="161"/>
                        <a:pt x="1" y="161"/>
                      </a:cubicBezTo>
                      <a:cubicBezTo>
                        <a:pt x="1" y="161"/>
                        <a:pt x="1" y="161"/>
                        <a:pt x="1" y="161"/>
                      </a:cubicBezTo>
                      <a:cubicBezTo>
                        <a:pt x="1" y="161"/>
                        <a:pt x="1" y="161"/>
                        <a:pt x="1" y="161"/>
                      </a:cubicBezTo>
                      <a:cubicBezTo>
                        <a:pt x="1" y="161"/>
                        <a:pt x="1" y="161"/>
                        <a:pt x="1" y="161"/>
                      </a:cubicBezTo>
                      <a:cubicBezTo>
                        <a:pt x="1" y="161"/>
                        <a:pt x="1" y="161"/>
                        <a:pt x="1" y="161"/>
                      </a:cubicBezTo>
                      <a:cubicBezTo>
                        <a:pt x="0" y="161"/>
                        <a:pt x="0" y="161"/>
                        <a:pt x="0" y="161"/>
                      </a:cubicBezTo>
                      <a:cubicBezTo>
                        <a:pt x="0" y="161"/>
                        <a:pt x="0" y="161"/>
                        <a:pt x="0" y="161"/>
                      </a:cubicBezTo>
                      <a:cubicBezTo>
                        <a:pt x="0" y="161"/>
                        <a:pt x="0" y="161"/>
                        <a:pt x="0" y="161"/>
                      </a:cubicBezTo>
                      <a:cubicBezTo>
                        <a:pt x="0" y="161"/>
                        <a:pt x="0" y="161"/>
                        <a:pt x="0" y="161"/>
                      </a:cubicBezTo>
                      <a:cubicBezTo>
                        <a:pt x="0" y="161"/>
                        <a:pt x="0" y="161"/>
                        <a:pt x="0" y="161"/>
                      </a:cubicBezTo>
                      <a:cubicBezTo>
                        <a:pt x="0" y="161"/>
                        <a:pt x="0" y="161"/>
                        <a:pt x="0" y="161"/>
                      </a:cubicBezTo>
                      <a:cubicBezTo>
                        <a:pt x="0" y="161"/>
                        <a:pt x="0" y="161"/>
                        <a:pt x="0" y="161"/>
                      </a:cubicBezTo>
                      <a:cubicBezTo>
                        <a:pt x="0" y="161"/>
                        <a:pt x="0" y="161"/>
                        <a:pt x="0" y="161"/>
                      </a:cubicBezTo>
                      <a:cubicBezTo>
                        <a:pt x="0" y="161"/>
                        <a:pt x="0" y="161"/>
                        <a:pt x="0" y="161"/>
                      </a:cubicBezTo>
                      <a:cubicBezTo>
                        <a:pt x="0" y="161"/>
                        <a:pt x="0" y="161"/>
                        <a:pt x="0" y="161"/>
                      </a:cubicBezTo>
                      <a:cubicBezTo>
                        <a:pt x="0" y="161"/>
                        <a:pt x="0" y="161"/>
                        <a:pt x="0" y="161"/>
                      </a:cubicBezTo>
                      <a:cubicBezTo>
                        <a:pt x="0" y="161"/>
                        <a:pt x="0" y="161"/>
                        <a:pt x="0" y="161"/>
                      </a:cubicBezTo>
                      <a:cubicBezTo>
                        <a:pt x="0" y="161"/>
                        <a:pt x="1" y="162"/>
                        <a:pt x="2" y="162"/>
                      </a:cubicBezTo>
                      <a:cubicBezTo>
                        <a:pt x="4" y="163"/>
                        <a:pt x="5" y="166"/>
                        <a:pt x="6" y="166"/>
                      </a:cubicBezTo>
                      <a:cubicBezTo>
                        <a:pt x="8" y="167"/>
                        <a:pt x="10" y="167"/>
                        <a:pt x="11" y="167"/>
                      </a:cubicBezTo>
                      <a:cubicBezTo>
                        <a:pt x="12" y="168"/>
                        <a:pt x="14" y="169"/>
                        <a:pt x="14" y="169"/>
                      </a:cubicBezTo>
                      <a:cubicBezTo>
                        <a:pt x="14" y="169"/>
                        <a:pt x="19" y="174"/>
                        <a:pt x="20" y="174"/>
                      </a:cubicBezTo>
                      <a:cubicBezTo>
                        <a:pt x="21" y="174"/>
                        <a:pt x="21" y="174"/>
                        <a:pt x="22" y="176"/>
                      </a:cubicBezTo>
                      <a:cubicBezTo>
                        <a:pt x="23" y="177"/>
                        <a:pt x="26" y="176"/>
                        <a:pt x="26" y="176"/>
                      </a:cubicBezTo>
                      <a:cubicBezTo>
                        <a:pt x="26" y="176"/>
                        <a:pt x="27" y="179"/>
                        <a:pt x="26" y="180"/>
                      </a:cubicBezTo>
                      <a:cubicBezTo>
                        <a:pt x="26" y="181"/>
                        <a:pt x="26" y="184"/>
                        <a:pt x="26" y="184"/>
                      </a:cubicBezTo>
                      <a:cubicBezTo>
                        <a:pt x="26" y="184"/>
                        <a:pt x="26" y="185"/>
                        <a:pt x="26" y="186"/>
                      </a:cubicBezTo>
                      <a:cubicBezTo>
                        <a:pt x="27" y="188"/>
                        <a:pt x="28" y="188"/>
                        <a:pt x="28" y="190"/>
                      </a:cubicBezTo>
                      <a:cubicBezTo>
                        <a:pt x="29" y="191"/>
                        <a:pt x="28" y="191"/>
                        <a:pt x="29" y="192"/>
                      </a:cubicBezTo>
                      <a:cubicBezTo>
                        <a:pt x="30" y="193"/>
                        <a:pt x="31" y="195"/>
                        <a:pt x="32" y="195"/>
                      </a:cubicBezTo>
                      <a:cubicBezTo>
                        <a:pt x="33" y="195"/>
                        <a:pt x="34" y="195"/>
                        <a:pt x="37" y="196"/>
                      </a:cubicBezTo>
                      <a:cubicBezTo>
                        <a:pt x="40" y="198"/>
                        <a:pt x="41" y="198"/>
                        <a:pt x="42" y="199"/>
                      </a:cubicBezTo>
                      <a:cubicBezTo>
                        <a:pt x="44" y="200"/>
                        <a:pt x="43" y="199"/>
                        <a:pt x="46" y="200"/>
                      </a:cubicBezTo>
                      <a:cubicBezTo>
                        <a:pt x="50" y="201"/>
                        <a:pt x="49" y="200"/>
                        <a:pt x="50" y="201"/>
                      </a:cubicBezTo>
                      <a:cubicBezTo>
                        <a:pt x="51" y="201"/>
                        <a:pt x="50" y="200"/>
                        <a:pt x="52" y="201"/>
                      </a:cubicBezTo>
                      <a:cubicBezTo>
                        <a:pt x="55" y="201"/>
                        <a:pt x="57" y="202"/>
                        <a:pt x="57" y="202"/>
                      </a:cubicBezTo>
                      <a:cubicBezTo>
                        <a:pt x="57" y="204"/>
                        <a:pt x="57" y="204"/>
                        <a:pt x="57" y="204"/>
                      </a:cubicBezTo>
                      <a:cubicBezTo>
                        <a:pt x="55" y="208"/>
                        <a:pt x="55" y="208"/>
                        <a:pt x="55" y="208"/>
                      </a:cubicBezTo>
                      <a:cubicBezTo>
                        <a:pt x="55" y="211"/>
                        <a:pt x="55" y="211"/>
                        <a:pt x="55" y="211"/>
                      </a:cubicBezTo>
                      <a:cubicBezTo>
                        <a:pt x="55" y="211"/>
                        <a:pt x="53" y="211"/>
                        <a:pt x="55" y="212"/>
                      </a:cubicBezTo>
                      <a:cubicBezTo>
                        <a:pt x="57" y="213"/>
                        <a:pt x="61" y="214"/>
                        <a:pt x="61" y="214"/>
                      </a:cubicBezTo>
                      <a:cubicBezTo>
                        <a:pt x="64" y="216"/>
                        <a:pt x="64" y="216"/>
                        <a:pt x="64" y="216"/>
                      </a:cubicBezTo>
                      <a:cubicBezTo>
                        <a:pt x="64" y="216"/>
                        <a:pt x="62" y="219"/>
                        <a:pt x="61" y="220"/>
                      </a:cubicBezTo>
                      <a:cubicBezTo>
                        <a:pt x="60" y="220"/>
                        <a:pt x="57" y="220"/>
                        <a:pt x="57" y="220"/>
                      </a:cubicBezTo>
                      <a:cubicBezTo>
                        <a:pt x="57" y="220"/>
                        <a:pt x="56" y="223"/>
                        <a:pt x="58" y="223"/>
                      </a:cubicBezTo>
                      <a:cubicBezTo>
                        <a:pt x="59" y="224"/>
                        <a:pt x="61" y="224"/>
                        <a:pt x="62" y="224"/>
                      </a:cubicBezTo>
                      <a:cubicBezTo>
                        <a:pt x="63" y="224"/>
                        <a:pt x="65" y="225"/>
                        <a:pt x="65" y="225"/>
                      </a:cubicBezTo>
                      <a:cubicBezTo>
                        <a:pt x="65" y="225"/>
                        <a:pt x="66" y="225"/>
                        <a:pt x="67" y="226"/>
                      </a:cubicBezTo>
                      <a:cubicBezTo>
                        <a:pt x="67" y="228"/>
                        <a:pt x="68" y="229"/>
                        <a:pt x="69" y="229"/>
                      </a:cubicBezTo>
                      <a:cubicBezTo>
                        <a:pt x="70" y="229"/>
                        <a:pt x="72" y="229"/>
                        <a:pt x="73" y="229"/>
                      </a:cubicBezTo>
                      <a:cubicBezTo>
                        <a:pt x="74" y="229"/>
                        <a:pt x="74" y="228"/>
                        <a:pt x="75" y="228"/>
                      </a:cubicBezTo>
                      <a:cubicBezTo>
                        <a:pt x="76" y="229"/>
                        <a:pt x="82" y="228"/>
                        <a:pt x="82" y="228"/>
                      </a:cubicBezTo>
                      <a:cubicBezTo>
                        <a:pt x="82" y="228"/>
                        <a:pt x="82" y="228"/>
                        <a:pt x="83" y="230"/>
                      </a:cubicBezTo>
                      <a:cubicBezTo>
                        <a:pt x="85" y="233"/>
                        <a:pt x="88" y="234"/>
                        <a:pt x="88" y="234"/>
                      </a:cubicBezTo>
                      <a:cubicBezTo>
                        <a:pt x="88" y="234"/>
                        <a:pt x="89" y="235"/>
                        <a:pt x="89" y="234"/>
                      </a:cubicBezTo>
                      <a:cubicBezTo>
                        <a:pt x="89" y="233"/>
                        <a:pt x="90" y="232"/>
                        <a:pt x="90" y="232"/>
                      </a:cubicBezTo>
                      <a:cubicBezTo>
                        <a:pt x="90" y="232"/>
                        <a:pt x="92" y="229"/>
                        <a:pt x="92" y="228"/>
                      </a:cubicBezTo>
                      <a:cubicBezTo>
                        <a:pt x="93" y="227"/>
                        <a:pt x="94" y="224"/>
                        <a:pt x="95" y="224"/>
                      </a:cubicBezTo>
                      <a:cubicBezTo>
                        <a:pt x="96" y="223"/>
                        <a:pt x="99" y="221"/>
                        <a:pt x="99" y="221"/>
                      </a:cubicBezTo>
                      <a:cubicBezTo>
                        <a:pt x="99" y="221"/>
                        <a:pt x="99" y="220"/>
                        <a:pt x="101" y="221"/>
                      </a:cubicBezTo>
                      <a:cubicBezTo>
                        <a:pt x="102" y="223"/>
                        <a:pt x="105" y="225"/>
                        <a:pt x="105" y="225"/>
                      </a:cubicBezTo>
                      <a:cubicBezTo>
                        <a:pt x="110" y="225"/>
                        <a:pt x="110" y="225"/>
                        <a:pt x="110" y="225"/>
                      </a:cubicBezTo>
                      <a:cubicBezTo>
                        <a:pt x="110" y="225"/>
                        <a:pt x="113" y="226"/>
                        <a:pt x="113" y="227"/>
                      </a:cubicBezTo>
                      <a:cubicBezTo>
                        <a:pt x="113" y="228"/>
                        <a:pt x="112" y="228"/>
                        <a:pt x="110" y="229"/>
                      </a:cubicBezTo>
                      <a:cubicBezTo>
                        <a:pt x="109" y="229"/>
                        <a:pt x="106" y="226"/>
                        <a:pt x="106" y="227"/>
                      </a:cubicBezTo>
                      <a:cubicBezTo>
                        <a:pt x="105" y="228"/>
                        <a:pt x="105" y="230"/>
                        <a:pt x="105" y="230"/>
                      </a:cubicBezTo>
                      <a:cubicBezTo>
                        <a:pt x="101" y="232"/>
                        <a:pt x="101" y="232"/>
                        <a:pt x="101" y="232"/>
                      </a:cubicBezTo>
                      <a:cubicBezTo>
                        <a:pt x="102" y="234"/>
                        <a:pt x="102" y="234"/>
                        <a:pt x="102" y="234"/>
                      </a:cubicBezTo>
                      <a:cubicBezTo>
                        <a:pt x="102" y="234"/>
                        <a:pt x="107" y="236"/>
                        <a:pt x="107" y="237"/>
                      </a:cubicBezTo>
                      <a:cubicBezTo>
                        <a:pt x="107" y="238"/>
                        <a:pt x="107" y="240"/>
                        <a:pt x="107" y="240"/>
                      </a:cubicBezTo>
                      <a:cubicBezTo>
                        <a:pt x="110" y="241"/>
                        <a:pt x="110" y="241"/>
                        <a:pt x="110" y="241"/>
                      </a:cubicBezTo>
                      <a:cubicBezTo>
                        <a:pt x="112" y="240"/>
                        <a:pt x="112" y="240"/>
                        <a:pt x="112" y="240"/>
                      </a:cubicBezTo>
                      <a:cubicBezTo>
                        <a:pt x="112" y="244"/>
                        <a:pt x="112" y="244"/>
                        <a:pt x="112" y="244"/>
                      </a:cubicBezTo>
                      <a:cubicBezTo>
                        <a:pt x="112" y="248"/>
                        <a:pt x="112" y="248"/>
                        <a:pt x="112" y="248"/>
                      </a:cubicBezTo>
                      <a:cubicBezTo>
                        <a:pt x="112" y="248"/>
                        <a:pt x="112" y="248"/>
                        <a:pt x="112" y="248"/>
                      </a:cubicBezTo>
                      <a:cubicBezTo>
                        <a:pt x="112" y="248"/>
                        <a:pt x="112" y="248"/>
                        <a:pt x="112" y="248"/>
                      </a:cubicBezTo>
                      <a:cubicBezTo>
                        <a:pt x="119" y="246"/>
                        <a:pt x="125" y="250"/>
                        <a:pt x="128" y="250"/>
                      </a:cubicBezTo>
                      <a:cubicBezTo>
                        <a:pt x="134" y="251"/>
                        <a:pt x="121" y="258"/>
                        <a:pt x="123" y="258"/>
                      </a:cubicBezTo>
                      <a:cubicBezTo>
                        <a:pt x="125" y="257"/>
                        <a:pt x="123" y="263"/>
                        <a:pt x="126" y="264"/>
                      </a:cubicBezTo>
                      <a:cubicBezTo>
                        <a:pt x="131" y="265"/>
                        <a:pt x="135" y="261"/>
                        <a:pt x="141" y="261"/>
                      </a:cubicBezTo>
                      <a:cubicBezTo>
                        <a:pt x="146" y="260"/>
                        <a:pt x="152" y="263"/>
                        <a:pt x="154" y="261"/>
                      </a:cubicBezTo>
                      <a:cubicBezTo>
                        <a:pt x="158" y="256"/>
                        <a:pt x="174" y="266"/>
                        <a:pt x="182" y="261"/>
                      </a:cubicBezTo>
                      <a:cubicBezTo>
                        <a:pt x="187" y="257"/>
                        <a:pt x="207" y="255"/>
                        <a:pt x="214" y="255"/>
                      </a:cubicBezTo>
                      <a:cubicBezTo>
                        <a:pt x="232" y="254"/>
                        <a:pt x="233" y="254"/>
                        <a:pt x="241" y="249"/>
                      </a:cubicBezTo>
                      <a:cubicBezTo>
                        <a:pt x="241" y="249"/>
                        <a:pt x="246" y="238"/>
                        <a:pt x="249" y="233"/>
                      </a:cubicBezTo>
                      <a:cubicBezTo>
                        <a:pt x="251" y="229"/>
                        <a:pt x="257" y="227"/>
                        <a:pt x="263" y="223"/>
                      </a:cubicBezTo>
                      <a:cubicBezTo>
                        <a:pt x="268" y="219"/>
                        <a:pt x="281" y="215"/>
                        <a:pt x="284" y="214"/>
                      </a:cubicBezTo>
                      <a:cubicBezTo>
                        <a:pt x="287" y="214"/>
                        <a:pt x="308" y="215"/>
                        <a:pt x="308" y="215"/>
                      </a:cubicBezTo>
                      <a:cubicBezTo>
                        <a:pt x="319" y="212"/>
                        <a:pt x="319" y="212"/>
                        <a:pt x="319" y="212"/>
                      </a:cubicBezTo>
                      <a:cubicBezTo>
                        <a:pt x="319" y="212"/>
                        <a:pt x="321" y="220"/>
                        <a:pt x="324" y="221"/>
                      </a:cubicBezTo>
                      <a:cubicBezTo>
                        <a:pt x="337" y="223"/>
                        <a:pt x="345" y="222"/>
                        <a:pt x="346" y="215"/>
                      </a:cubicBezTo>
                      <a:cubicBezTo>
                        <a:pt x="347" y="210"/>
                        <a:pt x="342" y="201"/>
                        <a:pt x="341" y="194"/>
                      </a:cubicBezTo>
                      <a:cubicBezTo>
                        <a:pt x="340" y="186"/>
                        <a:pt x="344" y="178"/>
                        <a:pt x="344" y="171"/>
                      </a:cubicBezTo>
                      <a:cubicBezTo>
                        <a:pt x="344" y="170"/>
                        <a:pt x="342" y="168"/>
                        <a:pt x="348" y="160"/>
                      </a:cubicBezTo>
                      <a:cubicBezTo>
                        <a:pt x="353" y="152"/>
                        <a:pt x="367" y="156"/>
                        <a:pt x="369" y="151"/>
                      </a:cubicBezTo>
                      <a:cubicBezTo>
                        <a:pt x="363" y="123"/>
                        <a:pt x="363" y="123"/>
                        <a:pt x="363" y="123"/>
                      </a:cubicBezTo>
                      <a:cubicBezTo>
                        <a:pt x="362" y="123"/>
                        <a:pt x="362" y="123"/>
                        <a:pt x="362" y="123"/>
                      </a:cubicBezTo>
                      <a:cubicBezTo>
                        <a:pt x="361" y="123"/>
                        <a:pt x="361" y="123"/>
                        <a:pt x="361" y="123"/>
                      </a:cubicBezTo>
                      <a:cubicBezTo>
                        <a:pt x="359" y="122"/>
                        <a:pt x="359" y="122"/>
                        <a:pt x="359" y="122"/>
                      </a:cubicBezTo>
                      <a:cubicBezTo>
                        <a:pt x="357" y="122"/>
                        <a:pt x="357" y="122"/>
                        <a:pt x="357" y="122"/>
                      </a:cubicBezTo>
                      <a:cubicBezTo>
                        <a:pt x="355" y="121"/>
                        <a:pt x="355" y="121"/>
                        <a:pt x="355" y="121"/>
                      </a:cubicBezTo>
                      <a:cubicBezTo>
                        <a:pt x="353" y="120"/>
                        <a:pt x="353" y="120"/>
                        <a:pt x="353" y="120"/>
                      </a:cubicBezTo>
                      <a:cubicBezTo>
                        <a:pt x="351" y="120"/>
                        <a:pt x="351" y="120"/>
                        <a:pt x="351" y="120"/>
                      </a:cubicBezTo>
                      <a:cubicBezTo>
                        <a:pt x="351" y="120"/>
                        <a:pt x="351" y="120"/>
                        <a:pt x="351" y="120"/>
                      </a:cubicBezTo>
                      <a:cubicBezTo>
                        <a:pt x="350" y="120"/>
                        <a:pt x="350" y="120"/>
                        <a:pt x="350" y="120"/>
                      </a:cubicBezTo>
                      <a:cubicBezTo>
                        <a:pt x="343" y="119"/>
                        <a:pt x="334" y="135"/>
                        <a:pt x="334" y="135"/>
                      </a:cubicBezTo>
                      <a:cubicBezTo>
                        <a:pt x="330" y="142"/>
                        <a:pt x="330" y="142"/>
                        <a:pt x="330" y="142"/>
                      </a:cubicBezTo>
                      <a:cubicBezTo>
                        <a:pt x="320" y="140"/>
                        <a:pt x="310" y="139"/>
                        <a:pt x="303" y="131"/>
                      </a:cubicBezTo>
                      <a:cubicBezTo>
                        <a:pt x="303" y="128"/>
                        <a:pt x="303" y="128"/>
                        <a:pt x="303" y="128"/>
                      </a:cubicBezTo>
                      <a:cubicBezTo>
                        <a:pt x="303" y="128"/>
                        <a:pt x="303" y="128"/>
                        <a:pt x="303" y="128"/>
                      </a:cubicBezTo>
                      <a:cubicBezTo>
                        <a:pt x="303" y="128"/>
                        <a:pt x="303" y="128"/>
                        <a:pt x="303" y="128"/>
                      </a:cubicBezTo>
                      <a:cubicBezTo>
                        <a:pt x="302" y="127"/>
                        <a:pt x="302" y="127"/>
                        <a:pt x="302" y="127"/>
                      </a:cubicBezTo>
                      <a:cubicBezTo>
                        <a:pt x="302" y="127"/>
                        <a:pt x="301" y="127"/>
                        <a:pt x="301" y="127"/>
                      </a:cubicBezTo>
                      <a:cubicBezTo>
                        <a:pt x="300" y="127"/>
                        <a:pt x="299" y="126"/>
                        <a:pt x="299" y="126"/>
                      </a:cubicBezTo>
                      <a:cubicBezTo>
                        <a:pt x="300" y="124"/>
                        <a:pt x="300" y="124"/>
                        <a:pt x="300" y="124"/>
                      </a:cubicBezTo>
                      <a:cubicBezTo>
                        <a:pt x="300" y="124"/>
                        <a:pt x="301" y="123"/>
                        <a:pt x="301" y="123"/>
                      </a:cubicBezTo>
                      <a:cubicBezTo>
                        <a:pt x="302" y="123"/>
                        <a:pt x="301" y="123"/>
                        <a:pt x="301" y="122"/>
                      </a:cubicBezTo>
                      <a:cubicBezTo>
                        <a:pt x="301" y="122"/>
                        <a:pt x="301" y="120"/>
                        <a:pt x="301" y="119"/>
                      </a:cubicBezTo>
                      <a:cubicBezTo>
                        <a:pt x="300" y="118"/>
                        <a:pt x="300" y="118"/>
                        <a:pt x="300" y="118"/>
                      </a:cubicBezTo>
                      <a:cubicBezTo>
                        <a:pt x="300" y="118"/>
                        <a:pt x="299" y="116"/>
                        <a:pt x="298" y="115"/>
                      </a:cubicBezTo>
                      <a:cubicBezTo>
                        <a:pt x="297" y="115"/>
                        <a:pt x="298" y="114"/>
                        <a:pt x="298" y="114"/>
                      </a:cubicBezTo>
                      <a:cubicBezTo>
                        <a:pt x="297" y="113"/>
                        <a:pt x="298" y="113"/>
                        <a:pt x="298" y="112"/>
                      </a:cubicBezTo>
                      <a:cubicBezTo>
                        <a:pt x="298" y="112"/>
                        <a:pt x="297" y="110"/>
                        <a:pt x="297" y="110"/>
                      </a:cubicBezTo>
                      <a:cubicBezTo>
                        <a:pt x="297" y="110"/>
                        <a:pt x="295" y="107"/>
                        <a:pt x="294" y="105"/>
                      </a:cubicBezTo>
                      <a:cubicBezTo>
                        <a:pt x="294" y="104"/>
                        <a:pt x="294" y="103"/>
                        <a:pt x="294" y="103"/>
                      </a:cubicBezTo>
                      <a:cubicBezTo>
                        <a:pt x="295" y="102"/>
                        <a:pt x="293" y="101"/>
                        <a:pt x="293" y="101"/>
                      </a:cubicBezTo>
                      <a:cubicBezTo>
                        <a:pt x="293" y="101"/>
                        <a:pt x="293" y="99"/>
                        <a:pt x="293" y="99"/>
                      </a:cubicBezTo>
                      <a:cubicBezTo>
                        <a:pt x="293" y="99"/>
                        <a:pt x="293" y="97"/>
                        <a:pt x="293" y="97"/>
                      </a:cubicBezTo>
                      <a:cubicBezTo>
                        <a:pt x="294" y="96"/>
                        <a:pt x="293" y="95"/>
                        <a:pt x="293" y="94"/>
                      </a:cubicBezTo>
                      <a:cubicBezTo>
                        <a:pt x="293" y="94"/>
                        <a:pt x="291" y="93"/>
                        <a:pt x="291" y="93"/>
                      </a:cubicBezTo>
                      <a:cubicBezTo>
                        <a:pt x="292" y="91"/>
                        <a:pt x="292" y="91"/>
                        <a:pt x="292" y="91"/>
                      </a:cubicBezTo>
                      <a:cubicBezTo>
                        <a:pt x="292" y="90"/>
                        <a:pt x="292" y="90"/>
                        <a:pt x="292" y="90"/>
                      </a:cubicBezTo>
                      <a:cubicBezTo>
                        <a:pt x="292" y="90"/>
                        <a:pt x="293" y="88"/>
                        <a:pt x="293" y="88"/>
                      </a:cubicBezTo>
                      <a:cubicBezTo>
                        <a:pt x="294" y="87"/>
                        <a:pt x="293" y="86"/>
                        <a:pt x="292" y="86"/>
                      </a:cubicBezTo>
                      <a:cubicBezTo>
                        <a:pt x="291" y="86"/>
                        <a:pt x="292" y="85"/>
                        <a:pt x="292" y="85"/>
                      </a:cubicBezTo>
                      <a:cubicBezTo>
                        <a:pt x="293" y="83"/>
                        <a:pt x="293" y="83"/>
                        <a:pt x="293" y="83"/>
                      </a:cubicBezTo>
                      <a:cubicBezTo>
                        <a:pt x="292" y="80"/>
                        <a:pt x="292" y="80"/>
                        <a:pt x="292" y="80"/>
                      </a:cubicBezTo>
                      <a:cubicBezTo>
                        <a:pt x="292" y="79"/>
                        <a:pt x="292" y="79"/>
                        <a:pt x="292" y="79"/>
                      </a:cubicBezTo>
                      <a:cubicBezTo>
                        <a:pt x="292" y="79"/>
                        <a:pt x="291" y="77"/>
                        <a:pt x="291" y="77"/>
                      </a:cubicBezTo>
                      <a:cubicBezTo>
                        <a:pt x="291" y="76"/>
                        <a:pt x="290" y="74"/>
                        <a:pt x="290" y="74"/>
                      </a:cubicBezTo>
                      <a:cubicBezTo>
                        <a:pt x="290" y="74"/>
                        <a:pt x="290" y="73"/>
                        <a:pt x="290" y="73"/>
                      </a:cubicBezTo>
                      <a:cubicBezTo>
                        <a:pt x="290" y="72"/>
                        <a:pt x="290" y="72"/>
                        <a:pt x="290" y="72"/>
                      </a:cubicBezTo>
                      <a:cubicBezTo>
                        <a:pt x="290" y="71"/>
                        <a:pt x="289" y="70"/>
                        <a:pt x="288" y="69"/>
                      </a:cubicBezTo>
                      <a:cubicBezTo>
                        <a:pt x="287" y="67"/>
                        <a:pt x="287" y="67"/>
                        <a:pt x="287" y="67"/>
                      </a:cubicBezTo>
                      <a:cubicBezTo>
                        <a:pt x="287" y="67"/>
                        <a:pt x="285" y="65"/>
                        <a:pt x="284" y="64"/>
                      </a:cubicBezTo>
                      <a:cubicBezTo>
                        <a:pt x="284" y="62"/>
                        <a:pt x="284" y="62"/>
                        <a:pt x="283" y="61"/>
                      </a:cubicBezTo>
                      <a:cubicBezTo>
                        <a:pt x="283" y="59"/>
                        <a:pt x="281" y="57"/>
                        <a:pt x="280" y="57"/>
                      </a:cubicBezTo>
                      <a:cubicBezTo>
                        <a:pt x="280" y="57"/>
                        <a:pt x="279" y="54"/>
                        <a:pt x="279" y="53"/>
                      </a:cubicBezTo>
                      <a:cubicBezTo>
                        <a:pt x="278" y="53"/>
                        <a:pt x="276" y="52"/>
                        <a:pt x="276" y="52"/>
                      </a:cubicBezTo>
                      <a:cubicBezTo>
                        <a:pt x="275" y="52"/>
                        <a:pt x="273" y="51"/>
                        <a:pt x="273" y="51"/>
                      </a:cubicBezTo>
                      <a:cubicBezTo>
                        <a:pt x="270" y="50"/>
                        <a:pt x="270" y="50"/>
                        <a:pt x="270" y="50"/>
                      </a:cubicBezTo>
                      <a:cubicBezTo>
                        <a:pt x="267" y="47"/>
                        <a:pt x="267" y="47"/>
                        <a:pt x="267" y="47"/>
                      </a:cubicBezTo>
                      <a:cubicBezTo>
                        <a:pt x="267" y="47"/>
                        <a:pt x="266" y="47"/>
                        <a:pt x="265" y="46"/>
                      </a:cubicBezTo>
                      <a:cubicBezTo>
                        <a:pt x="265" y="46"/>
                        <a:pt x="264" y="44"/>
                        <a:pt x="264" y="44"/>
                      </a:cubicBezTo>
                      <a:cubicBezTo>
                        <a:pt x="263" y="42"/>
                        <a:pt x="263" y="42"/>
                        <a:pt x="263" y="42"/>
                      </a:cubicBezTo>
                      <a:cubicBezTo>
                        <a:pt x="257" y="40"/>
                        <a:pt x="257" y="40"/>
                        <a:pt x="257" y="40"/>
                      </a:cubicBezTo>
                      <a:cubicBezTo>
                        <a:pt x="257" y="40"/>
                        <a:pt x="256" y="38"/>
                        <a:pt x="256" y="38"/>
                      </a:cubicBezTo>
                      <a:cubicBezTo>
                        <a:pt x="256" y="37"/>
                        <a:pt x="255" y="37"/>
                        <a:pt x="255" y="36"/>
                      </a:cubicBezTo>
                      <a:cubicBezTo>
                        <a:pt x="255" y="35"/>
                        <a:pt x="254" y="35"/>
                        <a:pt x="254" y="34"/>
                      </a:cubicBezTo>
                      <a:cubicBezTo>
                        <a:pt x="254" y="33"/>
                        <a:pt x="253" y="33"/>
                        <a:pt x="253" y="33"/>
                      </a:cubicBezTo>
                      <a:cubicBezTo>
                        <a:pt x="252" y="33"/>
                        <a:pt x="251" y="33"/>
                        <a:pt x="251" y="33"/>
                      </a:cubicBezTo>
                      <a:cubicBezTo>
                        <a:pt x="251" y="33"/>
                        <a:pt x="250" y="32"/>
                        <a:pt x="250" y="32"/>
                      </a:cubicBezTo>
                      <a:cubicBezTo>
                        <a:pt x="250" y="32"/>
                        <a:pt x="248" y="30"/>
                        <a:pt x="247" y="30"/>
                      </a:cubicBezTo>
                      <a:cubicBezTo>
                        <a:pt x="247" y="29"/>
                        <a:pt x="247" y="29"/>
                        <a:pt x="247" y="29"/>
                      </a:cubicBezTo>
                      <a:cubicBezTo>
                        <a:pt x="247" y="29"/>
                        <a:pt x="247" y="29"/>
                        <a:pt x="246" y="29"/>
                      </a:cubicBezTo>
                      <a:cubicBezTo>
                        <a:pt x="245" y="29"/>
                        <a:pt x="245" y="29"/>
                        <a:pt x="245" y="28"/>
                      </a:cubicBezTo>
                      <a:cubicBezTo>
                        <a:pt x="244" y="28"/>
                        <a:pt x="244" y="26"/>
                        <a:pt x="243" y="26"/>
                      </a:cubicBezTo>
                      <a:cubicBezTo>
                        <a:pt x="243" y="26"/>
                        <a:pt x="243" y="26"/>
                        <a:pt x="242" y="26"/>
                      </a:cubicBezTo>
                      <a:cubicBezTo>
                        <a:pt x="241" y="26"/>
                        <a:pt x="240" y="24"/>
                        <a:pt x="240" y="24"/>
                      </a:cubicBezTo>
                      <a:cubicBezTo>
                        <a:pt x="239" y="24"/>
                        <a:pt x="240" y="23"/>
                        <a:pt x="240" y="22"/>
                      </a:cubicBezTo>
                      <a:cubicBezTo>
                        <a:pt x="240" y="21"/>
                        <a:pt x="239" y="21"/>
                        <a:pt x="239" y="21"/>
                      </a:cubicBezTo>
                      <a:cubicBezTo>
                        <a:pt x="239" y="21"/>
                        <a:pt x="239" y="21"/>
                        <a:pt x="239" y="21"/>
                      </a:cubicBezTo>
                      <a:cubicBezTo>
                        <a:pt x="239" y="21"/>
                        <a:pt x="238" y="21"/>
                        <a:pt x="238" y="20"/>
                      </a:cubicBezTo>
                      <a:cubicBezTo>
                        <a:pt x="238" y="20"/>
                        <a:pt x="237" y="19"/>
                        <a:pt x="237" y="18"/>
                      </a:cubicBezTo>
                      <a:cubicBezTo>
                        <a:pt x="237" y="17"/>
                        <a:pt x="237" y="17"/>
                        <a:pt x="237" y="17"/>
                      </a:cubicBezTo>
                      <a:cubicBezTo>
                        <a:pt x="237" y="17"/>
                        <a:pt x="236" y="16"/>
                        <a:pt x="236" y="16"/>
                      </a:cubicBezTo>
                      <a:cubicBezTo>
                        <a:pt x="235" y="15"/>
                        <a:pt x="235" y="15"/>
                        <a:pt x="235" y="15"/>
                      </a:cubicBezTo>
                      <a:cubicBezTo>
                        <a:pt x="235" y="14"/>
                        <a:pt x="235" y="14"/>
                        <a:pt x="235" y="14"/>
                      </a:cubicBezTo>
                      <a:cubicBezTo>
                        <a:pt x="234" y="14"/>
                        <a:pt x="234" y="14"/>
                        <a:pt x="234" y="14"/>
                      </a:cubicBezTo>
                      <a:cubicBezTo>
                        <a:pt x="233" y="14"/>
                        <a:pt x="233" y="13"/>
                        <a:pt x="233" y="12"/>
                      </a:cubicBezTo>
                      <a:cubicBezTo>
                        <a:pt x="233" y="12"/>
                        <a:pt x="233" y="12"/>
                        <a:pt x="233" y="12"/>
                      </a:cubicBezTo>
                      <a:cubicBezTo>
                        <a:pt x="232" y="11"/>
                        <a:pt x="232" y="11"/>
                        <a:pt x="232" y="11"/>
                      </a:cubicBezTo>
                      <a:cubicBezTo>
                        <a:pt x="231" y="10"/>
                        <a:pt x="231" y="10"/>
                        <a:pt x="231" y="10"/>
                      </a:cubicBezTo>
                      <a:cubicBezTo>
                        <a:pt x="230" y="9"/>
                        <a:pt x="230" y="9"/>
                        <a:pt x="230" y="9"/>
                      </a:cubicBezTo>
                      <a:cubicBezTo>
                        <a:pt x="230" y="9"/>
                        <a:pt x="229" y="8"/>
                        <a:pt x="229" y="8"/>
                      </a:cubicBezTo>
                      <a:cubicBezTo>
                        <a:pt x="228" y="7"/>
                        <a:pt x="227" y="6"/>
                        <a:pt x="227" y="6"/>
                      </a:cubicBezTo>
                      <a:cubicBezTo>
                        <a:pt x="227" y="6"/>
                        <a:pt x="227" y="5"/>
                        <a:pt x="227" y="5"/>
                      </a:cubicBezTo>
                      <a:cubicBezTo>
                        <a:pt x="227" y="5"/>
                        <a:pt x="226" y="5"/>
                        <a:pt x="226" y="5"/>
                      </a:cubicBezTo>
                      <a:cubicBezTo>
                        <a:pt x="224" y="5"/>
                        <a:pt x="224" y="5"/>
                        <a:pt x="224" y="5"/>
                      </a:cubicBezTo>
                      <a:cubicBezTo>
                        <a:pt x="224" y="3"/>
                        <a:pt x="224" y="3"/>
                        <a:pt x="224" y="3"/>
                      </a:cubicBezTo>
                      <a:cubicBezTo>
                        <a:pt x="224" y="3"/>
                        <a:pt x="224" y="3"/>
                        <a:pt x="223" y="3"/>
                      </a:cubicBezTo>
                      <a:cubicBezTo>
                        <a:pt x="222" y="3"/>
                        <a:pt x="222" y="2"/>
                        <a:pt x="222" y="2"/>
                      </a:cubicBezTo>
                      <a:cubicBezTo>
                        <a:pt x="222" y="1"/>
                        <a:pt x="222" y="1"/>
                        <a:pt x="222" y="1"/>
                      </a:cubicBezTo>
                      <a:cubicBezTo>
                        <a:pt x="219" y="2"/>
                        <a:pt x="219" y="2"/>
                        <a:pt x="219" y="2"/>
                      </a:cubicBezTo>
                      <a:cubicBezTo>
                        <a:pt x="219" y="2"/>
                        <a:pt x="219" y="2"/>
                        <a:pt x="219" y="2"/>
                      </a:cubicBezTo>
                      <a:cubicBezTo>
                        <a:pt x="219" y="2"/>
                        <a:pt x="217" y="1"/>
                        <a:pt x="217" y="1"/>
                      </a:cubicBezTo>
                      <a:cubicBezTo>
                        <a:pt x="217" y="0"/>
                        <a:pt x="216" y="0"/>
                        <a:pt x="216" y="0"/>
                      </a:cubicBezTo>
                      <a:cubicBezTo>
                        <a:pt x="215" y="1"/>
                        <a:pt x="215" y="1"/>
                        <a:pt x="215" y="1"/>
                      </a:cubicBezTo>
                      <a:cubicBezTo>
                        <a:pt x="213" y="1"/>
                        <a:pt x="213" y="1"/>
                        <a:pt x="213" y="1"/>
                      </a:cubicBezTo>
                      <a:cubicBezTo>
                        <a:pt x="212" y="1"/>
                        <a:pt x="212" y="1"/>
                        <a:pt x="212" y="1"/>
                      </a:cubicBezTo>
                      <a:cubicBezTo>
                        <a:pt x="211" y="0"/>
                        <a:pt x="211" y="0"/>
                        <a:pt x="211" y="0"/>
                      </a:cubicBezTo>
                      <a:cubicBezTo>
                        <a:pt x="208" y="1"/>
                        <a:pt x="207" y="1"/>
                        <a:pt x="207" y="1"/>
                      </a:cubicBezTo>
                      <a:cubicBezTo>
                        <a:pt x="204" y="2"/>
                        <a:pt x="199" y="5"/>
                        <a:pt x="199" y="7"/>
                      </a:cubicBezTo>
                      <a:cubicBezTo>
                        <a:pt x="198" y="9"/>
                        <a:pt x="199" y="14"/>
                        <a:pt x="197" y="15"/>
                      </a:cubicBezTo>
                      <a:cubicBezTo>
                        <a:pt x="194" y="15"/>
                        <a:pt x="191" y="20"/>
                        <a:pt x="190" y="20"/>
                      </a:cubicBezTo>
                      <a:cubicBezTo>
                        <a:pt x="181" y="25"/>
                        <a:pt x="181" y="25"/>
                        <a:pt x="181" y="25"/>
                      </a:cubicBezTo>
                      <a:cubicBezTo>
                        <a:pt x="181" y="25"/>
                        <a:pt x="174" y="28"/>
                        <a:pt x="170" y="28"/>
                      </a:cubicBezTo>
                      <a:cubicBezTo>
                        <a:pt x="166" y="29"/>
                        <a:pt x="163" y="32"/>
                        <a:pt x="163" y="32"/>
                      </a:cubicBezTo>
                      <a:cubicBezTo>
                        <a:pt x="158" y="39"/>
                        <a:pt x="158" y="39"/>
                        <a:pt x="158" y="39"/>
                      </a:cubicBezTo>
                      <a:cubicBezTo>
                        <a:pt x="150" y="40"/>
                        <a:pt x="150" y="40"/>
                        <a:pt x="150" y="40"/>
                      </a:cubicBezTo>
                      <a:cubicBezTo>
                        <a:pt x="146" y="36"/>
                        <a:pt x="146" y="36"/>
                        <a:pt x="146" y="36"/>
                      </a:cubicBezTo>
                      <a:cubicBezTo>
                        <a:pt x="142" y="37"/>
                        <a:pt x="142" y="37"/>
                        <a:pt x="142" y="37"/>
                      </a:cubicBezTo>
                      <a:cubicBezTo>
                        <a:pt x="141" y="36"/>
                        <a:pt x="141" y="36"/>
                        <a:pt x="141" y="36"/>
                      </a:cubicBezTo>
                      <a:cubicBezTo>
                        <a:pt x="139" y="37"/>
                        <a:pt x="139" y="37"/>
                        <a:pt x="139" y="37"/>
                      </a:cubicBezTo>
                      <a:cubicBezTo>
                        <a:pt x="127" y="36"/>
                        <a:pt x="127" y="36"/>
                        <a:pt x="127" y="36"/>
                      </a:cubicBezTo>
                      <a:cubicBezTo>
                        <a:pt x="121" y="39"/>
                        <a:pt x="121" y="39"/>
                        <a:pt x="121" y="39"/>
                      </a:cubicBezTo>
                      <a:cubicBezTo>
                        <a:pt x="110" y="38"/>
                        <a:pt x="110" y="38"/>
                        <a:pt x="110" y="38"/>
                      </a:cubicBezTo>
                      <a:cubicBezTo>
                        <a:pt x="110" y="38"/>
                        <a:pt x="102" y="39"/>
                        <a:pt x="100" y="39"/>
                      </a:cubicBezTo>
                      <a:cubicBezTo>
                        <a:pt x="97" y="39"/>
                        <a:pt x="97" y="39"/>
                        <a:pt x="97" y="39"/>
                      </a:cubicBezTo>
                      <a:cubicBezTo>
                        <a:pt x="95" y="38"/>
                        <a:pt x="93" y="36"/>
                        <a:pt x="93" y="36"/>
                      </a:cubicBezTo>
                      <a:cubicBezTo>
                        <a:pt x="93" y="36"/>
                        <a:pt x="89" y="37"/>
                        <a:pt x="88" y="38"/>
                      </a:cubicBezTo>
                      <a:cubicBezTo>
                        <a:pt x="87" y="39"/>
                        <a:pt x="83" y="44"/>
                        <a:pt x="83" y="44"/>
                      </a:cubicBezTo>
                      <a:cubicBezTo>
                        <a:pt x="83" y="45"/>
                        <a:pt x="83" y="45"/>
                        <a:pt x="83" y="45"/>
                      </a:cubicBezTo>
                      <a:cubicBezTo>
                        <a:pt x="85" y="50"/>
                        <a:pt x="85" y="50"/>
                        <a:pt x="85" y="50"/>
                      </a:cubicBezTo>
                      <a:cubicBezTo>
                        <a:pt x="81" y="53"/>
                        <a:pt x="81" y="53"/>
                        <a:pt x="81" y="53"/>
                      </a:cubicBezTo>
                      <a:cubicBezTo>
                        <a:pt x="81" y="53"/>
                        <a:pt x="81" y="53"/>
                        <a:pt x="81" y="53"/>
                      </a:cubicBezTo>
                      <a:cubicBezTo>
                        <a:pt x="81" y="53"/>
                        <a:pt x="81" y="53"/>
                        <a:pt x="81" y="53"/>
                      </a:cubicBezTo>
                      <a:cubicBezTo>
                        <a:pt x="81" y="53"/>
                        <a:pt x="81" y="53"/>
                        <a:pt x="81" y="53"/>
                      </a:cubicBezTo>
                      <a:cubicBezTo>
                        <a:pt x="81" y="53"/>
                        <a:pt x="81" y="53"/>
                        <a:pt x="81" y="53"/>
                      </a:cubicBezTo>
                      <a:cubicBezTo>
                        <a:pt x="81" y="54"/>
                        <a:pt x="81" y="54"/>
                        <a:pt x="81" y="54"/>
                      </a:cubicBezTo>
                      <a:cubicBezTo>
                        <a:pt x="81" y="54"/>
                        <a:pt x="81" y="54"/>
                        <a:pt x="81" y="54"/>
                      </a:cubicBezTo>
                      <a:cubicBezTo>
                        <a:pt x="81" y="54"/>
                        <a:pt x="81" y="54"/>
                        <a:pt x="81" y="54"/>
                      </a:cubicBezTo>
                      <a:cubicBezTo>
                        <a:pt x="81" y="54"/>
                        <a:pt x="81" y="54"/>
                        <a:pt x="81" y="54"/>
                      </a:cubicBezTo>
                      <a:cubicBezTo>
                        <a:pt x="81" y="54"/>
                        <a:pt x="81" y="54"/>
                        <a:pt x="81" y="54"/>
                      </a:cubicBezTo>
                      <a:cubicBezTo>
                        <a:pt x="81" y="54"/>
                        <a:pt x="81" y="54"/>
                        <a:pt x="81" y="54"/>
                      </a:cubicBezTo>
                      <a:cubicBezTo>
                        <a:pt x="81" y="54"/>
                        <a:pt x="81" y="54"/>
                        <a:pt x="81" y="54"/>
                      </a:cubicBezTo>
                      <a:cubicBezTo>
                        <a:pt x="81" y="54"/>
                        <a:pt x="81" y="54"/>
                        <a:pt x="81" y="54"/>
                      </a:cubicBezTo>
                      <a:cubicBezTo>
                        <a:pt x="81" y="54"/>
                        <a:pt x="81" y="54"/>
                        <a:pt x="81" y="54"/>
                      </a:cubicBezTo>
                      <a:cubicBezTo>
                        <a:pt x="81" y="54"/>
                        <a:pt x="81" y="54"/>
                        <a:pt x="81" y="54"/>
                      </a:cubicBezTo>
                      <a:cubicBezTo>
                        <a:pt x="81" y="55"/>
                        <a:pt x="80" y="55"/>
                        <a:pt x="79" y="55"/>
                      </a:cubicBezTo>
                      <a:cubicBezTo>
                        <a:pt x="79" y="56"/>
                        <a:pt x="78" y="56"/>
                        <a:pt x="77" y="56"/>
                      </a:cubicBezTo>
                      <a:cubicBezTo>
                        <a:pt x="77" y="56"/>
                        <a:pt x="77" y="56"/>
                        <a:pt x="77" y="56"/>
                      </a:cubicBezTo>
                      <a:cubicBezTo>
                        <a:pt x="77" y="56"/>
                        <a:pt x="77" y="56"/>
                        <a:pt x="77" y="56"/>
                      </a:cubicBezTo>
                      <a:cubicBezTo>
                        <a:pt x="77" y="56"/>
                        <a:pt x="77" y="56"/>
                        <a:pt x="77" y="56"/>
                      </a:cubicBezTo>
                      <a:cubicBezTo>
                        <a:pt x="77" y="56"/>
                        <a:pt x="77" y="56"/>
                        <a:pt x="77" y="56"/>
                      </a:cubicBezTo>
                      <a:cubicBezTo>
                        <a:pt x="77" y="56"/>
                        <a:pt x="77" y="56"/>
                        <a:pt x="77" y="56"/>
                      </a:cubicBezTo>
                      <a:cubicBezTo>
                        <a:pt x="77" y="56"/>
                        <a:pt x="77" y="56"/>
                        <a:pt x="77" y="56"/>
                      </a:cubicBezTo>
                      <a:cubicBezTo>
                        <a:pt x="77" y="56"/>
                        <a:pt x="77" y="56"/>
                        <a:pt x="77" y="56"/>
                      </a:cubicBezTo>
                      <a:cubicBezTo>
                        <a:pt x="77" y="56"/>
                        <a:pt x="77" y="56"/>
                        <a:pt x="77" y="56"/>
                      </a:cubicBezTo>
                      <a:cubicBezTo>
                        <a:pt x="77" y="56"/>
                        <a:pt x="77" y="56"/>
                        <a:pt x="77" y="56"/>
                      </a:cubicBezTo>
                      <a:cubicBezTo>
                        <a:pt x="77" y="56"/>
                        <a:pt x="77" y="56"/>
                        <a:pt x="77" y="56"/>
                      </a:cubicBezTo>
                      <a:cubicBezTo>
                        <a:pt x="77" y="56"/>
                        <a:pt x="77" y="56"/>
                        <a:pt x="77" y="56"/>
                      </a:cubicBezTo>
                      <a:cubicBezTo>
                        <a:pt x="77" y="56"/>
                        <a:pt x="77" y="56"/>
                        <a:pt x="77" y="56"/>
                      </a:cubicBezTo>
                      <a:cubicBezTo>
                        <a:pt x="77" y="56"/>
                        <a:pt x="77" y="56"/>
                        <a:pt x="77" y="56"/>
                      </a:cubicBezTo>
                      <a:cubicBezTo>
                        <a:pt x="76" y="57"/>
                        <a:pt x="76" y="57"/>
                        <a:pt x="76" y="57"/>
                      </a:cubicBezTo>
                      <a:cubicBezTo>
                        <a:pt x="73" y="60"/>
                        <a:pt x="73" y="60"/>
                        <a:pt x="73" y="60"/>
                      </a:cubicBezTo>
                      <a:cubicBezTo>
                        <a:pt x="69" y="61"/>
                        <a:pt x="69" y="61"/>
                        <a:pt x="69" y="61"/>
                      </a:cubicBezTo>
                      <a:close/>
                    </a:path>
                  </a:pathLst>
                </a:custGeom>
                <a:solidFill>
                  <a:srgbClr val="E6EFF1"/>
                </a:solidFill>
                <a:ln w="12700" cap="rnd" cmpd="sng">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Lato Light"/>
                  </a:endParaRPr>
                </a:p>
              </p:txBody>
            </p:sp>
            <p:sp>
              <p:nvSpPr>
                <p:cNvPr id="235" name="Freeform 90">
                  <a:extLst>
                    <a:ext uri="{FF2B5EF4-FFF2-40B4-BE49-F238E27FC236}">
                      <a16:creationId xmlns:a16="http://schemas.microsoft.com/office/drawing/2014/main" id="{2ECB68C8-DB49-7BF0-123A-8DD9F2422108}"/>
                    </a:ext>
                  </a:extLst>
                </p:cNvPr>
                <p:cNvSpPr>
                  <a:spLocks/>
                </p:cNvSpPr>
                <p:nvPr/>
              </p:nvSpPr>
              <p:spPr bwMode="auto">
                <a:xfrm>
                  <a:off x="5181020" y="3343396"/>
                  <a:ext cx="1769849" cy="1193071"/>
                </a:xfrm>
                <a:custGeom>
                  <a:avLst/>
                  <a:gdLst>
                    <a:gd name="T0" fmla="*/ 166 w 614"/>
                    <a:gd name="T1" fmla="*/ 283 h 427"/>
                    <a:gd name="T2" fmla="*/ 173 w 614"/>
                    <a:gd name="T3" fmla="*/ 277 h 427"/>
                    <a:gd name="T4" fmla="*/ 185 w 614"/>
                    <a:gd name="T5" fmla="*/ 270 h 427"/>
                    <a:gd name="T6" fmla="*/ 195 w 614"/>
                    <a:gd name="T7" fmla="*/ 267 h 427"/>
                    <a:gd name="T8" fmla="*/ 207 w 614"/>
                    <a:gd name="T9" fmla="*/ 270 h 427"/>
                    <a:gd name="T10" fmla="*/ 208 w 614"/>
                    <a:gd name="T11" fmla="*/ 270 h 427"/>
                    <a:gd name="T12" fmla="*/ 208 w 614"/>
                    <a:gd name="T13" fmla="*/ 270 h 427"/>
                    <a:gd name="T14" fmla="*/ 209 w 614"/>
                    <a:gd name="T15" fmla="*/ 270 h 427"/>
                    <a:gd name="T16" fmla="*/ 210 w 614"/>
                    <a:gd name="T17" fmla="*/ 270 h 427"/>
                    <a:gd name="T18" fmla="*/ 210 w 614"/>
                    <a:gd name="T19" fmla="*/ 270 h 427"/>
                    <a:gd name="T20" fmla="*/ 211 w 614"/>
                    <a:gd name="T21" fmla="*/ 270 h 427"/>
                    <a:gd name="T22" fmla="*/ 213 w 614"/>
                    <a:gd name="T23" fmla="*/ 273 h 427"/>
                    <a:gd name="T24" fmla="*/ 223 w 614"/>
                    <a:gd name="T25" fmla="*/ 273 h 427"/>
                    <a:gd name="T26" fmla="*/ 227 w 614"/>
                    <a:gd name="T27" fmla="*/ 278 h 427"/>
                    <a:gd name="T28" fmla="*/ 249 w 614"/>
                    <a:gd name="T29" fmla="*/ 280 h 427"/>
                    <a:gd name="T30" fmla="*/ 259 w 614"/>
                    <a:gd name="T31" fmla="*/ 288 h 427"/>
                    <a:gd name="T32" fmla="*/ 268 w 614"/>
                    <a:gd name="T33" fmla="*/ 305 h 427"/>
                    <a:gd name="T34" fmla="*/ 280 w 614"/>
                    <a:gd name="T35" fmla="*/ 312 h 427"/>
                    <a:gd name="T36" fmla="*/ 287 w 614"/>
                    <a:gd name="T37" fmla="*/ 326 h 427"/>
                    <a:gd name="T38" fmla="*/ 302 w 614"/>
                    <a:gd name="T39" fmla="*/ 337 h 427"/>
                    <a:gd name="T40" fmla="*/ 305 w 614"/>
                    <a:gd name="T41" fmla="*/ 349 h 427"/>
                    <a:gd name="T42" fmla="*/ 292 w 614"/>
                    <a:gd name="T43" fmla="*/ 353 h 427"/>
                    <a:gd name="T44" fmla="*/ 281 w 614"/>
                    <a:gd name="T45" fmla="*/ 356 h 427"/>
                    <a:gd name="T46" fmla="*/ 271 w 614"/>
                    <a:gd name="T47" fmla="*/ 366 h 427"/>
                    <a:gd name="T48" fmla="*/ 270 w 614"/>
                    <a:gd name="T49" fmla="*/ 387 h 427"/>
                    <a:gd name="T50" fmla="*/ 268 w 614"/>
                    <a:gd name="T51" fmla="*/ 405 h 427"/>
                    <a:gd name="T52" fmla="*/ 255 w 614"/>
                    <a:gd name="T53" fmla="*/ 414 h 427"/>
                    <a:gd name="T54" fmla="*/ 314 w 614"/>
                    <a:gd name="T55" fmla="*/ 376 h 427"/>
                    <a:gd name="T56" fmla="*/ 377 w 614"/>
                    <a:gd name="T57" fmla="*/ 333 h 427"/>
                    <a:gd name="T58" fmla="*/ 407 w 614"/>
                    <a:gd name="T59" fmla="*/ 375 h 427"/>
                    <a:gd name="T60" fmla="*/ 478 w 614"/>
                    <a:gd name="T61" fmla="*/ 393 h 427"/>
                    <a:gd name="T62" fmla="*/ 548 w 614"/>
                    <a:gd name="T63" fmla="*/ 335 h 427"/>
                    <a:gd name="T64" fmla="*/ 481 w 614"/>
                    <a:gd name="T65" fmla="*/ 326 h 427"/>
                    <a:gd name="T66" fmla="*/ 450 w 614"/>
                    <a:gd name="T67" fmla="*/ 310 h 427"/>
                    <a:gd name="T68" fmla="*/ 518 w 614"/>
                    <a:gd name="T69" fmla="*/ 261 h 427"/>
                    <a:gd name="T70" fmla="*/ 572 w 614"/>
                    <a:gd name="T71" fmla="*/ 207 h 427"/>
                    <a:gd name="T72" fmla="*/ 606 w 614"/>
                    <a:gd name="T73" fmla="*/ 147 h 427"/>
                    <a:gd name="T74" fmla="*/ 586 w 614"/>
                    <a:gd name="T75" fmla="*/ 102 h 427"/>
                    <a:gd name="T76" fmla="*/ 567 w 614"/>
                    <a:gd name="T77" fmla="*/ 72 h 427"/>
                    <a:gd name="T78" fmla="*/ 512 w 614"/>
                    <a:gd name="T79" fmla="*/ 67 h 427"/>
                    <a:gd name="T80" fmla="*/ 472 w 614"/>
                    <a:gd name="T81" fmla="*/ 70 h 427"/>
                    <a:gd name="T82" fmla="*/ 436 w 614"/>
                    <a:gd name="T83" fmla="*/ 77 h 427"/>
                    <a:gd name="T84" fmla="*/ 386 w 614"/>
                    <a:gd name="T85" fmla="*/ 51 h 427"/>
                    <a:gd name="T86" fmla="*/ 361 w 614"/>
                    <a:gd name="T87" fmla="*/ 26 h 427"/>
                    <a:gd name="T88" fmla="*/ 307 w 614"/>
                    <a:gd name="T89" fmla="*/ 17 h 427"/>
                    <a:gd name="T90" fmla="*/ 258 w 614"/>
                    <a:gd name="T91" fmla="*/ 44 h 427"/>
                    <a:gd name="T92" fmla="*/ 243 w 614"/>
                    <a:gd name="T93" fmla="*/ 94 h 427"/>
                    <a:gd name="T94" fmla="*/ 202 w 614"/>
                    <a:gd name="T95" fmla="*/ 96 h 427"/>
                    <a:gd name="T96" fmla="*/ 166 w 614"/>
                    <a:gd name="T97" fmla="*/ 97 h 427"/>
                    <a:gd name="T98" fmla="*/ 118 w 614"/>
                    <a:gd name="T99" fmla="*/ 102 h 427"/>
                    <a:gd name="T100" fmla="*/ 44 w 614"/>
                    <a:gd name="T101" fmla="*/ 111 h 427"/>
                    <a:gd name="T102" fmla="*/ 30 w 614"/>
                    <a:gd name="T103" fmla="*/ 130 h 427"/>
                    <a:gd name="T104" fmla="*/ 27 w 614"/>
                    <a:gd name="T105" fmla="*/ 152 h 427"/>
                    <a:gd name="T106" fmla="*/ 46 w 614"/>
                    <a:gd name="T107" fmla="*/ 182 h 427"/>
                    <a:gd name="T108" fmla="*/ 33 w 614"/>
                    <a:gd name="T109" fmla="*/ 207 h 427"/>
                    <a:gd name="T110" fmla="*/ 14 w 614"/>
                    <a:gd name="T111" fmla="*/ 261 h 427"/>
                    <a:gd name="T112" fmla="*/ 15 w 614"/>
                    <a:gd name="T113" fmla="*/ 273 h 427"/>
                    <a:gd name="T114" fmla="*/ 6 w 614"/>
                    <a:gd name="T115" fmla="*/ 282 h 427"/>
                    <a:gd name="T116" fmla="*/ 1 w 614"/>
                    <a:gd name="T117" fmla="*/ 297 h 427"/>
                    <a:gd name="T118" fmla="*/ 0 w 614"/>
                    <a:gd name="T119" fmla="*/ 311 h 427"/>
                    <a:gd name="T120" fmla="*/ 22 w 614"/>
                    <a:gd name="T121" fmla="*/ 321 h 427"/>
                    <a:gd name="T122" fmla="*/ 61 w 614"/>
                    <a:gd name="T123" fmla="*/ 323 h 427"/>
                    <a:gd name="T124" fmla="*/ 114 w 614"/>
                    <a:gd name="T125" fmla="*/ 317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614" h="427">
                      <a:moveTo>
                        <a:pt x="141" y="305"/>
                      </a:moveTo>
                      <a:cubicBezTo>
                        <a:pt x="142" y="305"/>
                        <a:pt x="145" y="300"/>
                        <a:pt x="148" y="300"/>
                      </a:cubicBezTo>
                      <a:cubicBezTo>
                        <a:pt x="150" y="299"/>
                        <a:pt x="149" y="294"/>
                        <a:pt x="150" y="292"/>
                      </a:cubicBezTo>
                      <a:cubicBezTo>
                        <a:pt x="151" y="290"/>
                        <a:pt x="156" y="286"/>
                        <a:pt x="159" y="285"/>
                      </a:cubicBezTo>
                      <a:cubicBezTo>
                        <a:pt x="160" y="285"/>
                        <a:pt x="160" y="285"/>
                        <a:pt x="160" y="285"/>
                      </a:cubicBezTo>
                      <a:cubicBezTo>
                        <a:pt x="160" y="283"/>
                        <a:pt x="160" y="283"/>
                        <a:pt x="160" y="283"/>
                      </a:cubicBezTo>
                      <a:cubicBezTo>
                        <a:pt x="160" y="283"/>
                        <a:pt x="163" y="282"/>
                        <a:pt x="163" y="281"/>
                      </a:cubicBezTo>
                      <a:cubicBezTo>
                        <a:pt x="164" y="281"/>
                        <a:pt x="164" y="282"/>
                        <a:pt x="164" y="282"/>
                      </a:cubicBezTo>
                      <a:cubicBezTo>
                        <a:pt x="164" y="282"/>
                        <a:pt x="165" y="283"/>
                        <a:pt x="166" y="283"/>
                      </a:cubicBezTo>
                      <a:cubicBezTo>
                        <a:pt x="166" y="283"/>
                        <a:pt x="167" y="282"/>
                        <a:pt x="167" y="282"/>
                      </a:cubicBezTo>
                      <a:cubicBezTo>
                        <a:pt x="167" y="281"/>
                        <a:pt x="167" y="280"/>
                        <a:pt x="167" y="280"/>
                      </a:cubicBezTo>
                      <a:cubicBezTo>
                        <a:pt x="166" y="279"/>
                        <a:pt x="166" y="278"/>
                        <a:pt x="166" y="278"/>
                      </a:cubicBezTo>
                      <a:cubicBezTo>
                        <a:pt x="166" y="278"/>
                        <a:pt x="166" y="278"/>
                        <a:pt x="166" y="278"/>
                      </a:cubicBezTo>
                      <a:cubicBezTo>
                        <a:pt x="166" y="278"/>
                        <a:pt x="167" y="278"/>
                        <a:pt x="167" y="278"/>
                      </a:cubicBezTo>
                      <a:cubicBezTo>
                        <a:pt x="167" y="278"/>
                        <a:pt x="168" y="277"/>
                        <a:pt x="168" y="277"/>
                      </a:cubicBezTo>
                      <a:cubicBezTo>
                        <a:pt x="170" y="278"/>
                        <a:pt x="170" y="278"/>
                        <a:pt x="170" y="278"/>
                      </a:cubicBezTo>
                      <a:cubicBezTo>
                        <a:pt x="170" y="278"/>
                        <a:pt x="171" y="278"/>
                        <a:pt x="171" y="278"/>
                      </a:cubicBezTo>
                      <a:cubicBezTo>
                        <a:pt x="172" y="279"/>
                        <a:pt x="173" y="277"/>
                        <a:pt x="173" y="277"/>
                      </a:cubicBezTo>
                      <a:cubicBezTo>
                        <a:pt x="174" y="276"/>
                        <a:pt x="174" y="276"/>
                        <a:pt x="174" y="276"/>
                      </a:cubicBezTo>
                      <a:cubicBezTo>
                        <a:pt x="174" y="276"/>
                        <a:pt x="174" y="276"/>
                        <a:pt x="174" y="275"/>
                      </a:cubicBezTo>
                      <a:cubicBezTo>
                        <a:pt x="174" y="275"/>
                        <a:pt x="175" y="275"/>
                        <a:pt x="176" y="275"/>
                      </a:cubicBezTo>
                      <a:cubicBezTo>
                        <a:pt x="176" y="275"/>
                        <a:pt x="178" y="275"/>
                        <a:pt x="179" y="275"/>
                      </a:cubicBezTo>
                      <a:cubicBezTo>
                        <a:pt x="180" y="275"/>
                        <a:pt x="180" y="275"/>
                        <a:pt x="180" y="275"/>
                      </a:cubicBezTo>
                      <a:cubicBezTo>
                        <a:pt x="182" y="274"/>
                        <a:pt x="182" y="274"/>
                        <a:pt x="182" y="274"/>
                      </a:cubicBezTo>
                      <a:cubicBezTo>
                        <a:pt x="182" y="274"/>
                        <a:pt x="183" y="273"/>
                        <a:pt x="183" y="273"/>
                      </a:cubicBezTo>
                      <a:cubicBezTo>
                        <a:pt x="183" y="272"/>
                        <a:pt x="183" y="271"/>
                        <a:pt x="183" y="271"/>
                      </a:cubicBezTo>
                      <a:cubicBezTo>
                        <a:pt x="183" y="270"/>
                        <a:pt x="185" y="270"/>
                        <a:pt x="185" y="270"/>
                      </a:cubicBezTo>
                      <a:cubicBezTo>
                        <a:pt x="185" y="270"/>
                        <a:pt x="185" y="270"/>
                        <a:pt x="185" y="270"/>
                      </a:cubicBezTo>
                      <a:cubicBezTo>
                        <a:pt x="186" y="270"/>
                        <a:pt x="186" y="271"/>
                        <a:pt x="186" y="271"/>
                      </a:cubicBezTo>
                      <a:cubicBezTo>
                        <a:pt x="186" y="271"/>
                        <a:pt x="187" y="270"/>
                        <a:pt x="187" y="270"/>
                      </a:cubicBezTo>
                      <a:cubicBezTo>
                        <a:pt x="187" y="269"/>
                        <a:pt x="188" y="269"/>
                        <a:pt x="188" y="269"/>
                      </a:cubicBezTo>
                      <a:cubicBezTo>
                        <a:pt x="188" y="269"/>
                        <a:pt x="190" y="268"/>
                        <a:pt x="190" y="267"/>
                      </a:cubicBezTo>
                      <a:cubicBezTo>
                        <a:pt x="191" y="266"/>
                        <a:pt x="191" y="267"/>
                        <a:pt x="191" y="265"/>
                      </a:cubicBezTo>
                      <a:cubicBezTo>
                        <a:pt x="191" y="264"/>
                        <a:pt x="192" y="265"/>
                        <a:pt x="192" y="266"/>
                      </a:cubicBezTo>
                      <a:cubicBezTo>
                        <a:pt x="192" y="266"/>
                        <a:pt x="192" y="266"/>
                        <a:pt x="193" y="267"/>
                      </a:cubicBezTo>
                      <a:cubicBezTo>
                        <a:pt x="193" y="267"/>
                        <a:pt x="193" y="267"/>
                        <a:pt x="195" y="267"/>
                      </a:cubicBezTo>
                      <a:cubicBezTo>
                        <a:pt x="196" y="268"/>
                        <a:pt x="196" y="266"/>
                        <a:pt x="198" y="266"/>
                      </a:cubicBezTo>
                      <a:cubicBezTo>
                        <a:pt x="200" y="266"/>
                        <a:pt x="199" y="266"/>
                        <a:pt x="200" y="267"/>
                      </a:cubicBezTo>
                      <a:cubicBezTo>
                        <a:pt x="201" y="267"/>
                        <a:pt x="201" y="267"/>
                        <a:pt x="202" y="267"/>
                      </a:cubicBezTo>
                      <a:cubicBezTo>
                        <a:pt x="203" y="268"/>
                        <a:pt x="203" y="268"/>
                        <a:pt x="203" y="268"/>
                      </a:cubicBezTo>
                      <a:cubicBezTo>
                        <a:pt x="203" y="268"/>
                        <a:pt x="204" y="268"/>
                        <a:pt x="205" y="269"/>
                      </a:cubicBezTo>
                      <a:cubicBezTo>
                        <a:pt x="205" y="270"/>
                        <a:pt x="207" y="270"/>
                        <a:pt x="207" y="270"/>
                      </a:cubicBezTo>
                      <a:cubicBezTo>
                        <a:pt x="207" y="270"/>
                        <a:pt x="207" y="270"/>
                        <a:pt x="207" y="270"/>
                      </a:cubicBezTo>
                      <a:cubicBezTo>
                        <a:pt x="207" y="270"/>
                        <a:pt x="207" y="270"/>
                        <a:pt x="207" y="270"/>
                      </a:cubicBezTo>
                      <a:cubicBezTo>
                        <a:pt x="207" y="270"/>
                        <a:pt x="207" y="270"/>
                        <a:pt x="207" y="270"/>
                      </a:cubicBezTo>
                      <a:cubicBezTo>
                        <a:pt x="207" y="270"/>
                        <a:pt x="207" y="270"/>
                        <a:pt x="207" y="270"/>
                      </a:cubicBezTo>
                      <a:cubicBezTo>
                        <a:pt x="207" y="270"/>
                        <a:pt x="207" y="270"/>
                        <a:pt x="207" y="270"/>
                      </a:cubicBezTo>
                      <a:cubicBezTo>
                        <a:pt x="207" y="270"/>
                        <a:pt x="207" y="270"/>
                        <a:pt x="207" y="270"/>
                      </a:cubicBezTo>
                      <a:cubicBezTo>
                        <a:pt x="207" y="270"/>
                        <a:pt x="207" y="270"/>
                        <a:pt x="207" y="270"/>
                      </a:cubicBezTo>
                      <a:cubicBezTo>
                        <a:pt x="207" y="270"/>
                        <a:pt x="207" y="270"/>
                        <a:pt x="207" y="270"/>
                      </a:cubicBezTo>
                      <a:cubicBezTo>
                        <a:pt x="207" y="270"/>
                        <a:pt x="207" y="270"/>
                        <a:pt x="207" y="270"/>
                      </a:cubicBezTo>
                      <a:cubicBezTo>
                        <a:pt x="208" y="270"/>
                        <a:pt x="208" y="270"/>
                        <a:pt x="208" y="270"/>
                      </a:cubicBezTo>
                      <a:cubicBezTo>
                        <a:pt x="208" y="270"/>
                        <a:pt x="208" y="270"/>
                        <a:pt x="208" y="270"/>
                      </a:cubicBezTo>
                      <a:cubicBezTo>
                        <a:pt x="208" y="270"/>
                        <a:pt x="208" y="270"/>
                        <a:pt x="208" y="270"/>
                      </a:cubicBezTo>
                      <a:cubicBezTo>
                        <a:pt x="208" y="270"/>
                        <a:pt x="208" y="270"/>
                        <a:pt x="208" y="270"/>
                      </a:cubicBezTo>
                      <a:cubicBezTo>
                        <a:pt x="208" y="270"/>
                        <a:pt x="208" y="270"/>
                        <a:pt x="208" y="270"/>
                      </a:cubicBezTo>
                      <a:cubicBezTo>
                        <a:pt x="208" y="270"/>
                        <a:pt x="208" y="270"/>
                        <a:pt x="208" y="270"/>
                      </a:cubicBezTo>
                      <a:cubicBezTo>
                        <a:pt x="208" y="270"/>
                        <a:pt x="208" y="270"/>
                        <a:pt x="208" y="270"/>
                      </a:cubicBezTo>
                      <a:cubicBezTo>
                        <a:pt x="208" y="270"/>
                        <a:pt x="208" y="270"/>
                        <a:pt x="208" y="270"/>
                      </a:cubicBezTo>
                      <a:cubicBezTo>
                        <a:pt x="208" y="270"/>
                        <a:pt x="208" y="270"/>
                        <a:pt x="208" y="270"/>
                      </a:cubicBezTo>
                      <a:cubicBezTo>
                        <a:pt x="208" y="270"/>
                        <a:pt x="208" y="270"/>
                        <a:pt x="208" y="270"/>
                      </a:cubicBezTo>
                      <a:cubicBezTo>
                        <a:pt x="208" y="270"/>
                        <a:pt x="208" y="270"/>
                        <a:pt x="208" y="270"/>
                      </a:cubicBezTo>
                      <a:cubicBezTo>
                        <a:pt x="208" y="270"/>
                        <a:pt x="208" y="270"/>
                        <a:pt x="208" y="270"/>
                      </a:cubicBezTo>
                      <a:cubicBezTo>
                        <a:pt x="208" y="270"/>
                        <a:pt x="208" y="270"/>
                        <a:pt x="208" y="270"/>
                      </a:cubicBezTo>
                      <a:cubicBezTo>
                        <a:pt x="208" y="270"/>
                        <a:pt x="208" y="270"/>
                        <a:pt x="208" y="270"/>
                      </a:cubicBezTo>
                      <a:cubicBezTo>
                        <a:pt x="208" y="270"/>
                        <a:pt x="208" y="270"/>
                        <a:pt x="208" y="270"/>
                      </a:cubicBezTo>
                      <a:cubicBezTo>
                        <a:pt x="209" y="270"/>
                        <a:pt x="209" y="270"/>
                        <a:pt x="209" y="270"/>
                      </a:cubicBezTo>
                      <a:cubicBezTo>
                        <a:pt x="209" y="270"/>
                        <a:pt x="209" y="270"/>
                        <a:pt x="209" y="270"/>
                      </a:cubicBezTo>
                      <a:cubicBezTo>
                        <a:pt x="209" y="270"/>
                        <a:pt x="209" y="270"/>
                        <a:pt x="209" y="270"/>
                      </a:cubicBezTo>
                      <a:cubicBezTo>
                        <a:pt x="209" y="270"/>
                        <a:pt x="209" y="270"/>
                        <a:pt x="209" y="270"/>
                      </a:cubicBezTo>
                      <a:cubicBezTo>
                        <a:pt x="209" y="270"/>
                        <a:pt x="209" y="270"/>
                        <a:pt x="209" y="270"/>
                      </a:cubicBezTo>
                      <a:cubicBezTo>
                        <a:pt x="209" y="270"/>
                        <a:pt x="209" y="270"/>
                        <a:pt x="209" y="270"/>
                      </a:cubicBezTo>
                      <a:cubicBezTo>
                        <a:pt x="209" y="270"/>
                        <a:pt x="209" y="270"/>
                        <a:pt x="209" y="270"/>
                      </a:cubicBezTo>
                      <a:cubicBezTo>
                        <a:pt x="209" y="270"/>
                        <a:pt x="209" y="270"/>
                        <a:pt x="209" y="270"/>
                      </a:cubicBezTo>
                      <a:cubicBezTo>
                        <a:pt x="209" y="270"/>
                        <a:pt x="209" y="270"/>
                        <a:pt x="209" y="270"/>
                      </a:cubicBezTo>
                      <a:cubicBezTo>
                        <a:pt x="209" y="270"/>
                        <a:pt x="209" y="270"/>
                        <a:pt x="209" y="270"/>
                      </a:cubicBezTo>
                      <a:cubicBezTo>
                        <a:pt x="209" y="270"/>
                        <a:pt x="209" y="270"/>
                        <a:pt x="209" y="270"/>
                      </a:cubicBezTo>
                      <a:cubicBezTo>
                        <a:pt x="209" y="270"/>
                        <a:pt x="209" y="270"/>
                        <a:pt x="209" y="270"/>
                      </a:cubicBezTo>
                      <a:cubicBezTo>
                        <a:pt x="209" y="270"/>
                        <a:pt x="209" y="270"/>
                        <a:pt x="209" y="270"/>
                      </a:cubicBezTo>
                      <a:cubicBezTo>
                        <a:pt x="210" y="270"/>
                        <a:pt x="210" y="270"/>
                        <a:pt x="210" y="270"/>
                      </a:cubicBezTo>
                      <a:cubicBezTo>
                        <a:pt x="210" y="270"/>
                        <a:pt x="210" y="270"/>
                        <a:pt x="210" y="270"/>
                      </a:cubicBezTo>
                      <a:cubicBezTo>
                        <a:pt x="210" y="270"/>
                        <a:pt x="210" y="270"/>
                        <a:pt x="210" y="270"/>
                      </a:cubicBezTo>
                      <a:cubicBezTo>
                        <a:pt x="210" y="270"/>
                        <a:pt x="210" y="270"/>
                        <a:pt x="210" y="270"/>
                      </a:cubicBezTo>
                      <a:cubicBezTo>
                        <a:pt x="210" y="270"/>
                        <a:pt x="210" y="270"/>
                        <a:pt x="210" y="270"/>
                      </a:cubicBezTo>
                      <a:cubicBezTo>
                        <a:pt x="210" y="270"/>
                        <a:pt x="210" y="270"/>
                        <a:pt x="210" y="270"/>
                      </a:cubicBezTo>
                      <a:cubicBezTo>
                        <a:pt x="210" y="270"/>
                        <a:pt x="210" y="270"/>
                        <a:pt x="210" y="270"/>
                      </a:cubicBezTo>
                      <a:cubicBezTo>
                        <a:pt x="210" y="270"/>
                        <a:pt x="210" y="270"/>
                        <a:pt x="210" y="270"/>
                      </a:cubicBezTo>
                      <a:cubicBezTo>
                        <a:pt x="210" y="270"/>
                        <a:pt x="210" y="270"/>
                        <a:pt x="210" y="270"/>
                      </a:cubicBezTo>
                      <a:cubicBezTo>
                        <a:pt x="210" y="270"/>
                        <a:pt x="210" y="270"/>
                        <a:pt x="210" y="270"/>
                      </a:cubicBezTo>
                      <a:cubicBezTo>
                        <a:pt x="210" y="270"/>
                        <a:pt x="210" y="270"/>
                        <a:pt x="210" y="270"/>
                      </a:cubicBezTo>
                      <a:cubicBezTo>
                        <a:pt x="210" y="270"/>
                        <a:pt x="210" y="270"/>
                        <a:pt x="210" y="270"/>
                      </a:cubicBezTo>
                      <a:cubicBezTo>
                        <a:pt x="210" y="270"/>
                        <a:pt x="210" y="270"/>
                        <a:pt x="210" y="270"/>
                      </a:cubicBezTo>
                      <a:cubicBezTo>
                        <a:pt x="210" y="270"/>
                        <a:pt x="210" y="270"/>
                        <a:pt x="210" y="270"/>
                      </a:cubicBezTo>
                      <a:cubicBezTo>
                        <a:pt x="210" y="270"/>
                        <a:pt x="210" y="270"/>
                        <a:pt x="210" y="270"/>
                      </a:cubicBezTo>
                      <a:cubicBezTo>
                        <a:pt x="210" y="270"/>
                        <a:pt x="210" y="270"/>
                        <a:pt x="210" y="270"/>
                      </a:cubicBezTo>
                      <a:cubicBezTo>
                        <a:pt x="210" y="270"/>
                        <a:pt x="210" y="270"/>
                        <a:pt x="210" y="270"/>
                      </a:cubicBezTo>
                      <a:cubicBezTo>
                        <a:pt x="210" y="270"/>
                        <a:pt x="210" y="270"/>
                        <a:pt x="210" y="270"/>
                      </a:cubicBezTo>
                      <a:cubicBezTo>
                        <a:pt x="211" y="270"/>
                        <a:pt x="211" y="270"/>
                        <a:pt x="211" y="270"/>
                      </a:cubicBezTo>
                      <a:cubicBezTo>
                        <a:pt x="211" y="270"/>
                        <a:pt x="211" y="270"/>
                        <a:pt x="211" y="270"/>
                      </a:cubicBezTo>
                      <a:cubicBezTo>
                        <a:pt x="211" y="270"/>
                        <a:pt x="211" y="270"/>
                        <a:pt x="211" y="270"/>
                      </a:cubicBezTo>
                      <a:cubicBezTo>
                        <a:pt x="211" y="270"/>
                        <a:pt x="211" y="270"/>
                        <a:pt x="211" y="270"/>
                      </a:cubicBezTo>
                      <a:cubicBezTo>
                        <a:pt x="211" y="270"/>
                        <a:pt x="211" y="270"/>
                        <a:pt x="211" y="270"/>
                      </a:cubicBezTo>
                      <a:cubicBezTo>
                        <a:pt x="211" y="270"/>
                        <a:pt x="211" y="270"/>
                        <a:pt x="211" y="270"/>
                      </a:cubicBezTo>
                      <a:cubicBezTo>
                        <a:pt x="211" y="270"/>
                        <a:pt x="211" y="270"/>
                        <a:pt x="211" y="270"/>
                      </a:cubicBezTo>
                      <a:cubicBezTo>
                        <a:pt x="211" y="270"/>
                        <a:pt x="211" y="270"/>
                        <a:pt x="211" y="270"/>
                      </a:cubicBezTo>
                      <a:cubicBezTo>
                        <a:pt x="211" y="270"/>
                        <a:pt x="211" y="270"/>
                        <a:pt x="211" y="270"/>
                      </a:cubicBezTo>
                      <a:cubicBezTo>
                        <a:pt x="212" y="271"/>
                        <a:pt x="212" y="271"/>
                        <a:pt x="212" y="271"/>
                      </a:cubicBezTo>
                      <a:cubicBezTo>
                        <a:pt x="212" y="271"/>
                        <a:pt x="212" y="273"/>
                        <a:pt x="213" y="273"/>
                      </a:cubicBezTo>
                      <a:cubicBezTo>
                        <a:pt x="213" y="274"/>
                        <a:pt x="213" y="274"/>
                        <a:pt x="214" y="274"/>
                      </a:cubicBezTo>
                      <a:cubicBezTo>
                        <a:pt x="214" y="274"/>
                        <a:pt x="215" y="272"/>
                        <a:pt x="215" y="271"/>
                      </a:cubicBezTo>
                      <a:cubicBezTo>
                        <a:pt x="215" y="271"/>
                        <a:pt x="216" y="272"/>
                        <a:pt x="216" y="272"/>
                      </a:cubicBezTo>
                      <a:cubicBezTo>
                        <a:pt x="216" y="272"/>
                        <a:pt x="216" y="274"/>
                        <a:pt x="217" y="274"/>
                      </a:cubicBezTo>
                      <a:cubicBezTo>
                        <a:pt x="217" y="273"/>
                        <a:pt x="218" y="273"/>
                        <a:pt x="218" y="273"/>
                      </a:cubicBezTo>
                      <a:cubicBezTo>
                        <a:pt x="219" y="273"/>
                        <a:pt x="218" y="272"/>
                        <a:pt x="218" y="272"/>
                      </a:cubicBezTo>
                      <a:cubicBezTo>
                        <a:pt x="218" y="272"/>
                        <a:pt x="219" y="271"/>
                        <a:pt x="219" y="271"/>
                      </a:cubicBezTo>
                      <a:cubicBezTo>
                        <a:pt x="220" y="271"/>
                        <a:pt x="222" y="271"/>
                        <a:pt x="222" y="271"/>
                      </a:cubicBezTo>
                      <a:cubicBezTo>
                        <a:pt x="223" y="271"/>
                        <a:pt x="223" y="273"/>
                        <a:pt x="223" y="273"/>
                      </a:cubicBezTo>
                      <a:cubicBezTo>
                        <a:pt x="223" y="273"/>
                        <a:pt x="222" y="275"/>
                        <a:pt x="222" y="275"/>
                      </a:cubicBezTo>
                      <a:cubicBezTo>
                        <a:pt x="222" y="275"/>
                        <a:pt x="221" y="276"/>
                        <a:pt x="221" y="277"/>
                      </a:cubicBezTo>
                      <a:cubicBezTo>
                        <a:pt x="221" y="277"/>
                        <a:pt x="221" y="277"/>
                        <a:pt x="222" y="276"/>
                      </a:cubicBezTo>
                      <a:cubicBezTo>
                        <a:pt x="224" y="276"/>
                        <a:pt x="223" y="275"/>
                        <a:pt x="223" y="275"/>
                      </a:cubicBezTo>
                      <a:cubicBezTo>
                        <a:pt x="224" y="273"/>
                        <a:pt x="224" y="273"/>
                        <a:pt x="224" y="273"/>
                      </a:cubicBezTo>
                      <a:cubicBezTo>
                        <a:pt x="224" y="273"/>
                        <a:pt x="226" y="274"/>
                        <a:pt x="226" y="275"/>
                      </a:cubicBezTo>
                      <a:cubicBezTo>
                        <a:pt x="226" y="275"/>
                        <a:pt x="226" y="276"/>
                        <a:pt x="226" y="276"/>
                      </a:cubicBezTo>
                      <a:cubicBezTo>
                        <a:pt x="226" y="277"/>
                        <a:pt x="227" y="277"/>
                        <a:pt x="227" y="278"/>
                      </a:cubicBezTo>
                      <a:cubicBezTo>
                        <a:pt x="228" y="279"/>
                        <a:pt x="227" y="278"/>
                        <a:pt x="227" y="278"/>
                      </a:cubicBezTo>
                      <a:cubicBezTo>
                        <a:pt x="227" y="277"/>
                        <a:pt x="228" y="275"/>
                        <a:pt x="228" y="275"/>
                      </a:cubicBezTo>
                      <a:cubicBezTo>
                        <a:pt x="229" y="273"/>
                        <a:pt x="229" y="273"/>
                        <a:pt x="229" y="273"/>
                      </a:cubicBezTo>
                      <a:cubicBezTo>
                        <a:pt x="229" y="273"/>
                        <a:pt x="233" y="273"/>
                        <a:pt x="237" y="273"/>
                      </a:cubicBezTo>
                      <a:cubicBezTo>
                        <a:pt x="241" y="273"/>
                        <a:pt x="238" y="272"/>
                        <a:pt x="238" y="272"/>
                      </a:cubicBezTo>
                      <a:cubicBezTo>
                        <a:pt x="240" y="272"/>
                        <a:pt x="240" y="272"/>
                        <a:pt x="240" y="272"/>
                      </a:cubicBezTo>
                      <a:cubicBezTo>
                        <a:pt x="241" y="276"/>
                        <a:pt x="241" y="276"/>
                        <a:pt x="241" y="276"/>
                      </a:cubicBezTo>
                      <a:cubicBezTo>
                        <a:pt x="241" y="276"/>
                        <a:pt x="243" y="278"/>
                        <a:pt x="244" y="278"/>
                      </a:cubicBezTo>
                      <a:cubicBezTo>
                        <a:pt x="245" y="279"/>
                        <a:pt x="245" y="279"/>
                        <a:pt x="247" y="280"/>
                      </a:cubicBezTo>
                      <a:cubicBezTo>
                        <a:pt x="250" y="280"/>
                        <a:pt x="249" y="280"/>
                        <a:pt x="249" y="280"/>
                      </a:cubicBezTo>
                      <a:cubicBezTo>
                        <a:pt x="250" y="280"/>
                        <a:pt x="250" y="278"/>
                        <a:pt x="251" y="277"/>
                      </a:cubicBezTo>
                      <a:cubicBezTo>
                        <a:pt x="251" y="276"/>
                        <a:pt x="252" y="276"/>
                        <a:pt x="252" y="276"/>
                      </a:cubicBezTo>
                      <a:cubicBezTo>
                        <a:pt x="252" y="276"/>
                        <a:pt x="254" y="278"/>
                        <a:pt x="254" y="278"/>
                      </a:cubicBezTo>
                      <a:cubicBezTo>
                        <a:pt x="255" y="279"/>
                        <a:pt x="255" y="280"/>
                        <a:pt x="255" y="280"/>
                      </a:cubicBezTo>
                      <a:cubicBezTo>
                        <a:pt x="258" y="281"/>
                        <a:pt x="258" y="281"/>
                        <a:pt x="258" y="281"/>
                      </a:cubicBezTo>
                      <a:cubicBezTo>
                        <a:pt x="258" y="282"/>
                        <a:pt x="258" y="282"/>
                        <a:pt x="258" y="282"/>
                      </a:cubicBezTo>
                      <a:cubicBezTo>
                        <a:pt x="258" y="285"/>
                        <a:pt x="258" y="285"/>
                        <a:pt x="258" y="285"/>
                      </a:cubicBezTo>
                      <a:cubicBezTo>
                        <a:pt x="260" y="286"/>
                        <a:pt x="260" y="286"/>
                        <a:pt x="260" y="286"/>
                      </a:cubicBezTo>
                      <a:cubicBezTo>
                        <a:pt x="259" y="288"/>
                        <a:pt x="259" y="288"/>
                        <a:pt x="259" y="288"/>
                      </a:cubicBezTo>
                      <a:cubicBezTo>
                        <a:pt x="259" y="288"/>
                        <a:pt x="260" y="290"/>
                        <a:pt x="260" y="291"/>
                      </a:cubicBezTo>
                      <a:cubicBezTo>
                        <a:pt x="260" y="291"/>
                        <a:pt x="261" y="293"/>
                        <a:pt x="261" y="293"/>
                      </a:cubicBezTo>
                      <a:cubicBezTo>
                        <a:pt x="261" y="296"/>
                        <a:pt x="261" y="296"/>
                        <a:pt x="261" y="296"/>
                      </a:cubicBezTo>
                      <a:cubicBezTo>
                        <a:pt x="260" y="298"/>
                        <a:pt x="260" y="298"/>
                        <a:pt x="260" y="298"/>
                      </a:cubicBezTo>
                      <a:cubicBezTo>
                        <a:pt x="261" y="299"/>
                        <a:pt x="261" y="299"/>
                        <a:pt x="261" y="299"/>
                      </a:cubicBezTo>
                      <a:cubicBezTo>
                        <a:pt x="261" y="299"/>
                        <a:pt x="261" y="302"/>
                        <a:pt x="262" y="303"/>
                      </a:cubicBezTo>
                      <a:cubicBezTo>
                        <a:pt x="263" y="305"/>
                        <a:pt x="264" y="302"/>
                        <a:pt x="264" y="302"/>
                      </a:cubicBezTo>
                      <a:cubicBezTo>
                        <a:pt x="266" y="302"/>
                        <a:pt x="266" y="302"/>
                        <a:pt x="266" y="302"/>
                      </a:cubicBezTo>
                      <a:cubicBezTo>
                        <a:pt x="268" y="305"/>
                        <a:pt x="268" y="305"/>
                        <a:pt x="268" y="305"/>
                      </a:cubicBezTo>
                      <a:cubicBezTo>
                        <a:pt x="269" y="305"/>
                        <a:pt x="269" y="305"/>
                        <a:pt x="269" y="305"/>
                      </a:cubicBezTo>
                      <a:cubicBezTo>
                        <a:pt x="271" y="306"/>
                        <a:pt x="271" y="306"/>
                        <a:pt x="271" y="306"/>
                      </a:cubicBezTo>
                      <a:cubicBezTo>
                        <a:pt x="272" y="309"/>
                        <a:pt x="272" y="309"/>
                        <a:pt x="272" y="309"/>
                      </a:cubicBezTo>
                      <a:cubicBezTo>
                        <a:pt x="274" y="308"/>
                        <a:pt x="274" y="308"/>
                        <a:pt x="274" y="308"/>
                      </a:cubicBezTo>
                      <a:cubicBezTo>
                        <a:pt x="275" y="305"/>
                        <a:pt x="275" y="305"/>
                        <a:pt x="275" y="305"/>
                      </a:cubicBezTo>
                      <a:cubicBezTo>
                        <a:pt x="277" y="306"/>
                        <a:pt x="277" y="306"/>
                        <a:pt x="277" y="306"/>
                      </a:cubicBezTo>
                      <a:cubicBezTo>
                        <a:pt x="279" y="306"/>
                        <a:pt x="279" y="306"/>
                        <a:pt x="279" y="306"/>
                      </a:cubicBezTo>
                      <a:cubicBezTo>
                        <a:pt x="279" y="310"/>
                        <a:pt x="279" y="310"/>
                        <a:pt x="279" y="310"/>
                      </a:cubicBezTo>
                      <a:cubicBezTo>
                        <a:pt x="279" y="310"/>
                        <a:pt x="280" y="311"/>
                        <a:pt x="280" y="312"/>
                      </a:cubicBezTo>
                      <a:cubicBezTo>
                        <a:pt x="280" y="312"/>
                        <a:pt x="280" y="314"/>
                        <a:pt x="280" y="314"/>
                      </a:cubicBezTo>
                      <a:cubicBezTo>
                        <a:pt x="281" y="316"/>
                        <a:pt x="281" y="316"/>
                        <a:pt x="281" y="316"/>
                      </a:cubicBezTo>
                      <a:cubicBezTo>
                        <a:pt x="278" y="317"/>
                        <a:pt x="278" y="317"/>
                        <a:pt x="278" y="317"/>
                      </a:cubicBezTo>
                      <a:cubicBezTo>
                        <a:pt x="280" y="318"/>
                        <a:pt x="280" y="318"/>
                        <a:pt x="280" y="318"/>
                      </a:cubicBezTo>
                      <a:cubicBezTo>
                        <a:pt x="280" y="318"/>
                        <a:pt x="282" y="318"/>
                        <a:pt x="283" y="318"/>
                      </a:cubicBezTo>
                      <a:cubicBezTo>
                        <a:pt x="284" y="318"/>
                        <a:pt x="284" y="321"/>
                        <a:pt x="284" y="321"/>
                      </a:cubicBezTo>
                      <a:cubicBezTo>
                        <a:pt x="284" y="321"/>
                        <a:pt x="284" y="322"/>
                        <a:pt x="283" y="323"/>
                      </a:cubicBezTo>
                      <a:cubicBezTo>
                        <a:pt x="283" y="323"/>
                        <a:pt x="283" y="324"/>
                        <a:pt x="283" y="325"/>
                      </a:cubicBezTo>
                      <a:cubicBezTo>
                        <a:pt x="284" y="325"/>
                        <a:pt x="286" y="326"/>
                        <a:pt x="287" y="326"/>
                      </a:cubicBezTo>
                      <a:cubicBezTo>
                        <a:pt x="289" y="326"/>
                        <a:pt x="289" y="326"/>
                        <a:pt x="289" y="326"/>
                      </a:cubicBezTo>
                      <a:cubicBezTo>
                        <a:pt x="291" y="326"/>
                        <a:pt x="291" y="326"/>
                        <a:pt x="291" y="326"/>
                      </a:cubicBezTo>
                      <a:cubicBezTo>
                        <a:pt x="291" y="326"/>
                        <a:pt x="292" y="327"/>
                        <a:pt x="293" y="327"/>
                      </a:cubicBezTo>
                      <a:cubicBezTo>
                        <a:pt x="293" y="326"/>
                        <a:pt x="295" y="326"/>
                        <a:pt x="295" y="326"/>
                      </a:cubicBezTo>
                      <a:cubicBezTo>
                        <a:pt x="297" y="328"/>
                        <a:pt x="297" y="328"/>
                        <a:pt x="297" y="328"/>
                      </a:cubicBezTo>
                      <a:cubicBezTo>
                        <a:pt x="299" y="327"/>
                        <a:pt x="299" y="327"/>
                        <a:pt x="299" y="327"/>
                      </a:cubicBezTo>
                      <a:cubicBezTo>
                        <a:pt x="299" y="329"/>
                        <a:pt x="299" y="329"/>
                        <a:pt x="299" y="329"/>
                      </a:cubicBezTo>
                      <a:cubicBezTo>
                        <a:pt x="299" y="329"/>
                        <a:pt x="301" y="333"/>
                        <a:pt x="301" y="333"/>
                      </a:cubicBezTo>
                      <a:cubicBezTo>
                        <a:pt x="302" y="334"/>
                        <a:pt x="302" y="336"/>
                        <a:pt x="302" y="337"/>
                      </a:cubicBezTo>
                      <a:cubicBezTo>
                        <a:pt x="302" y="338"/>
                        <a:pt x="303" y="340"/>
                        <a:pt x="303" y="340"/>
                      </a:cubicBezTo>
                      <a:cubicBezTo>
                        <a:pt x="303" y="340"/>
                        <a:pt x="302" y="340"/>
                        <a:pt x="301" y="341"/>
                      </a:cubicBezTo>
                      <a:cubicBezTo>
                        <a:pt x="300" y="342"/>
                        <a:pt x="302" y="343"/>
                        <a:pt x="302" y="343"/>
                      </a:cubicBezTo>
                      <a:cubicBezTo>
                        <a:pt x="304" y="343"/>
                        <a:pt x="304" y="343"/>
                        <a:pt x="304" y="343"/>
                      </a:cubicBezTo>
                      <a:cubicBezTo>
                        <a:pt x="304" y="343"/>
                        <a:pt x="306" y="345"/>
                        <a:pt x="306" y="346"/>
                      </a:cubicBezTo>
                      <a:cubicBezTo>
                        <a:pt x="307" y="347"/>
                        <a:pt x="309" y="346"/>
                        <a:pt x="310" y="346"/>
                      </a:cubicBezTo>
                      <a:cubicBezTo>
                        <a:pt x="311" y="345"/>
                        <a:pt x="313" y="346"/>
                        <a:pt x="313" y="347"/>
                      </a:cubicBezTo>
                      <a:cubicBezTo>
                        <a:pt x="313" y="347"/>
                        <a:pt x="310" y="348"/>
                        <a:pt x="309" y="348"/>
                      </a:cubicBezTo>
                      <a:cubicBezTo>
                        <a:pt x="308" y="349"/>
                        <a:pt x="305" y="349"/>
                        <a:pt x="305" y="349"/>
                      </a:cubicBezTo>
                      <a:cubicBezTo>
                        <a:pt x="304" y="352"/>
                        <a:pt x="304" y="352"/>
                        <a:pt x="304" y="352"/>
                      </a:cubicBezTo>
                      <a:cubicBezTo>
                        <a:pt x="302" y="353"/>
                        <a:pt x="302" y="353"/>
                        <a:pt x="302" y="353"/>
                      </a:cubicBezTo>
                      <a:cubicBezTo>
                        <a:pt x="301" y="350"/>
                        <a:pt x="301" y="350"/>
                        <a:pt x="301" y="350"/>
                      </a:cubicBezTo>
                      <a:cubicBezTo>
                        <a:pt x="297" y="347"/>
                        <a:pt x="297" y="347"/>
                        <a:pt x="297" y="347"/>
                      </a:cubicBezTo>
                      <a:cubicBezTo>
                        <a:pt x="297" y="350"/>
                        <a:pt x="297" y="350"/>
                        <a:pt x="297" y="350"/>
                      </a:cubicBezTo>
                      <a:cubicBezTo>
                        <a:pt x="295" y="351"/>
                        <a:pt x="295" y="351"/>
                        <a:pt x="295" y="351"/>
                      </a:cubicBezTo>
                      <a:cubicBezTo>
                        <a:pt x="295" y="351"/>
                        <a:pt x="295" y="352"/>
                        <a:pt x="295" y="353"/>
                      </a:cubicBezTo>
                      <a:cubicBezTo>
                        <a:pt x="295" y="354"/>
                        <a:pt x="294" y="354"/>
                        <a:pt x="294" y="354"/>
                      </a:cubicBezTo>
                      <a:cubicBezTo>
                        <a:pt x="292" y="353"/>
                        <a:pt x="292" y="353"/>
                        <a:pt x="292" y="353"/>
                      </a:cubicBezTo>
                      <a:cubicBezTo>
                        <a:pt x="292" y="353"/>
                        <a:pt x="290" y="353"/>
                        <a:pt x="289" y="353"/>
                      </a:cubicBezTo>
                      <a:cubicBezTo>
                        <a:pt x="288" y="353"/>
                        <a:pt x="288" y="351"/>
                        <a:pt x="288" y="351"/>
                      </a:cubicBezTo>
                      <a:cubicBezTo>
                        <a:pt x="287" y="352"/>
                        <a:pt x="287" y="352"/>
                        <a:pt x="287" y="352"/>
                      </a:cubicBezTo>
                      <a:cubicBezTo>
                        <a:pt x="287" y="352"/>
                        <a:pt x="287" y="353"/>
                        <a:pt x="286" y="354"/>
                      </a:cubicBezTo>
                      <a:cubicBezTo>
                        <a:pt x="286" y="355"/>
                        <a:pt x="286" y="354"/>
                        <a:pt x="284" y="354"/>
                      </a:cubicBezTo>
                      <a:cubicBezTo>
                        <a:pt x="283" y="355"/>
                        <a:pt x="283" y="353"/>
                        <a:pt x="282" y="352"/>
                      </a:cubicBezTo>
                      <a:cubicBezTo>
                        <a:pt x="282" y="350"/>
                        <a:pt x="282" y="352"/>
                        <a:pt x="281" y="352"/>
                      </a:cubicBezTo>
                      <a:cubicBezTo>
                        <a:pt x="280" y="352"/>
                        <a:pt x="282" y="355"/>
                        <a:pt x="282" y="355"/>
                      </a:cubicBezTo>
                      <a:cubicBezTo>
                        <a:pt x="281" y="356"/>
                        <a:pt x="281" y="356"/>
                        <a:pt x="281" y="356"/>
                      </a:cubicBezTo>
                      <a:cubicBezTo>
                        <a:pt x="281" y="356"/>
                        <a:pt x="281" y="358"/>
                        <a:pt x="279" y="359"/>
                      </a:cubicBezTo>
                      <a:cubicBezTo>
                        <a:pt x="278" y="359"/>
                        <a:pt x="279" y="357"/>
                        <a:pt x="279" y="357"/>
                      </a:cubicBezTo>
                      <a:cubicBezTo>
                        <a:pt x="279" y="353"/>
                        <a:pt x="279" y="353"/>
                        <a:pt x="279" y="353"/>
                      </a:cubicBezTo>
                      <a:cubicBezTo>
                        <a:pt x="277" y="348"/>
                        <a:pt x="277" y="348"/>
                        <a:pt x="277" y="348"/>
                      </a:cubicBezTo>
                      <a:cubicBezTo>
                        <a:pt x="277" y="348"/>
                        <a:pt x="273" y="352"/>
                        <a:pt x="272" y="352"/>
                      </a:cubicBezTo>
                      <a:cubicBezTo>
                        <a:pt x="272" y="353"/>
                        <a:pt x="270" y="357"/>
                        <a:pt x="269" y="357"/>
                      </a:cubicBezTo>
                      <a:cubicBezTo>
                        <a:pt x="269" y="358"/>
                        <a:pt x="269" y="360"/>
                        <a:pt x="269" y="360"/>
                      </a:cubicBezTo>
                      <a:cubicBezTo>
                        <a:pt x="271" y="363"/>
                        <a:pt x="271" y="363"/>
                        <a:pt x="271" y="363"/>
                      </a:cubicBezTo>
                      <a:cubicBezTo>
                        <a:pt x="271" y="366"/>
                        <a:pt x="271" y="366"/>
                        <a:pt x="271" y="366"/>
                      </a:cubicBezTo>
                      <a:cubicBezTo>
                        <a:pt x="273" y="368"/>
                        <a:pt x="273" y="368"/>
                        <a:pt x="273" y="368"/>
                      </a:cubicBezTo>
                      <a:cubicBezTo>
                        <a:pt x="273" y="368"/>
                        <a:pt x="275" y="368"/>
                        <a:pt x="276" y="369"/>
                      </a:cubicBezTo>
                      <a:cubicBezTo>
                        <a:pt x="277" y="369"/>
                        <a:pt x="276" y="371"/>
                        <a:pt x="276" y="371"/>
                      </a:cubicBezTo>
                      <a:cubicBezTo>
                        <a:pt x="275" y="375"/>
                        <a:pt x="275" y="375"/>
                        <a:pt x="275" y="375"/>
                      </a:cubicBezTo>
                      <a:cubicBezTo>
                        <a:pt x="275" y="375"/>
                        <a:pt x="276" y="376"/>
                        <a:pt x="277" y="377"/>
                      </a:cubicBezTo>
                      <a:cubicBezTo>
                        <a:pt x="277" y="378"/>
                        <a:pt x="275" y="380"/>
                        <a:pt x="275" y="380"/>
                      </a:cubicBezTo>
                      <a:cubicBezTo>
                        <a:pt x="274" y="380"/>
                        <a:pt x="271" y="383"/>
                        <a:pt x="271" y="383"/>
                      </a:cubicBezTo>
                      <a:cubicBezTo>
                        <a:pt x="271" y="383"/>
                        <a:pt x="270" y="384"/>
                        <a:pt x="269" y="384"/>
                      </a:cubicBezTo>
                      <a:cubicBezTo>
                        <a:pt x="268" y="384"/>
                        <a:pt x="270" y="387"/>
                        <a:pt x="270" y="387"/>
                      </a:cubicBezTo>
                      <a:cubicBezTo>
                        <a:pt x="271" y="390"/>
                        <a:pt x="271" y="390"/>
                        <a:pt x="271" y="390"/>
                      </a:cubicBezTo>
                      <a:cubicBezTo>
                        <a:pt x="271" y="390"/>
                        <a:pt x="270" y="391"/>
                        <a:pt x="270" y="391"/>
                      </a:cubicBezTo>
                      <a:cubicBezTo>
                        <a:pt x="269" y="392"/>
                        <a:pt x="269" y="394"/>
                        <a:pt x="269" y="394"/>
                      </a:cubicBezTo>
                      <a:cubicBezTo>
                        <a:pt x="267" y="394"/>
                        <a:pt x="267" y="394"/>
                        <a:pt x="267" y="394"/>
                      </a:cubicBezTo>
                      <a:cubicBezTo>
                        <a:pt x="266" y="396"/>
                        <a:pt x="266" y="396"/>
                        <a:pt x="266" y="396"/>
                      </a:cubicBezTo>
                      <a:cubicBezTo>
                        <a:pt x="266" y="396"/>
                        <a:pt x="266" y="399"/>
                        <a:pt x="265" y="399"/>
                      </a:cubicBezTo>
                      <a:cubicBezTo>
                        <a:pt x="264" y="399"/>
                        <a:pt x="265" y="401"/>
                        <a:pt x="265" y="401"/>
                      </a:cubicBezTo>
                      <a:cubicBezTo>
                        <a:pt x="264" y="403"/>
                        <a:pt x="264" y="403"/>
                        <a:pt x="264" y="403"/>
                      </a:cubicBezTo>
                      <a:cubicBezTo>
                        <a:pt x="268" y="405"/>
                        <a:pt x="268" y="405"/>
                        <a:pt x="268" y="405"/>
                      </a:cubicBezTo>
                      <a:cubicBezTo>
                        <a:pt x="267" y="407"/>
                        <a:pt x="267" y="407"/>
                        <a:pt x="267" y="407"/>
                      </a:cubicBezTo>
                      <a:cubicBezTo>
                        <a:pt x="267" y="409"/>
                        <a:pt x="267" y="409"/>
                        <a:pt x="267" y="409"/>
                      </a:cubicBezTo>
                      <a:cubicBezTo>
                        <a:pt x="268" y="409"/>
                        <a:pt x="268" y="409"/>
                        <a:pt x="268" y="409"/>
                      </a:cubicBezTo>
                      <a:cubicBezTo>
                        <a:pt x="268" y="409"/>
                        <a:pt x="266" y="410"/>
                        <a:pt x="265" y="410"/>
                      </a:cubicBezTo>
                      <a:cubicBezTo>
                        <a:pt x="264" y="411"/>
                        <a:pt x="263" y="410"/>
                        <a:pt x="262" y="411"/>
                      </a:cubicBezTo>
                      <a:cubicBezTo>
                        <a:pt x="261" y="411"/>
                        <a:pt x="258" y="412"/>
                        <a:pt x="258" y="412"/>
                      </a:cubicBezTo>
                      <a:cubicBezTo>
                        <a:pt x="257" y="416"/>
                        <a:pt x="257" y="416"/>
                        <a:pt x="257" y="416"/>
                      </a:cubicBezTo>
                      <a:cubicBezTo>
                        <a:pt x="255" y="416"/>
                        <a:pt x="255" y="416"/>
                        <a:pt x="255" y="416"/>
                      </a:cubicBezTo>
                      <a:cubicBezTo>
                        <a:pt x="255" y="414"/>
                        <a:pt x="255" y="414"/>
                        <a:pt x="255" y="414"/>
                      </a:cubicBezTo>
                      <a:cubicBezTo>
                        <a:pt x="254" y="413"/>
                        <a:pt x="254" y="413"/>
                        <a:pt x="254" y="413"/>
                      </a:cubicBezTo>
                      <a:cubicBezTo>
                        <a:pt x="254" y="415"/>
                        <a:pt x="254" y="416"/>
                        <a:pt x="254" y="416"/>
                      </a:cubicBezTo>
                      <a:cubicBezTo>
                        <a:pt x="264" y="423"/>
                        <a:pt x="264" y="423"/>
                        <a:pt x="264" y="423"/>
                      </a:cubicBezTo>
                      <a:cubicBezTo>
                        <a:pt x="281" y="427"/>
                        <a:pt x="281" y="427"/>
                        <a:pt x="281" y="427"/>
                      </a:cubicBezTo>
                      <a:cubicBezTo>
                        <a:pt x="285" y="420"/>
                        <a:pt x="285" y="420"/>
                        <a:pt x="285" y="420"/>
                      </a:cubicBezTo>
                      <a:cubicBezTo>
                        <a:pt x="285" y="420"/>
                        <a:pt x="294" y="404"/>
                        <a:pt x="301" y="405"/>
                      </a:cubicBezTo>
                      <a:cubicBezTo>
                        <a:pt x="306" y="406"/>
                        <a:pt x="313" y="408"/>
                        <a:pt x="314" y="408"/>
                      </a:cubicBezTo>
                      <a:cubicBezTo>
                        <a:pt x="313" y="402"/>
                        <a:pt x="302" y="392"/>
                        <a:pt x="304" y="390"/>
                      </a:cubicBezTo>
                      <a:cubicBezTo>
                        <a:pt x="306" y="387"/>
                        <a:pt x="311" y="380"/>
                        <a:pt x="314" y="376"/>
                      </a:cubicBezTo>
                      <a:cubicBezTo>
                        <a:pt x="316" y="372"/>
                        <a:pt x="326" y="369"/>
                        <a:pt x="326" y="369"/>
                      </a:cubicBezTo>
                      <a:cubicBezTo>
                        <a:pt x="334" y="354"/>
                        <a:pt x="334" y="354"/>
                        <a:pt x="334" y="354"/>
                      </a:cubicBezTo>
                      <a:cubicBezTo>
                        <a:pt x="332" y="331"/>
                        <a:pt x="330" y="325"/>
                        <a:pt x="354" y="322"/>
                      </a:cubicBezTo>
                      <a:cubicBezTo>
                        <a:pt x="358" y="321"/>
                        <a:pt x="363" y="318"/>
                        <a:pt x="363" y="318"/>
                      </a:cubicBezTo>
                      <a:cubicBezTo>
                        <a:pt x="371" y="315"/>
                        <a:pt x="371" y="315"/>
                        <a:pt x="371" y="315"/>
                      </a:cubicBezTo>
                      <a:cubicBezTo>
                        <a:pt x="386" y="313"/>
                        <a:pt x="386" y="313"/>
                        <a:pt x="386" y="313"/>
                      </a:cubicBezTo>
                      <a:cubicBezTo>
                        <a:pt x="374" y="320"/>
                        <a:pt x="374" y="320"/>
                        <a:pt x="374" y="320"/>
                      </a:cubicBezTo>
                      <a:cubicBezTo>
                        <a:pt x="365" y="330"/>
                        <a:pt x="365" y="330"/>
                        <a:pt x="365" y="330"/>
                      </a:cubicBezTo>
                      <a:cubicBezTo>
                        <a:pt x="377" y="333"/>
                        <a:pt x="377" y="333"/>
                        <a:pt x="377" y="333"/>
                      </a:cubicBezTo>
                      <a:cubicBezTo>
                        <a:pt x="377" y="333"/>
                        <a:pt x="377" y="342"/>
                        <a:pt x="383" y="340"/>
                      </a:cubicBezTo>
                      <a:cubicBezTo>
                        <a:pt x="388" y="338"/>
                        <a:pt x="400" y="333"/>
                        <a:pt x="402" y="333"/>
                      </a:cubicBezTo>
                      <a:cubicBezTo>
                        <a:pt x="404" y="332"/>
                        <a:pt x="415" y="329"/>
                        <a:pt x="418" y="329"/>
                      </a:cubicBezTo>
                      <a:cubicBezTo>
                        <a:pt x="421" y="329"/>
                        <a:pt x="437" y="327"/>
                        <a:pt x="437" y="327"/>
                      </a:cubicBezTo>
                      <a:cubicBezTo>
                        <a:pt x="439" y="336"/>
                        <a:pt x="439" y="336"/>
                        <a:pt x="439" y="336"/>
                      </a:cubicBezTo>
                      <a:cubicBezTo>
                        <a:pt x="432" y="345"/>
                        <a:pt x="432" y="345"/>
                        <a:pt x="432" y="345"/>
                      </a:cubicBezTo>
                      <a:cubicBezTo>
                        <a:pt x="423" y="354"/>
                        <a:pt x="423" y="354"/>
                        <a:pt x="423" y="354"/>
                      </a:cubicBezTo>
                      <a:cubicBezTo>
                        <a:pt x="409" y="367"/>
                        <a:pt x="409" y="367"/>
                        <a:pt x="409" y="367"/>
                      </a:cubicBezTo>
                      <a:cubicBezTo>
                        <a:pt x="409" y="367"/>
                        <a:pt x="405" y="374"/>
                        <a:pt x="407" y="375"/>
                      </a:cubicBezTo>
                      <a:cubicBezTo>
                        <a:pt x="409" y="376"/>
                        <a:pt x="424" y="374"/>
                        <a:pt x="424" y="374"/>
                      </a:cubicBezTo>
                      <a:cubicBezTo>
                        <a:pt x="441" y="375"/>
                        <a:pt x="441" y="375"/>
                        <a:pt x="441" y="375"/>
                      </a:cubicBezTo>
                      <a:cubicBezTo>
                        <a:pt x="441" y="375"/>
                        <a:pt x="444" y="376"/>
                        <a:pt x="446" y="382"/>
                      </a:cubicBezTo>
                      <a:cubicBezTo>
                        <a:pt x="449" y="389"/>
                        <a:pt x="451" y="392"/>
                        <a:pt x="452" y="394"/>
                      </a:cubicBezTo>
                      <a:cubicBezTo>
                        <a:pt x="454" y="397"/>
                        <a:pt x="458" y="403"/>
                        <a:pt x="458" y="403"/>
                      </a:cubicBezTo>
                      <a:cubicBezTo>
                        <a:pt x="458" y="403"/>
                        <a:pt x="454" y="407"/>
                        <a:pt x="459" y="406"/>
                      </a:cubicBezTo>
                      <a:cubicBezTo>
                        <a:pt x="465" y="406"/>
                        <a:pt x="469" y="405"/>
                        <a:pt x="469" y="405"/>
                      </a:cubicBezTo>
                      <a:cubicBezTo>
                        <a:pt x="469" y="405"/>
                        <a:pt x="470" y="399"/>
                        <a:pt x="472" y="397"/>
                      </a:cubicBezTo>
                      <a:cubicBezTo>
                        <a:pt x="475" y="396"/>
                        <a:pt x="478" y="393"/>
                        <a:pt x="478" y="393"/>
                      </a:cubicBezTo>
                      <a:cubicBezTo>
                        <a:pt x="478" y="393"/>
                        <a:pt x="477" y="387"/>
                        <a:pt x="480" y="385"/>
                      </a:cubicBezTo>
                      <a:cubicBezTo>
                        <a:pt x="483" y="384"/>
                        <a:pt x="487" y="383"/>
                        <a:pt x="491" y="382"/>
                      </a:cubicBezTo>
                      <a:cubicBezTo>
                        <a:pt x="495" y="380"/>
                        <a:pt x="499" y="373"/>
                        <a:pt x="499" y="373"/>
                      </a:cubicBezTo>
                      <a:cubicBezTo>
                        <a:pt x="504" y="369"/>
                        <a:pt x="504" y="369"/>
                        <a:pt x="504" y="369"/>
                      </a:cubicBezTo>
                      <a:cubicBezTo>
                        <a:pt x="516" y="365"/>
                        <a:pt x="516" y="365"/>
                        <a:pt x="516" y="365"/>
                      </a:cubicBezTo>
                      <a:cubicBezTo>
                        <a:pt x="515" y="355"/>
                        <a:pt x="515" y="355"/>
                        <a:pt x="515" y="355"/>
                      </a:cubicBezTo>
                      <a:cubicBezTo>
                        <a:pt x="515" y="355"/>
                        <a:pt x="516" y="353"/>
                        <a:pt x="519" y="353"/>
                      </a:cubicBezTo>
                      <a:cubicBezTo>
                        <a:pt x="521" y="352"/>
                        <a:pt x="542" y="345"/>
                        <a:pt x="542" y="345"/>
                      </a:cubicBezTo>
                      <a:cubicBezTo>
                        <a:pt x="548" y="335"/>
                        <a:pt x="548" y="335"/>
                        <a:pt x="548" y="335"/>
                      </a:cubicBezTo>
                      <a:cubicBezTo>
                        <a:pt x="548" y="325"/>
                        <a:pt x="548" y="325"/>
                        <a:pt x="548" y="325"/>
                      </a:cubicBezTo>
                      <a:cubicBezTo>
                        <a:pt x="548" y="325"/>
                        <a:pt x="550" y="319"/>
                        <a:pt x="546" y="319"/>
                      </a:cubicBezTo>
                      <a:cubicBezTo>
                        <a:pt x="542" y="319"/>
                        <a:pt x="532" y="329"/>
                        <a:pt x="532" y="329"/>
                      </a:cubicBezTo>
                      <a:cubicBezTo>
                        <a:pt x="521" y="330"/>
                        <a:pt x="521" y="330"/>
                        <a:pt x="521" y="330"/>
                      </a:cubicBezTo>
                      <a:cubicBezTo>
                        <a:pt x="521" y="330"/>
                        <a:pt x="516" y="339"/>
                        <a:pt x="514" y="339"/>
                      </a:cubicBezTo>
                      <a:cubicBezTo>
                        <a:pt x="512" y="340"/>
                        <a:pt x="506" y="342"/>
                        <a:pt x="504" y="341"/>
                      </a:cubicBezTo>
                      <a:cubicBezTo>
                        <a:pt x="502" y="341"/>
                        <a:pt x="505" y="352"/>
                        <a:pt x="498" y="339"/>
                      </a:cubicBezTo>
                      <a:cubicBezTo>
                        <a:pt x="491" y="326"/>
                        <a:pt x="488" y="326"/>
                        <a:pt x="488" y="326"/>
                      </a:cubicBezTo>
                      <a:cubicBezTo>
                        <a:pt x="481" y="326"/>
                        <a:pt x="481" y="326"/>
                        <a:pt x="481" y="326"/>
                      </a:cubicBezTo>
                      <a:cubicBezTo>
                        <a:pt x="481" y="326"/>
                        <a:pt x="475" y="329"/>
                        <a:pt x="474" y="327"/>
                      </a:cubicBezTo>
                      <a:cubicBezTo>
                        <a:pt x="474" y="325"/>
                        <a:pt x="471" y="319"/>
                        <a:pt x="471" y="319"/>
                      </a:cubicBezTo>
                      <a:cubicBezTo>
                        <a:pt x="461" y="319"/>
                        <a:pt x="461" y="319"/>
                        <a:pt x="461" y="319"/>
                      </a:cubicBezTo>
                      <a:cubicBezTo>
                        <a:pt x="457" y="321"/>
                        <a:pt x="457" y="321"/>
                        <a:pt x="457" y="321"/>
                      </a:cubicBezTo>
                      <a:cubicBezTo>
                        <a:pt x="442" y="320"/>
                        <a:pt x="442" y="320"/>
                        <a:pt x="442" y="320"/>
                      </a:cubicBezTo>
                      <a:cubicBezTo>
                        <a:pt x="436" y="316"/>
                        <a:pt x="436" y="316"/>
                        <a:pt x="436" y="316"/>
                      </a:cubicBezTo>
                      <a:cubicBezTo>
                        <a:pt x="444" y="312"/>
                        <a:pt x="444" y="312"/>
                        <a:pt x="444" y="312"/>
                      </a:cubicBezTo>
                      <a:cubicBezTo>
                        <a:pt x="444" y="312"/>
                        <a:pt x="447" y="315"/>
                        <a:pt x="448" y="315"/>
                      </a:cubicBezTo>
                      <a:cubicBezTo>
                        <a:pt x="450" y="314"/>
                        <a:pt x="448" y="311"/>
                        <a:pt x="450" y="310"/>
                      </a:cubicBezTo>
                      <a:cubicBezTo>
                        <a:pt x="453" y="309"/>
                        <a:pt x="456" y="306"/>
                        <a:pt x="459" y="308"/>
                      </a:cubicBezTo>
                      <a:cubicBezTo>
                        <a:pt x="462" y="309"/>
                        <a:pt x="459" y="315"/>
                        <a:pt x="464" y="311"/>
                      </a:cubicBezTo>
                      <a:cubicBezTo>
                        <a:pt x="469" y="307"/>
                        <a:pt x="474" y="308"/>
                        <a:pt x="474" y="308"/>
                      </a:cubicBezTo>
                      <a:cubicBezTo>
                        <a:pt x="480" y="298"/>
                        <a:pt x="480" y="298"/>
                        <a:pt x="480" y="298"/>
                      </a:cubicBezTo>
                      <a:cubicBezTo>
                        <a:pt x="484" y="289"/>
                        <a:pt x="484" y="289"/>
                        <a:pt x="484" y="289"/>
                      </a:cubicBezTo>
                      <a:cubicBezTo>
                        <a:pt x="484" y="289"/>
                        <a:pt x="486" y="290"/>
                        <a:pt x="488" y="291"/>
                      </a:cubicBezTo>
                      <a:cubicBezTo>
                        <a:pt x="491" y="291"/>
                        <a:pt x="498" y="279"/>
                        <a:pt x="498" y="279"/>
                      </a:cubicBezTo>
                      <a:cubicBezTo>
                        <a:pt x="498" y="279"/>
                        <a:pt x="499" y="267"/>
                        <a:pt x="501" y="267"/>
                      </a:cubicBezTo>
                      <a:cubicBezTo>
                        <a:pt x="503" y="266"/>
                        <a:pt x="518" y="261"/>
                        <a:pt x="518" y="261"/>
                      </a:cubicBezTo>
                      <a:cubicBezTo>
                        <a:pt x="528" y="255"/>
                        <a:pt x="528" y="255"/>
                        <a:pt x="528" y="255"/>
                      </a:cubicBezTo>
                      <a:cubicBezTo>
                        <a:pt x="528" y="255"/>
                        <a:pt x="533" y="248"/>
                        <a:pt x="535" y="247"/>
                      </a:cubicBezTo>
                      <a:cubicBezTo>
                        <a:pt x="537" y="247"/>
                        <a:pt x="539" y="243"/>
                        <a:pt x="541" y="238"/>
                      </a:cubicBezTo>
                      <a:cubicBezTo>
                        <a:pt x="544" y="234"/>
                        <a:pt x="546" y="231"/>
                        <a:pt x="546" y="231"/>
                      </a:cubicBezTo>
                      <a:cubicBezTo>
                        <a:pt x="546" y="231"/>
                        <a:pt x="558" y="228"/>
                        <a:pt x="557" y="227"/>
                      </a:cubicBezTo>
                      <a:cubicBezTo>
                        <a:pt x="557" y="225"/>
                        <a:pt x="552" y="221"/>
                        <a:pt x="558" y="221"/>
                      </a:cubicBezTo>
                      <a:cubicBezTo>
                        <a:pt x="564" y="221"/>
                        <a:pt x="564" y="221"/>
                        <a:pt x="567" y="219"/>
                      </a:cubicBezTo>
                      <a:cubicBezTo>
                        <a:pt x="569" y="218"/>
                        <a:pt x="568" y="217"/>
                        <a:pt x="569" y="214"/>
                      </a:cubicBezTo>
                      <a:cubicBezTo>
                        <a:pt x="571" y="212"/>
                        <a:pt x="572" y="209"/>
                        <a:pt x="572" y="207"/>
                      </a:cubicBezTo>
                      <a:cubicBezTo>
                        <a:pt x="571" y="205"/>
                        <a:pt x="566" y="197"/>
                        <a:pt x="566" y="195"/>
                      </a:cubicBezTo>
                      <a:cubicBezTo>
                        <a:pt x="565" y="192"/>
                        <a:pt x="566" y="186"/>
                        <a:pt x="566" y="186"/>
                      </a:cubicBezTo>
                      <a:cubicBezTo>
                        <a:pt x="566" y="186"/>
                        <a:pt x="569" y="185"/>
                        <a:pt x="572" y="184"/>
                      </a:cubicBezTo>
                      <a:cubicBezTo>
                        <a:pt x="574" y="182"/>
                        <a:pt x="578" y="175"/>
                        <a:pt x="578" y="175"/>
                      </a:cubicBezTo>
                      <a:cubicBezTo>
                        <a:pt x="579" y="170"/>
                        <a:pt x="579" y="170"/>
                        <a:pt x="579" y="170"/>
                      </a:cubicBezTo>
                      <a:cubicBezTo>
                        <a:pt x="579" y="170"/>
                        <a:pt x="583" y="167"/>
                        <a:pt x="584" y="167"/>
                      </a:cubicBezTo>
                      <a:cubicBezTo>
                        <a:pt x="586" y="166"/>
                        <a:pt x="602" y="160"/>
                        <a:pt x="603" y="160"/>
                      </a:cubicBezTo>
                      <a:cubicBezTo>
                        <a:pt x="604" y="160"/>
                        <a:pt x="614" y="161"/>
                        <a:pt x="611" y="156"/>
                      </a:cubicBezTo>
                      <a:cubicBezTo>
                        <a:pt x="608" y="152"/>
                        <a:pt x="607" y="150"/>
                        <a:pt x="606" y="147"/>
                      </a:cubicBezTo>
                      <a:cubicBezTo>
                        <a:pt x="605" y="144"/>
                        <a:pt x="605" y="137"/>
                        <a:pt x="605" y="136"/>
                      </a:cubicBezTo>
                      <a:cubicBezTo>
                        <a:pt x="606" y="135"/>
                        <a:pt x="614" y="132"/>
                        <a:pt x="605" y="131"/>
                      </a:cubicBezTo>
                      <a:cubicBezTo>
                        <a:pt x="596" y="130"/>
                        <a:pt x="603" y="127"/>
                        <a:pt x="601" y="125"/>
                      </a:cubicBezTo>
                      <a:cubicBezTo>
                        <a:pt x="598" y="123"/>
                        <a:pt x="592" y="119"/>
                        <a:pt x="592" y="119"/>
                      </a:cubicBezTo>
                      <a:cubicBezTo>
                        <a:pt x="589" y="119"/>
                        <a:pt x="589" y="119"/>
                        <a:pt x="589" y="119"/>
                      </a:cubicBezTo>
                      <a:cubicBezTo>
                        <a:pt x="590" y="109"/>
                        <a:pt x="590" y="109"/>
                        <a:pt x="590" y="109"/>
                      </a:cubicBezTo>
                      <a:cubicBezTo>
                        <a:pt x="590" y="109"/>
                        <a:pt x="593" y="105"/>
                        <a:pt x="594" y="105"/>
                      </a:cubicBezTo>
                      <a:cubicBezTo>
                        <a:pt x="595" y="104"/>
                        <a:pt x="596" y="100"/>
                        <a:pt x="594" y="100"/>
                      </a:cubicBezTo>
                      <a:cubicBezTo>
                        <a:pt x="592" y="101"/>
                        <a:pt x="586" y="102"/>
                        <a:pt x="586" y="102"/>
                      </a:cubicBezTo>
                      <a:cubicBezTo>
                        <a:pt x="586" y="102"/>
                        <a:pt x="581" y="102"/>
                        <a:pt x="582" y="100"/>
                      </a:cubicBezTo>
                      <a:cubicBezTo>
                        <a:pt x="582" y="97"/>
                        <a:pt x="584" y="97"/>
                        <a:pt x="587" y="94"/>
                      </a:cubicBezTo>
                      <a:cubicBezTo>
                        <a:pt x="590" y="91"/>
                        <a:pt x="591" y="89"/>
                        <a:pt x="591" y="89"/>
                      </a:cubicBezTo>
                      <a:cubicBezTo>
                        <a:pt x="590" y="83"/>
                        <a:pt x="590" y="83"/>
                        <a:pt x="590" y="83"/>
                      </a:cubicBezTo>
                      <a:cubicBezTo>
                        <a:pt x="590" y="83"/>
                        <a:pt x="590" y="79"/>
                        <a:pt x="589" y="79"/>
                      </a:cubicBezTo>
                      <a:cubicBezTo>
                        <a:pt x="589" y="78"/>
                        <a:pt x="583" y="66"/>
                        <a:pt x="583" y="66"/>
                      </a:cubicBezTo>
                      <a:cubicBezTo>
                        <a:pt x="583" y="66"/>
                        <a:pt x="577" y="64"/>
                        <a:pt x="576" y="66"/>
                      </a:cubicBezTo>
                      <a:cubicBezTo>
                        <a:pt x="576" y="68"/>
                        <a:pt x="574" y="72"/>
                        <a:pt x="574" y="72"/>
                      </a:cubicBezTo>
                      <a:cubicBezTo>
                        <a:pt x="567" y="72"/>
                        <a:pt x="567" y="72"/>
                        <a:pt x="567" y="72"/>
                      </a:cubicBezTo>
                      <a:cubicBezTo>
                        <a:pt x="563" y="69"/>
                        <a:pt x="563" y="69"/>
                        <a:pt x="563" y="69"/>
                      </a:cubicBezTo>
                      <a:cubicBezTo>
                        <a:pt x="555" y="67"/>
                        <a:pt x="555" y="67"/>
                        <a:pt x="555" y="67"/>
                      </a:cubicBezTo>
                      <a:cubicBezTo>
                        <a:pt x="555" y="67"/>
                        <a:pt x="554" y="68"/>
                        <a:pt x="553" y="69"/>
                      </a:cubicBezTo>
                      <a:cubicBezTo>
                        <a:pt x="553" y="70"/>
                        <a:pt x="545" y="65"/>
                        <a:pt x="545" y="65"/>
                      </a:cubicBezTo>
                      <a:cubicBezTo>
                        <a:pt x="545" y="65"/>
                        <a:pt x="542" y="69"/>
                        <a:pt x="541" y="70"/>
                      </a:cubicBezTo>
                      <a:cubicBezTo>
                        <a:pt x="541" y="70"/>
                        <a:pt x="533" y="68"/>
                        <a:pt x="533" y="68"/>
                      </a:cubicBezTo>
                      <a:cubicBezTo>
                        <a:pt x="525" y="69"/>
                        <a:pt x="525" y="69"/>
                        <a:pt x="525" y="69"/>
                      </a:cubicBezTo>
                      <a:cubicBezTo>
                        <a:pt x="518" y="70"/>
                        <a:pt x="518" y="70"/>
                        <a:pt x="518" y="70"/>
                      </a:cubicBezTo>
                      <a:cubicBezTo>
                        <a:pt x="512" y="67"/>
                        <a:pt x="512" y="67"/>
                        <a:pt x="512" y="67"/>
                      </a:cubicBezTo>
                      <a:cubicBezTo>
                        <a:pt x="510" y="70"/>
                        <a:pt x="510" y="70"/>
                        <a:pt x="510" y="70"/>
                      </a:cubicBezTo>
                      <a:cubicBezTo>
                        <a:pt x="511" y="75"/>
                        <a:pt x="511" y="75"/>
                        <a:pt x="511" y="75"/>
                      </a:cubicBezTo>
                      <a:cubicBezTo>
                        <a:pt x="506" y="78"/>
                        <a:pt x="506" y="78"/>
                        <a:pt x="506" y="78"/>
                      </a:cubicBezTo>
                      <a:cubicBezTo>
                        <a:pt x="500" y="74"/>
                        <a:pt x="500" y="74"/>
                        <a:pt x="500" y="74"/>
                      </a:cubicBezTo>
                      <a:cubicBezTo>
                        <a:pt x="495" y="73"/>
                        <a:pt x="495" y="73"/>
                        <a:pt x="495" y="73"/>
                      </a:cubicBezTo>
                      <a:cubicBezTo>
                        <a:pt x="488" y="66"/>
                        <a:pt x="488" y="66"/>
                        <a:pt x="488" y="66"/>
                      </a:cubicBezTo>
                      <a:cubicBezTo>
                        <a:pt x="482" y="64"/>
                        <a:pt x="482" y="64"/>
                        <a:pt x="482" y="64"/>
                      </a:cubicBezTo>
                      <a:cubicBezTo>
                        <a:pt x="476" y="61"/>
                        <a:pt x="476" y="61"/>
                        <a:pt x="476" y="61"/>
                      </a:cubicBezTo>
                      <a:cubicBezTo>
                        <a:pt x="476" y="61"/>
                        <a:pt x="473" y="69"/>
                        <a:pt x="472" y="70"/>
                      </a:cubicBezTo>
                      <a:cubicBezTo>
                        <a:pt x="471" y="70"/>
                        <a:pt x="466" y="72"/>
                        <a:pt x="465" y="72"/>
                      </a:cubicBezTo>
                      <a:cubicBezTo>
                        <a:pt x="463" y="73"/>
                        <a:pt x="462" y="78"/>
                        <a:pt x="462" y="78"/>
                      </a:cubicBezTo>
                      <a:cubicBezTo>
                        <a:pt x="457" y="81"/>
                        <a:pt x="457" y="81"/>
                        <a:pt x="457" y="81"/>
                      </a:cubicBezTo>
                      <a:cubicBezTo>
                        <a:pt x="457" y="81"/>
                        <a:pt x="454" y="79"/>
                        <a:pt x="452" y="79"/>
                      </a:cubicBezTo>
                      <a:cubicBezTo>
                        <a:pt x="451" y="79"/>
                        <a:pt x="450" y="80"/>
                        <a:pt x="450" y="80"/>
                      </a:cubicBezTo>
                      <a:cubicBezTo>
                        <a:pt x="448" y="83"/>
                        <a:pt x="448" y="83"/>
                        <a:pt x="448" y="83"/>
                      </a:cubicBezTo>
                      <a:cubicBezTo>
                        <a:pt x="448" y="83"/>
                        <a:pt x="447" y="83"/>
                        <a:pt x="444" y="81"/>
                      </a:cubicBezTo>
                      <a:cubicBezTo>
                        <a:pt x="442" y="80"/>
                        <a:pt x="439" y="78"/>
                        <a:pt x="439" y="78"/>
                      </a:cubicBezTo>
                      <a:cubicBezTo>
                        <a:pt x="436" y="77"/>
                        <a:pt x="436" y="77"/>
                        <a:pt x="436" y="77"/>
                      </a:cubicBezTo>
                      <a:cubicBezTo>
                        <a:pt x="436" y="77"/>
                        <a:pt x="427" y="81"/>
                        <a:pt x="426" y="82"/>
                      </a:cubicBezTo>
                      <a:cubicBezTo>
                        <a:pt x="426" y="83"/>
                        <a:pt x="424" y="86"/>
                        <a:pt x="424" y="86"/>
                      </a:cubicBezTo>
                      <a:cubicBezTo>
                        <a:pt x="419" y="82"/>
                        <a:pt x="419" y="82"/>
                        <a:pt x="419" y="82"/>
                      </a:cubicBezTo>
                      <a:cubicBezTo>
                        <a:pt x="413" y="78"/>
                        <a:pt x="413" y="78"/>
                        <a:pt x="413" y="78"/>
                      </a:cubicBezTo>
                      <a:cubicBezTo>
                        <a:pt x="412" y="71"/>
                        <a:pt x="412" y="71"/>
                        <a:pt x="412" y="71"/>
                      </a:cubicBezTo>
                      <a:cubicBezTo>
                        <a:pt x="401" y="61"/>
                        <a:pt x="401" y="61"/>
                        <a:pt x="401" y="61"/>
                      </a:cubicBezTo>
                      <a:cubicBezTo>
                        <a:pt x="399" y="51"/>
                        <a:pt x="399" y="51"/>
                        <a:pt x="399" y="51"/>
                      </a:cubicBezTo>
                      <a:cubicBezTo>
                        <a:pt x="391" y="45"/>
                        <a:pt x="391" y="45"/>
                        <a:pt x="391" y="45"/>
                      </a:cubicBezTo>
                      <a:cubicBezTo>
                        <a:pt x="386" y="51"/>
                        <a:pt x="386" y="51"/>
                        <a:pt x="386" y="51"/>
                      </a:cubicBezTo>
                      <a:cubicBezTo>
                        <a:pt x="378" y="50"/>
                        <a:pt x="378" y="50"/>
                        <a:pt x="378" y="50"/>
                      </a:cubicBezTo>
                      <a:cubicBezTo>
                        <a:pt x="370" y="52"/>
                        <a:pt x="370" y="52"/>
                        <a:pt x="370" y="52"/>
                      </a:cubicBezTo>
                      <a:cubicBezTo>
                        <a:pt x="370" y="52"/>
                        <a:pt x="365" y="57"/>
                        <a:pt x="365" y="55"/>
                      </a:cubicBezTo>
                      <a:cubicBezTo>
                        <a:pt x="364" y="53"/>
                        <a:pt x="366" y="49"/>
                        <a:pt x="366" y="47"/>
                      </a:cubicBezTo>
                      <a:cubicBezTo>
                        <a:pt x="365" y="46"/>
                        <a:pt x="360" y="49"/>
                        <a:pt x="361" y="45"/>
                      </a:cubicBezTo>
                      <a:cubicBezTo>
                        <a:pt x="362" y="43"/>
                        <a:pt x="361" y="40"/>
                        <a:pt x="360" y="39"/>
                      </a:cubicBezTo>
                      <a:cubicBezTo>
                        <a:pt x="358" y="37"/>
                        <a:pt x="352" y="37"/>
                        <a:pt x="354" y="33"/>
                      </a:cubicBezTo>
                      <a:cubicBezTo>
                        <a:pt x="356" y="30"/>
                        <a:pt x="361" y="28"/>
                        <a:pt x="361" y="28"/>
                      </a:cubicBezTo>
                      <a:cubicBezTo>
                        <a:pt x="361" y="26"/>
                        <a:pt x="361" y="26"/>
                        <a:pt x="361" y="26"/>
                      </a:cubicBezTo>
                      <a:cubicBezTo>
                        <a:pt x="357" y="22"/>
                        <a:pt x="357" y="22"/>
                        <a:pt x="357" y="22"/>
                      </a:cubicBezTo>
                      <a:cubicBezTo>
                        <a:pt x="346" y="17"/>
                        <a:pt x="346" y="17"/>
                        <a:pt x="346" y="17"/>
                      </a:cubicBezTo>
                      <a:cubicBezTo>
                        <a:pt x="346" y="17"/>
                        <a:pt x="345" y="11"/>
                        <a:pt x="343" y="11"/>
                      </a:cubicBezTo>
                      <a:cubicBezTo>
                        <a:pt x="342" y="10"/>
                        <a:pt x="339" y="7"/>
                        <a:pt x="339" y="7"/>
                      </a:cubicBezTo>
                      <a:cubicBezTo>
                        <a:pt x="339" y="7"/>
                        <a:pt x="336" y="3"/>
                        <a:pt x="332" y="2"/>
                      </a:cubicBezTo>
                      <a:cubicBezTo>
                        <a:pt x="328" y="0"/>
                        <a:pt x="325" y="9"/>
                        <a:pt x="325" y="9"/>
                      </a:cubicBezTo>
                      <a:cubicBezTo>
                        <a:pt x="321" y="5"/>
                        <a:pt x="321" y="5"/>
                        <a:pt x="321" y="5"/>
                      </a:cubicBezTo>
                      <a:cubicBezTo>
                        <a:pt x="313" y="8"/>
                        <a:pt x="313" y="8"/>
                        <a:pt x="313" y="8"/>
                      </a:cubicBezTo>
                      <a:cubicBezTo>
                        <a:pt x="307" y="17"/>
                        <a:pt x="307" y="17"/>
                        <a:pt x="307" y="17"/>
                      </a:cubicBezTo>
                      <a:cubicBezTo>
                        <a:pt x="303" y="18"/>
                        <a:pt x="303" y="18"/>
                        <a:pt x="303" y="18"/>
                      </a:cubicBezTo>
                      <a:cubicBezTo>
                        <a:pt x="297" y="19"/>
                        <a:pt x="297" y="19"/>
                        <a:pt x="297" y="19"/>
                      </a:cubicBezTo>
                      <a:cubicBezTo>
                        <a:pt x="288" y="21"/>
                        <a:pt x="288" y="21"/>
                        <a:pt x="288" y="21"/>
                      </a:cubicBezTo>
                      <a:cubicBezTo>
                        <a:pt x="286" y="27"/>
                        <a:pt x="286" y="27"/>
                        <a:pt x="286" y="27"/>
                      </a:cubicBezTo>
                      <a:cubicBezTo>
                        <a:pt x="287" y="33"/>
                        <a:pt x="287" y="33"/>
                        <a:pt x="287" y="33"/>
                      </a:cubicBezTo>
                      <a:cubicBezTo>
                        <a:pt x="282" y="37"/>
                        <a:pt x="282" y="37"/>
                        <a:pt x="282" y="37"/>
                      </a:cubicBezTo>
                      <a:cubicBezTo>
                        <a:pt x="270" y="36"/>
                        <a:pt x="270" y="36"/>
                        <a:pt x="270" y="36"/>
                      </a:cubicBezTo>
                      <a:cubicBezTo>
                        <a:pt x="262" y="38"/>
                        <a:pt x="262" y="38"/>
                        <a:pt x="262" y="38"/>
                      </a:cubicBezTo>
                      <a:cubicBezTo>
                        <a:pt x="258" y="44"/>
                        <a:pt x="258" y="44"/>
                        <a:pt x="258" y="44"/>
                      </a:cubicBezTo>
                      <a:cubicBezTo>
                        <a:pt x="246" y="44"/>
                        <a:pt x="246" y="44"/>
                        <a:pt x="246" y="44"/>
                      </a:cubicBezTo>
                      <a:cubicBezTo>
                        <a:pt x="244" y="56"/>
                        <a:pt x="244" y="56"/>
                        <a:pt x="244" y="56"/>
                      </a:cubicBezTo>
                      <a:cubicBezTo>
                        <a:pt x="241" y="64"/>
                        <a:pt x="241" y="64"/>
                        <a:pt x="241" y="64"/>
                      </a:cubicBezTo>
                      <a:cubicBezTo>
                        <a:pt x="238" y="73"/>
                        <a:pt x="238" y="73"/>
                        <a:pt x="238" y="73"/>
                      </a:cubicBezTo>
                      <a:cubicBezTo>
                        <a:pt x="240" y="78"/>
                        <a:pt x="240" y="78"/>
                        <a:pt x="240" y="78"/>
                      </a:cubicBezTo>
                      <a:cubicBezTo>
                        <a:pt x="243" y="85"/>
                        <a:pt x="243" y="85"/>
                        <a:pt x="243" y="85"/>
                      </a:cubicBezTo>
                      <a:cubicBezTo>
                        <a:pt x="249" y="92"/>
                        <a:pt x="249" y="92"/>
                        <a:pt x="249" y="92"/>
                      </a:cubicBezTo>
                      <a:cubicBezTo>
                        <a:pt x="249" y="92"/>
                        <a:pt x="249" y="92"/>
                        <a:pt x="249" y="92"/>
                      </a:cubicBezTo>
                      <a:cubicBezTo>
                        <a:pt x="243" y="94"/>
                        <a:pt x="243" y="94"/>
                        <a:pt x="243" y="94"/>
                      </a:cubicBezTo>
                      <a:cubicBezTo>
                        <a:pt x="239" y="95"/>
                        <a:pt x="239" y="95"/>
                        <a:pt x="239" y="95"/>
                      </a:cubicBezTo>
                      <a:cubicBezTo>
                        <a:pt x="235" y="89"/>
                        <a:pt x="235" y="89"/>
                        <a:pt x="235" y="89"/>
                      </a:cubicBezTo>
                      <a:cubicBezTo>
                        <a:pt x="229" y="87"/>
                        <a:pt x="229" y="87"/>
                        <a:pt x="229" y="87"/>
                      </a:cubicBezTo>
                      <a:cubicBezTo>
                        <a:pt x="222" y="90"/>
                        <a:pt x="222" y="90"/>
                        <a:pt x="222" y="90"/>
                      </a:cubicBezTo>
                      <a:cubicBezTo>
                        <a:pt x="215" y="92"/>
                        <a:pt x="215" y="92"/>
                        <a:pt x="215" y="92"/>
                      </a:cubicBezTo>
                      <a:cubicBezTo>
                        <a:pt x="213" y="92"/>
                        <a:pt x="213" y="92"/>
                        <a:pt x="213" y="92"/>
                      </a:cubicBezTo>
                      <a:cubicBezTo>
                        <a:pt x="211" y="96"/>
                        <a:pt x="211" y="96"/>
                        <a:pt x="211" y="96"/>
                      </a:cubicBezTo>
                      <a:cubicBezTo>
                        <a:pt x="205" y="99"/>
                        <a:pt x="205" y="99"/>
                        <a:pt x="205" y="99"/>
                      </a:cubicBezTo>
                      <a:cubicBezTo>
                        <a:pt x="205" y="99"/>
                        <a:pt x="203" y="97"/>
                        <a:pt x="202" y="96"/>
                      </a:cubicBezTo>
                      <a:cubicBezTo>
                        <a:pt x="201" y="95"/>
                        <a:pt x="198" y="93"/>
                        <a:pt x="198" y="93"/>
                      </a:cubicBezTo>
                      <a:cubicBezTo>
                        <a:pt x="198" y="93"/>
                        <a:pt x="197" y="91"/>
                        <a:pt x="196" y="90"/>
                      </a:cubicBezTo>
                      <a:cubicBezTo>
                        <a:pt x="195" y="90"/>
                        <a:pt x="189" y="94"/>
                        <a:pt x="189" y="94"/>
                      </a:cubicBezTo>
                      <a:cubicBezTo>
                        <a:pt x="189" y="94"/>
                        <a:pt x="184" y="97"/>
                        <a:pt x="184" y="98"/>
                      </a:cubicBezTo>
                      <a:cubicBezTo>
                        <a:pt x="185" y="98"/>
                        <a:pt x="184" y="103"/>
                        <a:pt x="184" y="103"/>
                      </a:cubicBezTo>
                      <a:cubicBezTo>
                        <a:pt x="177" y="97"/>
                        <a:pt x="177" y="97"/>
                        <a:pt x="177" y="97"/>
                      </a:cubicBezTo>
                      <a:cubicBezTo>
                        <a:pt x="172" y="101"/>
                        <a:pt x="172" y="101"/>
                        <a:pt x="172" y="101"/>
                      </a:cubicBezTo>
                      <a:cubicBezTo>
                        <a:pt x="168" y="98"/>
                        <a:pt x="168" y="98"/>
                        <a:pt x="168" y="98"/>
                      </a:cubicBezTo>
                      <a:cubicBezTo>
                        <a:pt x="166" y="97"/>
                        <a:pt x="166" y="97"/>
                        <a:pt x="166" y="97"/>
                      </a:cubicBezTo>
                      <a:cubicBezTo>
                        <a:pt x="160" y="104"/>
                        <a:pt x="160" y="104"/>
                        <a:pt x="160" y="104"/>
                      </a:cubicBezTo>
                      <a:cubicBezTo>
                        <a:pt x="156" y="102"/>
                        <a:pt x="156" y="102"/>
                        <a:pt x="156" y="102"/>
                      </a:cubicBezTo>
                      <a:cubicBezTo>
                        <a:pt x="154" y="109"/>
                        <a:pt x="154" y="109"/>
                        <a:pt x="154" y="109"/>
                      </a:cubicBezTo>
                      <a:cubicBezTo>
                        <a:pt x="149" y="105"/>
                        <a:pt x="149" y="105"/>
                        <a:pt x="149" y="105"/>
                      </a:cubicBezTo>
                      <a:cubicBezTo>
                        <a:pt x="149" y="105"/>
                        <a:pt x="144" y="104"/>
                        <a:pt x="143" y="104"/>
                      </a:cubicBezTo>
                      <a:cubicBezTo>
                        <a:pt x="142" y="104"/>
                        <a:pt x="139" y="108"/>
                        <a:pt x="139" y="108"/>
                      </a:cubicBezTo>
                      <a:cubicBezTo>
                        <a:pt x="134" y="104"/>
                        <a:pt x="134" y="104"/>
                        <a:pt x="134" y="104"/>
                      </a:cubicBezTo>
                      <a:cubicBezTo>
                        <a:pt x="130" y="101"/>
                        <a:pt x="130" y="101"/>
                        <a:pt x="130" y="101"/>
                      </a:cubicBezTo>
                      <a:cubicBezTo>
                        <a:pt x="130" y="101"/>
                        <a:pt x="119" y="102"/>
                        <a:pt x="118" y="102"/>
                      </a:cubicBezTo>
                      <a:cubicBezTo>
                        <a:pt x="117" y="102"/>
                        <a:pt x="110" y="101"/>
                        <a:pt x="110" y="101"/>
                      </a:cubicBezTo>
                      <a:cubicBezTo>
                        <a:pt x="101" y="103"/>
                        <a:pt x="101" y="103"/>
                        <a:pt x="101" y="103"/>
                      </a:cubicBezTo>
                      <a:cubicBezTo>
                        <a:pt x="88" y="103"/>
                        <a:pt x="88" y="103"/>
                        <a:pt x="88" y="103"/>
                      </a:cubicBezTo>
                      <a:cubicBezTo>
                        <a:pt x="76" y="104"/>
                        <a:pt x="76" y="104"/>
                        <a:pt x="76" y="104"/>
                      </a:cubicBezTo>
                      <a:cubicBezTo>
                        <a:pt x="67" y="104"/>
                        <a:pt x="67" y="104"/>
                        <a:pt x="67" y="104"/>
                      </a:cubicBezTo>
                      <a:cubicBezTo>
                        <a:pt x="60" y="109"/>
                        <a:pt x="60" y="109"/>
                        <a:pt x="60" y="109"/>
                      </a:cubicBezTo>
                      <a:cubicBezTo>
                        <a:pt x="53" y="110"/>
                        <a:pt x="53" y="110"/>
                        <a:pt x="53" y="110"/>
                      </a:cubicBezTo>
                      <a:cubicBezTo>
                        <a:pt x="45" y="111"/>
                        <a:pt x="45" y="111"/>
                        <a:pt x="45" y="111"/>
                      </a:cubicBezTo>
                      <a:cubicBezTo>
                        <a:pt x="44" y="111"/>
                        <a:pt x="44" y="111"/>
                        <a:pt x="44" y="111"/>
                      </a:cubicBezTo>
                      <a:cubicBezTo>
                        <a:pt x="43" y="112"/>
                        <a:pt x="43" y="112"/>
                        <a:pt x="43" y="112"/>
                      </a:cubicBezTo>
                      <a:cubicBezTo>
                        <a:pt x="40" y="114"/>
                        <a:pt x="40" y="114"/>
                        <a:pt x="40" y="114"/>
                      </a:cubicBezTo>
                      <a:cubicBezTo>
                        <a:pt x="40" y="115"/>
                        <a:pt x="40" y="115"/>
                        <a:pt x="40" y="115"/>
                      </a:cubicBezTo>
                      <a:cubicBezTo>
                        <a:pt x="38" y="117"/>
                        <a:pt x="38" y="117"/>
                        <a:pt x="38" y="117"/>
                      </a:cubicBezTo>
                      <a:cubicBezTo>
                        <a:pt x="37" y="122"/>
                        <a:pt x="37" y="122"/>
                        <a:pt x="37" y="122"/>
                      </a:cubicBezTo>
                      <a:cubicBezTo>
                        <a:pt x="36" y="124"/>
                        <a:pt x="34" y="126"/>
                        <a:pt x="33" y="128"/>
                      </a:cubicBezTo>
                      <a:cubicBezTo>
                        <a:pt x="33" y="128"/>
                        <a:pt x="33" y="128"/>
                        <a:pt x="33" y="128"/>
                      </a:cubicBezTo>
                      <a:cubicBezTo>
                        <a:pt x="33" y="128"/>
                        <a:pt x="30" y="127"/>
                        <a:pt x="30" y="129"/>
                      </a:cubicBezTo>
                      <a:cubicBezTo>
                        <a:pt x="30" y="130"/>
                        <a:pt x="30" y="130"/>
                        <a:pt x="30" y="130"/>
                      </a:cubicBezTo>
                      <a:cubicBezTo>
                        <a:pt x="27" y="131"/>
                        <a:pt x="22" y="129"/>
                        <a:pt x="22" y="129"/>
                      </a:cubicBezTo>
                      <a:cubicBezTo>
                        <a:pt x="17" y="132"/>
                        <a:pt x="17" y="132"/>
                        <a:pt x="17" y="132"/>
                      </a:cubicBezTo>
                      <a:cubicBezTo>
                        <a:pt x="17" y="133"/>
                        <a:pt x="17" y="134"/>
                        <a:pt x="18" y="134"/>
                      </a:cubicBezTo>
                      <a:cubicBezTo>
                        <a:pt x="19" y="135"/>
                        <a:pt x="19" y="135"/>
                        <a:pt x="19" y="136"/>
                      </a:cubicBezTo>
                      <a:cubicBezTo>
                        <a:pt x="20" y="136"/>
                        <a:pt x="20" y="137"/>
                        <a:pt x="20" y="137"/>
                      </a:cubicBezTo>
                      <a:cubicBezTo>
                        <a:pt x="22" y="142"/>
                        <a:pt x="22" y="142"/>
                        <a:pt x="22" y="142"/>
                      </a:cubicBezTo>
                      <a:cubicBezTo>
                        <a:pt x="22" y="146"/>
                        <a:pt x="22" y="146"/>
                        <a:pt x="22" y="146"/>
                      </a:cubicBezTo>
                      <a:cubicBezTo>
                        <a:pt x="22" y="146"/>
                        <a:pt x="22" y="149"/>
                        <a:pt x="24" y="149"/>
                      </a:cubicBezTo>
                      <a:cubicBezTo>
                        <a:pt x="26" y="149"/>
                        <a:pt x="27" y="150"/>
                        <a:pt x="27" y="152"/>
                      </a:cubicBezTo>
                      <a:cubicBezTo>
                        <a:pt x="27" y="154"/>
                        <a:pt x="32" y="156"/>
                        <a:pt x="32" y="156"/>
                      </a:cubicBezTo>
                      <a:cubicBezTo>
                        <a:pt x="32" y="156"/>
                        <a:pt x="32" y="160"/>
                        <a:pt x="33" y="161"/>
                      </a:cubicBezTo>
                      <a:cubicBezTo>
                        <a:pt x="35" y="162"/>
                        <a:pt x="37" y="163"/>
                        <a:pt x="40" y="163"/>
                      </a:cubicBezTo>
                      <a:cubicBezTo>
                        <a:pt x="43" y="164"/>
                        <a:pt x="42" y="168"/>
                        <a:pt x="44" y="169"/>
                      </a:cubicBezTo>
                      <a:cubicBezTo>
                        <a:pt x="46" y="170"/>
                        <a:pt x="48" y="172"/>
                        <a:pt x="46" y="172"/>
                      </a:cubicBezTo>
                      <a:cubicBezTo>
                        <a:pt x="45" y="173"/>
                        <a:pt x="42" y="173"/>
                        <a:pt x="42" y="173"/>
                      </a:cubicBezTo>
                      <a:cubicBezTo>
                        <a:pt x="42" y="173"/>
                        <a:pt x="41" y="174"/>
                        <a:pt x="41" y="176"/>
                      </a:cubicBezTo>
                      <a:cubicBezTo>
                        <a:pt x="42" y="177"/>
                        <a:pt x="42" y="177"/>
                        <a:pt x="42" y="177"/>
                      </a:cubicBezTo>
                      <a:cubicBezTo>
                        <a:pt x="46" y="182"/>
                        <a:pt x="46" y="182"/>
                        <a:pt x="46" y="182"/>
                      </a:cubicBezTo>
                      <a:cubicBezTo>
                        <a:pt x="46" y="188"/>
                        <a:pt x="46" y="188"/>
                        <a:pt x="46" y="188"/>
                      </a:cubicBezTo>
                      <a:cubicBezTo>
                        <a:pt x="46" y="188"/>
                        <a:pt x="46" y="190"/>
                        <a:pt x="46" y="192"/>
                      </a:cubicBezTo>
                      <a:cubicBezTo>
                        <a:pt x="46" y="193"/>
                        <a:pt x="45" y="195"/>
                        <a:pt x="43" y="195"/>
                      </a:cubicBezTo>
                      <a:cubicBezTo>
                        <a:pt x="43" y="195"/>
                        <a:pt x="43" y="195"/>
                        <a:pt x="43" y="195"/>
                      </a:cubicBezTo>
                      <a:cubicBezTo>
                        <a:pt x="43" y="195"/>
                        <a:pt x="43" y="195"/>
                        <a:pt x="43" y="195"/>
                      </a:cubicBezTo>
                      <a:cubicBezTo>
                        <a:pt x="42" y="195"/>
                        <a:pt x="42" y="195"/>
                        <a:pt x="42" y="195"/>
                      </a:cubicBezTo>
                      <a:cubicBezTo>
                        <a:pt x="41" y="196"/>
                        <a:pt x="41" y="198"/>
                        <a:pt x="40" y="198"/>
                      </a:cubicBezTo>
                      <a:cubicBezTo>
                        <a:pt x="39" y="199"/>
                        <a:pt x="37" y="196"/>
                        <a:pt x="36" y="199"/>
                      </a:cubicBezTo>
                      <a:cubicBezTo>
                        <a:pt x="35" y="203"/>
                        <a:pt x="33" y="206"/>
                        <a:pt x="33" y="207"/>
                      </a:cubicBezTo>
                      <a:cubicBezTo>
                        <a:pt x="32" y="208"/>
                        <a:pt x="29" y="209"/>
                        <a:pt x="29" y="211"/>
                      </a:cubicBezTo>
                      <a:cubicBezTo>
                        <a:pt x="28" y="213"/>
                        <a:pt x="28" y="211"/>
                        <a:pt x="26" y="216"/>
                      </a:cubicBezTo>
                      <a:cubicBezTo>
                        <a:pt x="24" y="221"/>
                        <a:pt x="23" y="223"/>
                        <a:pt x="23" y="223"/>
                      </a:cubicBezTo>
                      <a:cubicBezTo>
                        <a:pt x="14" y="235"/>
                        <a:pt x="14" y="235"/>
                        <a:pt x="14" y="235"/>
                      </a:cubicBezTo>
                      <a:cubicBezTo>
                        <a:pt x="14" y="235"/>
                        <a:pt x="9" y="243"/>
                        <a:pt x="9" y="244"/>
                      </a:cubicBezTo>
                      <a:cubicBezTo>
                        <a:pt x="9" y="245"/>
                        <a:pt x="9" y="249"/>
                        <a:pt x="9" y="249"/>
                      </a:cubicBezTo>
                      <a:cubicBezTo>
                        <a:pt x="13" y="253"/>
                        <a:pt x="13" y="253"/>
                        <a:pt x="13" y="253"/>
                      </a:cubicBezTo>
                      <a:cubicBezTo>
                        <a:pt x="13" y="257"/>
                        <a:pt x="13" y="257"/>
                        <a:pt x="13" y="257"/>
                      </a:cubicBezTo>
                      <a:cubicBezTo>
                        <a:pt x="13" y="257"/>
                        <a:pt x="13" y="260"/>
                        <a:pt x="14" y="261"/>
                      </a:cubicBezTo>
                      <a:cubicBezTo>
                        <a:pt x="15" y="261"/>
                        <a:pt x="15" y="261"/>
                        <a:pt x="15" y="261"/>
                      </a:cubicBezTo>
                      <a:cubicBezTo>
                        <a:pt x="14" y="264"/>
                        <a:pt x="14" y="264"/>
                        <a:pt x="14" y="264"/>
                      </a:cubicBezTo>
                      <a:cubicBezTo>
                        <a:pt x="14" y="264"/>
                        <a:pt x="15" y="267"/>
                        <a:pt x="16" y="267"/>
                      </a:cubicBezTo>
                      <a:cubicBezTo>
                        <a:pt x="16" y="267"/>
                        <a:pt x="18" y="268"/>
                        <a:pt x="18" y="268"/>
                      </a:cubicBezTo>
                      <a:cubicBezTo>
                        <a:pt x="18" y="268"/>
                        <a:pt x="20" y="270"/>
                        <a:pt x="20" y="270"/>
                      </a:cubicBezTo>
                      <a:cubicBezTo>
                        <a:pt x="21" y="271"/>
                        <a:pt x="20" y="273"/>
                        <a:pt x="20" y="273"/>
                      </a:cubicBezTo>
                      <a:cubicBezTo>
                        <a:pt x="20" y="273"/>
                        <a:pt x="20" y="274"/>
                        <a:pt x="19" y="274"/>
                      </a:cubicBezTo>
                      <a:cubicBezTo>
                        <a:pt x="18" y="274"/>
                        <a:pt x="18" y="274"/>
                        <a:pt x="16" y="274"/>
                      </a:cubicBezTo>
                      <a:cubicBezTo>
                        <a:pt x="16" y="273"/>
                        <a:pt x="16" y="273"/>
                        <a:pt x="15" y="273"/>
                      </a:cubicBezTo>
                      <a:cubicBezTo>
                        <a:pt x="13" y="273"/>
                        <a:pt x="13" y="273"/>
                        <a:pt x="13" y="273"/>
                      </a:cubicBezTo>
                      <a:cubicBezTo>
                        <a:pt x="12" y="273"/>
                        <a:pt x="12" y="273"/>
                        <a:pt x="11" y="273"/>
                      </a:cubicBezTo>
                      <a:cubicBezTo>
                        <a:pt x="10" y="273"/>
                        <a:pt x="10" y="273"/>
                        <a:pt x="10" y="273"/>
                      </a:cubicBezTo>
                      <a:cubicBezTo>
                        <a:pt x="9" y="273"/>
                        <a:pt x="9" y="273"/>
                        <a:pt x="8" y="274"/>
                      </a:cubicBezTo>
                      <a:cubicBezTo>
                        <a:pt x="8" y="275"/>
                        <a:pt x="8" y="275"/>
                        <a:pt x="8" y="275"/>
                      </a:cubicBezTo>
                      <a:cubicBezTo>
                        <a:pt x="8" y="275"/>
                        <a:pt x="7" y="276"/>
                        <a:pt x="7" y="277"/>
                      </a:cubicBezTo>
                      <a:cubicBezTo>
                        <a:pt x="6" y="277"/>
                        <a:pt x="6" y="279"/>
                        <a:pt x="6" y="279"/>
                      </a:cubicBezTo>
                      <a:cubicBezTo>
                        <a:pt x="6" y="279"/>
                        <a:pt x="6" y="280"/>
                        <a:pt x="6" y="280"/>
                      </a:cubicBezTo>
                      <a:cubicBezTo>
                        <a:pt x="6" y="280"/>
                        <a:pt x="6" y="282"/>
                        <a:pt x="6" y="282"/>
                      </a:cubicBezTo>
                      <a:cubicBezTo>
                        <a:pt x="5" y="284"/>
                        <a:pt x="5" y="284"/>
                        <a:pt x="5" y="284"/>
                      </a:cubicBezTo>
                      <a:cubicBezTo>
                        <a:pt x="5" y="284"/>
                        <a:pt x="4" y="285"/>
                        <a:pt x="5" y="286"/>
                      </a:cubicBezTo>
                      <a:cubicBezTo>
                        <a:pt x="5" y="286"/>
                        <a:pt x="5" y="287"/>
                        <a:pt x="5" y="287"/>
                      </a:cubicBezTo>
                      <a:cubicBezTo>
                        <a:pt x="6" y="288"/>
                        <a:pt x="6" y="288"/>
                        <a:pt x="6" y="288"/>
                      </a:cubicBezTo>
                      <a:cubicBezTo>
                        <a:pt x="4" y="290"/>
                        <a:pt x="4" y="290"/>
                        <a:pt x="4" y="290"/>
                      </a:cubicBezTo>
                      <a:cubicBezTo>
                        <a:pt x="4" y="292"/>
                        <a:pt x="4" y="292"/>
                        <a:pt x="4" y="292"/>
                      </a:cubicBezTo>
                      <a:cubicBezTo>
                        <a:pt x="4" y="292"/>
                        <a:pt x="5" y="293"/>
                        <a:pt x="4" y="294"/>
                      </a:cubicBezTo>
                      <a:cubicBezTo>
                        <a:pt x="4" y="294"/>
                        <a:pt x="3" y="295"/>
                        <a:pt x="3" y="295"/>
                      </a:cubicBezTo>
                      <a:cubicBezTo>
                        <a:pt x="3" y="295"/>
                        <a:pt x="1" y="297"/>
                        <a:pt x="1" y="297"/>
                      </a:cubicBezTo>
                      <a:cubicBezTo>
                        <a:pt x="1" y="297"/>
                        <a:pt x="1" y="298"/>
                        <a:pt x="1" y="298"/>
                      </a:cubicBezTo>
                      <a:cubicBezTo>
                        <a:pt x="1" y="298"/>
                        <a:pt x="0" y="300"/>
                        <a:pt x="0" y="300"/>
                      </a:cubicBezTo>
                      <a:cubicBezTo>
                        <a:pt x="0" y="300"/>
                        <a:pt x="0" y="303"/>
                        <a:pt x="0" y="303"/>
                      </a:cubicBezTo>
                      <a:cubicBezTo>
                        <a:pt x="0" y="303"/>
                        <a:pt x="1" y="304"/>
                        <a:pt x="1" y="304"/>
                      </a:cubicBezTo>
                      <a:cubicBezTo>
                        <a:pt x="1" y="304"/>
                        <a:pt x="1" y="305"/>
                        <a:pt x="1" y="306"/>
                      </a:cubicBezTo>
                      <a:cubicBezTo>
                        <a:pt x="0" y="306"/>
                        <a:pt x="1" y="307"/>
                        <a:pt x="1" y="308"/>
                      </a:cubicBezTo>
                      <a:cubicBezTo>
                        <a:pt x="1" y="308"/>
                        <a:pt x="1" y="309"/>
                        <a:pt x="1" y="309"/>
                      </a:cubicBezTo>
                      <a:cubicBezTo>
                        <a:pt x="0" y="311"/>
                        <a:pt x="0" y="311"/>
                        <a:pt x="0" y="311"/>
                      </a:cubicBezTo>
                      <a:cubicBezTo>
                        <a:pt x="0" y="311"/>
                        <a:pt x="0" y="311"/>
                        <a:pt x="0" y="311"/>
                      </a:cubicBezTo>
                      <a:cubicBezTo>
                        <a:pt x="0" y="312"/>
                        <a:pt x="0" y="312"/>
                        <a:pt x="0" y="312"/>
                      </a:cubicBezTo>
                      <a:cubicBezTo>
                        <a:pt x="0" y="314"/>
                        <a:pt x="0" y="314"/>
                        <a:pt x="0" y="314"/>
                      </a:cubicBezTo>
                      <a:cubicBezTo>
                        <a:pt x="2" y="314"/>
                        <a:pt x="2" y="314"/>
                        <a:pt x="2" y="314"/>
                      </a:cubicBezTo>
                      <a:cubicBezTo>
                        <a:pt x="3" y="313"/>
                        <a:pt x="3" y="313"/>
                        <a:pt x="3" y="313"/>
                      </a:cubicBezTo>
                      <a:cubicBezTo>
                        <a:pt x="8" y="311"/>
                        <a:pt x="8" y="311"/>
                        <a:pt x="8" y="311"/>
                      </a:cubicBezTo>
                      <a:cubicBezTo>
                        <a:pt x="11" y="314"/>
                        <a:pt x="11" y="314"/>
                        <a:pt x="11" y="314"/>
                      </a:cubicBezTo>
                      <a:cubicBezTo>
                        <a:pt x="14" y="317"/>
                        <a:pt x="14" y="317"/>
                        <a:pt x="14" y="317"/>
                      </a:cubicBezTo>
                      <a:cubicBezTo>
                        <a:pt x="19" y="317"/>
                        <a:pt x="19" y="317"/>
                        <a:pt x="19" y="317"/>
                      </a:cubicBezTo>
                      <a:cubicBezTo>
                        <a:pt x="22" y="321"/>
                        <a:pt x="22" y="321"/>
                        <a:pt x="22" y="321"/>
                      </a:cubicBezTo>
                      <a:cubicBezTo>
                        <a:pt x="25" y="324"/>
                        <a:pt x="25" y="324"/>
                        <a:pt x="25" y="324"/>
                      </a:cubicBezTo>
                      <a:cubicBezTo>
                        <a:pt x="30" y="323"/>
                        <a:pt x="30" y="323"/>
                        <a:pt x="30" y="323"/>
                      </a:cubicBezTo>
                      <a:cubicBezTo>
                        <a:pt x="35" y="326"/>
                        <a:pt x="35" y="326"/>
                        <a:pt x="35" y="326"/>
                      </a:cubicBezTo>
                      <a:cubicBezTo>
                        <a:pt x="34" y="329"/>
                        <a:pt x="34" y="329"/>
                        <a:pt x="34" y="329"/>
                      </a:cubicBezTo>
                      <a:cubicBezTo>
                        <a:pt x="34" y="329"/>
                        <a:pt x="38" y="324"/>
                        <a:pt x="39" y="323"/>
                      </a:cubicBezTo>
                      <a:cubicBezTo>
                        <a:pt x="40" y="322"/>
                        <a:pt x="44" y="321"/>
                        <a:pt x="44" y="321"/>
                      </a:cubicBezTo>
                      <a:cubicBezTo>
                        <a:pt x="44" y="321"/>
                        <a:pt x="46" y="323"/>
                        <a:pt x="48" y="324"/>
                      </a:cubicBezTo>
                      <a:cubicBezTo>
                        <a:pt x="51" y="324"/>
                        <a:pt x="51" y="324"/>
                        <a:pt x="51" y="324"/>
                      </a:cubicBezTo>
                      <a:cubicBezTo>
                        <a:pt x="53" y="324"/>
                        <a:pt x="61" y="323"/>
                        <a:pt x="61" y="323"/>
                      </a:cubicBezTo>
                      <a:cubicBezTo>
                        <a:pt x="72" y="324"/>
                        <a:pt x="72" y="324"/>
                        <a:pt x="72" y="324"/>
                      </a:cubicBezTo>
                      <a:cubicBezTo>
                        <a:pt x="78" y="321"/>
                        <a:pt x="78" y="321"/>
                        <a:pt x="78" y="321"/>
                      </a:cubicBezTo>
                      <a:cubicBezTo>
                        <a:pt x="90" y="322"/>
                        <a:pt x="90" y="322"/>
                        <a:pt x="90" y="322"/>
                      </a:cubicBezTo>
                      <a:cubicBezTo>
                        <a:pt x="92" y="321"/>
                        <a:pt x="92" y="321"/>
                        <a:pt x="92" y="321"/>
                      </a:cubicBezTo>
                      <a:cubicBezTo>
                        <a:pt x="93" y="322"/>
                        <a:pt x="93" y="322"/>
                        <a:pt x="93" y="322"/>
                      </a:cubicBezTo>
                      <a:cubicBezTo>
                        <a:pt x="97" y="321"/>
                        <a:pt x="97" y="321"/>
                        <a:pt x="97" y="321"/>
                      </a:cubicBezTo>
                      <a:cubicBezTo>
                        <a:pt x="101" y="325"/>
                        <a:pt x="101" y="325"/>
                        <a:pt x="101" y="325"/>
                      </a:cubicBezTo>
                      <a:cubicBezTo>
                        <a:pt x="109" y="324"/>
                        <a:pt x="109" y="324"/>
                        <a:pt x="109" y="324"/>
                      </a:cubicBezTo>
                      <a:cubicBezTo>
                        <a:pt x="114" y="317"/>
                        <a:pt x="114" y="317"/>
                        <a:pt x="114" y="317"/>
                      </a:cubicBezTo>
                      <a:cubicBezTo>
                        <a:pt x="114" y="317"/>
                        <a:pt x="117" y="314"/>
                        <a:pt x="121" y="313"/>
                      </a:cubicBezTo>
                      <a:cubicBezTo>
                        <a:pt x="125" y="313"/>
                        <a:pt x="132" y="310"/>
                        <a:pt x="132" y="310"/>
                      </a:cubicBezTo>
                      <a:lnTo>
                        <a:pt x="141" y="305"/>
                      </a:lnTo>
                      <a:close/>
                    </a:path>
                  </a:pathLst>
                </a:custGeom>
                <a:solidFill>
                  <a:srgbClr val="E6EFF1"/>
                </a:solidFill>
                <a:ln w="12700" cap="rnd" cmpd="sng">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Lato Light"/>
                  </a:endParaRPr>
                </a:p>
              </p:txBody>
            </p:sp>
            <p:sp>
              <p:nvSpPr>
                <p:cNvPr id="236" name="Freeform 92">
                  <a:extLst>
                    <a:ext uri="{FF2B5EF4-FFF2-40B4-BE49-F238E27FC236}">
                      <a16:creationId xmlns:a16="http://schemas.microsoft.com/office/drawing/2014/main" id="{B0FB2027-64D4-75F0-485F-A89C13D9E993}"/>
                    </a:ext>
                  </a:extLst>
                </p:cNvPr>
                <p:cNvSpPr>
                  <a:spLocks noEditPoints="1"/>
                </p:cNvSpPr>
                <p:nvPr/>
              </p:nvSpPr>
              <p:spPr bwMode="auto">
                <a:xfrm>
                  <a:off x="3997416" y="1144429"/>
                  <a:ext cx="812686" cy="2141063"/>
                </a:xfrm>
                <a:custGeom>
                  <a:avLst/>
                  <a:gdLst>
                    <a:gd name="T0" fmla="*/ 246 w 282"/>
                    <a:gd name="T1" fmla="*/ 59 h 766"/>
                    <a:gd name="T2" fmla="*/ 210 w 282"/>
                    <a:gd name="T3" fmla="*/ 30 h 766"/>
                    <a:gd name="T4" fmla="*/ 183 w 282"/>
                    <a:gd name="T5" fmla="*/ 8 h 766"/>
                    <a:gd name="T6" fmla="*/ 167 w 282"/>
                    <a:gd name="T7" fmla="*/ 32 h 766"/>
                    <a:gd name="T8" fmla="*/ 123 w 282"/>
                    <a:gd name="T9" fmla="*/ 69 h 766"/>
                    <a:gd name="T10" fmla="*/ 100 w 282"/>
                    <a:gd name="T11" fmla="*/ 111 h 766"/>
                    <a:gd name="T12" fmla="*/ 65 w 282"/>
                    <a:gd name="T13" fmla="*/ 180 h 766"/>
                    <a:gd name="T14" fmla="*/ 52 w 282"/>
                    <a:gd name="T15" fmla="*/ 265 h 766"/>
                    <a:gd name="T16" fmla="*/ 15 w 282"/>
                    <a:gd name="T17" fmla="*/ 333 h 766"/>
                    <a:gd name="T18" fmla="*/ 25 w 282"/>
                    <a:gd name="T19" fmla="*/ 418 h 766"/>
                    <a:gd name="T20" fmla="*/ 27 w 282"/>
                    <a:gd name="T21" fmla="*/ 466 h 766"/>
                    <a:gd name="T22" fmla="*/ 29 w 282"/>
                    <a:gd name="T23" fmla="*/ 515 h 766"/>
                    <a:gd name="T24" fmla="*/ 13 w 282"/>
                    <a:gd name="T25" fmla="*/ 535 h 766"/>
                    <a:gd name="T26" fmla="*/ 8 w 282"/>
                    <a:gd name="T27" fmla="*/ 567 h 766"/>
                    <a:gd name="T28" fmla="*/ 10 w 282"/>
                    <a:gd name="T29" fmla="*/ 603 h 766"/>
                    <a:gd name="T30" fmla="*/ 12 w 282"/>
                    <a:gd name="T31" fmla="*/ 616 h 766"/>
                    <a:gd name="T32" fmla="*/ 19 w 282"/>
                    <a:gd name="T33" fmla="*/ 636 h 766"/>
                    <a:gd name="T34" fmla="*/ 25 w 282"/>
                    <a:gd name="T35" fmla="*/ 655 h 766"/>
                    <a:gd name="T36" fmla="*/ 46 w 282"/>
                    <a:gd name="T37" fmla="*/ 685 h 766"/>
                    <a:gd name="T38" fmla="*/ 50 w 282"/>
                    <a:gd name="T39" fmla="*/ 705 h 766"/>
                    <a:gd name="T40" fmla="*/ 60 w 282"/>
                    <a:gd name="T41" fmla="*/ 739 h 766"/>
                    <a:gd name="T42" fmla="*/ 64 w 282"/>
                    <a:gd name="T43" fmla="*/ 764 h 766"/>
                    <a:gd name="T44" fmla="*/ 93 w 282"/>
                    <a:gd name="T45" fmla="*/ 758 h 766"/>
                    <a:gd name="T46" fmla="*/ 107 w 282"/>
                    <a:gd name="T47" fmla="*/ 752 h 766"/>
                    <a:gd name="T48" fmla="*/ 114 w 282"/>
                    <a:gd name="T49" fmla="*/ 729 h 766"/>
                    <a:gd name="T50" fmla="*/ 122 w 282"/>
                    <a:gd name="T51" fmla="*/ 717 h 766"/>
                    <a:gd name="T52" fmla="*/ 158 w 282"/>
                    <a:gd name="T53" fmla="*/ 688 h 766"/>
                    <a:gd name="T54" fmla="*/ 165 w 282"/>
                    <a:gd name="T55" fmla="*/ 629 h 766"/>
                    <a:gd name="T56" fmla="*/ 163 w 282"/>
                    <a:gd name="T57" fmla="*/ 590 h 766"/>
                    <a:gd name="T58" fmla="*/ 182 w 282"/>
                    <a:gd name="T59" fmla="*/ 559 h 766"/>
                    <a:gd name="T60" fmla="*/ 191 w 282"/>
                    <a:gd name="T61" fmla="*/ 558 h 766"/>
                    <a:gd name="T62" fmla="*/ 205 w 282"/>
                    <a:gd name="T63" fmla="*/ 541 h 766"/>
                    <a:gd name="T64" fmla="*/ 207 w 282"/>
                    <a:gd name="T65" fmla="*/ 514 h 766"/>
                    <a:gd name="T66" fmla="*/ 199 w 282"/>
                    <a:gd name="T67" fmla="*/ 493 h 766"/>
                    <a:gd name="T68" fmla="*/ 180 w 282"/>
                    <a:gd name="T69" fmla="*/ 467 h 766"/>
                    <a:gd name="T70" fmla="*/ 161 w 282"/>
                    <a:gd name="T71" fmla="*/ 459 h 766"/>
                    <a:gd name="T72" fmla="*/ 151 w 282"/>
                    <a:gd name="T73" fmla="*/ 424 h 766"/>
                    <a:gd name="T74" fmla="*/ 157 w 282"/>
                    <a:gd name="T75" fmla="*/ 407 h 766"/>
                    <a:gd name="T76" fmla="*/ 154 w 282"/>
                    <a:gd name="T77" fmla="*/ 369 h 766"/>
                    <a:gd name="T78" fmla="*/ 168 w 282"/>
                    <a:gd name="T79" fmla="*/ 350 h 766"/>
                    <a:gd name="T80" fmla="*/ 182 w 282"/>
                    <a:gd name="T81" fmla="*/ 325 h 766"/>
                    <a:gd name="T82" fmla="*/ 196 w 282"/>
                    <a:gd name="T83" fmla="*/ 307 h 766"/>
                    <a:gd name="T84" fmla="*/ 210 w 282"/>
                    <a:gd name="T85" fmla="*/ 295 h 766"/>
                    <a:gd name="T86" fmla="*/ 225 w 282"/>
                    <a:gd name="T87" fmla="*/ 266 h 766"/>
                    <a:gd name="T88" fmla="*/ 229 w 282"/>
                    <a:gd name="T89" fmla="*/ 238 h 766"/>
                    <a:gd name="T90" fmla="*/ 225 w 282"/>
                    <a:gd name="T91" fmla="*/ 219 h 766"/>
                    <a:gd name="T92" fmla="*/ 229 w 282"/>
                    <a:gd name="T93" fmla="*/ 198 h 766"/>
                    <a:gd name="T94" fmla="*/ 242 w 282"/>
                    <a:gd name="T95" fmla="*/ 187 h 766"/>
                    <a:gd name="T96" fmla="*/ 258 w 282"/>
                    <a:gd name="T97" fmla="*/ 170 h 766"/>
                    <a:gd name="T98" fmla="*/ 269 w 282"/>
                    <a:gd name="T99" fmla="*/ 173 h 766"/>
                    <a:gd name="T100" fmla="*/ 275 w 282"/>
                    <a:gd name="T101" fmla="*/ 169 h 766"/>
                    <a:gd name="T102" fmla="*/ 279 w 282"/>
                    <a:gd name="T103" fmla="*/ 165 h 766"/>
                    <a:gd name="T104" fmla="*/ 266 w 282"/>
                    <a:gd name="T105" fmla="*/ 119 h 766"/>
                    <a:gd name="T106" fmla="*/ 164 w 282"/>
                    <a:gd name="T107" fmla="*/ 699 h 766"/>
                    <a:gd name="T108" fmla="*/ 174 w 282"/>
                    <a:gd name="T109" fmla="*/ 650 h 766"/>
                    <a:gd name="T110" fmla="*/ 175 w 282"/>
                    <a:gd name="T111" fmla="*/ 673 h 766"/>
                    <a:gd name="T112" fmla="*/ 165 w 282"/>
                    <a:gd name="T113" fmla="*/ 710 h 766"/>
                    <a:gd name="T114" fmla="*/ 210 w 282"/>
                    <a:gd name="T115" fmla="*/ 625 h 766"/>
                    <a:gd name="T116" fmla="*/ 229 w 282"/>
                    <a:gd name="T117" fmla="*/ 607 h 766"/>
                    <a:gd name="T118" fmla="*/ 224 w 282"/>
                    <a:gd name="T119" fmla="*/ 631 h 766"/>
                    <a:gd name="T120" fmla="*/ 216 w 282"/>
                    <a:gd name="T121" fmla="*/ 660 h 7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82" h="766">
                      <a:moveTo>
                        <a:pt x="255" y="88"/>
                      </a:moveTo>
                      <a:cubicBezTo>
                        <a:pt x="255" y="87"/>
                        <a:pt x="255" y="87"/>
                        <a:pt x="255" y="87"/>
                      </a:cubicBezTo>
                      <a:cubicBezTo>
                        <a:pt x="255" y="87"/>
                        <a:pt x="253" y="83"/>
                        <a:pt x="254" y="81"/>
                      </a:cubicBezTo>
                      <a:cubicBezTo>
                        <a:pt x="254" y="81"/>
                        <a:pt x="254" y="81"/>
                        <a:pt x="254" y="80"/>
                      </a:cubicBezTo>
                      <a:cubicBezTo>
                        <a:pt x="254" y="79"/>
                        <a:pt x="254" y="79"/>
                        <a:pt x="254" y="79"/>
                      </a:cubicBezTo>
                      <a:cubicBezTo>
                        <a:pt x="250" y="80"/>
                        <a:pt x="250" y="80"/>
                        <a:pt x="250" y="80"/>
                      </a:cubicBezTo>
                      <a:cubicBezTo>
                        <a:pt x="247" y="76"/>
                        <a:pt x="247" y="76"/>
                        <a:pt x="247" y="76"/>
                      </a:cubicBezTo>
                      <a:cubicBezTo>
                        <a:pt x="248" y="71"/>
                        <a:pt x="248" y="71"/>
                        <a:pt x="248" y="71"/>
                      </a:cubicBezTo>
                      <a:cubicBezTo>
                        <a:pt x="246" y="59"/>
                        <a:pt x="246" y="59"/>
                        <a:pt x="246" y="59"/>
                      </a:cubicBezTo>
                      <a:cubicBezTo>
                        <a:pt x="248" y="53"/>
                        <a:pt x="248" y="53"/>
                        <a:pt x="248" y="53"/>
                      </a:cubicBezTo>
                      <a:cubicBezTo>
                        <a:pt x="242" y="50"/>
                        <a:pt x="242" y="50"/>
                        <a:pt x="242" y="50"/>
                      </a:cubicBezTo>
                      <a:cubicBezTo>
                        <a:pt x="238" y="44"/>
                        <a:pt x="238" y="44"/>
                        <a:pt x="238" y="44"/>
                      </a:cubicBezTo>
                      <a:cubicBezTo>
                        <a:pt x="238" y="44"/>
                        <a:pt x="237" y="46"/>
                        <a:pt x="236" y="45"/>
                      </a:cubicBezTo>
                      <a:cubicBezTo>
                        <a:pt x="235" y="44"/>
                        <a:pt x="230" y="36"/>
                        <a:pt x="230" y="36"/>
                      </a:cubicBezTo>
                      <a:cubicBezTo>
                        <a:pt x="221" y="33"/>
                        <a:pt x="221" y="33"/>
                        <a:pt x="221" y="33"/>
                      </a:cubicBezTo>
                      <a:cubicBezTo>
                        <a:pt x="217" y="31"/>
                        <a:pt x="217" y="31"/>
                        <a:pt x="217" y="31"/>
                      </a:cubicBezTo>
                      <a:cubicBezTo>
                        <a:pt x="212" y="30"/>
                        <a:pt x="212" y="30"/>
                        <a:pt x="212" y="30"/>
                      </a:cubicBezTo>
                      <a:cubicBezTo>
                        <a:pt x="212" y="30"/>
                        <a:pt x="211" y="32"/>
                        <a:pt x="210" y="30"/>
                      </a:cubicBezTo>
                      <a:cubicBezTo>
                        <a:pt x="209" y="28"/>
                        <a:pt x="207" y="26"/>
                        <a:pt x="207" y="26"/>
                      </a:cubicBezTo>
                      <a:cubicBezTo>
                        <a:pt x="203" y="27"/>
                        <a:pt x="203" y="27"/>
                        <a:pt x="203" y="27"/>
                      </a:cubicBezTo>
                      <a:cubicBezTo>
                        <a:pt x="200" y="23"/>
                        <a:pt x="200" y="23"/>
                        <a:pt x="200" y="23"/>
                      </a:cubicBezTo>
                      <a:cubicBezTo>
                        <a:pt x="200" y="23"/>
                        <a:pt x="199" y="23"/>
                        <a:pt x="198" y="23"/>
                      </a:cubicBezTo>
                      <a:cubicBezTo>
                        <a:pt x="197" y="22"/>
                        <a:pt x="195" y="21"/>
                        <a:pt x="195" y="21"/>
                      </a:cubicBezTo>
                      <a:cubicBezTo>
                        <a:pt x="192" y="16"/>
                        <a:pt x="192" y="16"/>
                        <a:pt x="192" y="16"/>
                      </a:cubicBezTo>
                      <a:cubicBezTo>
                        <a:pt x="188" y="14"/>
                        <a:pt x="188" y="14"/>
                        <a:pt x="188" y="14"/>
                      </a:cubicBezTo>
                      <a:cubicBezTo>
                        <a:pt x="183" y="12"/>
                        <a:pt x="183" y="12"/>
                        <a:pt x="183" y="12"/>
                      </a:cubicBezTo>
                      <a:cubicBezTo>
                        <a:pt x="183" y="8"/>
                        <a:pt x="183" y="8"/>
                        <a:pt x="183" y="8"/>
                      </a:cubicBezTo>
                      <a:cubicBezTo>
                        <a:pt x="176" y="4"/>
                        <a:pt x="176" y="4"/>
                        <a:pt x="176" y="4"/>
                      </a:cubicBezTo>
                      <a:cubicBezTo>
                        <a:pt x="176" y="4"/>
                        <a:pt x="175" y="2"/>
                        <a:pt x="176" y="2"/>
                      </a:cubicBezTo>
                      <a:cubicBezTo>
                        <a:pt x="177" y="1"/>
                        <a:pt x="180" y="1"/>
                        <a:pt x="182" y="1"/>
                      </a:cubicBezTo>
                      <a:cubicBezTo>
                        <a:pt x="177" y="0"/>
                        <a:pt x="177" y="0"/>
                        <a:pt x="177" y="0"/>
                      </a:cubicBezTo>
                      <a:cubicBezTo>
                        <a:pt x="171" y="5"/>
                        <a:pt x="171" y="5"/>
                        <a:pt x="171" y="5"/>
                      </a:cubicBezTo>
                      <a:cubicBezTo>
                        <a:pt x="168" y="5"/>
                        <a:pt x="168" y="5"/>
                        <a:pt x="168" y="5"/>
                      </a:cubicBezTo>
                      <a:cubicBezTo>
                        <a:pt x="168" y="5"/>
                        <a:pt x="166" y="6"/>
                        <a:pt x="166" y="7"/>
                      </a:cubicBezTo>
                      <a:cubicBezTo>
                        <a:pt x="167" y="8"/>
                        <a:pt x="169" y="17"/>
                        <a:pt x="170" y="19"/>
                      </a:cubicBezTo>
                      <a:cubicBezTo>
                        <a:pt x="171" y="20"/>
                        <a:pt x="171" y="27"/>
                        <a:pt x="167" y="32"/>
                      </a:cubicBezTo>
                      <a:cubicBezTo>
                        <a:pt x="171" y="36"/>
                        <a:pt x="171" y="36"/>
                        <a:pt x="171" y="36"/>
                      </a:cubicBezTo>
                      <a:cubicBezTo>
                        <a:pt x="167" y="41"/>
                        <a:pt x="167" y="41"/>
                        <a:pt x="167" y="41"/>
                      </a:cubicBezTo>
                      <a:cubicBezTo>
                        <a:pt x="161" y="42"/>
                        <a:pt x="161" y="42"/>
                        <a:pt x="161" y="42"/>
                      </a:cubicBezTo>
                      <a:cubicBezTo>
                        <a:pt x="161" y="42"/>
                        <a:pt x="155" y="41"/>
                        <a:pt x="154" y="40"/>
                      </a:cubicBezTo>
                      <a:cubicBezTo>
                        <a:pt x="153" y="39"/>
                        <a:pt x="148" y="37"/>
                        <a:pt x="147" y="37"/>
                      </a:cubicBezTo>
                      <a:cubicBezTo>
                        <a:pt x="145" y="38"/>
                        <a:pt x="131" y="37"/>
                        <a:pt x="131" y="37"/>
                      </a:cubicBezTo>
                      <a:cubicBezTo>
                        <a:pt x="128" y="41"/>
                        <a:pt x="129" y="62"/>
                        <a:pt x="130" y="65"/>
                      </a:cubicBezTo>
                      <a:cubicBezTo>
                        <a:pt x="128" y="69"/>
                        <a:pt x="128" y="69"/>
                        <a:pt x="128" y="69"/>
                      </a:cubicBezTo>
                      <a:cubicBezTo>
                        <a:pt x="123" y="69"/>
                        <a:pt x="123" y="69"/>
                        <a:pt x="123" y="69"/>
                      </a:cubicBezTo>
                      <a:cubicBezTo>
                        <a:pt x="113" y="64"/>
                        <a:pt x="113" y="64"/>
                        <a:pt x="113" y="64"/>
                      </a:cubicBezTo>
                      <a:cubicBezTo>
                        <a:pt x="109" y="72"/>
                        <a:pt x="109" y="72"/>
                        <a:pt x="109" y="72"/>
                      </a:cubicBezTo>
                      <a:cubicBezTo>
                        <a:pt x="109" y="72"/>
                        <a:pt x="105" y="76"/>
                        <a:pt x="105" y="78"/>
                      </a:cubicBezTo>
                      <a:cubicBezTo>
                        <a:pt x="105" y="79"/>
                        <a:pt x="103" y="83"/>
                        <a:pt x="103" y="83"/>
                      </a:cubicBezTo>
                      <a:cubicBezTo>
                        <a:pt x="103" y="84"/>
                        <a:pt x="103" y="91"/>
                        <a:pt x="103" y="91"/>
                      </a:cubicBezTo>
                      <a:cubicBezTo>
                        <a:pt x="101" y="95"/>
                        <a:pt x="101" y="95"/>
                        <a:pt x="101" y="95"/>
                      </a:cubicBezTo>
                      <a:cubicBezTo>
                        <a:pt x="95" y="99"/>
                        <a:pt x="95" y="99"/>
                        <a:pt x="95" y="99"/>
                      </a:cubicBezTo>
                      <a:cubicBezTo>
                        <a:pt x="95" y="104"/>
                        <a:pt x="95" y="104"/>
                        <a:pt x="95" y="104"/>
                      </a:cubicBezTo>
                      <a:cubicBezTo>
                        <a:pt x="95" y="104"/>
                        <a:pt x="98" y="110"/>
                        <a:pt x="100" y="111"/>
                      </a:cubicBezTo>
                      <a:cubicBezTo>
                        <a:pt x="101" y="113"/>
                        <a:pt x="103" y="121"/>
                        <a:pt x="103" y="121"/>
                      </a:cubicBezTo>
                      <a:cubicBezTo>
                        <a:pt x="103" y="121"/>
                        <a:pt x="100" y="128"/>
                        <a:pt x="99" y="130"/>
                      </a:cubicBezTo>
                      <a:cubicBezTo>
                        <a:pt x="98" y="132"/>
                        <a:pt x="90" y="142"/>
                        <a:pt x="90" y="142"/>
                      </a:cubicBezTo>
                      <a:cubicBezTo>
                        <a:pt x="85" y="155"/>
                        <a:pt x="85" y="155"/>
                        <a:pt x="85" y="155"/>
                      </a:cubicBezTo>
                      <a:cubicBezTo>
                        <a:pt x="85" y="164"/>
                        <a:pt x="85" y="164"/>
                        <a:pt x="85" y="164"/>
                      </a:cubicBezTo>
                      <a:cubicBezTo>
                        <a:pt x="84" y="169"/>
                        <a:pt x="84" y="169"/>
                        <a:pt x="84" y="169"/>
                      </a:cubicBezTo>
                      <a:cubicBezTo>
                        <a:pt x="77" y="176"/>
                        <a:pt x="77" y="176"/>
                        <a:pt x="77" y="176"/>
                      </a:cubicBezTo>
                      <a:cubicBezTo>
                        <a:pt x="68" y="177"/>
                        <a:pt x="68" y="177"/>
                        <a:pt x="68" y="177"/>
                      </a:cubicBezTo>
                      <a:cubicBezTo>
                        <a:pt x="65" y="180"/>
                        <a:pt x="65" y="180"/>
                        <a:pt x="65" y="180"/>
                      </a:cubicBezTo>
                      <a:cubicBezTo>
                        <a:pt x="70" y="197"/>
                        <a:pt x="70" y="197"/>
                        <a:pt x="70" y="197"/>
                      </a:cubicBezTo>
                      <a:cubicBezTo>
                        <a:pt x="68" y="205"/>
                        <a:pt x="68" y="205"/>
                        <a:pt x="68" y="205"/>
                      </a:cubicBezTo>
                      <a:cubicBezTo>
                        <a:pt x="67" y="212"/>
                        <a:pt x="67" y="212"/>
                        <a:pt x="67" y="212"/>
                      </a:cubicBezTo>
                      <a:cubicBezTo>
                        <a:pt x="67" y="212"/>
                        <a:pt x="65" y="218"/>
                        <a:pt x="66" y="219"/>
                      </a:cubicBezTo>
                      <a:cubicBezTo>
                        <a:pt x="67" y="221"/>
                        <a:pt x="68" y="225"/>
                        <a:pt x="68" y="225"/>
                      </a:cubicBezTo>
                      <a:cubicBezTo>
                        <a:pt x="64" y="228"/>
                        <a:pt x="64" y="228"/>
                        <a:pt x="64" y="228"/>
                      </a:cubicBezTo>
                      <a:cubicBezTo>
                        <a:pt x="65" y="234"/>
                        <a:pt x="65" y="234"/>
                        <a:pt x="65" y="234"/>
                      </a:cubicBezTo>
                      <a:cubicBezTo>
                        <a:pt x="50" y="260"/>
                        <a:pt x="50" y="260"/>
                        <a:pt x="50" y="260"/>
                      </a:cubicBezTo>
                      <a:cubicBezTo>
                        <a:pt x="52" y="265"/>
                        <a:pt x="52" y="265"/>
                        <a:pt x="52" y="265"/>
                      </a:cubicBezTo>
                      <a:cubicBezTo>
                        <a:pt x="61" y="267"/>
                        <a:pt x="61" y="267"/>
                        <a:pt x="61" y="267"/>
                      </a:cubicBezTo>
                      <a:cubicBezTo>
                        <a:pt x="62" y="283"/>
                        <a:pt x="62" y="283"/>
                        <a:pt x="62" y="283"/>
                      </a:cubicBezTo>
                      <a:cubicBezTo>
                        <a:pt x="59" y="290"/>
                        <a:pt x="59" y="290"/>
                        <a:pt x="59" y="290"/>
                      </a:cubicBezTo>
                      <a:cubicBezTo>
                        <a:pt x="58" y="292"/>
                        <a:pt x="58" y="292"/>
                        <a:pt x="58" y="292"/>
                      </a:cubicBezTo>
                      <a:cubicBezTo>
                        <a:pt x="34" y="293"/>
                        <a:pt x="34" y="293"/>
                        <a:pt x="34" y="293"/>
                      </a:cubicBezTo>
                      <a:cubicBezTo>
                        <a:pt x="21" y="310"/>
                        <a:pt x="21" y="310"/>
                        <a:pt x="21" y="310"/>
                      </a:cubicBezTo>
                      <a:cubicBezTo>
                        <a:pt x="19" y="320"/>
                        <a:pt x="19" y="320"/>
                        <a:pt x="19" y="320"/>
                      </a:cubicBezTo>
                      <a:cubicBezTo>
                        <a:pt x="18" y="327"/>
                        <a:pt x="18" y="327"/>
                        <a:pt x="18" y="327"/>
                      </a:cubicBezTo>
                      <a:cubicBezTo>
                        <a:pt x="18" y="327"/>
                        <a:pt x="15" y="331"/>
                        <a:pt x="15" y="333"/>
                      </a:cubicBezTo>
                      <a:cubicBezTo>
                        <a:pt x="15" y="334"/>
                        <a:pt x="15" y="340"/>
                        <a:pt x="15" y="340"/>
                      </a:cubicBezTo>
                      <a:cubicBezTo>
                        <a:pt x="19" y="348"/>
                        <a:pt x="19" y="348"/>
                        <a:pt x="19" y="348"/>
                      </a:cubicBezTo>
                      <a:cubicBezTo>
                        <a:pt x="19" y="354"/>
                        <a:pt x="19" y="354"/>
                        <a:pt x="19" y="354"/>
                      </a:cubicBezTo>
                      <a:cubicBezTo>
                        <a:pt x="17" y="357"/>
                        <a:pt x="17" y="357"/>
                        <a:pt x="17" y="357"/>
                      </a:cubicBezTo>
                      <a:cubicBezTo>
                        <a:pt x="18" y="364"/>
                        <a:pt x="18" y="364"/>
                        <a:pt x="18" y="364"/>
                      </a:cubicBezTo>
                      <a:cubicBezTo>
                        <a:pt x="18" y="364"/>
                        <a:pt x="19" y="366"/>
                        <a:pt x="18" y="367"/>
                      </a:cubicBezTo>
                      <a:cubicBezTo>
                        <a:pt x="16" y="369"/>
                        <a:pt x="16" y="371"/>
                        <a:pt x="17" y="373"/>
                      </a:cubicBezTo>
                      <a:cubicBezTo>
                        <a:pt x="17" y="374"/>
                        <a:pt x="24" y="387"/>
                        <a:pt x="24" y="387"/>
                      </a:cubicBezTo>
                      <a:cubicBezTo>
                        <a:pt x="25" y="418"/>
                        <a:pt x="25" y="418"/>
                        <a:pt x="25" y="418"/>
                      </a:cubicBezTo>
                      <a:cubicBezTo>
                        <a:pt x="28" y="426"/>
                        <a:pt x="28" y="426"/>
                        <a:pt x="28" y="426"/>
                      </a:cubicBezTo>
                      <a:cubicBezTo>
                        <a:pt x="35" y="431"/>
                        <a:pt x="35" y="431"/>
                        <a:pt x="35" y="431"/>
                      </a:cubicBezTo>
                      <a:cubicBezTo>
                        <a:pt x="41" y="436"/>
                        <a:pt x="41" y="436"/>
                        <a:pt x="41" y="436"/>
                      </a:cubicBezTo>
                      <a:cubicBezTo>
                        <a:pt x="42" y="445"/>
                        <a:pt x="42" y="445"/>
                        <a:pt x="42" y="445"/>
                      </a:cubicBezTo>
                      <a:cubicBezTo>
                        <a:pt x="42" y="445"/>
                        <a:pt x="40" y="452"/>
                        <a:pt x="40" y="453"/>
                      </a:cubicBezTo>
                      <a:cubicBezTo>
                        <a:pt x="41" y="454"/>
                        <a:pt x="35" y="454"/>
                        <a:pt x="35" y="454"/>
                      </a:cubicBezTo>
                      <a:cubicBezTo>
                        <a:pt x="30" y="455"/>
                        <a:pt x="30" y="455"/>
                        <a:pt x="30" y="455"/>
                      </a:cubicBezTo>
                      <a:cubicBezTo>
                        <a:pt x="25" y="460"/>
                        <a:pt x="25" y="460"/>
                        <a:pt x="25" y="460"/>
                      </a:cubicBezTo>
                      <a:cubicBezTo>
                        <a:pt x="27" y="466"/>
                        <a:pt x="27" y="466"/>
                        <a:pt x="27" y="466"/>
                      </a:cubicBezTo>
                      <a:cubicBezTo>
                        <a:pt x="30" y="475"/>
                        <a:pt x="30" y="475"/>
                        <a:pt x="30" y="475"/>
                      </a:cubicBezTo>
                      <a:cubicBezTo>
                        <a:pt x="36" y="482"/>
                        <a:pt x="36" y="482"/>
                        <a:pt x="36" y="482"/>
                      </a:cubicBezTo>
                      <a:cubicBezTo>
                        <a:pt x="38" y="488"/>
                        <a:pt x="38" y="488"/>
                        <a:pt x="38" y="488"/>
                      </a:cubicBezTo>
                      <a:cubicBezTo>
                        <a:pt x="35" y="494"/>
                        <a:pt x="35" y="494"/>
                        <a:pt x="35" y="494"/>
                      </a:cubicBezTo>
                      <a:cubicBezTo>
                        <a:pt x="33" y="497"/>
                        <a:pt x="33" y="497"/>
                        <a:pt x="33" y="497"/>
                      </a:cubicBezTo>
                      <a:cubicBezTo>
                        <a:pt x="35" y="502"/>
                        <a:pt x="35" y="502"/>
                        <a:pt x="35" y="502"/>
                      </a:cubicBezTo>
                      <a:cubicBezTo>
                        <a:pt x="35" y="507"/>
                        <a:pt x="35" y="507"/>
                        <a:pt x="35" y="507"/>
                      </a:cubicBezTo>
                      <a:cubicBezTo>
                        <a:pt x="35" y="507"/>
                        <a:pt x="33" y="510"/>
                        <a:pt x="33" y="511"/>
                      </a:cubicBezTo>
                      <a:cubicBezTo>
                        <a:pt x="33" y="512"/>
                        <a:pt x="29" y="515"/>
                        <a:pt x="29" y="515"/>
                      </a:cubicBezTo>
                      <a:cubicBezTo>
                        <a:pt x="26" y="518"/>
                        <a:pt x="26" y="518"/>
                        <a:pt x="26" y="518"/>
                      </a:cubicBezTo>
                      <a:cubicBezTo>
                        <a:pt x="23" y="519"/>
                        <a:pt x="23" y="519"/>
                        <a:pt x="23" y="519"/>
                      </a:cubicBezTo>
                      <a:cubicBezTo>
                        <a:pt x="23" y="519"/>
                        <a:pt x="21" y="518"/>
                        <a:pt x="20" y="519"/>
                      </a:cubicBezTo>
                      <a:cubicBezTo>
                        <a:pt x="20" y="519"/>
                        <a:pt x="18" y="521"/>
                        <a:pt x="18" y="521"/>
                      </a:cubicBezTo>
                      <a:cubicBezTo>
                        <a:pt x="18" y="524"/>
                        <a:pt x="18" y="524"/>
                        <a:pt x="18" y="524"/>
                      </a:cubicBezTo>
                      <a:cubicBezTo>
                        <a:pt x="20" y="526"/>
                        <a:pt x="20" y="526"/>
                        <a:pt x="20" y="526"/>
                      </a:cubicBezTo>
                      <a:cubicBezTo>
                        <a:pt x="19" y="531"/>
                        <a:pt x="19" y="531"/>
                        <a:pt x="19" y="531"/>
                      </a:cubicBezTo>
                      <a:cubicBezTo>
                        <a:pt x="16" y="534"/>
                        <a:pt x="16" y="534"/>
                        <a:pt x="16" y="534"/>
                      </a:cubicBezTo>
                      <a:cubicBezTo>
                        <a:pt x="13" y="535"/>
                        <a:pt x="13" y="535"/>
                        <a:pt x="13" y="535"/>
                      </a:cubicBezTo>
                      <a:cubicBezTo>
                        <a:pt x="15" y="541"/>
                        <a:pt x="15" y="541"/>
                        <a:pt x="15" y="541"/>
                      </a:cubicBezTo>
                      <a:cubicBezTo>
                        <a:pt x="19" y="548"/>
                        <a:pt x="19" y="548"/>
                        <a:pt x="19" y="548"/>
                      </a:cubicBezTo>
                      <a:cubicBezTo>
                        <a:pt x="19" y="554"/>
                        <a:pt x="19" y="554"/>
                        <a:pt x="19" y="554"/>
                      </a:cubicBezTo>
                      <a:cubicBezTo>
                        <a:pt x="16" y="560"/>
                        <a:pt x="16" y="560"/>
                        <a:pt x="16" y="560"/>
                      </a:cubicBezTo>
                      <a:cubicBezTo>
                        <a:pt x="15" y="567"/>
                        <a:pt x="15" y="567"/>
                        <a:pt x="15" y="567"/>
                      </a:cubicBezTo>
                      <a:cubicBezTo>
                        <a:pt x="14" y="573"/>
                        <a:pt x="14" y="573"/>
                        <a:pt x="14" y="573"/>
                      </a:cubicBezTo>
                      <a:cubicBezTo>
                        <a:pt x="12" y="574"/>
                        <a:pt x="12" y="574"/>
                        <a:pt x="12" y="574"/>
                      </a:cubicBezTo>
                      <a:cubicBezTo>
                        <a:pt x="9" y="574"/>
                        <a:pt x="9" y="574"/>
                        <a:pt x="9" y="574"/>
                      </a:cubicBezTo>
                      <a:cubicBezTo>
                        <a:pt x="9" y="574"/>
                        <a:pt x="9" y="568"/>
                        <a:pt x="8" y="567"/>
                      </a:cubicBezTo>
                      <a:cubicBezTo>
                        <a:pt x="8" y="567"/>
                        <a:pt x="1" y="561"/>
                        <a:pt x="1" y="561"/>
                      </a:cubicBezTo>
                      <a:cubicBezTo>
                        <a:pt x="1" y="567"/>
                        <a:pt x="1" y="567"/>
                        <a:pt x="1" y="567"/>
                      </a:cubicBezTo>
                      <a:cubicBezTo>
                        <a:pt x="0" y="574"/>
                        <a:pt x="0" y="574"/>
                        <a:pt x="0" y="574"/>
                      </a:cubicBezTo>
                      <a:cubicBezTo>
                        <a:pt x="0" y="574"/>
                        <a:pt x="1" y="578"/>
                        <a:pt x="2" y="579"/>
                      </a:cubicBezTo>
                      <a:cubicBezTo>
                        <a:pt x="3" y="580"/>
                        <a:pt x="4" y="587"/>
                        <a:pt x="4" y="587"/>
                      </a:cubicBezTo>
                      <a:cubicBezTo>
                        <a:pt x="3" y="594"/>
                        <a:pt x="3" y="594"/>
                        <a:pt x="3" y="594"/>
                      </a:cubicBezTo>
                      <a:cubicBezTo>
                        <a:pt x="3" y="594"/>
                        <a:pt x="5" y="599"/>
                        <a:pt x="5" y="599"/>
                      </a:cubicBezTo>
                      <a:cubicBezTo>
                        <a:pt x="5" y="600"/>
                        <a:pt x="6" y="604"/>
                        <a:pt x="6" y="604"/>
                      </a:cubicBezTo>
                      <a:cubicBezTo>
                        <a:pt x="10" y="603"/>
                        <a:pt x="10" y="603"/>
                        <a:pt x="10" y="603"/>
                      </a:cubicBezTo>
                      <a:cubicBezTo>
                        <a:pt x="9" y="600"/>
                        <a:pt x="9" y="600"/>
                        <a:pt x="9" y="600"/>
                      </a:cubicBezTo>
                      <a:cubicBezTo>
                        <a:pt x="12" y="604"/>
                        <a:pt x="12" y="604"/>
                        <a:pt x="12" y="604"/>
                      </a:cubicBezTo>
                      <a:cubicBezTo>
                        <a:pt x="12" y="604"/>
                        <a:pt x="10" y="605"/>
                        <a:pt x="12" y="604"/>
                      </a:cubicBezTo>
                      <a:cubicBezTo>
                        <a:pt x="13" y="604"/>
                        <a:pt x="15" y="602"/>
                        <a:pt x="15" y="602"/>
                      </a:cubicBezTo>
                      <a:cubicBezTo>
                        <a:pt x="14" y="605"/>
                        <a:pt x="14" y="605"/>
                        <a:pt x="14" y="605"/>
                      </a:cubicBezTo>
                      <a:cubicBezTo>
                        <a:pt x="12" y="609"/>
                        <a:pt x="12" y="609"/>
                        <a:pt x="12" y="609"/>
                      </a:cubicBezTo>
                      <a:cubicBezTo>
                        <a:pt x="13" y="610"/>
                        <a:pt x="13" y="610"/>
                        <a:pt x="13" y="610"/>
                      </a:cubicBezTo>
                      <a:cubicBezTo>
                        <a:pt x="16" y="611"/>
                        <a:pt x="16" y="611"/>
                        <a:pt x="16" y="611"/>
                      </a:cubicBezTo>
                      <a:cubicBezTo>
                        <a:pt x="12" y="616"/>
                        <a:pt x="12" y="616"/>
                        <a:pt x="12" y="616"/>
                      </a:cubicBezTo>
                      <a:cubicBezTo>
                        <a:pt x="12" y="616"/>
                        <a:pt x="14" y="619"/>
                        <a:pt x="15" y="620"/>
                      </a:cubicBezTo>
                      <a:cubicBezTo>
                        <a:pt x="15" y="620"/>
                        <a:pt x="19" y="617"/>
                        <a:pt x="19" y="617"/>
                      </a:cubicBezTo>
                      <a:cubicBezTo>
                        <a:pt x="19" y="617"/>
                        <a:pt x="19" y="618"/>
                        <a:pt x="19" y="619"/>
                      </a:cubicBezTo>
                      <a:cubicBezTo>
                        <a:pt x="19" y="619"/>
                        <a:pt x="16" y="622"/>
                        <a:pt x="16" y="624"/>
                      </a:cubicBezTo>
                      <a:cubicBezTo>
                        <a:pt x="17" y="625"/>
                        <a:pt x="22" y="623"/>
                        <a:pt x="21" y="624"/>
                      </a:cubicBezTo>
                      <a:cubicBezTo>
                        <a:pt x="20" y="625"/>
                        <a:pt x="20" y="627"/>
                        <a:pt x="20" y="627"/>
                      </a:cubicBezTo>
                      <a:cubicBezTo>
                        <a:pt x="20" y="627"/>
                        <a:pt x="17" y="630"/>
                        <a:pt x="19" y="631"/>
                      </a:cubicBezTo>
                      <a:cubicBezTo>
                        <a:pt x="20" y="632"/>
                        <a:pt x="23" y="633"/>
                        <a:pt x="22" y="633"/>
                      </a:cubicBezTo>
                      <a:cubicBezTo>
                        <a:pt x="22" y="634"/>
                        <a:pt x="19" y="636"/>
                        <a:pt x="19" y="636"/>
                      </a:cubicBezTo>
                      <a:cubicBezTo>
                        <a:pt x="19" y="636"/>
                        <a:pt x="18" y="638"/>
                        <a:pt x="19" y="639"/>
                      </a:cubicBezTo>
                      <a:cubicBezTo>
                        <a:pt x="20" y="640"/>
                        <a:pt x="23" y="640"/>
                        <a:pt x="23" y="640"/>
                      </a:cubicBezTo>
                      <a:cubicBezTo>
                        <a:pt x="23" y="640"/>
                        <a:pt x="23" y="638"/>
                        <a:pt x="23" y="639"/>
                      </a:cubicBezTo>
                      <a:cubicBezTo>
                        <a:pt x="23" y="640"/>
                        <a:pt x="22" y="642"/>
                        <a:pt x="22" y="642"/>
                      </a:cubicBezTo>
                      <a:cubicBezTo>
                        <a:pt x="22" y="642"/>
                        <a:pt x="21" y="644"/>
                        <a:pt x="22" y="645"/>
                      </a:cubicBezTo>
                      <a:cubicBezTo>
                        <a:pt x="23" y="645"/>
                        <a:pt x="25" y="645"/>
                        <a:pt x="25" y="645"/>
                      </a:cubicBezTo>
                      <a:cubicBezTo>
                        <a:pt x="25" y="645"/>
                        <a:pt x="25" y="646"/>
                        <a:pt x="25" y="648"/>
                      </a:cubicBezTo>
                      <a:cubicBezTo>
                        <a:pt x="25" y="649"/>
                        <a:pt x="25" y="652"/>
                        <a:pt x="25" y="652"/>
                      </a:cubicBezTo>
                      <a:cubicBezTo>
                        <a:pt x="25" y="653"/>
                        <a:pt x="25" y="655"/>
                        <a:pt x="25" y="655"/>
                      </a:cubicBezTo>
                      <a:cubicBezTo>
                        <a:pt x="25" y="655"/>
                        <a:pt x="24" y="656"/>
                        <a:pt x="27" y="656"/>
                      </a:cubicBezTo>
                      <a:cubicBezTo>
                        <a:pt x="29" y="656"/>
                        <a:pt x="29" y="655"/>
                        <a:pt x="30" y="655"/>
                      </a:cubicBezTo>
                      <a:cubicBezTo>
                        <a:pt x="31" y="655"/>
                        <a:pt x="31" y="656"/>
                        <a:pt x="32" y="657"/>
                      </a:cubicBezTo>
                      <a:cubicBezTo>
                        <a:pt x="32" y="659"/>
                        <a:pt x="32" y="660"/>
                        <a:pt x="32" y="661"/>
                      </a:cubicBezTo>
                      <a:cubicBezTo>
                        <a:pt x="33" y="662"/>
                        <a:pt x="37" y="672"/>
                        <a:pt x="37" y="672"/>
                      </a:cubicBezTo>
                      <a:cubicBezTo>
                        <a:pt x="37" y="672"/>
                        <a:pt x="38" y="676"/>
                        <a:pt x="39" y="677"/>
                      </a:cubicBezTo>
                      <a:cubicBezTo>
                        <a:pt x="39" y="678"/>
                        <a:pt x="40" y="679"/>
                        <a:pt x="41" y="680"/>
                      </a:cubicBezTo>
                      <a:cubicBezTo>
                        <a:pt x="41" y="680"/>
                        <a:pt x="43" y="683"/>
                        <a:pt x="43" y="683"/>
                      </a:cubicBezTo>
                      <a:cubicBezTo>
                        <a:pt x="46" y="685"/>
                        <a:pt x="46" y="685"/>
                        <a:pt x="46" y="685"/>
                      </a:cubicBezTo>
                      <a:cubicBezTo>
                        <a:pt x="50" y="692"/>
                        <a:pt x="50" y="692"/>
                        <a:pt x="50" y="692"/>
                      </a:cubicBezTo>
                      <a:cubicBezTo>
                        <a:pt x="50" y="692"/>
                        <a:pt x="53" y="695"/>
                        <a:pt x="53" y="695"/>
                      </a:cubicBezTo>
                      <a:cubicBezTo>
                        <a:pt x="54" y="695"/>
                        <a:pt x="56" y="693"/>
                        <a:pt x="56" y="693"/>
                      </a:cubicBezTo>
                      <a:cubicBezTo>
                        <a:pt x="56" y="693"/>
                        <a:pt x="59" y="694"/>
                        <a:pt x="59" y="695"/>
                      </a:cubicBezTo>
                      <a:cubicBezTo>
                        <a:pt x="58" y="695"/>
                        <a:pt x="57" y="699"/>
                        <a:pt x="57" y="700"/>
                      </a:cubicBezTo>
                      <a:cubicBezTo>
                        <a:pt x="58" y="701"/>
                        <a:pt x="58" y="703"/>
                        <a:pt x="58" y="703"/>
                      </a:cubicBezTo>
                      <a:cubicBezTo>
                        <a:pt x="56" y="704"/>
                        <a:pt x="56" y="704"/>
                        <a:pt x="56" y="704"/>
                      </a:cubicBezTo>
                      <a:cubicBezTo>
                        <a:pt x="54" y="705"/>
                        <a:pt x="54" y="705"/>
                        <a:pt x="54" y="705"/>
                      </a:cubicBezTo>
                      <a:cubicBezTo>
                        <a:pt x="50" y="705"/>
                        <a:pt x="50" y="705"/>
                        <a:pt x="50" y="705"/>
                      </a:cubicBezTo>
                      <a:cubicBezTo>
                        <a:pt x="49" y="709"/>
                        <a:pt x="49" y="709"/>
                        <a:pt x="49" y="709"/>
                      </a:cubicBezTo>
                      <a:cubicBezTo>
                        <a:pt x="53" y="711"/>
                        <a:pt x="53" y="711"/>
                        <a:pt x="53" y="711"/>
                      </a:cubicBezTo>
                      <a:cubicBezTo>
                        <a:pt x="53" y="711"/>
                        <a:pt x="55" y="713"/>
                        <a:pt x="56" y="713"/>
                      </a:cubicBezTo>
                      <a:cubicBezTo>
                        <a:pt x="56" y="714"/>
                        <a:pt x="56" y="718"/>
                        <a:pt x="56" y="718"/>
                      </a:cubicBezTo>
                      <a:cubicBezTo>
                        <a:pt x="55" y="718"/>
                        <a:pt x="51" y="718"/>
                        <a:pt x="51" y="718"/>
                      </a:cubicBezTo>
                      <a:cubicBezTo>
                        <a:pt x="51" y="718"/>
                        <a:pt x="49" y="721"/>
                        <a:pt x="49" y="721"/>
                      </a:cubicBezTo>
                      <a:cubicBezTo>
                        <a:pt x="49" y="722"/>
                        <a:pt x="48" y="722"/>
                        <a:pt x="50" y="725"/>
                      </a:cubicBezTo>
                      <a:cubicBezTo>
                        <a:pt x="51" y="727"/>
                        <a:pt x="56" y="733"/>
                        <a:pt x="56" y="733"/>
                      </a:cubicBezTo>
                      <a:cubicBezTo>
                        <a:pt x="56" y="733"/>
                        <a:pt x="60" y="739"/>
                        <a:pt x="60" y="739"/>
                      </a:cubicBezTo>
                      <a:cubicBezTo>
                        <a:pt x="60" y="740"/>
                        <a:pt x="63" y="744"/>
                        <a:pt x="63" y="744"/>
                      </a:cubicBezTo>
                      <a:cubicBezTo>
                        <a:pt x="64" y="744"/>
                        <a:pt x="64" y="748"/>
                        <a:pt x="64" y="748"/>
                      </a:cubicBezTo>
                      <a:cubicBezTo>
                        <a:pt x="63" y="750"/>
                        <a:pt x="63" y="750"/>
                        <a:pt x="63" y="750"/>
                      </a:cubicBezTo>
                      <a:cubicBezTo>
                        <a:pt x="62" y="753"/>
                        <a:pt x="62" y="753"/>
                        <a:pt x="62" y="753"/>
                      </a:cubicBezTo>
                      <a:cubicBezTo>
                        <a:pt x="61" y="756"/>
                        <a:pt x="61" y="756"/>
                        <a:pt x="61" y="756"/>
                      </a:cubicBezTo>
                      <a:cubicBezTo>
                        <a:pt x="62" y="758"/>
                        <a:pt x="62" y="758"/>
                        <a:pt x="62" y="758"/>
                      </a:cubicBezTo>
                      <a:cubicBezTo>
                        <a:pt x="61" y="760"/>
                        <a:pt x="61" y="760"/>
                        <a:pt x="61" y="760"/>
                      </a:cubicBezTo>
                      <a:cubicBezTo>
                        <a:pt x="59" y="763"/>
                        <a:pt x="59" y="763"/>
                        <a:pt x="59" y="763"/>
                      </a:cubicBezTo>
                      <a:cubicBezTo>
                        <a:pt x="64" y="764"/>
                        <a:pt x="64" y="764"/>
                        <a:pt x="64" y="764"/>
                      </a:cubicBezTo>
                      <a:cubicBezTo>
                        <a:pt x="70" y="763"/>
                        <a:pt x="70" y="763"/>
                        <a:pt x="70" y="763"/>
                      </a:cubicBezTo>
                      <a:cubicBezTo>
                        <a:pt x="70" y="763"/>
                        <a:pt x="71" y="765"/>
                        <a:pt x="71" y="765"/>
                      </a:cubicBezTo>
                      <a:cubicBezTo>
                        <a:pt x="72" y="766"/>
                        <a:pt x="77" y="765"/>
                        <a:pt x="77" y="765"/>
                      </a:cubicBezTo>
                      <a:cubicBezTo>
                        <a:pt x="81" y="763"/>
                        <a:pt x="81" y="763"/>
                        <a:pt x="81" y="763"/>
                      </a:cubicBezTo>
                      <a:cubicBezTo>
                        <a:pt x="84" y="761"/>
                        <a:pt x="84" y="761"/>
                        <a:pt x="84" y="761"/>
                      </a:cubicBezTo>
                      <a:cubicBezTo>
                        <a:pt x="84" y="759"/>
                        <a:pt x="84" y="759"/>
                        <a:pt x="84" y="759"/>
                      </a:cubicBezTo>
                      <a:cubicBezTo>
                        <a:pt x="84" y="759"/>
                        <a:pt x="86" y="756"/>
                        <a:pt x="86" y="756"/>
                      </a:cubicBezTo>
                      <a:cubicBezTo>
                        <a:pt x="87" y="756"/>
                        <a:pt x="90" y="757"/>
                        <a:pt x="90" y="757"/>
                      </a:cubicBezTo>
                      <a:cubicBezTo>
                        <a:pt x="90" y="757"/>
                        <a:pt x="93" y="757"/>
                        <a:pt x="93" y="758"/>
                      </a:cubicBezTo>
                      <a:cubicBezTo>
                        <a:pt x="93" y="759"/>
                        <a:pt x="95" y="760"/>
                        <a:pt x="95" y="760"/>
                      </a:cubicBezTo>
                      <a:cubicBezTo>
                        <a:pt x="98" y="760"/>
                        <a:pt x="98" y="760"/>
                        <a:pt x="98" y="760"/>
                      </a:cubicBezTo>
                      <a:cubicBezTo>
                        <a:pt x="101" y="759"/>
                        <a:pt x="101" y="759"/>
                        <a:pt x="101" y="759"/>
                      </a:cubicBezTo>
                      <a:cubicBezTo>
                        <a:pt x="105" y="758"/>
                        <a:pt x="105" y="758"/>
                        <a:pt x="105" y="758"/>
                      </a:cubicBezTo>
                      <a:cubicBezTo>
                        <a:pt x="105" y="758"/>
                        <a:pt x="104" y="756"/>
                        <a:pt x="105" y="756"/>
                      </a:cubicBezTo>
                      <a:cubicBezTo>
                        <a:pt x="106" y="756"/>
                        <a:pt x="109" y="756"/>
                        <a:pt x="109" y="756"/>
                      </a:cubicBezTo>
                      <a:cubicBezTo>
                        <a:pt x="109" y="756"/>
                        <a:pt x="110" y="758"/>
                        <a:pt x="111" y="758"/>
                      </a:cubicBezTo>
                      <a:cubicBezTo>
                        <a:pt x="111" y="758"/>
                        <a:pt x="113" y="756"/>
                        <a:pt x="112" y="755"/>
                      </a:cubicBezTo>
                      <a:cubicBezTo>
                        <a:pt x="111" y="754"/>
                        <a:pt x="107" y="752"/>
                        <a:pt x="107" y="752"/>
                      </a:cubicBezTo>
                      <a:cubicBezTo>
                        <a:pt x="107" y="752"/>
                        <a:pt x="105" y="749"/>
                        <a:pt x="105" y="748"/>
                      </a:cubicBezTo>
                      <a:cubicBezTo>
                        <a:pt x="104" y="747"/>
                        <a:pt x="104" y="744"/>
                        <a:pt x="103" y="743"/>
                      </a:cubicBezTo>
                      <a:cubicBezTo>
                        <a:pt x="102" y="743"/>
                        <a:pt x="101" y="742"/>
                        <a:pt x="101" y="740"/>
                      </a:cubicBezTo>
                      <a:cubicBezTo>
                        <a:pt x="102" y="737"/>
                        <a:pt x="102" y="736"/>
                        <a:pt x="102" y="736"/>
                      </a:cubicBezTo>
                      <a:cubicBezTo>
                        <a:pt x="102" y="735"/>
                        <a:pt x="102" y="731"/>
                        <a:pt x="102" y="731"/>
                      </a:cubicBezTo>
                      <a:cubicBezTo>
                        <a:pt x="102" y="731"/>
                        <a:pt x="101" y="729"/>
                        <a:pt x="104" y="727"/>
                      </a:cubicBezTo>
                      <a:cubicBezTo>
                        <a:pt x="107" y="725"/>
                        <a:pt x="107" y="723"/>
                        <a:pt x="108" y="724"/>
                      </a:cubicBezTo>
                      <a:cubicBezTo>
                        <a:pt x="109" y="725"/>
                        <a:pt x="111" y="727"/>
                        <a:pt x="112" y="727"/>
                      </a:cubicBezTo>
                      <a:cubicBezTo>
                        <a:pt x="112" y="728"/>
                        <a:pt x="113" y="728"/>
                        <a:pt x="114" y="729"/>
                      </a:cubicBezTo>
                      <a:cubicBezTo>
                        <a:pt x="114" y="730"/>
                        <a:pt x="113" y="731"/>
                        <a:pt x="115" y="731"/>
                      </a:cubicBezTo>
                      <a:cubicBezTo>
                        <a:pt x="116" y="731"/>
                        <a:pt x="118" y="731"/>
                        <a:pt x="118" y="731"/>
                      </a:cubicBezTo>
                      <a:cubicBezTo>
                        <a:pt x="118" y="731"/>
                        <a:pt x="119" y="731"/>
                        <a:pt x="119" y="730"/>
                      </a:cubicBezTo>
                      <a:cubicBezTo>
                        <a:pt x="119" y="729"/>
                        <a:pt x="119" y="726"/>
                        <a:pt x="118" y="726"/>
                      </a:cubicBezTo>
                      <a:cubicBezTo>
                        <a:pt x="117" y="725"/>
                        <a:pt x="116" y="724"/>
                        <a:pt x="116" y="724"/>
                      </a:cubicBezTo>
                      <a:cubicBezTo>
                        <a:pt x="116" y="724"/>
                        <a:pt x="118" y="723"/>
                        <a:pt x="115" y="722"/>
                      </a:cubicBezTo>
                      <a:cubicBezTo>
                        <a:pt x="112" y="720"/>
                        <a:pt x="112" y="719"/>
                        <a:pt x="113" y="718"/>
                      </a:cubicBezTo>
                      <a:cubicBezTo>
                        <a:pt x="115" y="717"/>
                        <a:pt x="119" y="718"/>
                        <a:pt x="119" y="718"/>
                      </a:cubicBezTo>
                      <a:cubicBezTo>
                        <a:pt x="122" y="717"/>
                        <a:pt x="122" y="717"/>
                        <a:pt x="122" y="717"/>
                      </a:cubicBezTo>
                      <a:cubicBezTo>
                        <a:pt x="122" y="717"/>
                        <a:pt x="124" y="715"/>
                        <a:pt x="126" y="716"/>
                      </a:cubicBezTo>
                      <a:cubicBezTo>
                        <a:pt x="127" y="717"/>
                        <a:pt x="131" y="716"/>
                        <a:pt x="131" y="716"/>
                      </a:cubicBezTo>
                      <a:cubicBezTo>
                        <a:pt x="136" y="717"/>
                        <a:pt x="136" y="717"/>
                        <a:pt x="136" y="717"/>
                      </a:cubicBezTo>
                      <a:cubicBezTo>
                        <a:pt x="138" y="715"/>
                        <a:pt x="138" y="715"/>
                        <a:pt x="138" y="715"/>
                      </a:cubicBezTo>
                      <a:cubicBezTo>
                        <a:pt x="143" y="717"/>
                        <a:pt x="143" y="717"/>
                        <a:pt x="143" y="717"/>
                      </a:cubicBezTo>
                      <a:cubicBezTo>
                        <a:pt x="143" y="717"/>
                        <a:pt x="142" y="717"/>
                        <a:pt x="145" y="718"/>
                      </a:cubicBezTo>
                      <a:cubicBezTo>
                        <a:pt x="147" y="718"/>
                        <a:pt x="150" y="716"/>
                        <a:pt x="150" y="715"/>
                      </a:cubicBezTo>
                      <a:cubicBezTo>
                        <a:pt x="151" y="715"/>
                        <a:pt x="155" y="708"/>
                        <a:pt x="155" y="708"/>
                      </a:cubicBezTo>
                      <a:cubicBezTo>
                        <a:pt x="158" y="688"/>
                        <a:pt x="158" y="688"/>
                        <a:pt x="158" y="688"/>
                      </a:cubicBezTo>
                      <a:cubicBezTo>
                        <a:pt x="158" y="688"/>
                        <a:pt x="162" y="685"/>
                        <a:pt x="161" y="685"/>
                      </a:cubicBezTo>
                      <a:cubicBezTo>
                        <a:pt x="161" y="684"/>
                        <a:pt x="161" y="677"/>
                        <a:pt x="161" y="676"/>
                      </a:cubicBezTo>
                      <a:cubicBezTo>
                        <a:pt x="161" y="675"/>
                        <a:pt x="163" y="668"/>
                        <a:pt x="163" y="668"/>
                      </a:cubicBezTo>
                      <a:cubicBezTo>
                        <a:pt x="163" y="668"/>
                        <a:pt x="167" y="665"/>
                        <a:pt x="165" y="662"/>
                      </a:cubicBezTo>
                      <a:cubicBezTo>
                        <a:pt x="164" y="659"/>
                        <a:pt x="163" y="654"/>
                        <a:pt x="163" y="654"/>
                      </a:cubicBezTo>
                      <a:cubicBezTo>
                        <a:pt x="163" y="654"/>
                        <a:pt x="162" y="649"/>
                        <a:pt x="162" y="648"/>
                      </a:cubicBezTo>
                      <a:cubicBezTo>
                        <a:pt x="162" y="647"/>
                        <a:pt x="166" y="642"/>
                        <a:pt x="166" y="642"/>
                      </a:cubicBezTo>
                      <a:cubicBezTo>
                        <a:pt x="163" y="633"/>
                        <a:pt x="163" y="633"/>
                        <a:pt x="163" y="633"/>
                      </a:cubicBezTo>
                      <a:cubicBezTo>
                        <a:pt x="163" y="633"/>
                        <a:pt x="165" y="630"/>
                        <a:pt x="165" y="629"/>
                      </a:cubicBezTo>
                      <a:cubicBezTo>
                        <a:pt x="165" y="628"/>
                        <a:pt x="163" y="619"/>
                        <a:pt x="163" y="619"/>
                      </a:cubicBezTo>
                      <a:cubicBezTo>
                        <a:pt x="163" y="617"/>
                        <a:pt x="163" y="617"/>
                        <a:pt x="163" y="617"/>
                      </a:cubicBezTo>
                      <a:cubicBezTo>
                        <a:pt x="163" y="617"/>
                        <a:pt x="166" y="612"/>
                        <a:pt x="165" y="611"/>
                      </a:cubicBezTo>
                      <a:cubicBezTo>
                        <a:pt x="165" y="610"/>
                        <a:pt x="165" y="605"/>
                        <a:pt x="165" y="605"/>
                      </a:cubicBezTo>
                      <a:cubicBezTo>
                        <a:pt x="163" y="599"/>
                        <a:pt x="163" y="599"/>
                        <a:pt x="163" y="599"/>
                      </a:cubicBezTo>
                      <a:cubicBezTo>
                        <a:pt x="163" y="599"/>
                        <a:pt x="165" y="598"/>
                        <a:pt x="164" y="597"/>
                      </a:cubicBezTo>
                      <a:cubicBezTo>
                        <a:pt x="163" y="595"/>
                        <a:pt x="162" y="594"/>
                        <a:pt x="162" y="594"/>
                      </a:cubicBezTo>
                      <a:cubicBezTo>
                        <a:pt x="162" y="592"/>
                        <a:pt x="162" y="592"/>
                        <a:pt x="162" y="592"/>
                      </a:cubicBezTo>
                      <a:cubicBezTo>
                        <a:pt x="163" y="590"/>
                        <a:pt x="163" y="590"/>
                        <a:pt x="163" y="590"/>
                      </a:cubicBezTo>
                      <a:cubicBezTo>
                        <a:pt x="165" y="588"/>
                        <a:pt x="165" y="588"/>
                        <a:pt x="165" y="588"/>
                      </a:cubicBezTo>
                      <a:cubicBezTo>
                        <a:pt x="164" y="582"/>
                        <a:pt x="164" y="582"/>
                        <a:pt x="164" y="582"/>
                      </a:cubicBezTo>
                      <a:cubicBezTo>
                        <a:pt x="160" y="581"/>
                        <a:pt x="160" y="581"/>
                        <a:pt x="160" y="581"/>
                      </a:cubicBezTo>
                      <a:cubicBezTo>
                        <a:pt x="160" y="581"/>
                        <a:pt x="160" y="579"/>
                        <a:pt x="161" y="579"/>
                      </a:cubicBezTo>
                      <a:cubicBezTo>
                        <a:pt x="163" y="578"/>
                        <a:pt x="170" y="575"/>
                        <a:pt x="170" y="575"/>
                      </a:cubicBezTo>
                      <a:cubicBezTo>
                        <a:pt x="170" y="575"/>
                        <a:pt x="172" y="572"/>
                        <a:pt x="173" y="572"/>
                      </a:cubicBezTo>
                      <a:cubicBezTo>
                        <a:pt x="173" y="571"/>
                        <a:pt x="181" y="566"/>
                        <a:pt x="181" y="566"/>
                      </a:cubicBezTo>
                      <a:cubicBezTo>
                        <a:pt x="181" y="566"/>
                        <a:pt x="181" y="563"/>
                        <a:pt x="181" y="562"/>
                      </a:cubicBezTo>
                      <a:cubicBezTo>
                        <a:pt x="182" y="562"/>
                        <a:pt x="182" y="561"/>
                        <a:pt x="182" y="559"/>
                      </a:cubicBezTo>
                      <a:cubicBezTo>
                        <a:pt x="183" y="559"/>
                        <a:pt x="181" y="550"/>
                        <a:pt x="181" y="547"/>
                      </a:cubicBezTo>
                      <a:cubicBezTo>
                        <a:pt x="182" y="545"/>
                        <a:pt x="184" y="549"/>
                        <a:pt x="184" y="549"/>
                      </a:cubicBezTo>
                      <a:cubicBezTo>
                        <a:pt x="185" y="552"/>
                        <a:pt x="185" y="552"/>
                        <a:pt x="185" y="552"/>
                      </a:cubicBezTo>
                      <a:cubicBezTo>
                        <a:pt x="185" y="558"/>
                        <a:pt x="185" y="558"/>
                        <a:pt x="185" y="558"/>
                      </a:cubicBezTo>
                      <a:cubicBezTo>
                        <a:pt x="188" y="559"/>
                        <a:pt x="188" y="559"/>
                        <a:pt x="188" y="559"/>
                      </a:cubicBezTo>
                      <a:cubicBezTo>
                        <a:pt x="189" y="562"/>
                        <a:pt x="189" y="562"/>
                        <a:pt x="189" y="562"/>
                      </a:cubicBezTo>
                      <a:cubicBezTo>
                        <a:pt x="189" y="562"/>
                        <a:pt x="188" y="565"/>
                        <a:pt x="189" y="565"/>
                      </a:cubicBezTo>
                      <a:cubicBezTo>
                        <a:pt x="190" y="564"/>
                        <a:pt x="190" y="564"/>
                        <a:pt x="190" y="564"/>
                      </a:cubicBezTo>
                      <a:cubicBezTo>
                        <a:pt x="191" y="558"/>
                        <a:pt x="191" y="558"/>
                        <a:pt x="191" y="558"/>
                      </a:cubicBezTo>
                      <a:cubicBezTo>
                        <a:pt x="191" y="558"/>
                        <a:pt x="195" y="558"/>
                        <a:pt x="194" y="556"/>
                      </a:cubicBezTo>
                      <a:cubicBezTo>
                        <a:pt x="194" y="555"/>
                        <a:pt x="193" y="553"/>
                        <a:pt x="194" y="553"/>
                      </a:cubicBezTo>
                      <a:cubicBezTo>
                        <a:pt x="200" y="552"/>
                        <a:pt x="198" y="552"/>
                        <a:pt x="201" y="550"/>
                      </a:cubicBezTo>
                      <a:cubicBezTo>
                        <a:pt x="201" y="550"/>
                        <a:pt x="203" y="546"/>
                        <a:pt x="203" y="546"/>
                      </a:cubicBezTo>
                      <a:cubicBezTo>
                        <a:pt x="203" y="545"/>
                        <a:pt x="204" y="543"/>
                        <a:pt x="204" y="543"/>
                      </a:cubicBezTo>
                      <a:cubicBezTo>
                        <a:pt x="202" y="542"/>
                        <a:pt x="202" y="542"/>
                        <a:pt x="202" y="542"/>
                      </a:cubicBezTo>
                      <a:cubicBezTo>
                        <a:pt x="201" y="539"/>
                        <a:pt x="201" y="539"/>
                        <a:pt x="201" y="539"/>
                      </a:cubicBezTo>
                      <a:cubicBezTo>
                        <a:pt x="201" y="539"/>
                        <a:pt x="202" y="537"/>
                        <a:pt x="203" y="538"/>
                      </a:cubicBezTo>
                      <a:cubicBezTo>
                        <a:pt x="203" y="539"/>
                        <a:pt x="204" y="541"/>
                        <a:pt x="205" y="541"/>
                      </a:cubicBezTo>
                      <a:cubicBezTo>
                        <a:pt x="206" y="541"/>
                        <a:pt x="209" y="538"/>
                        <a:pt x="209" y="538"/>
                      </a:cubicBezTo>
                      <a:cubicBezTo>
                        <a:pt x="209" y="535"/>
                        <a:pt x="202" y="531"/>
                        <a:pt x="200" y="530"/>
                      </a:cubicBezTo>
                      <a:cubicBezTo>
                        <a:pt x="200" y="526"/>
                        <a:pt x="210" y="521"/>
                        <a:pt x="210" y="520"/>
                      </a:cubicBezTo>
                      <a:cubicBezTo>
                        <a:pt x="211" y="519"/>
                        <a:pt x="211" y="519"/>
                        <a:pt x="211" y="518"/>
                      </a:cubicBezTo>
                      <a:cubicBezTo>
                        <a:pt x="211" y="517"/>
                        <a:pt x="210" y="516"/>
                        <a:pt x="209" y="517"/>
                      </a:cubicBezTo>
                      <a:cubicBezTo>
                        <a:pt x="209" y="517"/>
                        <a:pt x="208" y="519"/>
                        <a:pt x="207" y="519"/>
                      </a:cubicBezTo>
                      <a:cubicBezTo>
                        <a:pt x="207" y="519"/>
                        <a:pt x="205" y="519"/>
                        <a:pt x="205" y="519"/>
                      </a:cubicBezTo>
                      <a:cubicBezTo>
                        <a:pt x="205" y="519"/>
                        <a:pt x="204" y="517"/>
                        <a:pt x="205" y="516"/>
                      </a:cubicBezTo>
                      <a:cubicBezTo>
                        <a:pt x="206" y="515"/>
                        <a:pt x="205" y="515"/>
                        <a:pt x="207" y="514"/>
                      </a:cubicBezTo>
                      <a:cubicBezTo>
                        <a:pt x="208" y="513"/>
                        <a:pt x="209" y="513"/>
                        <a:pt x="210" y="513"/>
                      </a:cubicBezTo>
                      <a:cubicBezTo>
                        <a:pt x="210" y="512"/>
                        <a:pt x="211" y="511"/>
                        <a:pt x="212" y="511"/>
                      </a:cubicBezTo>
                      <a:cubicBezTo>
                        <a:pt x="213" y="511"/>
                        <a:pt x="218" y="508"/>
                        <a:pt x="218" y="508"/>
                      </a:cubicBezTo>
                      <a:cubicBezTo>
                        <a:pt x="219" y="506"/>
                        <a:pt x="219" y="506"/>
                        <a:pt x="219" y="506"/>
                      </a:cubicBezTo>
                      <a:cubicBezTo>
                        <a:pt x="219" y="506"/>
                        <a:pt x="216" y="503"/>
                        <a:pt x="216" y="503"/>
                      </a:cubicBezTo>
                      <a:cubicBezTo>
                        <a:pt x="216" y="503"/>
                        <a:pt x="211" y="499"/>
                        <a:pt x="211" y="499"/>
                      </a:cubicBezTo>
                      <a:cubicBezTo>
                        <a:pt x="211" y="499"/>
                        <a:pt x="209" y="499"/>
                        <a:pt x="209" y="498"/>
                      </a:cubicBezTo>
                      <a:cubicBezTo>
                        <a:pt x="209" y="498"/>
                        <a:pt x="207" y="496"/>
                        <a:pt x="207" y="496"/>
                      </a:cubicBezTo>
                      <a:cubicBezTo>
                        <a:pt x="205" y="491"/>
                        <a:pt x="203" y="495"/>
                        <a:pt x="199" y="493"/>
                      </a:cubicBezTo>
                      <a:cubicBezTo>
                        <a:pt x="199" y="493"/>
                        <a:pt x="197" y="489"/>
                        <a:pt x="197" y="489"/>
                      </a:cubicBezTo>
                      <a:cubicBezTo>
                        <a:pt x="197" y="489"/>
                        <a:pt x="199" y="489"/>
                        <a:pt x="199" y="488"/>
                      </a:cubicBezTo>
                      <a:cubicBezTo>
                        <a:pt x="199" y="486"/>
                        <a:pt x="197" y="484"/>
                        <a:pt x="197" y="484"/>
                      </a:cubicBezTo>
                      <a:cubicBezTo>
                        <a:pt x="195" y="482"/>
                        <a:pt x="195" y="482"/>
                        <a:pt x="195" y="482"/>
                      </a:cubicBezTo>
                      <a:cubicBezTo>
                        <a:pt x="191" y="478"/>
                        <a:pt x="192" y="487"/>
                        <a:pt x="189" y="479"/>
                      </a:cubicBezTo>
                      <a:cubicBezTo>
                        <a:pt x="189" y="479"/>
                        <a:pt x="188" y="479"/>
                        <a:pt x="187" y="477"/>
                      </a:cubicBezTo>
                      <a:cubicBezTo>
                        <a:pt x="186" y="476"/>
                        <a:pt x="183" y="473"/>
                        <a:pt x="183" y="473"/>
                      </a:cubicBezTo>
                      <a:cubicBezTo>
                        <a:pt x="183" y="473"/>
                        <a:pt x="182" y="470"/>
                        <a:pt x="182" y="470"/>
                      </a:cubicBezTo>
                      <a:cubicBezTo>
                        <a:pt x="181" y="470"/>
                        <a:pt x="180" y="467"/>
                        <a:pt x="180" y="467"/>
                      </a:cubicBezTo>
                      <a:cubicBezTo>
                        <a:pt x="175" y="470"/>
                        <a:pt x="175" y="470"/>
                        <a:pt x="175" y="470"/>
                      </a:cubicBezTo>
                      <a:cubicBezTo>
                        <a:pt x="172" y="473"/>
                        <a:pt x="172" y="473"/>
                        <a:pt x="172" y="473"/>
                      </a:cubicBezTo>
                      <a:cubicBezTo>
                        <a:pt x="172" y="473"/>
                        <a:pt x="171" y="471"/>
                        <a:pt x="171" y="471"/>
                      </a:cubicBezTo>
                      <a:cubicBezTo>
                        <a:pt x="171" y="471"/>
                        <a:pt x="171" y="467"/>
                        <a:pt x="171" y="467"/>
                      </a:cubicBezTo>
                      <a:cubicBezTo>
                        <a:pt x="171" y="467"/>
                        <a:pt x="168" y="466"/>
                        <a:pt x="167" y="466"/>
                      </a:cubicBezTo>
                      <a:cubicBezTo>
                        <a:pt x="167" y="466"/>
                        <a:pt x="164" y="466"/>
                        <a:pt x="164" y="466"/>
                      </a:cubicBezTo>
                      <a:cubicBezTo>
                        <a:pt x="160" y="465"/>
                        <a:pt x="160" y="465"/>
                        <a:pt x="160" y="465"/>
                      </a:cubicBezTo>
                      <a:cubicBezTo>
                        <a:pt x="160" y="462"/>
                        <a:pt x="160" y="462"/>
                        <a:pt x="160" y="462"/>
                      </a:cubicBezTo>
                      <a:cubicBezTo>
                        <a:pt x="160" y="462"/>
                        <a:pt x="162" y="460"/>
                        <a:pt x="161" y="459"/>
                      </a:cubicBezTo>
                      <a:cubicBezTo>
                        <a:pt x="161" y="458"/>
                        <a:pt x="158" y="456"/>
                        <a:pt x="158" y="456"/>
                      </a:cubicBezTo>
                      <a:cubicBezTo>
                        <a:pt x="158" y="454"/>
                        <a:pt x="158" y="454"/>
                        <a:pt x="158" y="454"/>
                      </a:cubicBezTo>
                      <a:cubicBezTo>
                        <a:pt x="155" y="450"/>
                        <a:pt x="155" y="450"/>
                        <a:pt x="155" y="450"/>
                      </a:cubicBezTo>
                      <a:cubicBezTo>
                        <a:pt x="155" y="450"/>
                        <a:pt x="157" y="447"/>
                        <a:pt x="157" y="447"/>
                      </a:cubicBezTo>
                      <a:cubicBezTo>
                        <a:pt x="157" y="446"/>
                        <a:pt x="153" y="437"/>
                        <a:pt x="153" y="437"/>
                      </a:cubicBezTo>
                      <a:cubicBezTo>
                        <a:pt x="153" y="437"/>
                        <a:pt x="155" y="433"/>
                        <a:pt x="155" y="432"/>
                      </a:cubicBezTo>
                      <a:cubicBezTo>
                        <a:pt x="155" y="432"/>
                        <a:pt x="153" y="428"/>
                        <a:pt x="153" y="428"/>
                      </a:cubicBezTo>
                      <a:cubicBezTo>
                        <a:pt x="151" y="428"/>
                        <a:pt x="151" y="428"/>
                        <a:pt x="151" y="428"/>
                      </a:cubicBezTo>
                      <a:cubicBezTo>
                        <a:pt x="151" y="424"/>
                        <a:pt x="151" y="424"/>
                        <a:pt x="151" y="424"/>
                      </a:cubicBezTo>
                      <a:cubicBezTo>
                        <a:pt x="152" y="421"/>
                        <a:pt x="152" y="421"/>
                        <a:pt x="152" y="421"/>
                      </a:cubicBezTo>
                      <a:cubicBezTo>
                        <a:pt x="150" y="419"/>
                        <a:pt x="150" y="419"/>
                        <a:pt x="150" y="419"/>
                      </a:cubicBezTo>
                      <a:cubicBezTo>
                        <a:pt x="150" y="419"/>
                        <a:pt x="151" y="417"/>
                        <a:pt x="152" y="417"/>
                      </a:cubicBezTo>
                      <a:cubicBezTo>
                        <a:pt x="152" y="417"/>
                        <a:pt x="152" y="413"/>
                        <a:pt x="152" y="413"/>
                      </a:cubicBezTo>
                      <a:cubicBezTo>
                        <a:pt x="152" y="413"/>
                        <a:pt x="153" y="411"/>
                        <a:pt x="154" y="411"/>
                      </a:cubicBezTo>
                      <a:cubicBezTo>
                        <a:pt x="154" y="411"/>
                        <a:pt x="157" y="413"/>
                        <a:pt x="157" y="413"/>
                      </a:cubicBezTo>
                      <a:cubicBezTo>
                        <a:pt x="157" y="413"/>
                        <a:pt x="160" y="414"/>
                        <a:pt x="160" y="413"/>
                      </a:cubicBezTo>
                      <a:cubicBezTo>
                        <a:pt x="160" y="413"/>
                        <a:pt x="159" y="410"/>
                        <a:pt x="159" y="410"/>
                      </a:cubicBezTo>
                      <a:cubicBezTo>
                        <a:pt x="159" y="409"/>
                        <a:pt x="157" y="407"/>
                        <a:pt x="157" y="407"/>
                      </a:cubicBezTo>
                      <a:cubicBezTo>
                        <a:pt x="156" y="406"/>
                        <a:pt x="156" y="401"/>
                        <a:pt x="156" y="401"/>
                      </a:cubicBezTo>
                      <a:cubicBezTo>
                        <a:pt x="156" y="401"/>
                        <a:pt x="154" y="397"/>
                        <a:pt x="155" y="397"/>
                      </a:cubicBezTo>
                      <a:cubicBezTo>
                        <a:pt x="155" y="397"/>
                        <a:pt x="156" y="395"/>
                        <a:pt x="156" y="395"/>
                      </a:cubicBezTo>
                      <a:cubicBezTo>
                        <a:pt x="157" y="388"/>
                        <a:pt x="157" y="388"/>
                        <a:pt x="157" y="388"/>
                      </a:cubicBezTo>
                      <a:cubicBezTo>
                        <a:pt x="158" y="382"/>
                        <a:pt x="158" y="382"/>
                        <a:pt x="158" y="382"/>
                      </a:cubicBezTo>
                      <a:cubicBezTo>
                        <a:pt x="155" y="379"/>
                        <a:pt x="155" y="379"/>
                        <a:pt x="155" y="379"/>
                      </a:cubicBezTo>
                      <a:cubicBezTo>
                        <a:pt x="154" y="377"/>
                        <a:pt x="154" y="377"/>
                        <a:pt x="154" y="377"/>
                      </a:cubicBezTo>
                      <a:cubicBezTo>
                        <a:pt x="152" y="375"/>
                        <a:pt x="152" y="375"/>
                        <a:pt x="152" y="375"/>
                      </a:cubicBezTo>
                      <a:cubicBezTo>
                        <a:pt x="154" y="369"/>
                        <a:pt x="154" y="369"/>
                        <a:pt x="154" y="369"/>
                      </a:cubicBezTo>
                      <a:cubicBezTo>
                        <a:pt x="158" y="369"/>
                        <a:pt x="158" y="369"/>
                        <a:pt x="158" y="369"/>
                      </a:cubicBezTo>
                      <a:cubicBezTo>
                        <a:pt x="160" y="366"/>
                        <a:pt x="160" y="366"/>
                        <a:pt x="160" y="366"/>
                      </a:cubicBezTo>
                      <a:cubicBezTo>
                        <a:pt x="160" y="366"/>
                        <a:pt x="163" y="364"/>
                        <a:pt x="163" y="363"/>
                      </a:cubicBezTo>
                      <a:cubicBezTo>
                        <a:pt x="163" y="363"/>
                        <a:pt x="164" y="359"/>
                        <a:pt x="164" y="359"/>
                      </a:cubicBezTo>
                      <a:cubicBezTo>
                        <a:pt x="163" y="356"/>
                        <a:pt x="163" y="356"/>
                        <a:pt x="163" y="356"/>
                      </a:cubicBezTo>
                      <a:cubicBezTo>
                        <a:pt x="165" y="357"/>
                        <a:pt x="165" y="357"/>
                        <a:pt x="165" y="357"/>
                      </a:cubicBezTo>
                      <a:cubicBezTo>
                        <a:pt x="165" y="354"/>
                        <a:pt x="165" y="354"/>
                        <a:pt x="165" y="354"/>
                      </a:cubicBezTo>
                      <a:cubicBezTo>
                        <a:pt x="165" y="354"/>
                        <a:pt x="166" y="351"/>
                        <a:pt x="166" y="351"/>
                      </a:cubicBezTo>
                      <a:cubicBezTo>
                        <a:pt x="167" y="351"/>
                        <a:pt x="168" y="350"/>
                        <a:pt x="168" y="350"/>
                      </a:cubicBezTo>
                      <a:cubicBezTo>
                        <a:pt x="168" y="350"/>
                        <a:pt x="170" y="346"/>
                        <a:pt x="170" y="346"/>
                      </a:cubicBezTo>
                      <a:cubicBezTo>
                        <a:pt x="170" y="346"/>
                        <a:pt x="171" y="347"/>
                        <a:pt x="172" y="346"/>
                      </a:cubicBezTo>
                      <a:cubicBezTo>
                        <a:pt x="173" y="345"/>
                        <a:pt x="173" y="345"/>
                        <a:pt x="173" y="344"/>
                      </a:cubicBezTo>
                      <a:cubicBezTo>
                        <a:pt x="174" y="342"/>
                        <a:pt x="176" y="338"/>
                        <a:pt x="176" y="338"/>
                      </a:cubicBezTo>
                      <a:cubicBezTo>
                        <a:pt x="176" y="338"/>
                        <a:pt x="176" y="337"/>
                        <a:pt x="176" y="336"/>
                      </a:cubicBezTo>
                      <a:cubicBezTo>
                        <a:pt x="177" y="336"/>
                        <a:pt x="179" y="336"/>
                        <a:pt x="179" y="335"/>
                      </a:cubicBezTo>
                      <a:cubicBezTo>
                        <a:pt x="178" y="334"/>
                        <a:pt x="176" y="331"/>
                        <a:pt x="176" y="331"/>
                      </a:cubicBezTo>
                      <a:cubicBezTo>
                        <a:pt x="179" y="328"/>
                        <a:pt x="179" y="328"/>
                        <a:pt x="179" y="328"/>
                      </a:cubicBezTo>
                      <a:cubicBezTo>
                        <a:pt x="179" y="328"/>
                        <a:pt x="182" y="325"/>
                        <a:pt x="182" y="325"/>
                      </a:cubicBezTo>
                      <a:cubicBezTo>
                        <a:pt x="182" y="326"/>
                        <a:pt x="183" y="326"/>
                        <a:pt x="184" y="325"/>
                      </a:cubicBezTo>
                      <a:cubicBezTo>
                        <a:pt x="184" y="325"/>
                        <a:pt x="185" y="324"/>
                        <a:pt x="186" y="323"/>
                      </a:cubicBezTo>
                      <a:cubicBezTo>
                        <a:pt x="186" y="323"/>
                        <a:pt x="187" y="322"/>
                        <a:pt x="188" y="322"/>
                      </a:cubicBezTo>
                      <a:cubicBezTo>
                        <a:pt x="188" y="321"/>
                        <a:pt x="189" y="319"/>
                        <a:pt x="189" y="318"/>
                      </a:cubicBezTo>
                      <a:cubicBezTo>
                        <a:pt x="189" y="318"/>
                        <a:pt x="191" y="313"/>
                        <a:pt x="191" y="313"/>
                      </a:cubicBezTo>
                      <a:cubicBezTo>
                        <a:pt x="191" y="310"/>
                        <a:pt x="191" y="310"/>
                        <a:pt x="191" y="310"/>
                      </a:cubicBezTo>
                      <a:cubicBezTo>
                        <a:pt x="192" y="309"/>
                        <a:pt x="192" y="309"/>
                        <a:pt x="192" y="309"/>
                      </a:cubicBezTo>
                      <a:cubicBezTo>
                        <a:pt x="194" y="307"/>
                        <a:pt x="194" y="307"/>
                        <a:pt x="194" y="307"/>
                      </a:cubicBezTo>
                      <a:cubicBezTo>
                        <a:pt x="194" y="307"/>
                        <a:pt x="196" y="306"/>
                        <a:pt x="196" y="307"/>
                      </a:cubicBezTo>
                      <a:cubicBezTo>
                        <a:pt x="196" y="307"/>
                        <a:pt x="195" y="309"/>
                        <a:pt x="195" y="309"/>
                      </a:cubicBezTo>
                      <a:cubicBezTo>
                        <a:pt x="198" y="309"/>
                        <a:pt x="198" y="309"/>
                        <a:pt x="198" y="309"/>
                      </a:cubicBezTo>
                      <a:cubicBezTo>
                        <a:pt x="198" y="309"/>
                        <a:pt x="198" y="307"/>
                        <a:pt x="198" y="308"/>
                      </a:cubicBezTo>
                      <a:cubicBezTo>
                        <a:pt x="199" y="308"/>
                        <a:pt x="200" y="309"/>
                        <a:pt x="200" y="309"/>
                      </a:cubicBezTo>
                      <a:cubicBezTo>
                        <a:pt x="200" y="308"/>
                        <a:pt x="201" y="306"/>
                        <a:pt x="201" y="306"/>
                      </a:cubicBezTo>
                      <a:cubicBezTo>
                        <a:pt x="201" y="303"/>
                        <a:pt x="201" y="303"/>
                        <a:pt x="201" y="303"/>
                      </a:cubicBezTo>
                      <a:cubicBezTo>
                        <a:pt x="201" y="303"/>
                        <a:pt x="203" y="301"/>
                        <a:pt x="204" y="300"/>
                      </a:cubicBezTo>
                      <a:cubicBezTo>
                        <a:pt x="204" y="299"/>
                        <a:pt x="207" y="296"/>
                        <a:pt x="207" y="296"/>
                      </a:cubicBezTo>
                      <a:cubicBezTo>
                        <a:pt x="210" y="295"/>
                        <a:pt x="210" y="295"/>
                        <a:pt x="210" y="295"/>
                      </a:cubicBezTo>
                      <a:cubicBezTo>
                        <a:pt x="210" y="295"/>
                        <a:pt x="211" y="294"/>
                        <a:pt x="212" y="294"/>
                      </a:cubicBezTo>
                      <a:cubicBezTo>
                        <a:pt x="212" y="294"/>
                        <a:pt x="215" y="290"/>
                        <a:pt x="215" y="290"/>
                      </a:cubicBezTo>
                      <a:cubicBezTo>
                        <a:pt x="215" y="290"/>
                        <a:pt x="215" y="289"/>
                        <a:pt x="216" y="288"/>
                      </a:cubicBezTo>
                      <a:cubicBezTo>
                        <a:pt x="216" y="287"/>
                        <a:pt x="218" y="287"/>
                        <a:pt x="218" y="286"/>
                      </a:cubicBezTo>
                      <a:cubicBezTo>
                        <a:pt x="219" y="286"/>
                        <a:pt x="221" y="281"/>
                        <a:pt x="221" y="281"/>
                      </a:cubicBezTo>
                      <a:cubicBezTo>
                        <a:pt x="221" y="281"/>
                        <a:pt x="222" y="281"/>
                        <a:pt x="222" y="280"/>
                      </a:cubicBezTo>
                      <a:cubicBezTo>
                        <a:pt x="222" y="278"/>
                        <a:pt x="223" y="276"/>
                        <a:pt x="223" y="276"/>
                      </a:cubicBezTo>
                      <a:cubicBezTo>
                        <a:pt x="225" y="272"/>
                        <a:pt x="225" y="272"/>
                        <a:pt x="225" y="272"/>
                      </a:cubicBezTo>
                      <a:cubicBezTo>
                        <a:pt x="225" y="266"/>
                        <a:pt x="225" y="266"/>
                        <a:pt x="225" y="266"/>
                      </a:cubicBezTo>
                      <a:cubicBezTo>
                        <a:pt x="227" y="261"/>
                        <a:pt x="227" y="261"/>
                        <a:pt x="227" y="261"/>
                      </a:cubicBezTo>
                      <a:cubicBezTo>
                        <a:pt x="227" y="261"/>
                        <a:pt x="228" y="260"/>
                        <a:pt x="228" y="259"/>
                      </a:cubicBezTo>
                      <a:cubicBezTo>
                        <a:pt x="229" y="259"/>
                        <a:pt x="230" y="256"/>
                        <a:pt x="230" y="256"/>
                      </a:cubicBezTo>
                      <a:cubicBezTo>
                        <a:pt x="230" y="256"/>
                        <a:pt x="233" y="252"/>
                        <a:pt x="233" y="252"/>
                      </a:cubicBezTo>
                      <a:cubicBezTo>
                        <a:pt x="233" y="252"/>
                        <a:pt x="234" y="249"/>
                        <a:pt x="234" y="248"/>
                      </a:cubicBezTo>
                      <a:cubicBezTo>
                        <a:pt x="235" y="248"/>
                        <a:pt x="235" y="248"/>
                        <a:pt x="235" y="248"/>
                      </a:cubicBezTo>
                      <a:cubicBezTo>
                        <a:pt x="235" y="245"/>
                        <a:pt x="235" y="245"/>
                        <a:pt x="235" y="245"/>
                      </a:cubicBezTo>
                      <a:cubicBezTo>
                        <a:pt x="233" y="241"/>
                        <a:pt x="233" y="241"/>
                        <a:pt x="233" y="241"/>
                      </a:cubicBezTo>
                      <a:cubicBezTo>
                        <a:pt x="229" y="238"/>
                        <a:pt x="229" y="238"/>
                        <a:pt x="229" y="238"/>
                      </a:cubicBezTo>
                      <a:cubicBezTo>
                        <a:pt x="226" y="238"/>
                        <a:pt x="226" y="238"/>
                        <a:pt x="226" y="238"/>
                      </a:cubicBezTo>
                      <a:cubicBezTo>
                        <a:pt x="224" y="236"/>
                        <a:pt x="224" y="236"/>
                        <a:pt x="224" y="236"/>
                      </a:cubicBezTo>
                      <a:cubicBezTo>
                        <a:pt x="225" y="234"/>
                        <a:pt x="225" y="234"/>
                        <a:pt x="225" y="234"/>
                      </a:cubicBezTo>
                      <a:cubicBezTo>
                        <a:pt x="223" y="231"/>
                        <a:pt x="223" y="231"/>
                        <a:pt x="223" y="231"/>
                      </a:cubicBezTo>
                      <a:cubicBezTo>
                        <a:pt x="222" y="229"/>
                        <a:pt x="222" y="229"/>
                        <a:pt x="222" y="229"/>
                      </a:cubicBezTo>
                      <a:cubicBezTo>
                        <a:pt x="220" y="227"/>
                        <a:pt x="220" y="227"/>
                        <a:pt x="220" y="227"/>
                      </a:cubicBezTo>
                      <a:cubicBezTo>
                        <a:pt x="220" y="227"/>
                        <a:pt x="222" y="224"/>
                        <a:pt x="222" y="224"/>
                      </a:cubicBezTo>
                      <a:cubicBezTo>
                        <a:pt x="222" y="224"/>
                        <a:pt x="223" y="223"/>
                        <a:pt x="223" y="222"/>
                      </a:cubicBezTo>
                      <a:cubicBezTo>
                        <a:pt x="223" y="222"/>
                        <a:pt x="225" y="219"/>
                        <a:pt x="225" y="219"/>
                      </a:cubicBezTo>
                      <a:cubicBezTo>
                        <a:pt x="225" y="219"/>
                        <a:pt x="227" y="216"/>
                        <a:pt x="227" y="216"/>
                      </a:cubicBezTo>
                      <a:cubicBezTo>
                        <a:pt x="227" y="216"/>
                        <a:pt x="228" y="215"/>
                        <a:pt x="228" y="214"/>
                      </a:cubicBezTo>
                      <a:cubicBezTo>
                        <a:pt x="228" y="213"/>
                        <a:pt x="227" y="209"/>
                        <a:pt x="227" y="209"/>
                      </a:cubicBezTo>
                      <a:cubicBezTo>
                        <a:pt x="227" y="209"/>
                        <a:pt x="227" y="206"/>
                        <a:pt x="228" y="206"/>
                      </a:cubicBezTo>
                      <a:cubicBezTo>
                        <a:pt x="228" y="205"/>
                        <a:pt x="229" y="204"/>
                        <a:pt x="229" y="204"/>
                      </a:cubicBezTo>
                      <a:cubicBezTo>
                        <a:pt x="229" y="204"/>
                        <a:pt x="230" y="204"/>
                        <a:pt x="231" y="205"/>
                      </a:cubicBezTo>
                      <a:cubicBezTo>
                        <a:pt x="232" y="205"/>
                        <a:pt x="232" y="203"/>
                        <a:pt x="232" y="203"/>
                      </a:cubicBezTo>
                      <a:cubicBezTo>
                        <a:pt x="232" y="203"/>
                        <a:pt x="232" y="200"/>
                        <a:pt x="231" y="200"/>
                      </a:cubicBezTo>
                      <a:cubicBezTo>
                        <a:pt x="230" y="200"/>
                        <a:pt x="229" y="198"/>
                        <a:pt x="229" y="198"/>
                      </a:cubicBezTo>
                      <a:cubicBezTo>
                        <a:pt x="229" y="198"/>
                        <a:pt x="230" y="197"/>
                        <a:pt x="230" y="197"/>
                      </a:cubicBezTo>
                      <a:cubicBezTo>
                        <a:pt x="230" y="196"/>
                        <a:pt x="232" y="195"/>
                        <a:pt x="232" y="195"/>
                      </a:cubicBezTo>
                      <a:cubicBezTo>
                        <a:pt x="235" y="194"/>
                        <a:pt x="235" y="194"/>
                        <a:pt x="235" y="194"/>
                      </a:cubicBezTo>
                      <a:cubicBezTo>
                        <a:pt x="234" y="191"/>
                        <a:pt x="234" y="191"/>
                        <a:pt x="234" y="191"/>
                      </a:cubicBezTo>
                      <a:cubicBezTo>
                        <a:pt x="234" y="188"/>
                        <a:pt x="234" y="188"/>
                        <a:pt x="234" y="188"/>
                      </a:cubicBezTo>
                      <a:cubicBezTo>
                        <a:pt x="234" y="188"/>
                        <a:pt x="238" y="189"/>
                        <a:pt x="238" y="189"/>
                      </a:cubicBezTo>
                      <a:cubicBezTo>
                        <a:pt x="238" y="190"/>
                        <a:pt x="239" y="192"/>
                        <a:pt x="240" y="192"/>
                      </a:cubicBezTo>
                      <a:cubicBezTo>
                        <a:pt x="240" y="191"/>
                        <a:pt x="240" y="189"/>
                        <a:pt x="240" y="189"/>
                      </a:cubicBezTo>
                      <a:cubicBezTo>
                        <a:pt x="240" y="189"/>
                        <a:pt x="241" y="186"/>
                        <a:pt x="242" y="187"/>
                      </a:cubicBezTo>
                      <a:cubicBezTo>
                        <a:pt x="244" y="188"/>
                        <a:pt x="245" y="186"/>
                        <a:pt x="246" y="186"/>
                      </a:cubicBezTo>
                      <a:cubicBezTo>
                        <a:pt x="246" y="185"/>
                        <a:pt x="247" y="183"/>
                        <a:pt x="247" y="183"/>
                      </a:cubicBezTo>
                      <a:cubicBezTo>
                        <a:pt x="247" y="183"/>
                        <a:pt x="248" y="180"/>
                        <a:pt x="247" y="179"/>
                      </a:cubicBezTo>
                      <a:cubicBezTo>
                        <a:pt x="246" y="179"/>
                        <a:pt x="245" y="179"/>
                        <a:pt x="245" y="178"/>
                      </a:cubicBezTo>
                      <a:cubicBezTo>
                        <a:pt x="245" y="178"/>
                        <a:pt x="246" y="176"/>
                        <a:pt x="247" y="176"/>
                      </a:cubicBezTo>
                      <a:cubicBezTo>
                        <a:pt x="248" y="176"/>
                        <a:pt x="248" y="176"/>
                        <a:pt x="250" y="175"/>
                      </a:cubicBezTo>
                      <a:cubicBezTo>
                        <a:pt x="251" y="174"/>
                        <a:pt x="251" y="173"/>
                        <a:pt x="251" y="173"/>
                      </a:cubicBezTo>
                      <a:cubicBezTo>
                        <a:pt x="251" y="173"/>
                        <a:pt x="254" y="172"/>
                        <a:pt x="254" y="172"/>
                      </a:cubicBezTo>
                      <a:cubicBezTo>
                        <a:pt x="258" y="170"/>
                        <a:pt x="258" y="170"/>
                        <a:pt x="258" y="170"/>
                      </a:cubicBezTo>
                      <a:cubicBezTo>
                        <a:pt x="258" y="168"/>
                        <a:pt x="258" y="168"/>
                        <a:pt x="258" y="168"/>
                      </a:cubicBezTo>
                      <a:cubicBezTo>
                        <a:pt x="258" y="168"/>
                        <a:pt x="260" y="168"/>
                        <a:pt x="260" y="168"/>
                      </a:cubicBezTo>
                      <a:cubicBezTo>
                        <a:pt x="261" y="168"/>
                        <a:pt x="262" y="169"/>
                        <a:pt x="262" y="169"/>
                      </a:cubicBezTo>
                      <a:cubicBezTo>
                        <a:pt x="262" y="169"/>
                        <a:pt x="264" y="169"/>
                        <a:pt x="264" y="169"/>
                      </a:cubicBezTo>
                      <a:cubicBezTo>
                        <a:pt x="264" y="168"/>
                        <a:pt x="263" y="167"/>
                        <a:pt x="264" y="167"/>
                      </a:cubicBezTo>
                      <a:cubicBezTo>
                        <a:pt x="265" y="168"/>
                        <a:pt x="265" y="168"/>
                        <a:pt x="265" y="169"/>
                      </a:cubicBezTo>
                      <a:cubicBezTo>
                        <a:pt x="266" y="169"/>
                        <a:pt x="266" y="169"/>
                        <a:pt x="266" y="169"/>
                      </a:cubicBezTo>
                      <a:cubicBezTo>
                        <a:pt x="267" y="169"/>
                        <a:pt x="268" y="170"/>
                        <a:pt x="269" y="171"/>
                      </a:cubicBezTo>
                      <a:cubicBezTo>
                        <a:pt x="269" y="171"/>
                        <a:pt x="269" y="172"/>
                        <a:pt x="269" y="173"/>
                      </a:cubicBezTo>
                      <a:cubicBezTo>
                        <a:pt x="269" y="174"/>
                        <a:pt x="269" y="174"/>
                        <a:pt x="269" y="175"/>
                      </a:cubicBezTo>
                      <a:cubicBezTo>
                        <a:pt x="269" y="176"/>
                        <a:pt x="269" y="176"/>
                        <a:pt x="269" y="176"/>
                      </a:cubicBezTo>
                      <a:cubicBezTo>
                        <a:pt x="269" y="176"/>
                        <a:pt x="272" y="178"/>
                        <a:pt x="272" y="177"/>
                      </a:cubicBezTo>
                      <a:cubicBezTo>
                        <a:pt x="272" y="176"/>
                        <a:pt x="272" y="177"/>
                        <a:pt x="272" y="175"/>
                      </a:cubicBezTo>
                      <a:cubicBezTo>
                        <a:pt x="271" y="174"/>
                        <a:pt x="272" y="173"/>
                        <a:pt x="272" y="172"/>
                      </a:cubicBezTo>
                      <a:cubicBezTo>
                        <a:pt x="271" y="171"/>
                        <a:pt x="270" y="169"/>
                        <a:pt x="270" y="168"/>
                      </a:cubicBezTo>
                      <a:cubicBezTo>
                        <a:pt x="270" y="168"/>
                        <a:pt x="271" y="167"/>
                        <a:pt x="272" y="167"/>
                      </a:cubicBezTo>
                      <a:cubicBezTo>
                        <a:pt x="273" y="167"/>
                        <a:pt x="272" y="166"/>
                        <a:pt x="273" y="167"/>
                      </a:cubicBezTo>
                      <a:cubicBezTo>
                        <a:pt x="274" y="168"/>
                        <a:pt x="274" y="169"/>
                        <a:pt x="275" y="169"/>
                      </a:cubicBezTo>
                      <a:cubicBezTo>
                        <a:pt x="276" y="169"/>
                        <a:pt x="276" y="169"/>
                        <a:pt x="276" y="169"/>
                      </a:cubicBezTo>
                      <a:cubicBezTo>
                        <a:pt x="276" y="170"/>
                        <a:pt x="277" y="171"/>
                        <a:pt x="277" y="172"/>
                      </a:cubicBezTo>
                      <a:cubicBezTo>
                        <a:pt x="277" y="173"/>
                        <a:pt x="277" y="173"/>
                        <a:pt x="277" y="174"/>
                      </a:cubicBezTo>
                      <a:cubicBezTo>
                        <a:pt x="277" y="174"/>
                        <a:pt x="279" y="177"/>
                        <a:pt x="279" y="177"/>
                      </a:cubicBezTo>
                      <a:cubicBezTo>
                        <a:pt x="279" y="177"/>
                        <a:pt x="281" y="175"/>
                        <a:pt x="281" y="175"/>
                      </a:cubicBezTo>
                      <a:cubicBezTo>
                        <a:pt x="281" y="174"/>
                        <a:pt x="281" y="173"/>
                        <a:pt x="281" y="173"/>
                      </a:cubicBezTo>
                      <a:cubicBezTo>
                        <a:pt x="281" y="172"/>
                        <a:pt x="281" y="171"/>
                        <a:pt x="281" y="171"/>
                      </a:cubicBezTo>
                      <a:cubicBezTo>
                        <a:pt x="281" y="170"/>
                        <a:pt x="278" y="167"/>
                        <a:pt x="278" y="167"/>
                      </a:cubicBezTo>
                      <a:cubicBezTo>
                        <a:pt x="278" y="167"/>
                        <a:pt x="278" y="166"/>
                        <a:pt x="279" y="165"/>
                      </a:cubicBezTo>
                      <a:cubicBezTo>
                        <a:pt x="279" y="165"/>
                        <a:pt x="280" y="164"/>
                        <a:pt x="282" y="163"/>
                      </a:cubicBezTo>
                      <a:cubicBezTo>
                        <a:pt x="276" y="150"/>
                        <a:pt x="276" y="150"/>
                        <a:pt x="276" y="150"/>
                      </a:cubicBezTo>
                      <a:cubicBezTo>
                        <a:pt x="270" y="147"/>
                        <a:pt x="270" y="147"/>
                        <a:pt x="270" y="147"/>
                      </a:cubicBezTo>
                      <a:cubicBezTo>
                        <a:pt x="266" y="143"/>
                        <a:pt x="266" y="143"/>
                        <a:pt x="266" y="143"/>
                      </a:cubicBezTo>
                      <a:cubicBezTo>
                        <a:pt x="266" y="138"/>
                        <a:pt x="266" y="138"/>
                        <a:pt x="266" y="138"/>
                      </a:cubicBezTo>
                      <a:cubicBezTo>
                        <a:pt x="263" y="134"/>
                        <a:pt x="263" y="134"/>
                        <a:pt x="263" y="134"/>
                      </a:cubicBezTo>
                      <a:cubicBezTo>
                        <a:pt x="263" y="134"/>
                        <a:pt x="264" y="131"/>
                        <a:pt x="264" y="130"/>
                      </a:cubicBezTo>
                      <a:cubicBezTo>
                        <a:pt x="265" y="129"/>
                        <a:pt x="267" y="124"/>
                        <a:pt x="267" y="124"/>
                      </a:cubicBezTo>
                      <a:cubicBezTo>
                        <a:pt x="267" y="124"/>
                        <a:pt x="266" y="120"/>
                        <a:pt x="266" y="119"/>
                      </a:cubicBezTo>
                      <a:cubicBezTo>
                        <a:pt x="266" y="118"/>
                        <a:pt x="267" y="113"/>
                        <a:pt x="267" y="113"/>
                      </a:cubicBezTo>
                      <a:cubicBezTo>
                        <a:pt x="266" y="108"/>
                        <a:pt x="266" y="108"/>
                        <a:pt x="266" y="108"/>
                      </a:cubicBezTo>
                      <a:cubicBezTo>
                        <a:pt x="254" y="94"/>
                        <a:pt x="254" y="94"/>
                        <a:pt x="254" y="94"/>
                      </a:cubicBezTo>
                      <a:cubicBezTo>
                        <a:pt x="255" y="88"/>
                        <a:pt x="255" y="88"/>
                        <a:pt x="255" y="88"/>
                      </a:cubicBezTo>
                      <a:cubicBezTo>
                        <a:pt x="255" y="88"/>
                        <a:pt x="255" y="88"/>
                        <a:pt x="255" y="88"/>
                      </a:cubicBezTo>
                      <a:close/>
                      <a:moveTo>
                        <a:pt x="165" y="710"/>
                      </a:moveTo>
                      <a:cubicBezTo>
                        <a:pt x="165" y="710"/>
                        <a:pt x="165" y="710"/>
                        <a:pt x="165" y="710"/>
                      </a:cubicBezTo>
                      <a:cubicBezTo>
                        <a:pt x="166" y="702"/>
                        <a:pt x="166" y="702"/>
                        <a:pt x="166" y="702"/>
                      </a:cubicBezTo>
                      <a:cubicBezTo>
                        <a:pt x="166" y="702"/>
                        <a:pt x="164" y="699"/>
                        <a:pt x="164" y="699"/>
                      </a:cubicBezTo>
                      <a:cubicBezTo>
                        <a:pt x="164" y="698"/>
                        <a:pt x="163" y="696"/>
                        <a:pt x="163" y="693"/>
                      </a:cubicBezTo>
                      <a:cubicBezTo>
                        <a:pt x="164" y="690"/>
                        <a:pt x="164" y="689"/>
                        <a:pt x="165" y="687"/>
                      </a:cubicBezTo>
                      <a:cubicBezTo>
                        <a:pt x="165" y="685"/>
                        <a:pt x="167" y="684"/>
                        <a:pt x="167" y="682"/>
                      </a:cubicBezTo>
                      <a:cubicBezTo>
                        <a:pt x="167" y="679"/>
                        <a:pt x="167" y="678"/>
                        <a:pt x="168" y="676"/>
                      </a:cubicBezTo>
                      <a:cubicBezTo>
                        <a:pt x="168" y="674"/>
                        <a:pt x="169" y="672"/>
                        <a:pt x="170" y="672"/>
                      </a:cubicBezTo>
                      <a:cubicBezTo>
                        <a:pt x="170" y="671"/>
                        <a:pt x="172" y="667"/>
                        <a:pt x="172" y="667"/>
                      </a:cubicBezTo>
                      <a:cubicBezTo>
                        <a:pt x="173" y="662"/>
                        <a:pt x="173" y="662"/>
                        <a:pt x="173" y="662"/>
                      </a:cubicBezTo>
                      <a:cubicBezTo>
                        <a:pt x="173" y="662"/>
                        <a:pt x="175" y="657"/>
                        <a:pt x="175" y="656"/>
                      </a:cubicBezTo>
                      <a:cubicBezTo>
                        <a:pt x="175" y="655"/>
                        <a:pt x="174" y="651"/>
                        <a:pt x="174" y="650"/>
                      </a:cubicBezTo>
                      <a:cubicBezTo>
                        <a:pt x="175" y="649"/>
                        <a:pt x="177" y="647"/>
                        <a:pt x="177" y="647"/>
                      </a:cubicBezTo>
                      <a:cubicBezTo>
                        <a:pt x="180" y="647"/>
                        <a:pt x="180" y="647"/>
                        <a:pt x="180" y="647"/>
                      </a:cubicBezTo>
                      <a:cubicBezTo>
                        <a:pt x="180" y="647"/>
                        <a:pt x="180" y="650"/>
                        <a:pt x="179" y="651"/>
                      </a:cubicBezTo>
                      <a:cubicBezTo>
                        <a:pt x="178" y="651"/>
                        <a:pt x="177" y="652"/>
                        <a:pt x="177" y="652"/>
                      </a:cubicBezTo>
                      <a:cubicBezTo>
                        <a:pt x="177" y="653"/>
                        <a:pt x="179" y="655"/>
                        <a:pt x="179" y="655"/>
                      </a:cubicBezTo>
                      <a:cubicBezTo>
                        <a:pt x="179" y="659"/>
                        <a:pt x="179" y="659"/>
                        <a:pt x="179" y="659"/>
                      </a:cubicBezTo>
                      <a:cubicBezTo>
                        <a:pt x="177" y="663"/>
                        <a:pt x="177" y="663"/>
                        <a:pt x="177" y="663"/>
                      </a:cubicBezTo>
                      <a:cubicBezTo>
                        <a:pt x="175" y="668"/>
                        <a:pt x="175" y="668"/>
                        <a:pt x="175" y="668"/>
                      </a:cubicBezTo>
                      <a:cubicBezTo>
                        <a:pt x="175" y="673"/>
                        <a:pt x="175" y="673"/>
                        <a:pt x="175" y="673"/>
                      </a:cubicBezTo>
                      <a:cubicBezTo>
                        <a:pt x="174" y="676"/>
                        <a:pt x="174" y="676"/>
                        <a:pt x="174" y="676"/>
                      </a:cubicBezTo>
                      <a:cubicBezTo>
                        <a:pt x="173" y="679"/>
                        <a:pt x="173" y="679"/>
                        <a:pt x="173" y="679"/>
                      </a:cubicBezTo>
                      <a:cubicBezTo>
                        <a:pt x="171" y="685"/>
                        <a:pt x="171" y="685"/>
                        <a:pt x="171" y="685"/>
                      </a:cubicBezTo>
                      <a:cubicBezTo>
                        <a:pt x="172" y="690"/>
                        <a:pt x="172" y="690"/>
                        <a:pt x="172" y="690"/>
                      </a:cubicBezTo>
                      <a:cubicBezTo>
                        <a:pt x="169" y="696"/>
                        <a:pt x="169" y="696"/>
                        <a:pt x="169" y="696"/>
                      </a:cubicBezTo>
                      <a:cubicBezTo>
                        <a:pt x="169" y="696"/>
                        <a:pt x="169" y="699"/>
                        <a:pt x="169" y="700"/>
                      </a:cubicBezTo>
                      <a:cubicBezTo>
                        <a:pt x="169" y="701"/>
                        <a:pt x="169" y="707"/>
                        <a:pt x="169" y="707"/>
                      </a:cubicBezTo>
                      <a:cubicBezTo>
                        <a:pt x="169" y="707"/>
                        <a:pt x="169" y="710"/>
                        <a:pt x="168" y="710"/>
                      </a:cubicBezTo>
                      <a:cubicBezTo>
                        <a:pt x="167" y="710"/>
                        <a:pt x="165" y="710"/>
                        <a:pt x="165" y="710"/>
                      </a:cubicBezTo>
                      <a:close/>
                      <a:moveTo>
                        <a:pt x="206" y="649"/>
                      </a:moveTo>
                      <a:cubicBezTo>
                        <a:pt x="206" y="649"/>
                        <a:pt x="206" y="649"/>
                        <a:pt x="206" y="649"/>
                      </a:cubicBezTo>
                      <a:cubicBezTo>
                        <a:pt x="205" y="647"/>
                        <a:pt x="205" y="647"/>
                        <a:pt x="205" y="647"/>
                      </a:cubicBezTo>
                      <a:cubicBezTo>
                        <a:pt x="208" y="646"/>
                        <a:pt x="208" y="646"/>
                        <a:pt x="208" y="646"/>
                      </a:cubicBezTo>
                      <a:cubicBezTo>
                        <a:pt x="208" y="646"/>
                        <a:pt x="207" y="642"/>
                        <a:pt x="207" y="641"/>
                      </a:cubicBezTo>
                      <a:cubicBezTo>
                        <a:pt x="207" y="640"/>
                        <a:pt x="206" y="641"/>
                        <a:pt x="205" y="639"/>
                      </a:cubicBezTo>
                      <a:cubicBezTo>
                        <a:pt x="204" y="638"/>
                        <a:pt x="204" y="635"/>
                        <a:pt x="204" y="635"/>
                      </a:cubicBezTo>
                      <a:cubicBezTo>
                        <a:pt x="204" y="634"/>
                        <a:pt x="205" y="631"/>
                        <a:pt x="205" y="631"/>
                      </a:cubicBezTo>
                      <a:cubicBezTo>
                        <a:pt x="205" y="631"/>
                        <a:pt x="208" y="627"/>
                        <a:pt x="210" y="625"/>
                      </a:cubicBezTo>
                      <a:cubicBezTo>
                        <a:pt x="213" y="622"/>
                        <a:pt x="212" y="622"/>
                        <a:pt x="212" y="620"/>
                      </a:cubicBezTo>
                      <a:cubicBezTo>
                        <a:pt x="211" y="619"/>
                        <a:pt x="213" y="618"/>
                        <a:pt x="213" y="618"/>
                      </a:cubicBezTo>
                      <a:cubicBezTo>
                        <a:pt x="216" y="615"/>
                        <a:pt x="216" y="615"/>
                        <a:pt x="216" y="615"/>
                      </a:cubicBezTo>
                      <a:cubicBezTo>
                        <a:pt x="218" y="610"/>
                        <a:pt x="218" y="610"/>
                        <a:pt x="218" y="610"/>
                      </a:cubicBezTo>
                      <a:cubicBezTo>
                        <a:pt x="218" y="610"/>
                        <a:pt x="221" y="613"/>
                        <a:pt x="221" y="613"/>
                      </a:cubicBezTo>
                      <a:cubicBezTo>
                        <a:pt x="222" y="613"/>
                        <a:pt x="222" y="612"/>
                        <a:pt x="222" y="611"/>
                      </a:cubicBezTo>
                      <a:cubicBezTo>
                        <a:pt x="222" y="610"/>
                        <a:pt x="224" y="610"/>
                        <a:pt x="224" y="610"/>
                      </a:cubicBezTo>
                      <a:cubicBezTo>
                        <a:pt x="225" y="610"/>
                        <a:pt x="228" y="609"/>
                        <a:pt x="228" y="609"/>
                      </a:cubicBezTo>
                      <a:cubicBezTo>
                        <a:pt x="229" y="607"/>
                        <a:pt x="229" y="607"/>
                        <a:pt x="229" y="607"/>
                      </a:cubicBezTo>
                      <a:cubicBezTo>
                        <a:pt x="229" y="607"/>
                        <a:pt x="233" y="606"/>
                        <a:pt x="235" y="607"/>
                      </a:cubicBezTo>
                      <a:cubicBezTo>
                        <a:pt x="236" y="608"/>
                        <a:pt x="234" y="608"/>
                        <a:pt x="234" y="609"/>
                      </a:cubicBezTo>
                      <a:cubicBezTo>
                        <a:pt x="234" y="610"/>
                        <a:pt x="234" y="610"/>
                        <a:pt x="234" y="611"/>
                      </a:cubicBezTo>
                      <a:cubicBezTo>
                        <a:pt x="234" y="612"/>
                        <a:pt x="233" y="613"/>
                        <a:pt x="230" y="613"/>
                      </a:cubicBezTo>
                      <a:cubicBezTo>
                        <a:pt x="227" y="614"/>
                        <a:pt x="229" y="616"/>
                        <a:pt x="229" y="616"/>
                      </a:cubicBezTo>
                      <a:cubicBezTo>
                        <a:pt x="229" y="616"/>
                        <a:pt x="229" y="620"/>
                        <a:pt x="229" y="620"/>
                      </a:cubicBezTo>
                      <a:cubicBezTo>
                        <a:pt x="228" y="621"/>
                        <a:pt x="226" y="623"/>
                        <a:pt x="224" y="623"/>
                      </a:cubicBezTo>
                      <a:cubicBezTo>
                        <a:pt x="223" y="624"/>
                        <a:pt x="223" y="626"/>
                        <a:pt x="223" y="626"/>
                      </a:cubicBezTo>
                      <a:cubicBezTo>
                        <a:pt x="223" y="627"/>
                        <a:pt x="224" y="629"/>
                        <a:pt x="224" y="631"/>
                      </a:cubicBezTo>
                      <a:cubicBezTo>
                        <a:pt x="224" y="632"/>
                        <a:pt x="224" y="632"/>
                        <a:pt x="225" y="634"/>
                      </a:cubicBezTo>
                      <a:cubicBezTo>
                        <a:pt x="225" y="635"/>
                        <a:pt x="227" y="635"/>
                        <a:pt x="228" y="635"/>
                      </a:cubicBezTo>
                      <a:cubicBezTo>
                        <a:pt x="228" y="636"/>
                        <a:pt x="230" y="638"/>
                        <a:pt x="229" y="639"/>
                      </a:cubicBezTo>
                      <a:cubicBezTo>
                        <a:pt x="228" y="640"/>
                        <a:pt x="227" y="641"/>
                        <a:pt x="226" y="641"/>
                      </a:cubicBezTo>
                      <a:cubicBezTo>
                        <a:pt x="226" y="642"/>
                        <a:pt x="224" y="645"/>
                        <a:pt x="224" y="645"/>
                      </a:cubicBezTo>
                      <a:cubicBezTo>
                        <a:pt x="224" y="645"/>
                        <a:pt x="225" y="647"/>
                        <a:pt x="224" y="649"/>
                      </a:cubicBezTo>
                      <a:cubicBezTo>
                        <a:pt x="224" y="651"/>
                        <a:pt x="222" y="650"/>
                        <a:pt x="221" y="651"/>
                      </a:cubicBezTo>
                      <a:cubicBezTo>
                        <a:pt x="221" y="651"/>
                        <a:pt x="218" y="654"/>
                        <a:pt x="218" y="654"/>
                      </a:cubicBezTo>
                      <a:cubicBezTo>
                        <a:pt x="217" y="654"/>
                        <a:pt x="216" y="658"/>
                        <a:pt x="216" y="660"/>
                      </a:cubicBezTo>
                      <a:cubicBezTo>
                        <a:pt x="216" y="661"/>
                        <a:pt x="216" y="663"/>
                        <a:pt x="216" y="664"/>
                      </a:cubicBezTo>
                      <a:cubicBezTo>
                        <a:pt x="216" y="665"/>
                        <a:pt x="216" y="664"/>
                        <a:pt x="214" y="667"/>
                      </a:cubicBezTo>
                      <a:cubicBezTo>
                        <a:pt x="211" y="670"/>
                        <a:pt x="212" y="668"/>
                        <a:pt x="209" y="667"/>
                      </a:cubicBezTo>
                      <a:cubicBezTo>
                        <a:pt x="205" y="667"/>
                        <a:pt x="209" y="666"/>
                        <a:pt x="210" y="664"/>
                      </a:cubicBezTo>
                      <a:cubicBezTo>
                        <a:pt x="211" y="662"/>
                        <a:pt x="212" y="660"/>
                        <a:pt x="212" y="660"/>
                      </a:cubicBezTo>
                      <a:cubicBezTo>
                        <a:pt x="211" y="656"/>
                        <a:pt x="211" y="656"/>
                        <a:pt x="211" y="656"/>
                      </a:cubicBezTo>
                      <a:cubicBezTo>
                        <a:pt x="209" y="653"/>
                        <a:pt x="209" y="653"/>
                        <a:pt x="209" y="653"/>
                      </a:cubicBezTo>
                      <a:lnTo>
                        <a:pt x="206" y="649"/>
                      </a:lnTo>
                      <a:close/>
                    </a:path>
                  </a:pathLst>
                </a:custGeom>
                <a:solidFill>
                  <a:schemeClr val="accent1"/>
                </a:solidFill>
                <a:ln w="12700" cap="rnd" cmpd="sng">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Lato Light"/>
                  </a:endParaRPr>
                </a:p>
              </p:txBody>
            </p:sp>
            <p:sp>
              <p:nvSpPr>
                <p:cNvPr id="237" name="Freeform 96">
                  <a:extLst>
                    <a:ext uri="{FF2B5EF4-FFF2-40B4-BE49-F238E27FC236}">
                      <a16:creationId xmlns:a16="http://schemas.microsoft.com/office/drawing/2014/main" id="{81006190-4FA6-FE65-7CA4-D7A9D973FF67}"/>
                    </a:ext>
                  </a:extLst>
                </p:cNvPr>
                <p:cNvSpPr>
                  <a:spLocks noEditPoints="1"/>
                </p:cNvSpPr>
                <p:nvPr/>
              </p:nvSpPr>
              <p:spPr bwMode="auto">
                <a:xfrm>
                  <a:off x="3501470" y="762000"/>
                  <a:ext cx="1550354" cy="2123558"/>
                </a:xfrm>
                <a:custGeom>
                  <a:avLst/>
                  <a:gdLst>
                    <a:gd name="T0" fmla="*/ 383 w 538"/>
                    <a:gd name="T1" fmla="*/ 61 h 760"/>
                    <a:gd name="T2" fmla="*/ 367 w 538"/>
                    <a:gd name="T3" fmla="*/ 127 h 760"/>
                    <a:gd name="T4" fmla="*/ 435 w 538"/>
                    <a:gd name="T5" fmla="*/ 150 h 760"/>
                    <a:gd name="T6" fmla="*/ 438 w 538"/>
                    <a:gd name="T7" fmla="*/ 149 h 760"/>
                    <a:gd name="T8" fmla="*/ 438 w 538"/>
                    <a:gd name="T9" fmla="*/ 148 h 760"/>
                    <a:gd name="T10" fmla="*/ 443 w 538"/>
                    <a:gd name="T11" fmla="*/ 86 h 760"/>
                    <a:gd name="T12" fmla="*/ 500 w 538"/>
                    <a:gd name="T13" fmla="*/ 70 h 760"/>
                    <a:gd name="T14" fmla="*/ 509 w 538"/>
                    <a:gd name="T15" fmla="*/ 106 h 760"/>
                    <a:gd name="T16" fmla="*/ 499 w 538"/>
                    <a:gd name="T17" fmla="*/ 50 h 760"/>
                    <a:gd name="T18" fmla="*/ 468 w 538"/>
                    <a:gd name="T19" fmla="*/ 9 h 760"/>
                    <a:gd name="T20" fmla="*/ 444 w 538"/>
                    <a:gd name="T21" fmla="*/ 21 h 760"/>
                    <a:gd name="T22" fmla="*/ 425 w 538"/>
                    <a:gd name="T23" fmla="*/ 23 h 760"/>
                    <a:gd name="T24" fmla="*/ 400 w 538"/>
                    <a:gd name="T25" fmla="*/ 33 h 760"/>
                    <a:gd name="T26" fmla="*/ 377 w 538"/>
                    <a:gd name="T27" fmla="*/ 69 h 760"/>
                    <a:gd name="T28" fmla="*/ 361 w 538"/>
                    <a:gd name="T29" fmla="*/ 85 h 760"/>
                    <a:gd name="T30" fmla="*/ 328 w 538"/>
                    <a:gd name="T31" fmla="*/ 96 h 760"/>
                    <a:gd name="T32" fmla="*/ 298 w 538"/>
                    <a:gd name="T33" fmla="*/ 115 h 760"/>
                    <a:gd name="T34" fmla="*/ 281 w 538"/>
                    <a:gd name="T35" fmla="*/ 161 h 760"/>
                    <a:gd name="T36" fmla="*/ 241 w 538"/>
                    <a:gd name="T37" fmla="*/ 187 h 760"/>
                    <a:gd name="T38" fmla="*/ 235 w 538"/>
                    <a:gd name="T39" fmla="*/ 201 h 760"/>
                    <a:gd name="T40" fmla="*/ 241 w 538"/>
                    <a:gd name="T41" fmla="*/ 223 h 760"/>
                    <a:gd name="T42" fmla="*/ 235 w 538"/>
                    <a:gd name="T43" fmla="*/ 256 h 760"/>
                    <a:gd name="T44" fmla="*/ 219 w 538"/>
                    <a:gd name="T45" fmla="*/ 306 h 760"/>
                    <a:gd name="T46" fmla="*/ 193 w 538"/>
                    <a:gd name="T47" fmla="*/ 362 h 760"/>
                    <a:gd name="T48" fmla="*/ 174 w 538"/>
                    <a:gd name="T49" fmla="*/ 390 h 760"/>
                    <a:gd name="T50" fmla="*/ 145 w 538"/>
                    <a:gd name="T51" fmla="*/ 436 h 760"/>
                    <a:gd name="T52" fmla="*/ 139 w 538"/>
                    <a:gd name="T53" fmla="*/ 456 h 760"/>
                    <a:gd name="T54" fmla="*/ 97 w 538"/>
                    <a:gd name="T55" fmla="*/ 474 h 760"/>
                    <a:gd name="T56" fmla="*/ 59 w 538"/>
                    <a:gd name="T57" fmla="*/ 500 h 760"/>
                    <a:gd name="T58" fmla="*/ 24 w 538"/>
                    <a:gd name="T59" fmla="*/ 527 h 760"/>
                    <a:gd name="T60" fmla="*/ 14 w 538"/>
                    <a:gd name="T61" fmla="*/ 551 h 760"/>
                    <a:gd name="T62" fmla="*/ 4 w 538"/>
                    <a:gd name="T63" fmla="*/ 599 h 760"/>
                    <a:gd name="T64" fmla="*/ 13 w 538"/>
                    <a:gd name="T65" fmla="*/ 650 h 760"/>
                    <a:gd name="T66" fmla="*/ 22 w 538"/>
                    <a:gd name="T67" fmla="*/ 686 h 760"/>
                    <a:gd name="T68" fmla="*/ 33 w 538"/>
                    <a:gd name="T69" fmla="*/ 742 h 760"/>
                    <a:gd name="T70" fmla="*/ 96 w 538"/>
                    <a:gd name="T71" fmla="*/ 747 h 760"/>
                    <a:gd name="T72" fmla="*/ 173 w 538"/>
                    <a:gd name="T73" fmla="*/ 704 h 760"/>
                    <a:gd name="T74" fmla="*/ 188 w 538"/>
                    <a:gd name="T75" fmla="*/ 671 h 760"/>
                    <a:gd name="T76" fmla="*/ 193 w 538"/>
                    <a:gd name="T77" fmla="*/ 655 h 760"/>
                    <a:gd name="T78" fmla="*/ 193 w 538"/>
                    <a:gd name="T79" fmla="*/ 655 h 760"/>
                    <a:gd name="T80" fmla="*/ 207 w 538"/>
                    <a:gd name="T81" fmla="*/ 644 h 760"/>
                    <a:gd name="T82" fmla="*/ 212 w 538"/>
                    <a:gd name="T83" fmla="*/ 590 h 760"/>
                    <a:gd name="T84" fmla="*/ 213 w 538"/>
                    <a:gd name="T85" fmla="*/ 589 h 760"/>
                    <a:gd name="T86" fmla="*/ 213 w 538"/>
                    <a:gd name="T87" fmla="*/ 586 h 760"/>
                    <a:gd name="T88" fmla="*/ 213 w 538"/>
                    <a:gd name="T89" fmla="*/ 584 h 760"/>
                    <a:gd name="T90" fmla="*/ 214 w 538"/>
                    <a:gd name="T91" fmla="*/ 582 h 760"/>
                    <a:gd name="T92" fmla="*/ 189 w 538"/>
                    <a:gd name="T93" fmla="*/ 510 h 760"/>
                    <a:gd name="T94" fmla="*/ 231 w 538"/>
                    <a:gd name="T95" fmla="*/ 427 h 760"/>
                    <a:gd name="T96" fmla="*/ 240 w 538"/>
                    <a:gd name="T97" fmla="*/ 314 h 760"/>
                    <a:gd name="T98" fmla="*/ 275 w 538"/>
                    <a:gd name="T99" fmla="*/ 228 h 760"/>
                    <a:gd name="T100" fmla="*/ 275 w 538"/>
                    <a:gd name="T101" fmla="*/ 220 h 760"/>
                    <a:gd name="T102" fmla="*/ 275 w 538"/>
                    <a:gd name="T103" fmla="*/ 218 h 760"/>
                    <a:gd name="T104" fmla="*/ 276 w 538"/>
                    <a:gd name="T105" fmla="*/ 217 h 760"/>
                    <a:gd name="T106" fmla="*/ 277 w 538"/>
                    <a:gd name="T107" fmla="*/ 215 h 760"/>
                    <a:gd name="T108" fmla="*/ 302 w 538"/>
                    <a:gd name="T109" fmla="*/ 202 h 760"/>
                    <a:gd name="T110" fmla="*/ 342 w 538"/>
                    <a:gd name="T111" fmla="*/ 142 h 760"/>
                    <a:gd name="T112" fmla="*/ 360 w 538"/>
                    <a:gd name="T113" fmla="*/ 125 h 760"/>
                    <a:gd name="T114" fmla="*/ 361 w 538"/>
                    <a:gd name="T115" fmla="*/ 125 h 760"/>
                    <a:gd name="T116" fmla="*/ 363 w 538"/>
                    <a:gd name="T117" fmla="*/ 125 h 7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38" h="760">
                      <a:moveTo>
                        <a:pt x="370" y="57"/>
                      </a:moveTo>
                      <a:cubicBezTo>
                        <a:pt x="368" y="57"/>
                        <a:pt x="365" y="58"/>
                        <a:pt x="365" y="56"/>
                      </a:cubicBezTo>
                      <a:cubicBezTo>
                        <a:pt x="365" y="55"/>
                        <a:pt x="362" y="52"/>
                        <a:pt x="362" y="52"/>
                      </a:cubicBezTo>
                      <a:cubicBezTo>
                        <a:pt x="362" y="51"/>
                        <a:pt x="360" y="49"/>
                        <a:pt x="363" y="48"/>
                      </a:cubicBezTo>
                      <a:cubicBezTo>
                        <a:pt x="365" y="46"/>
                        <a:pt x="372" y="43"/>
                        <a:pt x="373" y="43"/>
                      </a:cubicBezTo>
                      <a:cubicBezTo>
                        <a:pt x="373" y="43"/>
                        <a:pt x="376" y="38"/>
                        <a:pt x="377" y="37"/>
                      </a:cubicBezTo>
                      <a:cubicBezTo>
                        <a:pt x="378" y="37"/>
                        <a:pt x="384" y="37"/>
                        <a:pt x="384" y="37"/>
                      </a:cubicBezTo>
                      <a:cubicBezTo>
                        <a:pt x="384" y="37"/>
                        <a:pt x="385" y="38"/>
                        <a:pt x="387" y="38"/>
                      </a:cubicBezTo>
                      <a:cubicBezTo>
                        <a:pt x="389" y="39"/>
                        <a:pt x="393" y="36"/>
                        <a:pt x="391" y="39"/>
                      </a:cubicBezTo>
                      <a:cubicBezTo>
                        <a:pt x="388" y="41"/>
                        <a:pt x="387" y="42"/>
                        <a:pt x="386" y="42"/>
                      </a:cubicBezTo>
                      <a:cubicBezTo>
                        <a:pt x="385" y="43"/>
                        <a:pt x="380" y="47"/>
                        <a:pt x="380" y="49"/>
                      </a:cubicBezTo>
                      <a:cubicBezTo>
                        <a:pt x="379" y="51"/>
                        <a:pt x="380" y="51"/>
                        <a:pt x="379" y="52"/>
                      </a:cubicBezTo>
                      <a:cubicBezTo>
                        <a:pt x="377" y="53"/>
                        <a:pt x="371" y="56"/>
                        <a:pt x="370" y="57"/>
                      </a:cubicBezTo>
                      <a:close/>
                      <a:moveTo>
                        <a:pt x="383" y="61"/>
                      </a:moveTo>
                      <a:cubicBezTo>
                        <a:pt x="383" y="61"/>
                        <a:pt x="383" y="61"/>
                        <a:pt x="383" y="61"/>
                      </a:cubicBezTo>
                      <a:cubicBezTo>
                        <a:pt x="383" y="61"/>
                        <a:pt x="386" y="62"/>
                        <a:pt x="386" y="61"/>
                      </a:cubicBezTo>
                      <a:cubicBezTo>
                        <a:pt x="386" y="61"/>
                        <a:pt x="387" y="59"/>
                        <a:pt x="387" y="56"/>
                      </a:cubicBezTo>
                      <a:cubicBezTo>
                        <a:pt x="388" y="53"/>
                        <a:pt x="390" y="53"/>
                        <a:pt x="391" y="52"/>
                      </a:cubicBezTo>
                      <a:cubicBezTo>
                        <a:pt x="392" y="51"/>
                        <a:pt x="391" y="51"/>
                        <a:pt x="392" y="49"/>
                      </a:cubicBezTo>
                      <a:cubicBezTo>
                        <a:pt x="392" y="47"/>
                        <a:pt x="391" y="47"/>
                        <a:pt x="389" y="46"/>
                      </a:cubicBezTo>
                      <a:cubicBezTo>
                        <a:pt x="386" y="46"/>
                        <a:pt x="386" y="48"/>
                        <a:pt x="384" y="48"/>
                      </a:cubicBezTo>
                      <a:cubicBezTo>
                        <a:pt x="383" y="49"/>
                        <a:pt x="383" y="51"/>
                        <a:pt x="384" y="52"/>
                      </a:cubicBezTo>
                      <a:cubicBezTo>
                        <a:pt x="384" y="53"/>
                        <a:pt x="382" y="54"/>
                        <a:pt x="380" y="55"/>
                      </a:cubicBezTo>
                      <a:cubicBezTo>
                        <a:pt x="378" y="57"/>
                        <a:pt x="378" y="59"/>
                        <a:pt x="378" y="59"/>
                      </a:cubicBezTo>
                      <a:cubicBezTo>
                        <a:pt x="383" y="61"/>
                        <a:pt x="383" y="61"/>
                        <a:pt x="383" y="61"/>
                      </a:cubicBezTo>
                      <a:close/>
                      <a:moveTo>
                        <a:pt x="363" y="126"/>
                      </a:moveTo>
                      <a:cubicBezTo>
                        <a:pt x="363" y="126"/>
                        <a:pt x="363" y="126"/>
                        <a:pt x="363" y="126"/>
                      </a:cubicBezTo>
                      <a:cubicBezTo>
                        <a:pt x="367" y="127"/>
                        <a:pt x="367" y="127"/>
                        <a:pt x="367" y="127"/>
                      </a:cubicBezTo>
                      <a:cubicBezTo>
                        <a:pt x="374" y="135"/>
                        <a:pt x="374" y="135"/>
                        <a:pt x="374" y="135"/>
                      </a:cubicBezTo>
                      <a:cubicBezTo>
                        <a:pt x="380" y="142"/>
                        <a:pt x="380" y="142"/>
                        <a:pt x="380" y="142"/>
                      </a:cubicBezTo>
                      <a:cubicBezTo>
                        <a:pt x="380" y="142"/>
                        <a:pt x="389" y="149"/>
                        <a:pt x="391" y="150"/>
                      </a:cubicBezTo>
                      <a:cubicBezTo>
                        <a:pt x="393" y="151"/>
                        <a:pt x="404" y="153"/>
                        <a:pt x="405" y="154"/>
                      </a:cubicBezTo>
                      <a:cubicBezTo>
                        <a:pt x="408" y="150"/>
                        <a:pt x="408" y="150"/>
                        <a:pt x="408" y="150"/>
                      </a:cubicBezTo>
                      <a:cubicBezTo>
                        <a:pt x="412" y="147"/>
                        <a:pt x="412" y="147"/>
                        <a:pt x="412" y="147"/>
                      </a:cubicBezTo>
                      <a:cubicBezTo>
                        <a:pt x="411" y="145"/>
                        <a:pt x="411" y="145"/>
                        <a:pt x="411" y="145"/>
                      </a:cubicBezTo>
                      <a:cubicBezTo>
                        <a:pt x="416" y="142"/>
                        <a:pt x="416" y="142"/>
                        <a:pt x="416" y="142"/>
                      </a:cubicBezTo>
                      <a:cubicBezTo>
                        <a:pt x="420" y="145"/>
                        <a:pt x="420" y="145"/>
                        <a:pt x="420" y="145"/>
                      </a:cubicBezTo>
                      <a:cubicBezTo>
                        <a:pt x="430" y="147"/>
                        <a:pt x="430" y="147"/>
                        <a:pt x="430" y="147"/>
                      </a:cubicBezTo>
                      <a:cubicBezTo>
                        <a:pt x="434" y="150"/>
                        <a:pt x="434" y="150"/>
                        <a:pt x="434" y="150"/>
                      </a:cubicBezTo>
                      <a:cubicBezTo>
                        <a:pt x="434" y="150"/>
                        <a:pt x="434" y="150"/>
                        <a:pt x="435" y="150"/>
                      </a:cubicBezTo>
                      <a:cubicBezTo>
                        <a:pt x="435" y="150"/>
                        <a:pt x="435" y="150"/>
                        <a:pt x="435" y="150"/>
                      </a:cubicBezTo>
                      <a:cubicBezTo>
                        <a:pt x="435" y="150"/>
                        <a:pt x="435" y="150"/>
                        <a:pt x="435" y="150"/>
                      </a:cubicBezTo>
                      <a:cubicBezTo>
                        <a:pt x="436" y="149"/>
                        <a:pt x="436" y="149"/>
                        <a:pt x="436" y="149"/>
                      </a:cubicBezTo>
                      <a:cubicBezTo>
                        <a:pt x="436" y="149"/>
                        <a:pt x="436" y="149"/>
                        <a:pt x="436" y="149"/>
                      </a:cubicBezTo>
                      <a:cubicBezTo>
                        <a:pt x="436" y="149"/>
                        <a:pt x="436" y="149"/>
                        <a:pt x="436" y="149"/>
                      </a:cubicBezTo>
                      <a:cubicBezTo>
                        <a:pt x="436" y="149"/>
                        <a:pt x="436" y="149"/>
                        <a:pt x="436" y="149"/>
                      </a:cubicBezTo>
                      <a:cubicBezTo>
                        <a:pt x="436" y="149"/>
                        <a:pt x="437" y="149"/>
                        <a:pt x="437" y="149"/>
                      </a:cubicBezTo>
                      <a:cubicBezTo>
                        <a:pt x="437" y="149"/>
                        <a:pt x="437" y="149"/>
                        <a:pt x="437" y="149"/>
                      </a:cubicBezTo>
                      <a:cubicBezTo>
                        <a:pt x="437" y="149"/>
                        <a:pt x="437" y="149"/>
                        <a:pt x="437" y="149"/>
                      </a:cubicBezTo>
                      <a:cubicBezTo>
                        <a:pt x="437" y="149"/>
                        <a:pt x="437" y="149"/>
                        <a:pt x="437" y="149"/>
                      </a:cubicBezTo>
                      <a:cubicBezTo>
                        <a:pt x="437" y="149"/>
                        <a:pt x="437" y="149"/>
                        <a:pt x="437" y="149"/>
                      </a:cubicBezTo>
                      <a:cubicBezTo>
                        <a:pt x="438" y="149"/>
                        <a:pt x="438" y="149"/>
                        <a:pt x="438" y="149"/>
                      </a:cubicBezTo>
                      <a:cubicBezTo>
                        <a:pt x="438" y="149"/>
                        <a:pt x="438" y="149"/>
                        <a:pt x="438" y="149"/>
                      </a:cubicBezTo>
                      <a:cubicBezTo>
                        <a:pt x="438" y="149"/>
                        <a:pt x="438" y="149"/>
                        <a:pt x="438" y="149"/>
                      </a:cubicBezTo>
                      <a:cubicBezTo>
                        <a:pt x="438" y="149"/>
                        <a:pt x="438" y="149"/>
                        <a:pt x="438" y="149"/>
                      </a:cubicBezTo>
                      <a:cubicBezTo>
                        <a:pt x="438" y="149"/>
                        <a:pt x="438" y="149"/>
                        <a:pt x="438" y="149"/>
                      </a:cubicBezTo>
                      <a:cubicBezTo>
                        <a:pt x="438" y="149"/>
                        <a:pt x="438" y="149"/>
                        <a:pt x="438" y="149"/>
                      </a:cubicBezTo>
                      <a:cubicBezTo>
                        <a:pt x="438" y="149"/>
                        <a:pt x="438" y="149"/>
                        <a:pt x="438" y="149"/>
                      </a:cubicBezTo>
                      <a:cubicBezTo>
                        <a:pt x="438" y="149"/>
                        <a:pt x="438" y="149"/>
                        <a:pt x="438" y="149"/>
                      </a:cubicBezTo>
                      <a:cubicBezTo>
                        <a:pt x="438" y="149"/>
                        <a:pt x="438" y="149"/>
                        <a:pt x="438" y="149"/>
                      </a:cubicBezTo>
                      <a:cubicBezTo>
                        <a:pt x="438" y="148"/>
                        <a:pt x="438" y="148"/>
                        <a:pt x="438" y="148"/>
                      </a:cubicBezTo>
                      <a:cubicBezTo>
                        <a:pt x="438" y="148"/>
                        <a:pt x="438" y="148"/>
                        <a:pt x="438" y="148"/>
                      </a:cubicBezTo>
                      <a:cubicBezTo>
                        <a:pt x="438" y="148"/>
                        <a:pt x="438" y="148"/>
                        <a:pt x="438" y="148"/>
                      </a:cubicBezTo>
                      <a:cubicBezTo>
                        <a:pt x="438" y="148"/>
                        <a:pt x="438" y="148"/>
                        <a:pt x="438" y="148"/>
                      </a:cubicBezTo>
                      <a:cubicBezTo>
                        <a:pt x="438" y="148"/>
                        <a:pt x="438" y="148"/>
                        <a:pt x="438" y="148"/>
                      </a:cubicBezTo>
                      <a:cubicBezTo>
                        <a:pt x="438" y="148"/>
                        <a:pt x="438" y="148"/>
                        <a:pt x="438" y="148"/>
                      </a:cubicBezTo>
                      <a:cubicBezTo>
                        <a:pt x="438" y="148"/>
                        <a:pt x="438" y="148"/>
                        <a:pt x="438" y="148"/>
                      </a:cubicBezTo>
                      <a:cubicBezTo>
                        <a:pt x="438" y="148"/>
                        <a:pt x="438" y="148"/>
                        <a:pt x="438" y="148"/>
                      </a:cubicBezTo>
                      <a:cubicBezTo>
                        <a:pt x="438" y="148"/>
                        <a:pt x="438" y="148"/>
                        <a:pt x="438" y="148"/>
                      </a:cubicBezTo>
                      <a:cubicBezTo>
                        <a:pt x="438" y="148"/>
                        <a:pt x="438" y="148"/>
                        <a:pt x="438" y="148"/>
                      </a:cubicBezTo>
                      <a:cubicBezTo>
                        <a:pt x="438" y="148"/>
                        <a:pt x="438" y="148"/>
                        <a:pt x="438" y="148"/>
                      </a:cubicBezTo>
                      <a:cubicBezTo>
                        <a:pt x="438" y="148"/>
                        <a:pt x="438" y="148"/>
                        <a:pt x="438" y="148"/>
                      </a:cubicBezTo>
                      <a:cubicBezTo>
                        <a:pt x="438" y="148"/>
                        <a:pt x="438" y="148"/>
                        <a:pt x="438" y="148"/>
                      </a:cubicBezTo>
                      <a:cubicBezTo>
                        <a:pt x="438" y="148"/>
                        <a:pt x="438" y="148"/>
                        <a:pt x="438" y="148"/>
                      </a:cubicBezTo>
                      <a:cubicBezTo>
                        <a:pt x="438" y="148"/>
                        <a:pt x="438" y="148"/>
                        <a:pt x="438" y="148"/>
                      </a:cubicBezTo>
                      <a:cubicBezTo>
                        <a:pt x="438" y="147"/>
                        <a:pt x="438" y="147"/>
                        <a:pt x="438" y="147"/>
                      </a:cubicBezTo>
                      <a:cubicBezTo>
                        <a:pt x="438" y="146"/>
                        <a:pt x="438" y="140"/>
                        <a:pt x="438" y="140"/>
                      </a:cubicBezTo>
                      <a:cubicBezTo>
                        <a:pt x="438" y="140"/>
                        <a:pt x="435" y="138"/>
                        <a:pt x="438" y="136"/>
                      </a:cubicBezTo>
                      <a:cubicBezTo>
                        <a:pt x="441" y="133"/>
                        <a:pt x="445" y="130"/>
                        <a:pt x="445" y="130"/>
                      </a:cubicBezTo>
                      <a:cubicBezTo>
                        <a:pt x="445" y="130"/>
                        <a:pt x="447" y="129"/>
                        <a:pt x="447" y="126"/>
                      </a:cubicBezTo>
                      <a:cubicBezTo>
                        <a:pt x="447" y="123"/>
                        <a:pt x="445" y="115"/>
                        <a:pt x="445" y="115"/>
                      </a:cubicBezTo>
                      <a:cubicBezTo>
                        <a:pt x="445" y="115"/>
                        <a:pt x="443" y="110"/>
                        <a:pt x="443" y="108"/>
                      </a:cubicBezTo>
                      <a:cubicBezTo>
                        <a:pt x="445" y="96"/>
                        <a:pt x="440" y="88"/>
                        <a:pt x="443" y="86"/>
                      </a:cubicBezTo>
                      <a:cubicBezTo>
                        <a:pt x="443" y="86"/>
                        <a:pt x="443" y="86"/>
                        <a:pt x="443" y="86"/>
                      </a:cubicBezTo>
                      <a:cubicBezTo>
                        <a:pt x="443" y="86"/>
                        <a:pt x="443" y="86"/>
                        <a:pt x="443" y="86"/>
                      </a:cubicBezTo>
                      <a:cubicBezTo>
                        <a:pt x="445" y="85"/>
                        <a:pt x="445" y="85"/>
                        <a:pt x="445" y="85"/>
                      </a:cubicBezTo>
                      <a:cubicBezTo>
                        <a:pt x="448" y="83"/>
                        <a:pt x="448" y="83"/>
                        <a:pt x="448" y="83"/>
                      </a:cubicBezTo>
                      <a:cubicBezTo>
                        <a:pt x="448" y="83"/>
                        <a:pt x="448" y="82"/>
                        <a:pt x="448" y="82"/>
                      </a:cubicBezTo>
                      <a:cubicBezTo>
                        <a:pt x="448" y="77"/>
                        <a:pt x="442" y="72"/>
                        <a:pt x="449" y="71"/>
                      </a:cubicBezTo>
                      <a:cubicBezTo>
                        <a:pt x="452" y="69"/>
                        <a:pt x="452" y="69"/>
                        <a:pt x="452" y="69"/>
                      </a:cubicBezTo>
                      <a:cubicBezTo>
                        <a:pt x="461" y="69"/>
                        <a:pt x="461" y="69"/>
                        <a:pt x="461" y="69"/>
                      </a:cubicBezTo>
                      <a:cubicBezTo>
                        <a:pt x="463" y="63"/>
                        <a:pt x="463" y="63"/>
                        <a:pt x="463" y="63"/>
                      </a:cubicBezTo>
                      <a:cubicBezTo>
                        <a:pt x="467" y="59"/>
                        <a:pt x="467" y="59"/>
                        <a:pt x="467" y="59"/>
                      </a:cubicBezTo>
                      <a:cubicBezTo>
                        <a:pt x="470" y="59"/>
                        <a:pt x="474" y="58"/>
                        <a:pt x="476" y="59"/>
                      </a:cubicBezTo>
                      <a:cubicBezTo>
                        <a:pt x="478" y="62"/>
                        <a:pt x="478" y="64"/>
                        <a:pt x="482" y="65"/>
                      </a:cubicBezTo>
                      <a:cubicBezTo>
                        <a:pt x="494" y="69"/>
                        <a:pt x="494" y="69"/>
                        <a:pt x="494" y="69"/>
                      </a:cubicBezTo>
                      <a:cubicBezTo>
                        <a:pt x="500" y="70"/>
                        <a:pt x="500" y="70"/>
                        <a:pt x="500" y="70"/>
                      </a:cubicBezTo>
                      <a:cubicBezTo>
                        <a:pt x="500" y="70"/>
                        <a:pt x="500" y="70"/>
                        <a:pt x="500" y="70"/>
                      </a:cubicBezTo>
                      <a:cubicBezTo>
                        <a:pt x="501" y="70"/>
                        <a:pt x="501" y="70"/>
                        <a:pt x="501" y="70"/>
                      </a:cubicBezTo>
                      <a:cubicBezTo>
                        <a:pt x="501" y="70"/>
                        <a:pt x="501" y="70"/>
                        <a:pt x="501" y="70"/>
                      </a:cubicBezTo>
                      <a:cubicBezTo>
                        <a:pt x="503" y="72"/>
                        <a:pt x="503" y="72"/>
                        <a:pt x="503" y="72"/>
                      </a:cubicBezTo>
                      <a:cubicBezTo>
                        <a:pt x="503" y="72"/>
                        <a:pt x="503" y="72"/>
                        <a:pt x="503" y="72"/>
                      </a:cubicBezTo>
                      <a:cubicBezTo>
                        <a:pt x="503" y="72"/>
                        <a:pt x="503" y="72"/>
                        <a:pt x="503" y="72"/>
                      </a:cubicBezTo>
                      <a:cubicBezTo>
                        <a:pt x="503" y="72"/>
                        <a:pt x="503" y="72"/>
                        <a:pt x="503" y="72"/>
                      </a:cubicBezTo>
                      <a:cubicBezTo>
                        <a:pt x="503" y="74"/>
                        <a:pt x="503" y="76"/>
                        <a:pt x="504" y="77"/>
                      </a:cubicBezTo>
                      <a:cubicBezTo>
                        <a:pt x="504" y="79"/>
                        <a:pt x="505" y="82"/>
                        <a:pt x="505" y="82"/>
                      </a:cubicBezTo>
                      <a:cubicBezTo>
                        <a:pt x="505" y="82"/>
                        <a:pt x="504" y="85"/>
                        <a:pt x="504" y="87"/>
                      </a:cubicBezTo>
                      <a:cubicBezTo>
                        <a:pt x="503" y="88"/>
                        <a:pt x="503" y="91"/>
                        <a:pt x="503" y="92"/>
                      </a:cubicBezTo>
                      <a:cubicBezTo>
                        <a:pt x="503" y="93"/>
                        <a:pt x="503" y="94"/>
                        <a:pt x="503" y="95"/>
                      </a:cubicBezTo>
                      <a:cubicBezTo>
                        <a:pt x="503" y="97"/>
                        <a:pt x="504" y="100"/>
                        <a:pt x="505" y="101"/>
                      </a:cubicBezTo>
                      <a:cubicBezTo>
                        <a:pt x="505" y="102"/>
                        <a:pt x="510" y="105"/>
                        <a:pt x="510" y="105"/>
                      </a:cubicBezTo>
                      <a:cubicBezTo>
                        <a:pt x="510" y="105"/>
                        <a:pt x="510" y="105"/>
                        <a:pt x="509" y="106"/>
                      </a:cubicBezTo>
                      <a:cubicBezTo>
                        <a:pt x="509" y="106"/>
                        <a:pt x="509" y="107"/>
                        <a:pt x="510" y="107"/>
                      </a:cubicBezTo>
                      <a:cubicBezTo>
                        <a:pt x="512" y="107"/>
                        <a:pt x="515" y="106"/>
                        <a:pt x="515" y="106"/>
                      </a:cubicBezTo>
                      <a:cubicBezTo>
                        <a:pt x="515" y="106"/>
                        <a:pt x="515" y="97"/>
                        <a:pt x="514" y="94"/>
                      </a:cubicBezTo>
                      <a:cubicBezTo>
                        <a:pt x="513" y="90"/>
                        <a:pt x="518" y="86"/>
                        <a:pt x="518" y="86"/>
                      </a:cubicBezTo>
                      <a:cubicBezTo>
                        <a:pt x="525" y="79"/>
                        <a:pt x="525" y="79"/>
                        <a:pt x="525" y="79"/>
                      </a:cubicBezTo>
                      <a:cubicBezTo>
                        <a:pt x="524" y="71"/>
                        <a:pt x="524" y="71"/>
                        <a:pt x="524" y="71"/>
                      </a:cubicBezTo>
                      <a:cubicBezTo>
                        <a:pt x="532" y="72"/>
                        <a:pt x="532" y="72"/>
                        <a:pt x="532" y="72"/>
                      </a:cubicBezTo>
                      <a:cubicBezTo>
                        <a:pt x="532" y="72"/>
                        <a:pt x="538" y="69"/>
                        <a:pt x="536" y="65"/>
                      </a:cubicBezTo>
                      <a:cubicBezTo>
                        <a:pt x="534" y="60"/>
                        <a:pt x="532" y="52"/>
                        <a:pt x="530" y="54"/>
                      </a:cubicBezTo>
                      <a:cubicBezTo>
                        <a:pt x="527" y="56"/>
                        <a:pt x="522" y="62"/>
                        <a:pt x="522" y="62"/>
                      </a:cubicBezTo>
                      <a:cubicBezTo>
                        <a:pt x="521" y="52"/>
                        <a:pt x="521" y="52"/>
                        <a:pt x="521" y="52"/>
                      </a:cubicBezTo>
                      <a:cubicBezTo>
                        <a:pt x="513" y="55"/>
                        <a:pt x="513" y="55"/>
                        <a:pt x="513" y="55"/>
                      </a:cubicBezTo>
                      <a:cubicBezTo>
                        <a:pt x="505" y="53"/>
                        <a:pt x="505" y="53"/>
                        <a:pt x="505" y="53"/>
                      </a:cubicBezTo>
                      <a:cubicBezTo>
                        <a:pt x="505" y="53"/>
                        <a:pt x="502" y="49"/>
                        <a:pt x="499" y="50"/>
                      </a:cubicBezTo>
                      <a:cubicBezTo>
                        <a:pt x="496" y="50"/>
                        <a:pt x="491" y="50"/>
                        <a:pt x="491" y="50"/>
                      </a:cubicBezTo>
                      <a:cubicBezTo>
                        <a:pt x="491" y="50"/>
                        <a:pt x="487" y="47"/>
                        <a:pt x="489" y="46"/>
                      </a:cubicBezTo>
                      <a:cubicBezTo>
                        <a:pt x="492" y="46"/>
                        <a:pt x="498" y="47"/>
                        <a:pt x="501" y="46"/>
                      </a:cubicBezTo>
                      <a:cubicBezTo>
                        <a:pt x="503" y="46"/>
                        <a:pt x="519" y="42"/>
                        <a:pt x="519" y="42"/>
                      </a:cubicBezTo>
                      <a:cubicBezTo>
                        <a:pt x="520" y="35"/>
                        <a:pt x="520" y="35"/>
                        <a:pt x="520" y="35"/>
                      </a:cubicBezTo>
                      <a:cubicBezTo>
                        <a:pt x="527" y="29"/>
                        <a:pt x="527" y="29"/>
                        <a:pt x="527" y="29"/>
                      </a:cubicBezTo>
                      <a:cubicBezTo>
                        <a:pt x="515" y="20"/>
                        <a:pt x="515" y="20"/>
                        <a:pt x="515" y="20"/>
                      </a:cubicBezTo>
                      <a:cubicBezTo>
                        <a:pt x="510" y="12"/>
                        <a:pt x="510" y="12"/>
                        <a:pt x="510" y="12"/>
                      </a:cubicBezTo>
                      <a:cubicBezTo>
                        <a:pt x="510" y="12"/>
                        <a:pt x="509" y="9"/>
                        <a:pt x="507" y="9"/>
                      </a:cubicBezTo>
                      <a:cubicBezTo>
                        <a:pt x="504" y="9"/>
                        <a:pt x="496" y="13"/>
                        <a:pt x="496" y="13"/>
                      </a:cubicBezTo>
                      <a:cubicBezTo>
                        <a:pt x="490" y="9"/>
                        <a:pt x="490" y="9"/>
                        <a:pt x="490" y="9"/>
                      </a:cubicBezTo>
                      <a:cubicBezTo>
                        <a:pt x="481" y="10"/>
                        <a:pt x="481" y="10"/>
                        <a:pt x="481" y="10"/>
                      </a:cubicBezTo>
                      <a:cubicBezTo>
                        <a:pt x="468" y="6"/>
                        <a:pt x="468" y="6"/>
                        <a:pt x="468" y="6"/>
                      </a:cubicBezTo>
                      <a:cubicBezTo>
                        <a:pt x="468" y="9"/>
                        <a:pt x="468" y="9"/>
                        <a:pt x="468" y="9"/>
                      </a:cubicBezTo>
                      <a:cubicBezTo>
                        <a:pt x="468" y="9"/>
                        <a:pt x="464" y="8"/>
                        <a:pt x="463" y="6"/>
                      </a:cubicBezTo>
                      <a:cubicBezTo>
                        <a:pt x="463" y="4"/>
                        <a:pt x="463" y="2"/>
                        <a:pt x="463" y="2"/>
                      </a:cubicBezTo>
                      <a:cubicBezTo>
                        <a:pt x="458" y="3"/>
                        <a:pt x="458" y="3"/>
                        <a:pt x="458" y="3"/>
                      </a:cubicBezTo>
                      <a:cubicBezTo>
                        <a:pt x="456" y="3"/>
                        <a:pt x="456" y="3"/>
                        <a:pt x="456" y="3"/>
                      </a:cubicBezTo>
                      <a:cubicBezTo>
                        <a:pt x="450" y="0"/>
                        <a:pt x="450" y="0"/>
                        <a:pt x="450" y="0"/>
                      </a:cubicBezTo>
                      <a:cubicBezTo>
                        <a:pt x="447" y="6"/>
                        <a:pt x="447" y="6"/>
                        <a:pt x="447" y="6"/>
                      </a:cubicBezTo>
                      <a:cubicBezTo>
                        <a:pt x="451" y="13"/>
                        <a:pt x="451" y="13"/>
                        <a:pt x="451" y="13"/>
                      </a:cubicBezTo>
                      <a:cubicBezTo>
                        <a:pt x="447" y="21"/>
                        <a:pt x="447" y="21"/>
                        <a:pt x="447" y="21"/>
                      </a:cubicBezTo>
                      <a:cubicBezTo>
                        <a:pt x="450" y="26"/>
                        <a:pt x="450" y="26"/>
                        <a:pt x="450" y="26"/>
                      </a:cubicBezTo>
                      <a:cubicBezTo>
                        <a:pt x="450" y="33"/>
                        <a:pt x="450" y="33"/>
                        <a:pt x="450" y="33"/>
                      </a:cubicBezTo>
                      <a:cubicBezTo>
                        <a:pt x="446" y="41"/>
                        <a:pt x="446" y="41"/>
                        <a:pt x="446" y="41"/>
                      </a:cubicBezTo>
                      <a:cubicBezTo>
                        <a:pt x="440" y="36"/>
                        <a:pt x="440" y="36"/>
                        <a:pt x="440" y="36"/>
                      </a:cubicBezTo>
                      <a:cubicBezTo>
                        <a:pt x="441" y="29"/>
                        <a:pt x="441" y="29"/>
                        <a:pt x="441" y="29"/>
                      </a:cubicBezTo>
                      <a:cubicBezTo>
                        <a:pt x="444" y="21"/>
                        <a:pt x="444" y="21"/>
                        <a:pt x="444" y="21"/>
                      </a:cubicBezTo>
                      <a:cubicBezTo>
                        <a:pt x="440" y="13"/>
                        <a:pt x="440" y="13"/>
                        <a:pt x="440" y="13"/>
                      </a:cubicBezTo>
                      <a:cubicBezTo>
                        <a:pt x="432" y="20"/>
                        <a:pt x="432" y="20"/>
                        <a:pt x="432" y="20"/>
                      </a:cubicBezTo>
                      <a:cubicBezTo>
                        <a:pt x="432" y="30"/>
                        <a:pt x="432" y="30"/>
                        <a:pt x="432" y="30"/>
                      </a:cubicBezTo>
                      <a:cubicBezTo>
                        <a:pt x="428" y="37"/>
                        <a:pt x="428" y="37"/>
                        <a:pt x="428" y="37"/>
                      </a:cubicBezTo>
                      <a:cubicBezTo>
                        <a:pt x="428" y="46"/>
                        <a:pt x="428" y="46"/>
                        <a:pt x="428" y="46"/>
                      </a:cubicBezTo>
                      <a:cubicBezTo>
                        <a:pt x="426" y="53"/>
                        <a:pt x="426" y="53"/>
                        <a:pt x="426" y="53"/>
                      </a:cubicBezTo>
                      <a:cubicBezTo>
                        <a:pt x="425" y="62"/>
                        <a:pt x="425" y="62"/>
                        <a:pt x="425" y="62"/>
                      </a:cubicBezTo>
                      <a:cubicBezTo>
                        <a:pt x="425" y="62"/>
                        <a:pt x="425" y="64"/>
                        <a:pt x="423" y="64"/>
                      </a:cubicBezTo>
                      <a:cubicBezTo>
                        <a:pt x="421" y="65"/>
                        <a:pt x="417" y="63"/>
                        <a:pt x="417" y="63"/>
                      </a:cubicBezTo>
                      <a:cubicBezTo>
                        <a:pt x="417" y="50"/>
                        <a:pt x="417" y="50"/>
                        <a:pt x="417" y="50"/>
                      </a:cubicBezTo>
                      <a:cubicBezTo>
                        <a:pt x="419" y="43"/>
                        <a:pt x="419" y="43"/>
                        <a:pt x="419" y="43"/>
                      </a:cubicBezTo>
                      <a:cubicBezTo>
                        <a:pt x="422" y="37"/>
                        <a:pt x="422" y="37"/>
                        <a:pt x="422" y="37"/>
                      </a:cubicBezTo>
                      <a:cubicBezTo>
                        <a:pt x="426" y="29"/>
                        <a:pt x="426" y="29"/>
                        <a:pt x="426" y="29"/>
                      </a:cubicBezTo>
                      <a:cubicBezTo>
                        <a:pt x="426" y="29"/>
                        <a:pt x="426" y="24"/>
                        <a:pt x="425" y="23"/>
                      </a:cubicBezTo>
                      <a:cubicBezTo>
                        <a:pt x="425" y="23"/>
                        <a:pt x="423" y="22"/>
                        <a:pt x="424" y="22"/>
                      </a:cubicBezTo>
                      <a:cubicBezTo>
                        <a:pt x="424" y="21"/>
                        <a:pt x="428" y="17"/>
                        <a:pt x="428" y="17"/>
                      </a:cubicBezTo>
                      <a:cubicBezTo>
                        <a:pt x="428" y="17"/>
                        <a:pt x="428" y="14"/>
                        <a:pt x="425" y="12"/>
                      </a:cubicBezTo>
                      <a:cubicBezTo>
                        <a:pt x="423" y="11"/>
                        <a:pt x="421" y="9"/>
                        <a:pt x="419" y="10"/>
                      </a:cubicBezTo>
                      <a:cubicBezTo>
                        <a:pt x="418" y="11"/>
                        <a:pt x="413" y="13"/>
                        <a:pt x="413" y="14"/>
                      </a:cubicBezTo>
                      <a:cubicBezTo>
                        <a:pt x="412" y="15"/>
                        <a:pt x="413" y="17"/>
                        <a:pt x="414" y="18"/>
                      </a:cubicBezTo>
                      <a:cubicBezTo>
                        <a:pt x="415" y="18"/>
                        <a:pt x="416" y="19"/>
                        <a:pt x="417" y="19"/>
                      </a:cubicBezTo>
                      <a:cubicBezTo>
                        <a:pt x="417" y="20"/>
                        <a:pt x="418" y="23"/>
                        <a:pt x="417" y="24"/>
                      </a:cubicBezTo>
                      <a:cubicBezTo>
                        <a:pt x="416" y="25"/>
                        <a:pt x="417" y="28"/>
                        <a:pt x="414" y="27"/>
                      </a:cubicBezTo>
                      <a:cubicBezTo>
                        <a:pt x="412" y="26"/>
                        <a:pt x="406" y="22"/>
                        <a:pt x="406" y="22"/>
                      </a:cubicBezTo>
                      <a:cubicBezTo>
                        <a:pt x="405" y="22"/>
                        <a:pt x="406" y="18"/>
                        <a:pt x="404" y="22"/>
                      </a:cubicBezTo>
                      <a:cubicBezTo>
                        <a:pt x="402" y="25"/>
                        <a:pt x="401" y="26"/>
                        <a:pt x="402" y="28"/>
                      </a:cubicBezTo>
                      <a:cubicBezTo>
                        <a:pt x="403" y="30"/>
                        <a:pt x="404" y="30"/>
                        <a:pt x="404" y="31"/>
                      </a:cubicBezTo>
                      <a:cubicBezTo>
                        <a:pt x="404" y="32"/>
                        <a:pt x="400" y="32"/>
                        <a:pt x="400" y="33"/>
                      </a:cubicBezTo>
                      <a:cubicBezTo>
                        <a:pt x="400" y="34"/>
                        <a:pt x="399" y="35"/>
                        <a:pt x="401" y="37"/>
                      </a:cubicBezTo>
                      <a:cubicBezTo>
                        <a:pt x="403" y="38"/>
                        <a:pt x="405" y="39"/>
                        <a:pt x="405" y="39"/>
                      </a:cubicBezTo>
                      <a:cubicBezTo>
                        <a:pt x="405" y="39"/>
                        <a:pt x="407" y="42"/>
                        <a:pt x="406" y="42"/>
                      </a:cubicBezTo>
                      <a:cubicBezTo>
                        <a:pt x="406" y="43"/>
                        <a:pt x="400" y="42"/>
                        <a:pt x="400" y="43"/>
                      </a:cubicBezTo>
                      <a:cubicBezTo>
                        <a:pt x="400" y="44"/>
                        <a:pt x="400" y="46"/>
                        <a:pt x="400" y="47"/>
                      </a:cubicBezTo>
                      <a:cubicBezTo>
                        <a:pt x="400" y="48"/>
                        <a:pt x="400" y="50"/>
                        <a:pt x="400" y="50"/>
                      </a:cubicBezTo>
                      <a:cubicBezTo>
                        <a:pt x="400" y="51"/>
                        <a:pt x="396" y="51"/>
                        <a:pt x="395" y="52"/>
                      </a:cubicBezTo>
                      <a:cubicBezTo>
                        <a:pt x="393" y="53"/>
                        <a:pt x="392" y="56"/>
                        <a:pt x="392" y="58"/>
                      </a:cubicBezTo>
                      <a:cubicBezTo>
                        <a:pt x="391" y="60"/>
                        <a:pt x="391" y="62"/>
                        <a:pt x="391" y="63"/>
                      </a:cubicBezTo>
                      <a:cubicBezTo>
                        <a:pt x="391" y="64"/>
                        <a:pt x="389" y="66"/>
                        <a:pt x="389" y="66"/>
                      </a:cubicBezTo>
                      <a:cubicBezTo>
                        <a:pt x="389" y="66"/>
                        <a:pt x="389" y="67"/>
                        <a:pt x="387" y="66"/>
                      </a:cubicBezTo>
                      <a:cubicBezTo>
                        <a:pt x="385" y="66"/>
                        <a:pt x="378" y="62"/>
                        <a:pt x="377" y="62"/>
                      </a:cubicBezTo>
                      <a:cubicBezTo>
                        <a:pt x="375" y="62"/>
                        <a:pt x="373" y="63"/>
                        <a:pt x="373" y="65"/>
                      </a:cubicBezTo>
                      <a:cubicBezTo>
                        <a:pt x="373" y="66"/>
                        <a:pt x="376" y="69"/>
                        <a:pt x="377" y="69"/>
                      </a:cubicBezTo>
                      <a:cubicBezTo>
                        <a:pt x="377" y="69"/>
                        <a:pt x="382" y="70"/>
                        <a:pt x="383" y="71"/>
                      </a:cubicBezTo>
                      <a:cubicBezTo>
                        <a:pt x="383" y="72"/>
                        <a:pt x="383" y="79"/>
                        <a:pt x="383" y="79"/>
                      </a:cubicBezTo>
                      <a:cubicBezTo>
                        <a:pt x="383" y="79"/>
                        <a:pt x="387" y="87"/>
                        <a:pt x="380" y="80"/>
                      </a:cubicBezTo>
                      <a:cubicBezTo>
                        <a:pt x="372" y="73"/>
                        <a:pt x="372" y="72"/>
                        <a:pt x="371" y="71"/>
                      </a:cubicBezTo>
                      <a:cubicBezTo>
                        <a:pt x="370" y="71"/>
                        <a:pt x="363" y="69"/>
                        <a:pt x="363" y="69"/>
                      </a:cubicBezTo>
                      <a:cubicBezTo>
                        <a:pt x="363" y="69"/>
                        <a:pt x="362" y="66"/>
                        <a:pt x="361" y="69"/>
                      </a:cubicBezTo>
                      <a:cubicBezTo>
                        <a:pt x="360" y="71"/>
                        <a:pt x="363" y="76"/>
                        <a:pt x="363" y="76"/>
                      </a:cubicBezTo>
                      <a:cubicBezTo>
                        <a:pt x="362" y="75"/>
                        <a:pt x="362" y="75"/>
                        <a:pt x="362" y="75"/>
                      </a:cubicBezTo>
                      <a:cubicBezTo>
                        <a:pt x="362" y="75"/>
                        <a:pt x="359" y="73"/>
                        <a:pt x="357" y="72"/>
                      </a:cubicBezTo>
                      <a:cubicBezTo>
                        <a:pt x="356" y="70"/>
                        <a:pt x="353" y="72"/>
                        <a:pt x="353" y="72"/>
                      </a:cubicBezTo>
                      <a:cubicBezTo>
                        <a:pt x="353" y="72"/>
                        <a:pt x="352" y="73"/>
                        <a:pt x="350" y="75"/>
                      </a:cubicBezTo>
                      <a:cubicBezTo>
                        <a:pt x="349" y="76"/>
                        <a:pt x="345" y="72"/>
                        <a:pt x="349" y="77"/>
                      </a:cubicBezTo>
                      <a:cubicBezTo>
                        <a:pt x="352" y="81"/>
                        <a:pt x="355" y="82"/>
                        <a:pt x="356" y="83"/>
                      </a:cubicBezTo>
                      <a:cubicBezTo>
                        <a:pt x="356" y="83"/>
                        <a:pt x="360" y="84"/>
                        <a:pt x="361" y="85"/>
                      </a:cubicBezTo>
                      <a:cubicBezTo>
                        <a:pt x="362" y="86"/>
                        <a:pt x="362" y="89"/>
                        <a:pt x="362" y="90"/>
                      </a:cubicBezTo>
                      <a:cubicBezTo>
                        <a:pt x="362" y="90"/>
                        <a:pt x="365" y="94"/>
                        <a:pt x="360" y="91"/>
                      </a:cubicBezTo>
                      <a:cubicBezTo>
                        <a:pt x="355" y="87"/>
                        <a:pt x="355" y="86"/>
                        <a:pt x="353" y="86"/>
                      </a:cubicBezTo>
                      <a:cubicBezTo>
                        <a:pt x="352" y="86"/>
                        <a:pt x="350" y="88"/>
                        <a:pt x="350" y="88"/>
                      </a:cubicBezTo>
                      <a:cubicBezTo>
                        <a:pt x="350" y="88"/>
                        <a:pt x="344" y="87"/>
                        <a:pt x="344" y="84"/>
                      </a:cubicBezTo>
                      <a:cubicBezTo>
                        <a:pt x="343" y="81"/>
                        <a:pt x="345" y="76"/>
                        <a:pt x="341" y="77"/>
                      </a:cubicBezTo>
                      <a:cubicBezTo>
                        <a:pt x="336" y="77"/>
                        <a:pt x="335" y="79"/>
                        <a:pt x="335" y="80"/>
                      </a:cubicBezTo>
                      <a:cubicBezTo>
                        <a:pt x="335" y="81"/>
                        <a:pt x="332" y="82"/>
                        <a:pt x="335" y="85"/>
                      </a:cubicBezTo>
                      <a:cubicBezTo>
                        <a:pt x="338" y="88"/>
                        <a:pt x="340" y="90"/>
                        <a:pt x="341" y="90"/>
                      </a:cubicBezTo>
                      <a:cubicBezTo>
                        <a:pt x="341" y="90"/>
                        <a:pt x="347" y="90"/>
                        <a:pt x="344" y="91"/>
                      </a:cubicBezTo>
                      <a:cubicBezTo>
                        <a:pt x="342" y="93"/>
                        <a:pt x="338" y="93"/>
                        <a:pt x="337" y="93"/>
                      </a:cubicBezTo>
                      <a:cubicBezTo>
                        <a:pt x="336" y="93"/>
                        <a:pt x="337" y="92"/>
                        <a:pt x="336" y="93"/>
                      </a:cubicBezTo>
                      <a:cubicBezTo>
                        <a:pt x="334" y="94"/>
                        <a:pt x="329" y="99"/>
                        <a:pt x="329" y="99"/>
                      </a:cubicBezTo>
                      <a:cubicBezTo>
                        <a:pt x="329" y="99"/>
                        <a:pt x="328" y="97"/>
                        <a:pt x="328" y="96"/>
                      </a:cubicBezTo>
                      <a:cubicBezTo>
                        <a:pt x="328" y="95"/>
                        <a:pt x="332" y="93"/>
                        <a:pt x="332" y="91"/>
                      </a:cubicBezTo>
                      <a:cubicBezTo>
                        <a:pt x="332" y="89"/>
                        <a:pt x="330" y="82"/>
                        <a:pt x="330" y="82"/>
                      </a:cubicBezTo>
                      <a:cubicBezTo>
                        <a:pt x="330" y="82"/>
                        <a:pt x="326" y="80"/>
                        <a:pt x="326" y="80"/>
                      </a:cubicBezTo>
                      <a:cubicBezTo>
                        <a:pt x="325" y="79"/>
                        <a:pt x="322" y="77"/>
                        <a:pt x="321" y="78"/>
                      </a:cubicBezTo>
                      <a:cubicBezTo>
                        <a:pt x="320" y="79"/>
                        <a:pt x="318" y="82"/>
                        <a:pt x="320" y="84"/>
                      </a:cubicBezTo>
                      <a:cubicBezTo>
                        <a:pt x="322" y="87"/>
                        <a:pt x="324" y="89"/>
                        <a:pt x="323" y="89"/>
                      </a:cubicBezTo>
                      <a:cubicBezTo>
                        <a:pt x="321" y="90"/>
                        <a:pt x="320" y="91"/>
                        <a:pt x="319" y="90"/>
                      </a:cubicBezTo>
                      <a:cubicBezTo>
                        <a:pt x="318" y="90"/>
                        <a:pt x="316" y="88"/>
                        <a:pt x="313" y="89"/>
                      </a:cubicBezTo>
                      <a:cubicBezTo>
                        <a:pt x="310" y="90"/>
                        <a:pt x="307" y="96"/>
                        <a:pt x="307" y="96"/>
                      </a:cubicBezTo>
                      <a:cubicBezTo>
                        <a:pt x="307" y="96"/>
                        <a:pt x="310" y="102"/>
                        <a:pt x="311" y="103"/>
                      </a:cubicBezTo>
                      <a:cubicBezTo>
                        <a:pt x="312" y="103"/>
                        <a:pt x="313" y="105"/>
                        <a:pt x="313" y="107"/>
                      </a:cubicBezTo>
                      <a:cubicBezTo>
                        <a:pt x="312" y="109"/>
                        <a:pt x="313" y="106"/>
                        <a:pt x="311" y="107"/>
                      </a:cubicBezTo>
                      <a:cubicBezTo>
                        <a:pt x="308" y="108"/>
                        <a:pt x="307" y="109"/>
                        <a:pt x="305" y="109"/>
                      </a:cubicBezTo>
                      <a:cubicBezTo>
                        <a:pt x="303" y="109"/>
                        <a:pt x="298" y="115"/>
                        <a:pt x="298" y="115"/>
                      </a:cubicBezTo>
                      <a:cubicBezTo>
                        <a:pt x="301" y="119"/>
                        <a:pt x="301" y="119"/>
                        <a:pt x="301" y="119"/>
                      </a:cubicBezTo>
                      <a:cubicBezTo>
                        <a:pt x="301" y="119"/>
                        <a:pt x="293" y="122"/>
                        <a:pt x="291" y="123"/>
                      </a:cubicBezTo>
                      <a:cubicBezTo>
                        <a:pt x="290" y="123"/>
                        <a:pt x="294" y="122"/>
                        <a:pt x="289" y="123"/>
                      </a:cubicBezTo>
                      <a:cubicBezTo>
                        <a:pt x="285" y="125"/>
                        <a:pt x="282" y="129"/>
                        <a:pt x="281" y="131"/>
                      </a:cubicBezTo>
                      <a:cubicBezTo>
                        <a:pt x="281" y="132"/>
                        <a:pt x="277" y="132"/>
                        <a:pt x="277" y="135"/>
                      </a:cubicBezTo>
                      <a:cubicBezTo>
                        <a:pt x="277" y="137"/>
                        <a:pt x="278" y="141"/>
                        <a:pt x="277" y="142"/>
                      </a:cubicBezTo>
                      <a:cubicBezTo>
                        <a:pt x="277" y="143"/>
                        <a:pt x="277" y="143"/>
                        <a:pt x="277" y="145"/>
                      </a:cubicBezTo>
                      <a:cubicBezTo>
                        <a:pt x="277" y="147"/>
                        <a:pt x="276" y="149"/>
                        <a:pt x="279" y="149"/>
                      </a:cubicBezTo>
                      <a:cubicBezTo>
                        <a:pt x="282" y="149"/>
                        <a:pt x="286" y="147"/>
                        <a:pt x="287" y="146"/>
                      </a:cubicBezTo>
                      <a:cubicBezTo>
                        <a:pt x="287" y="145"/>
                        <a:pt x="288" y="141"/>
                        <a:pt x="289" y="143"/>
                      </a:cubicBezTo>
                      <a:cubicBezTo>
                        <a:pt x="291" y="144"/>
                        <a:pt x="291" y="148"/>
                        <a:pt x="291" y="148"/>
                      </a:cubicBezTo>
                      <a:cubicBezTo>
                        <a:pt x="291" y="148"/>
                        <a:pt x="291" y="152"/>
                        <a:pt x="291" y="153"/>
                      </a:cubicBezTo>
                      <a:cubicBezTo>
                        <a:pt x="290" y="155"/>
                        <a:pt x="297" y="153"/>
                        <a:pt x="290" y="156"/>
                      </a:cubicBezTo>
                      <a:cubicBezTo>
                        <a:pt x="283" y="160"/>
                        <a:pt x="281" y="160"/>
                        <a:pt x="281" y="161"/>
                      </a:cubicBezTo>
                      <a:cubicBezTo>
                        <a:pt x="281" y="163"/>
                        <a:pt x="285" y="168"/>
                        <a:pt x="280" y="166"/>
                      </a:cubicBezTo>
                      <a:cubicBezTo>
                        <a:pt x="275" y="165"/>
                        <a:pt x="275" y="166"/>
                        <a:pt x="275" y="165"/>
                      </a:cubicBezTo>
                      <a:cubicBezTo>
                        <a:pt x="274" y="164"/>
                        <a:pt x="276" y="170"/>
                        <a:pt x="270" y="161"/>
                      </a:cubicBezTo>
                      <a:cubicBezTo>
                        <a:pt x="264" y="152"/>
                        <a:pt x="264" y="153"/>
                        <a:pt x="264" y="151"/>
                      </a:cubicBezTo>
                      <a:cubicBezTo>
                        <a:pt x="264" y="149"/>
                        <a:pt x="263" y="142"/>
                        <a:pt x="263" y="142"/>
                      </a:cubicBezTo>
                      <a:cubicBezTo>
                        <a:pt x="263" y="142"/>
                        <a:pt x="262" y="135"/>
                        <a:pt x="259" y="138"/>
                      </a:cubicBezTo>
                      <a:cubicBezTo>
                        <a:pt x="255" y="141"/>
                        <a:pt x="255" y="146"/>
                        <a:pt x="255" y="146"/>
                      </a:cubicBezTo>
                      <a:cubicBezTo>
                        <a:pt x="255" y="146"/>
                        <a:pt x="250" y="151"/>
                        <a:pt x="249" y="152"/>
                      </a:cubicBezTo>
                      <a:cubicBezTo>
                        <a:pt x="248" y="152"/>
                        <a:pt x="246" y="152"/>
                        <a:pt x="243" y="154"/>
                      </a:cubicBezTo>
                      <a:cubicBezTo>
                        <a:pt x="241" y="157"/>
                        <a:pt x="234" y="167"/>
                        <a:pt x="234" y="167"/>
                      </a:cubicBezTo>
                      <a:cubicBezTo>
                        <a:pt x="234" y="167"/>
                        <a:pt x="230" y="174"/>
                        <a:pt x="231" y="176"/>
                      </a:cubicBezTo>
                      <a:cubicBezTo>
                        <a:pt x="232" y="178"/>
                        <a:pt x="235" y="181"/>
                        <a:pt x="235" y="181"/>
                      </a:cubicBezTo>
                      <a:cubicBezTo>
                        <a:pt x="235" y="181"/>
                        <a:pt x="236" y="180"/>
                        <a:pt x="236" y="183"/>
                      </a:cubicBezTo>
                      <a:cubicBezTo>
                        <a:pt x="236" y="186"/>
                        <a:pt x="241" y="187"/>
                        <a:pt x="241" y="187"/>
                      </a:cubicBezTo>
                      <a:cubicBezTo>
                        <a:pt x="241" y="187"/>
                        <a:pt x="243" y="188"/>
                        <a:pt x="241" y="190"/>
                      </a:cubicBezTo>
                      <a:cubicBezTo>
                        <a:pt x="238" y="192"/>
                        <a:pt x="230" y="193"/>
                        <a:pt x="230" y="193"/>
                      </a:cubicBezTo>
                      <a:cubicBezTo>
                        <a:pt x="222" y="193"/>
                        <a:pt x="222" y="193"/>
                        <a:pt x="222" y="193"/>
                      </a:cubicBezTo>
                      <a:cubicBezTo>
                        <a:pt x="222" y="193"/>
                        <a:pt x="218" y="198"/>
                        <a:pt x="217" y="198"/>
                      </a:cubicBezTo>
                      <a:cubicBezTo>
                        <a:pt x="215" y="199"/>
                        <a:pt x="212" y="201"/>
                        <a:pt x="211" y="204"/>
                      </a:cubicBezTo>
                      <a:cubicBezTo>
                        <a:pt x="211" y="206"/>
                        <a:pt x="202" y="214"/>
                        <a:pt x="202" y="214"/>
                      </a:cubicBezTo>
                      <a:cubicBezTo>
                        <a:pt x="202" y="214"/>
                        <a:pt x="202" y="217"/>
                        <a:pt x="202" y="218"/>
                      </a:cubicBezTo>
                      <a:cubicBezTo>
                        <a:pt x="202" y="219"/>
                        <a:pt x="198" y="221"/>
                        <a:pt x="200" y="222"/>
                      </a:cubicBezTo>
                      <a:cubicBezTo>
                        <a:pt x="202" y="223"/>
                        <a:pt x="205" y="224"/>
                        <a:pt x="207" y="220"/>
                      </a:cubicBezTo>
                      <a:cubicBezTo>
                        <a:pt x="209" y="217"/>
                        <a:pt x="209" y="212"/>
                        <a:pt x="209" y="212"/>
                      </a:cubicBezTo>
                      <a:cubicBezTo>
                        <a:pt x="209" y="212"/>
                        <a:pt x="211" y="210"/>
                        <a:pt x="213" y="210"/>
                      </a:cubicBezTo>
                      <a:cubicBezTo>
                        <a:pt x="216" y="210"/>
                        <a:pt x="219" y="207"/>
                        <a:pt x="222" y="206"/>
                      </a:cubicBezTo>
                      <a:cubicBezTo>
                        <a:pt x="225" y="206"/>
                        <a:pt x="229" y="201"/>
                        <a:pt x="230" y="201"/>
                      </a:cubicBezTo>
                      <a:cubicBezTo>
                        <a:pt x="232" y="201"/>
                        <a:pt x="231" y="202"/>
                        <a:pt x="235" y="201"/>
                      </a:cubicBezTo>
                      <a:cubicBezTo>
                        <a:pt x="239" y="201"/>
                        <a:pt x="243" y="201"/>
                        <a:pt x="244" y="200"/>
                      </a:cubicBezTo>
                      <a:cubicBezTo>
                        <a:pt x="246" y="199"/>
                        <a:pt x="254" y="204"/>
                        <a:pt x="255" y="205"/>
                      </a:cubicBezTo>
                      <a:cubicBezTo>
                        <a:pt x="255" y="206"/>
                        <a:pt x="248" y="207"/>
                        <a:pt x="251" y="209"/>
                      </a:cubicBezTo>
                      <a:cubicBezTo>
                        <a:pt x="255" y="211"/>
                        <a:pt x="255" y="212"/>
                        <a:pt x="256" y="212"/>
                      </a:cubicBezTo>
                      <a:cubicBezTo>
                        <a:pt x="257" y="212"/>
                        <a:pt x="259" y="211"/>
                        <a:pt x="262" y="210"/>
                      </a:cubicBezTo>
                      <a:cubicBezTo>
                        <a:pt x="264" y="208"/>
                        <a:pt x="260" y="205"/>
                        <a:pt x="266" y="207"/>
                      </a:cubicBezTo>
                      <a:cubicBezTo>
                        <a:pt x="271" y="209"/>
                        <a:pt x="271" y="211"/>
                        <a:pt x="271" y="211"/>
                      </a:cubicBezTo>
                      <a:cubicBezTo>
                        <a:pt x="270" y="213"/>
                        <a:pt x="270" y="213"/>
                        <a:pt x="270" y="213"/>
                      </a:cubicBezTo>
                      <a:cubicBezTo>
                        <a:pt x="266" y="214"/>
                        <a:pt x="266" y="214"/>
                        <a:pt x="266" y="214"/>
                      </a:cubicBezTo>
                      <a:cubicBezTo>
                        <a:pt x="260" y="213"/>
                        <a:pt x="260" y="213"/>
                        <a:pt x="260" y="213"/>
                      </a:cubicBezTo>
                      <a:cubicBezTo>
                        <a:pt x="256" y="215"/>
                        <a:pt x="256" y="215"/>
                        <a:pt x="256" y="215"/>
                      </a:cubicBezTo>
                      <a:cubicBezTo>
                        <a:pt x="256" y="215"/>
                        <a:pt x="255" y="216"/>
                        <a:pt x="254" y="216"/>
                      </a:cubicBezTo>
                      <a:cubicBezTo>
                        <a:pt x="254" y="216"/>
                        <a:pt x="245" y="217"/>
                        <a:pt x="245" y="217"/>
                      </a:cubicBezTo>
                      <a:cubicBezTo>
                        <a:pt x="241" y="223"/>
                        <a:pt x="241" y="223"/>
                        <a:pt x="241" y="223"/>
                      </a:cubicBezTo>
                      <a:cubicBezTo>
                        <a:pt x="241" y="223"/>
                        <a:pt x="244" y="227"/>
                        <a:pt x="244" y="227"/>
                      </a:cubicBezTo>
                      <a:cubicBezTo>
                        <a:pt x="245" y="227"/>
                        <a:pt x="251" y="225"/>
                        <a:pt x="251" y="226"/>
                      </a:cubicBezTo>
                      <a:cubicBezTo>
                        <a:pt x="252" y="226"/>
                        <a:pt x="253" y="228"/>
                        <a:pt x="252" y="229"/>
                      </a:cubicBezTo>
                      <a:cubicBezTo>
                        <a:pt x="252" y="230"/>
                        <a:pt x="248" y="233"/>
                        <a:pt x="248" y="233"/>
                      </a:cubicBezTo>
                      <a:cubicBezTo>
                        <a:pt x="246" y="237"/>
                        <a:pt x="246" y="237"/>
                        <a:pt x="246" y="237"/>
                      </a:cubicBezTo>
                      <a:cubicBezTo>
                        <a:pt x="246" y="237"/>
                        <a:pt x="250" y="238"/>
                        <a:pt x="251" y="238"/>
                      </a:cubicBezTo>
                      <a:cubicBezTo>
                        <a:pt x="251" y="238"/>
                        <a:pt x="257" y="238"/>
                        <a:pt x="256" y="239"/>
                      </a:cubicBezTo>
                      <a:cubicBezTo>
                        <a:pt x="256" y="239"/>
                        <a:pt x="247" y="240"/>
                        <a:pt x="247" y="240"/>
                      </a:cubicBezTo>
                      <a:cubicBezTo>
                        <a:pt x="247" y="240"/>
                        <a:pt x="239" y="239"/>
                        <a:pt x="240" y="239"/>
                      </a:cubicBezTo>
                      <a:cubicBezTo>
                        <a:pt x="240" y="240"/>
                        <a:pt x="239" y="242"/>
                        <a:pt x="239" y="243"/>
                      </a:cubicBezTo>
                      <a:cubicBezTo>
                        <a:pt x="239" y="243"/>
                        <a:pt x="237" y="246"/>
                        <a:pt x="237" y="246"/>
                      </a:cubicBezTo>
                      <a:cubicBezTo>
                        <a:pt x="236" y="246"/>
                        <a:pt x="234" y="246"/>
                        <a:pt x="233" y="247"/>
                      </a:cubicBezTo>
                      <a:cubicBezTo>
                        <a:pt x="233" y="248"/>
                        <a:pt x="232" y="250"/>
                        <a:pt x="232" y="252"/>
                      </a:cubicBezTo>
                      <a:cubicBezTo>
                        <a:pt x="232" y="253"/>
                        <a:pt x="235" y="256"/>
                        <a:pt x="235" y="256"/>
                      </a:cubicBezTo>
                      <a:cubicBezTo>
                        <a:pt x="234" y="258"/>
                        <a:pt x="234" y="258"/>
                        <a:pt x="234" y="258"/>
                      </a:cubicBezTo>
                      <a:cubicBezTo>
                        <a:pt x="230" y="262"/>
                        <a:pt x="230" y="262"/>
                        <a:pt x="230" y="262"/>
                      </a:cubicBezTo>
                      <a:cubicBezTo>
                        <a:pt x="230" y="262"/>
                        <a:pt x="228" y="263"/>
                        <a:pt x="228" y="264"/>
                      </a:cubicBezTo>
                      <a:cubicBezTo>
                        <a:pt x="229" y="264"/>
                        <a:pt x="225" y="266"/>
                        <a:pt x="225" y="266"/>
                      </a:cubicBezTo>
                      <a:cubicBezTo>
                        <a:pt x="218" y="270"/>
                        <a:pt x="218" y="270"/>
                        <a:pt x="218" y="270"/>
                      </a:cubicBezTo>
                      <a:cubicBezTo>
                        <a:pt x="218" y="270"/>
                        <a:pt x="219" y="273"/>
                        <a:pt x="219" y="274"/>
                      </a:cubicBezTo>
                      <a:cubicBezTo>
                        <a:pt x="219" y="274"/>
                        <a:pt x="222" y="276"/>
                        <a:pt x="220" y="278"/>
                      </a:cubicBezTo>
                      <a:cubicBezTo>
                        <a:pt x="218" y="279"/>
                        <a:pt x="216" y="280"/>
                        <a:pt x="215" y="281"/>
                      </a:cubicBezTo>
                      <a:cubicBezTo>
                        <a:pt x="215" y="281"/>
                        <a:pt x="213" y="282"/>
                        <a:pt x="213" y="285"/>
                      </a:cubicBezTo>
                      <a:cubicBezTo>
                        <a:pt x="214" y="287"/>
                        <a:pt x="212" y="290"/>
                        <a:pt x="211" y="290"/>
                      </a:cubicBezTo>
                      <a:cubicBezTo>
                        <a:pt x="211" y="290"/>
                        <a:pt x="209" y="291"/>
                        <a:pt x="209" y="294"/>
                      </a:cubicBezTo>
                      <a:cubicBezTo>
                        <a:pt x="210" y="296"/>
                        <a:pt x="209" y="303"/>
                        <a:pt x="209" y="303"/>
                      </a:cubicBezTo>
                      <a:cubicBezTo>
                        <a:pt x="209" y="303"/>
                        <a:pt x="212" y="307"/>
                        <a:pt x="213" y="307"/>
                      </a:cubicBezTo>
                      <a:cubicBezTo>
                        <a:pt x="213" y="307"/>
                        <a:pt x="218" y="305"/>
                        <a:pt x="219" y="306"/>
                      </a:cubicBezTo>
                      <a:cubicBezTo>
                        <a:pt x="221" y="306"/>
                        <a:pt x="224" y="308"/>
                        <a:pt x="224" y="308"/>
                      </a:cubicBezTo>
                      <a:cubicBezTo>
                        <a:pt x="224" y="308"/>
                        <a:pt x="223" y="313"/>
                        <a:pt x="222" y="314"/>
                      </a:cubicBezTo>
                      <a:cubicBezTo>
                        <a:pt x="221" y="314"/>
                        <a:pt x="215" y="315"/>
                        <a:pt x="215" y="315"/>
                      </a:cubicBezTo>
                      <a:cubicBezTo>
                        <a:pt x="215" y="315"/>
                        <a:pt x="212" y="313"/>
                        <a:pt x="211" y="313"/>
                      </a:cubicBezTo>
                      <a:cubicBezTo>
                        <a:pt x="210" y="314"/>
                        <a:pt x="205" y="319"/>
                        <a:pt x="205" y="319"/>
                      </a:cubicBezTo>
                      <a:cubicBezTo>
                        <a:pt x="205" y="319"/>
                        <a:pt x="205" y="322"/>
                        <a:pt x="204" y="322"/>
                      </a:cubicBezTo>
                      <a:cubicBezTo>
                        <a:pt x="202" y="323"/>
                        <a:pt x="201" y="321"/>
                        <a:pt x="201" y="323"/>
                      </a:cubicBezTo>
                      <a:cubicBezTo>
                        <a:pt x="201" y="324"/>
                        <a:pt x="201" y="327"/>
                        <a:pt x="201" y="328"/>
                      </a:cubicBezTo>
                      <a:cubicBezTo>
                        <a:pt x="201" y="330"/>
                        <a:pt x="201" y="333"/>
                        <a:pt x="201" y="333"/>
                      </a:cubicBezTo>
                      <a:cubicBezTo>
                        <a:pt x="201" y="333"/>
                        <a:pt x="199" y="337"/>
                        <a:pt x="198" y="339"/>
                      </a:cubicBezTo>
                      <a:cubicBezTo>
                        <a:pt x="197" y="341"/>
                        <a:pt x="195" y="346"/>
                        <a:pt x="195" y="347"/>
                      </a:cubicBezTo>
                      <a:cubicBezTo>
                        <a:pt x="196" y="348"/>
                        <a:pt x="198" y="353"/>
                        <a:pt x="198" y="353"/>
                      </a:cubicBezTo>
                      <a:cubicBezTo>
                        <a:pt x="191" y="357"/>
                        <a:pt x="191" y="357"/>
                        <a:pt x="191" y="357"/>
                      </a:cubicBezTo>
                      <a:cubicBezTo>
                        <a:pt x="193" y="362"/>
                        <a:pt x="193" y="362"/>
                        <a:pt x="193" y="362"/>
                      </a:cubicBezTo>
                      <a:cubicBezTo>
                        <a:pt x="193" y="362"/>
                        <a:pt x="194" y="362"/>
                        <a:pt x="194" y="363"/>
                      </a:cubicBezTo>
                      <a:cubicBezTo>
                        <a:pt x="194" y="365"/>
                        <a:pt x="189" y="368"/>
                        <a:pt x="189" y="368"/>
                      </a:cubicBezTo>
                      <a:cubicBezTo>
                        <a:pt x="189" y="368"/>
                        <a:pt x="189" y="373"/>
                        <a:pt x="189" y="374"/>
                      </a:cubicBezTo>
                      <a:cubicBezTo>
                        <a:pt x="189" y="375"/>
                        <a:pt x="184" y="371"/>
                        <a:pt x="184" y="371"/>
                      </a:cubicBezTo>
                      <a:cubicBezTo>
                        <a:pt x="180" y="372"/>
                        <a:pt x="180" y="372"/>
                        <a:pt x="180" y="372"/>
                      </a:cubicBezTo>
                      <a:cubicBezTo>
                        <a:pt x="180" y="376"/>
                        <a:pt x="180" y="376"/>
                        <a:pt x="180" y="376"/>
                      </a:cubicBezTo>
                      <a:cubicBezTo>
                        <a:pt x="178" y="380"/>
                        <a:pt x="178" y="380"/>
                        <a:pt x="178" y="380"/>
                      </a:cubicBezTo>
                      <a:cubicBezTo>
                        <a:pt x="171" y="380"/>
                        <a:pt x="171" y="380"/>
                        <a:pt x="171" y="380"/>
                      </a:cubicBezTo>
                      <a:cubicBezTo>
                        <a:pt x="171" y="380"/>
                        <a:pt x="165" y="384"/>
                        <a:pt x="165" y="384"/>
                      </a:cubicBezTo>
                      <a:cubicBezTo>
                        <a:pt x="166" y="385"/>
                        <a:pt x="163" y="388"/>
                        <a:pt x="166" y="388"/>
                      </a:cubicBezTo>
                      <a:cubicBezTo>
                        <a:pt x="168" y="388"/>
                        <a:pt x="169" y="388"/>
                        <a:pt x="170" y="388"/>
                      </a:cubicBezTo>
                      <a:cubicBezTo>
                        <a:pt x="172" y="387"/>
                        <a:pt x="176" y="385"/>
                        <a:pt x="177" y="385"/>
                      </a:cubicBezTo>
                      <a:cubicBezTo>
                        <a:pt x="178" y="385"/>
                        <a:pt x="181" y="385"/>
                        <a:pt x="179" y="387"/>
                      </a:cubicBezTo>
                      <a:cubicBezTo>
                        <a:pt x="177" y="389"/>
                        <a:pt x="175" y="389"/>
                        <a:pt x="174" y="390"/>
                      </a:cubicBezTo>
                      <a:cubicBezTo>
                        <a:pt x="172" y="391"/>
                        <a:pt x="169" y="391"/>
                        <a:pt x="169" y="394"/>
                      </a:cubicBezTo>
                      <a:cubicBezTo>
                        <a:pt x="169" y="397"/>
                        <a:pt x="168" y="400"/>
                        <a:pt x="168" y="400"/>
                      </a:cubicBezTo>
                      <a:cubicBezTo>
                        <a:pt x="175" y="398"/>
                        <a:pt x="175" y="398"/>
                        <a:pt x="175" y="398"/>
                      </a:cubicBezTo>
                      <a:cubicBezTo>
                        <a:pt x="175" y="398"/>
                        <a:pt x="177" y="397"/>
                        <a:pt x="177" y="400"/>
                      </a:cubicBezTo>
                      <a:cubicBezTo>
                        <a:pt x="178" y="404"/>
                        <a:pt x="175" y="405"/>
                        <a:pt x="173" y="405"/>
                      </a:cubicBezTo>
                      <a:cubicBezTo>
                        <a:pt x="172" y="405"/>
                        <a:pt x="167" y="401"/>
                        <a:pt x="167" y="401"/>
                      </a:cubicBezTo>
                      <a:cubicBezTo>
                        <a:pt x="163" y="404"/>
                        <a:pt x="163" y="404"/>
                        <a:pt x="163" y="404"/>
                      </a:cubicBezTo>
                      <a:cubicBezTo>
                        <a:pt x="163" y="404"/>
                        <a:pt x="162" y="403"/>
                        <a:pt x="158" y="406"/>
                      </a:cubicBezTo>
                      <a:cubicBezTo>
                        <a:pt x="154" y="410"/>
                        <a:pt x="152" y="415"/>
                        <a:pt x="152" y="416"/>
                      </a:cubicBezTo>
                      <a:cubicBezTo>
                        <a:pt x="152" y="417"/>
                        <a:pt x="152" y="419"/>
                        <a:pt x="149" y="421"/>
                      </a:cubicBezTo>
                      <a:cubicBezTo>
                        <a:pt x="147" y="422"/>
                        <a:pt x="144" y="425"/>
                        <a:pt x="144" y="425"/>
                      </a:cubicBezTo>
                      <a:cubicBezTo>
                        <a:pt x="144" y="425"/>
                        <a:pt x="143" y="428"/>
                        <a:pt x="142" y="430"/>
                      </a:cubicBezTo>
                      <a:cubicBezTo>
                        <a:pt x="141" y="432"/>
                        <a:pt x="141" y="432"/>
                        <a:pt x="141" y="432"/>
                      </a:cubicBezTo>
                      <a:cubicBezTo>
                        <a:pt x="145" y="436"/>
                        <a:pt x="145" y="436"/>
                        <a:pt x="145" y="436"/>
                      </a:cubicBezTo>
                      <a:cubicBezTo>
                        <a:pt x="138" y="440"/>
                        <a:pt x="138" y="440"/>
                        <a:pt x="138" y="440"/>
                      </a:cubicBezTo>
                      <a:cubicBezTo>
                        <a:pt x="135" y="442"/>
                        <a:pt x="135" y="442"/>
                        <a:pt x="135" y="442"/>
                      </a:cubicBezTo>
                      <a:cubicBezTo>
                        <a:pt x="135" y="442"/>
                        <a:pt x="129" y="448"/>
                        <a:pt x="133" y="449"/>
                      </a:cubicBezTo>
                      <a:cubicBezTo>
                        <a:pt x="138" y="450"/>
                        <a:pt x="141" y="450"/>
                        <a:pt x="141" y="450"/>
                      </a:cubicBezTo>
                      <a:cubicBezTo>
                        <a:pt x="141" y="450"/>
                        <a:pt x="140" y="456"/>
                        <a:pt x="141" y="456"/>
                      </a:cubicBezTo>
                      <a:cubicBezTo>
                        <a:pt x="142" y="456"/>
                        <a:pt x="151" y="456"/>
                        <a:pt x="151" y="456"/>
                      </a:cubicBezTo>
                      <a:cubicBezTo>
                        <a:pt x="156" y="452"/>
                        <a:pt x="156" y="452"/>
                        <a:pt x="156" y="452"/>
                      </a:cubicBezTo>
                      <a:cubicBezTo>
                        <a:pt x="159" y="450"/>
                        <a:pt x="159" y="450"/>
                        <a:pt x="159" y="450"/>
                      </a:cubicBezTo>
                      <a:cubicBezTo>
                        <a:pt x="161" y="454"/>
                        <a:pt x="161" y="454"/>
                        <a:pt x="161" y="454"/>
                      </a:cubicBezTo>
                      <a:cubicBezTo>
                        <a:pt x="161" y="454"/>
                        <a:pt x="159" y="457"/>
                        <a:pt x="157" y="457"/>
                      </a:cubicBezTo>
                      <a:cubicBezTo>
                        <a:pt x="154" y="457"/>
                        <a:pt x="155" y="457"/>
                        <a:pt x="153" y="459"/>
                      </a:cubicBezTo>
                      <a:cubicBezTo>
                        <a:pt x="150" y="462"/>
                        <a:pt x="149" y="463"/>
                        <a:pt x="147" y="463"/>
                      </a:cubicBezTo>
                      <a:cubicBezTo>
                        <a:pt x="146" y="463"/>
                        <a:pt x="144" y="466"/>
                        <a:pt x="142" y="462"/>
                      </a:cubicBezTo>
                      <a:cubicBezTo>
                        <a:pt x="141" y="459"/>
                        <a:pt x="139" y="456"/>
                        <a:pt x="139" y="456"/>
                      </a:cubicBezTo>
                      <a:cubicBezTo>
                        <a:pt x="130" y="452"/>
                        <a:pt x="130" y="452"/>
                        <a:pt x="130" y="452"/>
                      </a:cubicBezTo>
                      <a:cubicBezTo>
                        <a:pt x="128" y="453"/>
                        <a:pt x="128" y="453"/>
                        <a:pt x="128" y="453"/>
                      </a:cubicBezTo>
                      <a:cubicBezTo>
                        <a:pt x="128" y="453"/>
                        <a:pt x="127" y="457"/>
                        <a:pt x="126" y="457"/>
                      </a:cubicBezTo>
                      <a:cubicBezTo>
                        <a:pt x="125" y="457"/>
                        <a:pt x="119" y="457"/>
                        <a:pt x="117" y="457"/>
                      </a:cubicBezTo>
                      <a:cubicBezTo>
                        <a:pt x="116" y="457"/>
                        <a:pt x="114" y="457"/>
                        <a:pt x="114" y="456"/>
                      </a:cubicBezTo>
                      <a:cubicBezTo>
                        <a:pt x="113" y="454"/>
                        <a:pt x="114" y="454"/>
                        <a:pt x="113" y="453"/>
                      </a:cubicBezTo>
                      <a:cubicBezTo>
                        <a:pt x="112" y="452"/>
                        <a:pt x="110" y="448"/>
                        <a:pt x="108" y="449"/>
                      </a:cubicBezTo>
                      <a:cubicBezTo>
                        <a:pt x="107" y="449"/>
                        <a:pt x="102" y="451"/>
                        <a:pt x="102" y="451"/>
                      </a:cubicBezTo>
                      <a:cubicBezTo>
                        <a:pt x="101" y="459"/>
                        <a:pt x="101" y="459"/>
                        <a:pt x="101" y="459"/>
                      </a:cubicBezTo>
                      <a:cubicBezTo>
                        <a:pt x="101" y="459"/>
                        <a:pt x="98" y="459"/>
                        <a:pt x="99" y="461"/>
                      </a:cubicBezTo>
                      <a:cubicBezTo>
                        <a:pt x="99" y="463"/>
                        <a:pt x="103" y="465"/>
                        <a:pt x="103" y="465"/>
                      </a:cubicBezTo>
                      <a:cubicBezTo>
                        <a:pt x="103" y="465"/>
                        <a:pt x="105" y="467"/>
                        <a:pt x="105" y="468"/>
                      </a:cubicBezTo>
                      <a:cubicBezTo>
                        <a:pt x="106" y="470"/>
                        <a:pt x="103" y="472"/>
                        <a:pt x="103" y="472"/>
                      </a:cubicBezTo>
                      <a:cubicBezTo>
                        <a:pt x="103" y="472"/>
                        <a:pt x="98" y="472"/>
                        <a:pt x="97" y="474"/>
                      </a:cubicBezTo>
                      <a:cubicBezTo>
                        <a:pt x="97" y="475"/>
                        <a:pt x="98" y="478"/>
                        <a:pt x="97" y="478"/>
                      </a:cubicBezTo>
                      <a:cubicBezTo>
                        <a:pt x="96" y="479"/>
                        <a:pt x="95" y="481"/>
                        <a:pt x="95" y="482"/>
                      </a:cubicBezTo>
                      <a:cubicBezTo>
                        <a:pt x="95" y="482"/>
                        <a:pt x="97" y="487"/>
                        <a:pt x="97" y="487"/>
                      </a:cubicBezTo>
                      <a:cubicBezTo>
                        <a:pt x="97" y="487"/>
                        <a:pt x="97" y="491"/>
                        <a:pt x="95" y="489"/>
                      </a:cubicBezTo>
                      <a:cubicBezTo>
                        <a:pt x="93" y="487"/>
                        <a:pt x="87" y="484"/>
                        <a:pt x="87" y="484"/>
                      </a:cubicBezTo>
                      <a:cubicBezTo>
                        <a:pt x="83" y="481"/>
                        <a:pt x="83" y="481"/>
                        <a:pt x="83" y="481"/>
                      </a:cubicBezTo>
                      <a:cubicBezTo>
                        <a:pt x="83" y="481"/>
                        <a:pt x="79" y="484"/>
                        <a:pt x="78" y="484"/>
                      </a:cubicBezTo>
                      <a:cubicBezTo>
                        <a:pt x="78" y="485"/>
                        <a:pt x="71" y="484"/>
                        <a:pt x="69" y="485"/>
                      </a:cubicBezTo>
                      <a:cubicBezTo>
                        <a:pt x="68" y="486"/>
                        <a:pt x="68" y="487"/>
                        <a:pt x="67" y="489"/>
                      </a:cubicBezTo>
                      <a:cubicBezTo>
                        <a:pt x="65" y="491"/>
                        <a:pt x="62" y="491"/>
                        <a:pt x="65" y="494"/>
                      </a:cubicBezTo>
                      <a:cubicBezTo>
                        <a:pt x="67" y="497"/>
                        <a:pt x="72" y="498"/>
                        <a:pt x="72" y="498"/>
                      </a:cubicBezTo>
                      <a:cubicBezTo>
                        <a:pt x="72" y="498"/>
                        <a:pt x="74" y="499"/>
                        <a:pt x="72" y="502"/>
                      </a:cubicBezTo>
                      <a:cubicBezTo>
                        <a:pt x="70" y="506"/>
                        <a:pt x="66" y="503"/>
                        <a:pt x="65" y="503"/>
                      </a:cubicBezTo>
                      <a:cubicBezTo>
                        <a:pt x="64" y="502"/>
                        <a:pt x="60" y="499"/>
                        <a:pt x="59" y="500"/>
                      </a:cubicBezTo>
                      <a:cubicBezTo>
                        <a:pt x="58" y="501"/>
                        <a:pt x="55" y="506"/>
                        <a:pt x="55" y="506"/>
                      </a:cubicBezTo>
                      <a:cubicBezTo>
                        <a:pt x="55" y="506"/>
                        <a:pt x="52" y="507"/>
                        <a:pt x="51" y="506"/>
                      </a:cubicBezTo>
                      <a:cubicBezTo>
                        <a:pt x="50" y="506"/>
                        <a:pt x="47" y="501"/>
                        <a:pt x="46" y="502"/>
                      </a:cubicBezTo>
                      <a:cubicBezTo>
                        <a:pt x="45" y="503"/>
                        <a:pt x="44" y="505"/>
                        <a:pt x="44" y="506"/>
                      </a:cubicBezTo>
                      <a:cubicBezTo>
                        <a:pt x="44" y="507"/>
                        <a:pt x="46" y="509"/>
                        <a:pt x="45" y="510"/>
                      </a:cubicBezTo>
                      <a:cubicBezTo>
                        <a:pt x="45" y="511"/>
                        <a:pt x="40" y="512"/>
                        <a:pt x="39" y="513"/>
                      </a:cubicBezTo>
                      <a:cubicBezTo>
                        <a:pt x="39" y="514"/>
                        <a:pt x="39" y="512"/>
                        <a:pt x="37" y="516"/>
                      </a:cubicBezTo>
                      <a:cubicBezTo>
                        <a:pt x="36" y="520"/>
                        <a:pt x="37" y="520"/>
                        <a:pt x="36" y="520"/>
                      </a:cubicBezTo>
                      <a:cubicBezTo>
                        <a:pt x="34" y="521"/>
                        <a:pt x="30" y="518"/>
                        <a:pt x="30" y="518"/>
                      </a:cubicBezTo>
                      <a:cubicBezTo>
                        <a:pt x="30" y="518"/>
                        <a:pt x="27" y="515"/>
                        <a:pt x="27" y="518"/>
                      </a:cubicBezTo>
                      <a:cubicBezTo>
                        <a:pt x="27" y="522"/>
                        <a:pt x="26" y="526"/>
                        <a:pt x="26" y="526"/>
                      </a:cubicBezTo>
                      <a:cubicBezTo>
                        <a:pt x="29" y="528"/>
                        <a:pt x="29" y="528"/>
                        <a:pt x="29" y="528"/>
                      </a:cubicBezTo>
                      <a:cubicBezTo>
                        <a:pt x="29" y="528"/>
                        <a:pt x="28" y="530"/>
                        <a:pt x="27" y="530"/>
                      </a:cubicBezTo>
                      <a:cubicBezTo>
                        <a:pt x="27" y="530"/>
                        <a:pt x="25" y="529"/>
                        <a:pt x="24" y="527"/>
                      </a:cubicBezTo>
                      <a:cubicBezTo>
                        <a:pt x="23" y="526"/>
                        <a:pt x="24" y="526"/>
                        <a:pt x="21" y="525"/>
                      </a:cubicBezTo>
                      <a:cubicBezTo>
                        <a:pt x="18" y="524"/>
                        <a:pt x="16" y="522"/>
                        <a:pt x="16" y="524"/>
                      </a:cubicBezTo>
                      <a:cubicBezTo>
                        <a:pt x="16" y="525"/>
                        <a:pt x="15" y="527"/>
                        <a:pt x="16" y="528"/>
                      </a:cubicBezTo>
                      <a:cubicBezTo>
                        <a:pt x="17" y="530"/>
                        <a:pt x="19" y="532"/>
                        <a:pt x="19" y="532"/>
                      </a:cubicBezTo>
                      <a:cubicBezTo>
                        <a:pt x="20" y="532"/>
                        <a:pt x="20" y="532"/>
                        <a:pt x="20" y="532"/>
                      </a:cubicBezTo>
                      <a:cubicBezTo>
                        <a:pt x="20" y="532"/>
                        <a:pt x="19" y="535"/>
                        <a:pt x="18" y="535"/>
                      </a:cubicBezTo>
                      <a:cubicBezTo>
                        <a:pt x="17" y="536"/>
                        <a:pt x="16" y="534"/>
                        <a:pt x="15" y="534"/>
                      </a:cubicBezTo>
                      <a:cubicBezTo>
                        <a:pt x="15" y="534"/>
                        <a:pt x="12" y="536"/>
                        <a:pt x="12" y="536"/>
                      </a:cubicBezTo>
                      <a:cubicBezTo>
                        <a:pt x="12" y="536"/>
                        <a:pt x="13" y="538"/>
                        <a:pt x="13" y="539"/>
                      </a:cubicBezTo>
                      <a:cubicBezTo>
                        <a:pt x="13" y="540"/>
                        <a:pt x="10" y="541"/>
                        <a:pt x="10" y="542"/>
                      </a:cubicBezTo>
                      <a:cubicBezTo>
                        <a:pt x="9" y="542"/>
                        <a:pt x="8" y="543"/>
                        <a:pt x="8" y="544"/>
                      </a:cubicBezTo>
                      <a:cubicBezTo>
                        <a:pt x="8" y="545"/>
                        <a:pt x="9" y="548"/>
                        <a:pt x="10" y="547"/>
                      </a:cubicBezTo>
                      <a:cubicBezTo>
                        <a:pt x="11" y="547"/>
                        <a:pt x="16" y="548"/>
                        <a:pt x="16" y="548"/>
                      </a:cubicBezTo>
                      <a:cubicBezTo>
                        <a:pt x="16" y="548"/>
                        <a:pt x="15" y="550"/>
                        <a:pt x="14" y="551"/>
                      </a:cubicBezTo>
                      <a:cubicBezTo>
                        <a:pt x="13" y="551"/>
                        <a:pt x="12" y="553"/>
                        <a:pt x="11" y="554"/>
                      </a:cubicBezTo>
                      <a:cubicBezTo>
                        <a:pt x="10" y="556"/>
                        <a:pt x="12" y="560"/>
                        <a:pt x="14" y="561"/>
                      </a:cubicBezTo>
                      <a:cubicBezTo>
                        <a:pt x="17" y="562"/>
                        <a:pt x="20" y="562"/>
                        <a:pt x="20" y="564"/>
                      </a:cubicBezTo>
                      <a:cubicBezTo>
                        <a:pt x="19" y="565"/>
                        <a:pt x="14" y="569"/>
                        <a:pt x="13" y="570"/>
                      </a:cubicBezTo>
                      <a:cubicBezTo>
                        <a:pt x="12" y="570"/>
                        <a:pt x="10" y="571"/>
                        <a:pt x="10" y="573"/>
                      </a:cubicBezTo>
                      <a:cubicBezTo>
                        <a:pt x="10" y="575"/>
                        <a:pt x="10" y="576"/>
                        <a:pt x="8" y="577"/>
                      </a:cubicBezTo>
                      <a:cubicBezTo>
                        <a:pt x="6" y="578"/>
                        <a:pt x="5" y="577"/>
                        <a:pt x="5" y="580"/>
                      </a:cubicBezTo>
                      <a:cubicBezTo>
                        <a:pt x="5" y="582"/>
                        <a:pt x="6" y="583"/>
                        <a:pt x="7" y="583"/>
                      </a:cubicBezTo>
                      <a:cubicBezTo>
                        <a:pt x="8" y="583"/>
                        <a:pt x="8" y="583"/>
                        <a:pt x="8" y="583"/>
                      </a:cubicBezTo>
                      <a:cubicBezTo>
                        <a:pt x="16" y="582"/>
                        <a:pt x="16" y="582"/>
                        <a:pt x="16" y="582"/>
                      </a:cubicBezTo>
                      <a:cubicBezTo>
                        <a:pt x="16" y="582"/>
                        <a:pt x="15" y="585"/>
                        <a:pt x="15" y="586"/>
                      </a:cubicBezTo>
                      <a:cubicBezTo>
                        <a:pt x="15" y="587"/>
                        <a:pt x="9" y="593"/>
                        <a:pt x="9" y="593"/>
                      </a:cubicBezTo>
                      <a:cubicBezTo>
                        <a:pt x="9" y="593"/>
                        <a:pt x="10" y="596"/>
                        <a:pt x="9" y="596"/>
                      </a:cubicBezTo>
                      <a:cubicBezTo>
                        <a:pt x="7" y="597"/>
                        <a:pt x="5" y="598"/>
                        <a:pt x="4" y="599"/>
                      </a:cubicBezTo>
                      <a:cubicBezTo>
                        <a:pt x="4" y="600"/>
                        <a:pt x="4" y="602"/>
                        <a:pt x="4" y="603"/>
                      </a:cubicBezTo>
                      <a:cubicBezTo>
                        <a:pt x="5" y="605"/>
                        <a:pt x="7" y="608"/>
                        <a:pt x="7" y="609"/>
                      </a:cubicBezTo>
                      <a:cubicBezTo>
                        <a:pt x="8" y="610"/>
                        <a:pt x="6" y="612"/>
                        <a:pt x="6" y="612"/>
                      </a:cubicBezTo>
                      <a:cubicBezTo>
                        <a:pt x="4" y="620"/>
                        <a:pt x="4" y="620"/>
                        <a:pt x="4" y="620"/>
                      </a:cubicBezTo>
                      <a:cubicBezTo>
                        <a:pt x="4" y="620"/>
                        <a:pt x="4" y="624"/>
                        <a:pt x="4" y="625"/>
                      </a:cubicBezTo>
                      <a:cubicBezTo>
                        <a:pt x="4" y="626"/>
                        <a:pt x="0" y="627"/>
                        <a:pt x="2" y="630"/>
                      </a:cubicBezTo>
                      <a:cubicBezTo>
                        <a:pt x="4" y="632"/>
                        <a:pt x="5" y="633"/>
                        <a:pt x="6" y="634"/>
                      </a:cubicBezTo>
                      <a:cubicBezTo>
                        <a:pt x="8" y="634"/>
                        <a:pt x="13" y="634"/>
                        <a:pt x="13" y="635"/>
                      </a:cubicBezTo>
                      <a:cubicBezTo>
                        <a:pt x="13" y="635"/>
                        <a:pt x="13" y="636"/>
                        <a:pt x="10" y="637"/>
                      </a:cubicBezTo>
                      <a:cubicBezTo>
                        <a:pt x="8" y="637"/>
                        <a:pt x="6" y="636"/>
                        <a:pt x="6" y="638"/>
                      </a:cubicBezTo>
                      <a:cubicBezTo>
                        <a:pt x="5" y="639"/>
                        <a:pt x="1" y="645"/>
                        <a:pt x="1" y="645"/>
                      </a:cubicBezTo>
                      <a:cubicBezTo>
                        <a:pt x="6" y="651"/>
                        <a:pt x="6" y="651"/>
                        <a:pt x="6" y="651"/>
                      </a:cubicBezTo>
                      <a:cubicBezTo>
                        <a:pt x="6" y="651"/>
                        <a:pt x="8" y="649"/>
                        <a:pt x="9" y="649"/>
                      </a:cubicBezTo>
                      <a:cubicBezTo>
                        <a:pt x="10" y="648"/>
                        <a:pt x="13" y="649"/>
                        <a:pt x="13" y="650"/>
                      </a:cubicBezTo>
                      <a:cubicBezTo>
                        <a:pt x="13" y="650"/>
                        <a:pt x="11" y="653"/>
                        <a:pt x="10" y="653"/>
                      </a:cubicBezTo>
                      <a:cubicBezTo>
                        <a:pt x="10" y="654"/>
                        <a:pt x="7" y="655"/>
                        <a:pt x="7" y="656"/>
                      </a:cubicBezTo>
                      <a:cubicBezTo>
                        <a:pt x="7" y="656"/>
                        <a:pt x="10" y="660"/>
                        <a:pt x="10" y="660"/>
                      </a:cubicBezTo>
                      <a:cubicBezTo>
                        <a:pt x="10" y="660"/>
                        <a:pt x="12" y="660"/>
                        <a:pt x="12" y="662"/>
                      </a:cubicBezTo>
                      <a:cubicBezTo>
                        <a:pt x="12" y="663"/>
                        <a:pt x="8" y="665"/>
                        <a:pt x="8" y="665"/>
                      </a:cubicBezTo>
                      <a:cubicBezTo>
                        <a:pt x="9" y="668"/>
                        <a:pt x="9" y="668"/>
                        <a:pt x="9" y="668"/>
                      </a:cubicBezTo>
                      <a:cubicBezTo>
                        <a:pt x="6" y="674"/>
                        <a:pt x="6" y="674"/>
                        <a:pt x="6" y="674"/>
                      </a:cubicBezTo>
                      <a:cubicBezTo>
                        <a:pt x="11" y="677"/>
                        <a:pt x="11" y="677"/>
                        <a:pt x="11" y="677"/>
                      </a:cubicBezTo>
                      <a:cubicBezTo>
                        <a:pt x="11" y="677"/>
                        <a:pt x="15" y="677"/>
                        <a:pt x="14" y="680"/>
                      </a:cubicBezTo>
                      <a:cubicBezTo>
                        <a:pt x="12" y="682"/>
                        <a:pt x="9" y="684"/>
                        <a:pt x="9" y="685"/>
                      </a:cubicBezTo>
                      <a:cubicBezTo>
                        <a:pt x="9" y="687"/>
                        <a:pt x="8" y="689"/>
                        <a:pt x="10" y="690"/>
                      </a:cubicBezTo>
                      <a:cubicBezTo>
                        <a:pt x="12" y="690"/>
                        <a:pt x="12" y="691"/>
                        <a:pt x="13" y="690"/>
                      </a:cubicBezTo>
                      <a:cubicBezTo>
                        <a:pt x="15" y="689"/>
                        <a:pt x="17" y="688"/>
                        <a:pt x="17" y="688"/>
                      </a:cubicBezTo>
                      <a:cubicBezTo>
                        <a:pt x="17" y="688"/>
                        <a:pt x="20" y="686"/>
                        <a:pt x="22" y="686"/>
                      </a:cubicBezTo>
                      <a:cubicBezTo>
                        <a:pt x="23" y="686"/>
                        <a:pt x="25" y="687"/>
                        <a:pt x="26" y="688"/>
                      </a:cubicBezTo>
                      <a:cubicBezTo>
                        <a:pt x="26" y="689"/>
                        <a:pt x="26" y="690"/>
                        <a:pt x="27" y="691"/>
                      </a:cubicBezTo>
                      <a:cubicBezTo>
                        <a:pt x="28" y="691"/>
                        <a:pt x="26" y="696"/>
                        <a:pt x="26" y="696"/>
                      </a:cubicBezTo>
                      <a:cubicBezTo>
                        <a:pt x="23" y="700"/>
                        <a:pt x="23" y="700"/>
                        <a:pt x="23" y="700"/>
                      </a:cubicBezTo>
                      <a:cubicBezTo>
                        <a:pt x="23" y="700"/>
                        <a:pt x="26" y="704"/>
                        <a:pt x="25" y="704"/>
                      </a:cubicBezTo>
                      <a:cubicBezTo>
                        <a:pt x="25" y="704"/>
                        <a:pt x="20" y="705"/>
                        <a:pt x="19" y="705"/>
                      </a:cubicBezTo>
                      <a:cubicBezTo>
                        <a:pt x="18" y="705"/>
                        <a:pt x="17" y="704"/>
                        <a:pt x="17" y="706"/>
                      </a:cubicBezTo>
                      <a:cubicBezTo>
                        <a:pt x="16" y="708"/>
                        <a:pt x="13" y="713"/>
                        <a:pt x="13" y="713"/>
                      </a:cubicBezTo>
                      <a:cubicBezTo>
                        <a:pt x="13" y="713"/>
                        <a:pt x="12" y="715"/>
                        <a:pt x="13" y="717"/>
                      </a:cubicBezTo>
                      <a:cubicBezTo>
                        <a:pt x="14" y="719"/>
                        <a:pt x="18" y="726"/>
                        <a:pt x="18" y="726"/>
                      </a:cubicBezTo>
                      <a:cubicBezTo>
                        <a:pt x="18" y="727"/>
                        <a:pt x="20" y="730"/>
                        <a:pt x="23" y="732"/>
                      </a:cubicBezTo>
                      <a:cubicBezTo>
                        <a:pt x="26" y="734"/>
                        <a:pt x="28" y="734"/>
                        <a:pt x="28" y="736"/>
                      </a:cubicBezTo>
                      <a:cubicBezTo>
                        <a:pt x="29" y="738"/>
                        <a:pt x="29" y="738"/>
                        <a:pt x="29" y="738"/>
                      </a:cubicBezTo>
                      <a:cubicBezTo>
                        <a:pt x="33" y="742"/>
                        <a:pt x="33" y="742"/>
                        <a:pt x="33" y="742"/>
                      </a:cubicBezTo>
                      <a:cubicBezTo>
                        <a:pt x="33" y="742"/>
                        <a:pt x="35" y="743"/>
                        <a:pt x="38" y="743"/>
                      </a:cubicBezTo>
                      <a:cubicBezTo>
                        <a:pt x="41" y="744"/>
                        <a:pt x="45" y="744"/>
                        <a:pt x="45" y="745"/>
                      </a:cubicBezTo>
                      <a:cubicBezTo>
                        <a:pt x="46" y="745"/>
                        <a:pt x="42" y="748"/>
                        <a:pt x="42" y="748"/>
                      </a:cubicBezTo>
                      <a:cubicBezTo>
                        <a:pt x="42" y="748"/>
                        <a:pt x="37" y="752"/>
                        <a:pt x="39" y="753"/>
                      </a:cubicBezTo>
                      <a:cubicBezTo>
                        <a:pt x="41" y="754"/>
                        <a:pt x="55" y="757"/>
                        <a:pt x="55" y="757"/>
                      </a:cubicBezTo>
                      <a:cubicBezTo>
                        <a:pt x="55" y="757"/>
                        <a:pt x="57" y="758"/>
                        <a:pt x="57" y="759"/>
                      </a:cubicBezTo>
                      <a:cubicBezTo>
                        <a:pt x="57" y="760"/>
                        <a:pt x="60" y="758"/>
                        <a:pt x="60" y="758"/>
                      </a:cubicBezTo>
                      <a:cubicBezTo>
                        <a:pt x="61" y="757"/>
                        <a:pt x="65" y="759"/>
                        <a:pt x="66" y="759"/>
                      </a:cubicBezTo>
                      <a:cubicBezTo>
                        <a:pt x="66" y="759"/>
                        <a:pt x="72" y="758"/>
                        <a:pt x="72" y="758"/>
                      </a:cubicBezTo>
                      <a:cubicBezTo>
                        <a:pt x="77" y="756"/>
                        <a:pt x="77" y="756"/>
                        <a:pt x="77" y="756"/>
                      </a:cubicBezTo>
                      <a:cubicBezTo>
                        <a:pt x="77" y="756"/>
                        <a:pt x="80" y="751"/>
                        <a:pt x="82" y="752"/>
                      </a:cubicBezTo>
                      <a:cubicBezTo>
                        <a:pt x="85" y="753"/>
                        <a:pt x="84" y="755"/>
                        <a:pt x="86" y="755"/>
                      </a:cubicBezTo>
                      <a:cubicBezTo>
                        <a:pt x="87" y="755"/>
                        <a:pt x="89" y="755"/>
                        <a:pt x="91" y="752"/>
                      </a:cubicBezTo>
                      <a:cubicBezTo>
                        <a:pt x="93" y="750"/>
                        <a:pt x="95" y="748"/>
                        <a:pt x="96" y="747"/>
                      </a:cubicBezTo>
                      <a:cubicBezTo>
                        <a:pt x="97" y="747"/>
                        <a:pt x="109" y="740"/>
                        <a:pt x="109" y="740"/>
                      </a:cubicBezTo>
                      <a:cubicBezTo>
                        <a:pt x="117" y="726"/>
                        <a:pt x="117" y="726"/>
                        <a:pt x="117" y="726"/>
                      </a:cubicBezTo>
                      <a:cubicBezTo>
                        <a:pt x="120" y="716"/>
                        <a:pt x="120" y="716"/>
                        <a:pt x="120" y="716"/>
                      </a:cubicBezTo>
                      <a:cubicBezTo>
                        <a:pt x="120" y="716"/>
                        <a:pt x="124" y="711"/>
                        <a:pt x="127" y="711"/>
                      </a:cubicBezTo>
                      <a:cubicBezTo>
                        <a:pt x="129" y="711"/>
                        <a:pt x="136" y="708"/>
                        <a:pt x="135" y="706"/>
                      </a:cubicBezTo>
                      <a:cubicBezTo>
                        <a:pt x="135" y="703"/>
                        <a:pt x="138" y="702"/>
                        <a:pt x="138" y="706"/>
                      </a:cubicBezTo>
                      <a:cubicBezTo>
                        <a:pt x="139" y="710"/>
                        <a:pt x="138" y="714"/>
                        <a:pt x="140" y="712"/>
                      </a:cubicBezTo>
                      <a:cubicBezTo>
                        <a:pt x="143" y="710"/>
                        <a:pt x="148" y="704"/>
                        <a:pt x="148" y="704"/>
                      </a:cubicBezTo>
                      <a:cubicBezTo>
                        <a:pt x="148" y="704"/>
                        <a:pt x="151" y="701"/>
                        <a:pt x="153" y="700"/>
                      </a:cubicBezTo>
                      <a:cubicBezTo>
                        <a:pt x="155" y="700"/>
                        <a:pt x="158" y="693"/>
                        <a:pt x="158" y="693"/>
                      </a:cubicBezTo>
                      <a:cubicBezTo>
                        <a:pt x="158" y="693"/>
                        <a:pt x="162" y="690"/>
                        <a:pt x="164" y="693"/>
                      </a:cubicBezTo>
                      <a:cubicBezTo>
                        <a:pt x="165" y="697"/>
                        <a:pt x="169" y="702"/>
                        <a:pt x="169" y="704"/>
                      </a:cubicBezTo>
                      <a:cubicBezTo>
                        <a:pt x="169" y="704"/>
                        <a:pt x="171" y="705"/>
                        <a:pt x="173" y="706"/>
                      </a:cubicBezTo>
                      <a:cubicBezTo>
                        <a:pt x="173" y="704"/>
                        <a:pt x="173" y="704"/>
                        <a:pt x="173" y="704"/>
                      </a:cubicBezTo>
                      <a:cubicBezTo>
                        <a:pt x="173" y="698"/>
                        <a:pt x="173" y="698"/>
                        <a:pt x="173" y="698"/>
                      </a:cubicBezTo>
                      <a:cubicBezTo>
                        <a:pt x="173" y="698"/>
                        <a:pt x="180" y="704"/>
                        <a:pt x="180" y="704"/>
                      </a:cubicBezTo>
                      <a:cubicBezTo>
                        <a:pt x="181" y="705"/>
                        <a:pt x="181" y="711"/>
                        <a:pt x="181" y="711"/>
                      </a:cubicBezTo>
                      <a:cubicBezTo>
                        <a:pt x="183" y="711"/>
                        <a:pt x="183" y="711"/>
                        <a:pt x="183" y="711"/>
                      </a:cubicBezTo>
                      <a:cubicBezTo>
                        <a:pt x="183" y="710"/>
                        <a:pt x="183" y="710"/>
                        <a:pt x="183" y="710"/>
                      </a:cubicBezTo>
                      <a:cubicBezTo>
                        <a:pt x="185" y="711"/>
                        <a:pt x="185" y="711"/>
                        <a:pt x="185" y="711"/>
                      </a:cubicBezTo>
                      <a:cubicBezTo>
                        <a:pt x="186" y="710"/>
                        <a:pt x="186" y="710"/>
                        <a:pt x="186" y="710"/>
                      </a:cubicBezTo>
                      <a:cubicBezTo>
                        <a:pt x="187" y="704"/>
                        <a:pt x="187" y="704"/>
                        <a:pt x="187" y="704"/>
                      </a:cubicBezTo>
                      <a:cubicBezTo>
                        <a:pt x="188" y="697"/>
                        <a:pt x="188" y="697"/>
                        <a:pt x="188" y="697"/>
                      </a:cubicBezTo>
                      <a:cubicBezTo>
                        <a:pt x="191" y="691"/>
                        <a:pt x="191" y="691"/>
                        <a:pt x="191" y="691"/>
                      </a:cubicBezTo>
                      <a:cubicBezTo>
                        <a:pt x="191" y="685"/>
                        <a:pt x="191" y="685"/>
                        <a:pt x="191" y="685"/>
                      </a:cubicBezTo>
                      <a:cubicBezTo>
                        <a:pt x="187" y="678"/>
                        <a:pt x="187" y="678"/>
                        <a:pt x="187" y="678"/>
                      </a:cubicBezTo>
                      <a:cubicBezTo>
                        <a:pt x="185" y="672"/>
                        <a:pt x="185" y="672"/>
                        <a:pt x="185" y="672"/>
                      </a:cubicBezTo>
                      <a:cubicBezTo>
                        <a:pt x="188" y="671"/>
                        <a:pt x="188" y="671"/>
                        <a:pt x="188" y="671"/>
                      </a:cubicBezTo>
                      <a:cubicBezTo>
                        <a:pt x="188" y="670"/>
                        <a:pt x="188" y="670"/>
                        <a:pt x="188" y="670"/>
                      </a:cubicBezTo>
                      <a:cubicBezTo>
                        <a:pt x="189" y="670"/>
                        <a:pt x="189" y="670"/>
                        <a:pt x="189" y="670"/>
                      </a:cubicBezTo>
                      <a:cubicBezTo>
                        <a:pt x="191" y="668"/>
                        <a:pt x="191" y="668"/>
                        <a:pt x="191" y="668"/>
                      </a:cubicBezTo>
                      <a:cubicBezTo>
                        <a:pt x="192" y="663"/>
                        <a:pt x="192" y="663"/>
                        <a:pt x="192" y="663"/>
                      </a:cubicBezTo>
                      <a:cubicBezTo>
                        <a:pt x="190" y="661"/>
                        <a:pt x="190" y="661"/>
                        <a:pt x="190" y="661"/>
                      </a:cubicBezTo>
                      <a:cubicBezTo>
                        <a:pt x="190" y="658"/>
                        <a:pt x="190" y="658"/>
                        <a:pt x="190" y="658"/>
                      </a:cubicBezTo>
                      <a:cubicBezTo>
                        <a:pt x="190" y="658"/>
                        <a:pt x="192" y="656"/>
                        <a:pt x="192" y="656"/>
                      </a:cubicBezTo>
                      <a:cubicBezTo>
                        <a:pt x="192" y="656"/>
                        <a:pt x="192" y="656"/>
                        <a:pt x="192" y="656"/>
                      </a:cubicBezTo>
                      <a:cubicBezTo>
                        <a:pt x="193" y="655"/>
                        <a:pt x="193" y="655"/>
                        <a:pt x="193" y="655"/>
                      </a:cubicBezTo>
                      <a:cubicBezTo>
                        <a:pt x="193" y="655"/>
                        <a:pt x="193" y="655"/>
                        <a:pt x="193" y="655"/>
                      </a:cubicBezTo>
                      <a:cubicBezTo>
                        <a:pt x="193" y="655"/>
                        <a:pt x="193" y="655"/>
                        <a:pt x="193" y="655"/>
                      </a:cubicBezTo>
                      <a:cubicBezTo>
                        <a:pt x="193" y="655"/>
                        <a:pt x="193" y="655"/>
                        <a:pt x="193" y="655"/>
                      </a:cubicBezTo>
                      <a:cubicBezTo>
                        <a:pt x="193" y="655"/>
                        <a:pt x="193" y="655"/>
                        <a:pt x="193" y="655"/>
                      </a:cubicBezTo>
                      <a:cubicBezTo>
                        <a:pt x="193" y="655"/>
                        <a:pt x="193" y="655"/>
                        <a:pt x="193" y="655"/>
                      </a:cubicBezTo>
                      <a:cubicBezTo>
                        <a:pt x="193" y="655"/>
                        <a:pt x="193" y="655"/>
                        <a:pt x="193" y="655"/>
                      </a:cubicBezTo>
                      <a:cubicBezTo>
                        <a:pt x="193" y="655"/>
                        <a:pt x="193" y="655"/>
                        <a:pt x="193" y="655"/>
                      </a:cubicBezTo>
                      <a:cubicBezTo>
                        <a:pt x="193" y="655"/>
                        <a:pt x="193" y="655"/>
                        <a:pt x="193" y="655"/>
                      </a:cubicBezTo>
                      <a:cubicBezTo>
                        <a:pt x="193" y="655"/>
                        <a:pt x="193" y="655"/>
                        <a:pt x="193" y="655"/>
                      </a:cubicBezTo>
                      <a:cubicBezTo>
                        <a:pt x="193" y="655"/>
                        <a:pt x="193" y="655"/>
                        <a:pt x="193" y="655"/>
                      </a:cubicBezTo>
                      <a:cubicBezTo>
                        <a:pt x="193" y="655"/>
                        <a:pt x="193" y="655"/>
                        <a:pt x="193" y="655"/>
                      </a:cubicBezTo>
                      <a:cubicBezTo>
                        <a:pt x="193" y="655"/>
                        <a:pt x="193" y="655"/>
                        <a:pt x="193" y="655"/>
                      </a:cubicBezTo>
                      <a:cubicBezTo>
                        <a:pt x="193" y="655"/>
                        <a:pt x="193" y="655"/>
                        <a:pt x="193" y="655"/>
                      </a:cubicBezTo>
                      <a:cubicBezTo>
                        <a:pt x="193" y="655"/>
                        <a:pt x="193" y="655"/>
                        <a:pt x="193" y="655"/>
                      </a:cubicBezTo>
                      <a:cubicBezTo>
                        <a:pt x="193" y="655"/>
                        <a:pt x="193" y="655"/>
                        <a:pt x="193" y="655"/>
                      </a:cubicBezTo>
                      <a:cubicBezTo>
                        <a:pt x="193" y="655"/>
                        <a:pt x="193" y="655"/>
                        <a:pt x="193" y="655"/>
                      </a:cubicBezTo>
                      <a:cubicBezTo>
                        <a:pt x="193" y="655"/>
                        <a:pt x="193" y="655"/>
                        <a:pt x="193" y="655"/>
                      </a:cubicBezTo>
                      <a:cubicBezTo>
                        <a:pt x="193" y="655"/>
                        <a:pt x="193" y="655"/>
                        <a:pt x="193" y="655"/>
                      </a:cubicBezTo>
                      <a:cubicBezTo>
                        <a:pt x="193" y="655"/>
                        <a:pt x="193" y="655"/>
                        <a:pt x="193" y="655"/>
                      </a:cubicBezTo>
                      <a:cubicBezTo>
                        <a:pt x="193" y="655"/>
                        <a:pt x="193" y="655"/>
                        <a:pt x="193" y="655"/>
                      </a:cubicBezTo>
                      <a:cubicBezTo>
                        <a:pt x="193" y="655"/>
                        <a:pt x="193" y="655"/>
                        <a:pt x="193" y="655"/>
                      </a:cubicBezTo>
                      <a:cubicBezTo>
                        <a:pt x="193" y="655"/>
                        <a:pt x="193" y="655"/>
                        <a:pt x="193" y="655"/>
                      </a:cubicBezTo>
                      <a:cubicBezTo>
                        <a:pt x="193" y="655"/>
                        <a:pt x="193" y="655"/>
                        <a:pt x="193" y="655"/>
                      </a:cubicBezTo>
                      <a:cubicBezTo>
                        <a:pt x="194" y="655"/>
                        <a:pt x="194" y="655"/>
                        <a:pt x="194" y="655"/>
                      </a:cubicBezTo>
                      <a:cubicBezTo>
                        <a:pt x="194" y="655"/>
                        <a:pt x="194" y="655"/>
                        <a:pt x="194" y="655"/>
                      </a:cubicBezTo>
                      <a:cubicBezTo>
                        <a:pt x="194" y="655"/>
                        <a:pt x="194" y="655"/>
                        <a:pt x="194" y="655"/>
                      </a:cubicBezTo>
                      <a:cubicBezTo>
                        <a:pt x="194" y="655"/>
                        <a:pt x="194" y="655"/>
                        <a:pt x="194" y="655"/>
                      </a:cubicBezTo>
                      <a:cubicBezTo>
                        <a:pt x="194" y="655"/>
                        <a:pt x="195" y="654"/>
                        <a:pt x="195" y="654"/>
                      </a:cubicBezTo>
                      <a:cubicBezTo>
                        <a:pt x="196" y="654"/>
                        <a:pt x="198" y="654"/>
                        <a:pt x="198" y="654"/>
                      </a:cubicBezTo>
                      <a:cubicBezTo>
                        <a:pt x="199" y="654"/>
                        <a:pt x="199" y="654"/>
                        <a:pt x="199" y="654"/>
                      </a:cubicBezTo>
                      <a:cubicBezTo>
                        <a:pt x="201" y="652"/>
                        <a:pt x="201" y="652"/>
                        <a:pt x="201" y="652"/>
                      </a:cubicBezTo>
                      <a:cubicBezTo>
                        <a:pt x="201" y="652"/>
                        <a:pt x="205" y="649"/>
                        <a:pt x="205" y="648"/>
                      </a:cubicBezTo>
                      <a:cubicBezTo>
                        <a:pt x="205" y="647"/>
                        <a:pt x="207" y="644"/>
                        <a:pt x="207" y="644"/>
                      </a:cubicBezTo>
                      <a:cubicBezTo>
                        <a:pt x="207" y="639"/>
                        <a:pt x="207" y="639"/>
                        <a:pt x="207" y="639"/>
                      </a:cubicBezTo>
                      <a:cubicBezTo>
                        <a:pt x="205" y="634"/>
                        <a:pt x="205" y="634"/>
                        <a:pt x="205" y="634"/>
                      </a:cubicBezTo>
                      <a:cubicBezTo>
                        <a:pt x="207" y="631"/>
                        <a:pt x="207" y="631"/>
                        <a:pt x="207" y="631"/>
                      </a:cubicBezTo>
                      <a:cubicBezTo>
                        <a:pt x="210" y="625"/>
                        <a:pt x="210" y="625"/>
                        <a:pt x="210" y="625"/>
                      </a:cubicBezTo>
                      <a:cubicBezTo>
                        <a:pt x="208" y="619"/>
                        <a:pt x="208" y="619"/>
                        <a:pt x="208" y="619"/>
                      </a:cubicBezTo>
                      <a:cubicBezTo>
                        <a:pt x="202" y="612"/>
                        <a:pt x="202" y="612"/>
                        <a:pt x="202" y="612"/>
                      </a:cubicBezTo>
                      <a:cubicBezTo>
                        <a:pt x="199" y="603"/>
                        <a:pt x="199" y="603"/>
                        <a:pt x="199" y="603"/>
                      </a:cubicBezTo>
                      <a:cubicBezTo>
                        <a:pt x="197" y="597"/>
                        <a:pt x="197" y="597"/>
                        <a:pt x="197" y="597"/>
                      </a:cubicBezTo>
                      <a:cubicBezTo>
                        <a:pt x="202" y="592"/>
                        <a:pt x="202" y="592"/>
                        <a:pt x="202" y="592"/>
                      </a:cubicBezTo>
                      <a:cubicBezTo>
                        <a:pt x="203" y="591"/>
                        <a:pt x="203" y="591"/>
                        <a:pt x="203" y="591"/>
                      </a:cubicBezTo>
                      <a:cubicBezTo>
                        <a:pt x="203" y="591"/>
                        <a:pt x="203" y="591"/>
                        <a:pt x="203" y="591"/>
                      </a:cubicBezTo>
                      <a:cubicBezTo>
                        <a:pt x="204" y="591"/>
                        <a:pt x="204" y="591"/>
                        <a:pt x="204" y="591"/>
                      </a:cubicBezTo>
                      <a:cubicBezTo>
                        <a:pt x="207" y="591"/>
                        <a:pt x="207" y="591"/>
                        <a:pt x="207" y="591"/>
                      </a:cubicBezTo>
                      <a:cubicBezTo>
                        <a:pt x="207" y="591"/>
                        <a:pt x="212" y="591"/>
                        <a:pt x="212" y="590"/>
                      </a:cubicBezTo>
                      <a:cubicBezTo>
                        <a:pt x="212" y="590"/>
                        <a:pt x="212" y="590"/>
                        <a:pt x="212" y="590"/>
                      </a:cubicBezTo>
                      <a:cubicBezTo>
                        <a:pt x="212" y="590"/>
                        <a:pt x="212" y="590"/>
                        <a:pt x="212" y="590"/>
                      </a:cubicBezTo>
                      <a:cubicBezTo>
                        <a:pt x="212" y="590"/>
                        <a:pt x="212" y="590"/>
                        <a:pt x="212" y="590"/>
                      </a:cubicBezTo>
                      <a:cubicBezTo>
                        <a:pt x="212" y="590"/>
                        <a:pt x="212" y="590"/>
                        <a:pt x="212" y="590"/>
                      </a:cubicBezTo>
                      <a:cubicBezTo>
                        <a:pt x="212" y="590"/>
                        <a:pt x="212" y="590"/>
                        <a:pt x="212" y="590"/>
                      </a:cubicBezTo>
                      <a:cubicBezTo>
                        <a:pt x="212" y="589"/>
                        <a:pt x="212" y="589"/>
                        <a:pt x="212" y="589"/>
                      </a:cubicBezTo>
                      <a:cubicBezTo>
                        <a:pt x="212" y="589"/>
                        <a:pt x="212" y="589"/>
                        <a:pt x="212" y="589"/>
                      </a:cubicBezTo>
                      <a:cubicBezTo>
                        <a:pt x="212" y="589"/>
                        <a:pt x="212" y="589"/>
                        <a:pt x="212" y="589"/>
                      </a:cubicBezTo>
                      <a:cubicBezTo>
                        <a:pt x="212" y="589"/>
                        <a:pt x="212" y="589"/>
                        <a:pt x="212" y="589"/>
                      </a:cubicBezTo>
                      <a:cubicBezTo>
                        <a:pt x="213" y="589"/>
                        <a:pt x="213" y="589"/>
                        <a:pt x="213" y="589"/>
                      </a:cubicBezTo>
                      <a:cubicBezTo>
                        <a:pt x="213" y="589"/>
                        <a:pt x="213" y="589"/>
                        <a:pt x="213" y="589"/>
                      </a:cubicBezTo>
                      <a:cubicBezTo>
                        <a:pt x="213" y="589"/>
                        <a:pt x="213" y="589"/>
                        <a:pt x="213" y="589"/>
                      </a:cubicBezTo>
                      <a:cubicBezTo>
                        <a:pt x="213" y="589"/>
                        <a:pt x="213" y="589"/>
                        <a:pt x="213" y="589"/>
                      </a:cubicBezTo>
                      <a:cubicBezTo>
                        <a:pt x="213" y="589"/>
                        <a:pt x="213" y="589"/>
                        <a:pt x="213" y="589"/>
                      </a:cubicBezTo>
                      <a:cubicBezTo>
                        <a:pt x="213" y="588"/>
                        <a:pt x="213" y="588"/>
                        <a:pt x="213" y="588"/>
                      </a:cubicBezTo>
                      <a:cubicBezTo>
                        <a:pt x="213" y="588"/>
                        <a:pt x="213" y="588"/>
                        <a:pt x="213" y="588"/>
                      </a:cubicBezTo>
                      <a:cubicBezTo>
                        <a:pt x="213" y="588"/>
                        <a:pt x="213" y="588"/>
                        <a:pt x="213" y="588"/>
                      </a:cubicBezTo>
                      <a:cubicBezTo>
                        <a:pt x="213" y="588"/>
                        <a:pt x="213" y="588"/>
                        <a:pt x="213" y="588"/>
                      </a:cubicBezTo>
                      <a:cubicBezTo>
                        <a:pt x="213" y="588"/>
                        <a:pt x="213" y="588"/>
                        <a:pt x="213" y="588"/>
                      </a:cubicBezTo>
                      <a:cubicBezTo>
                        <a:pt x="213" y="588"/>
                        <a:pt x="213" y="588"/>
                        <a:pt x="213" y="588"/>
                      </a:cubicBezTo>
                      <a:cubicBezTo>
                        <a:pt x="213" y="588"/>
                        <a:pt x="213" y="588"/>
                        <a:pt x="213" y="588"/>
                      </a:cubicBezTo>
                      <a:cubicBezTo>
                        <a:pt x="213" y="587"/>
                        <a:pt x="213" y="587"/>
                        <a:pt x="213" y="587"/>
                      </a:cubicBezTo>
                      <a:cubicBezTo>
                        <a:pt x="213" y="587"/>
                        <a:pt x="213" y="587"/>
                        <a:pt x="213" y="587"/>
                      </a:cubicBezTo>
                      <a:cubicBezTo>
                        <a:pt x="213" y="587"/>
                        <a:pt x="213" y="587"/>
                        <a:pt x="213" y="587"/>
                      </a:cubicBezTo>
                      <a:cubicBezTo>
                        <a:pt x="213" y="587"/>
                        <a:pt x="213" y="587"/>
                        <a:pt x="213" y="587"/>
                      </a:cubicBezTo>
                      <a:cubicBezTo>
                        <a:pt x="213" y="587"/>
                        <a:pt x="213" y="587"/>
                        <a:pt x="213" y="587"/>
                      </a:cubicBezTo>
                      <a:cubicBezTo>
                        <a:pt x="213" y="587"/>
                        <a:pt x="213" y="587"/>
                        <a:pt x="213" y="587"/>
                      </a:cubicBezTo>
                      <a:cubicBezTo>
                        <a:pt x="213" y="586"/>
                        <a:pt x="213" y="586"/>
                        <a:pt x="213" y="586"/>
                      </a:cubicBezTo>
                      <a:cubicBezTo>
                        <a:pt x="213" y="586"/>
                        <a:pt x="213" y="586"/>
                        <a:pt x="213" y="586"/>
                      </a:cubicBezTo>
                      <a:cubicBezTo>
                        <a:pt x="213" y="586"/>
                        <a:pt x="213" y="586"/>
                        <a:pt x="213" y="586"/>
                      </a:cubicBezTo>
                      <a:cubicBezTo>
                        <a:pt x="213" y="586"/>
                        <a:pt x="213" y="586"/>
                        <a:pt x="213" y="586"/>
                      </a:cubicBezTo>
                      <a:cubicBezTo>
                        <a:pt x="213" y="586"/>
                        <a:pt x="213" y="586"/>
                        <a:pt x="213" y="586"/>
                      </a:cubicBezTo>
                      <a:cubicBezTo>
                        <a:pt x="213" y="585"/>
                        <a:pt x="213" y="585"/>
                        <a:pt x="213" y="585"/>
                      </a:cubicBezTo>
                      <a:cubicBezTo>
                        <a:pt x="213" y="585"/>
                        <a:pt x="213" y="585"/>
                        <a:pt x="213" y="585"/>
                      </a:cubicBezTo>
                      <a:cubicBezTo>
                        <a:pt x="213" y="585"/>
                        <a:pt x="213" y="585"/>
                        <a:pt x="213" y="585"/>
                      </a:cubicBezTo>
                      <a:cubicBezTo>
                        <a:pt x="213" y="585"/>
                        <a:pt x="213" y="585"/>
                        <a:pt x="213" y="585"/>
                      </a:cubicBezTo>
                      <a:cubicBezTo>
                        <a:pt x="213" y="585"/>
                        <a:pt x="213" y="585"/>
                        <a:pt x="213" y="585"/>
                      </a:cubicBezTo>
                      <a:cubicBezTo>
                        <a:pt x="213" y="585"/>
                        <a:pt x="213" y="585"/>
                        <a:pt x="213" y="585"/>
                      </a:cubicBezTo>
                      <a:cubicBezTo>
                        <a:pt x="213" y="584"/>
                        <a:pt x="213" y="584"/>
                        <a:pt x="213" y="584"/>
                      </a:cubicBezTo>
                      <a:cubicBezTo>
                        <a:pt x="213" y="584"/>
                        <a:pt x="213" y="584"/>
                        <a:pt x="213" y="584"/>
                      </a:cubicBezTo>
                      <a:cubicBezTo>
                        <a:pt x="213" y="584"/>
                        <a:pt x="213" y="584"/>
                        <a:pt x="213" y="584"/>
                      </a:cubicBezTo>
                      <a:cubicBezTo>
                        <a:pt x="213" y="584"/>
                        <a:pt x="213" y="584"/>
                        <a:pt x="213" y="584"/>
                      </a:cubicBezTo>
                      <a:cubicBezTo>
                        <a:pt x="213" y="584"/>
                        <a:pt x="213" y="584"/>
                        <a:pt x="213" y="584"/>
                      </a:cubicBezTo>
                      <a:cubicBezTo>
                        <a:pt x="213" y="584"/>
                        <a:pt x="213" y="584"/>
                        <a:pt x="213" y="584"/>
                      </a:cubicBezTo>
                      <a:cubicBezTo>
                        <a:pt x="213" y="584"/>
                        <a:pt x="213" y="584"/>
                        <a:pt x="213" y="584"/>
                      </a:cubicBezTo>
                      <a:cubicBezTo>
                        <a:pt x="213" y="583"/>
                        <a:pt x="213" y="583"/>
                        <a:pt x="213" y="583"/>
                      </a:cubicBezTo>
                      <a:cubicBezTo>
                        <a:pt x="213" y="583"/>
                        <a:pt x="213" y="583"/>
                        <a:pt x="213" y="583"/>
                      </a:cubicBezTo>
                      <a:cubicBezTo>
                        <a:pt x="213" y="583"/>
                        <a:pt x="213" y="583"/>
                        <a:pt x="213" y="583"/>
                      </a:cubicBezTo>
                      <a:cubicBezTo>
                        <a:pt x="213" y="583"/>
                        <a:pt x="213" y="583"/>
                        <a:pt x="213" y="583"/>
                      </a:cubicBezTo>
                      <a:cubicBezTo>
                        <a:pt x="213" y="583"/>
                        <a:pt x="213" y="583"/>
                        <a:pt x="213" y="583"/>
                      </a:cubicBezTo>
                      <a:cubicBezTo>
                        <a:pt x="213" y="583"/>
                        <a:pt x="213" y="583"/>
                        <a:pt x="213" y="583"/>
                      </a:cubicBezTo>
                      <a:cubicBezTo>
                        <a:pt x="213" y="583"/>
                        <a:pt x="213" y="583"/>
                        <a:pt x="213" y="583"/>
                      </a:cubicBezTo>
                      <a:cubicBezTo>
                        <a:pt x="214" y="583"/>
                        <a:pt x="214" y="583"/>
                        <a:pt x="214" y="583"/>
                      </a:cubicBezTo>
                      <a:cubicBezTo>
                        <a:pt x="214" y="583"/>
                        <a:pt x="214" y="583"/>
                        <a:pt x="214" y="583"/>
                      </a:cubicBezTo>
                      <a:cubicBezTo>
                        <a:pt x="214" y="582"/>
                        <a:pt x="214" y="582"/>
                        <a:pt x="214" y="582"/>
                      </a:cubicBezTo>
                      <a:cubicBezTo>
                        <a:pt x="214" y="582"/>
                        <a:pt x="214" y="582"/>
                        <a:pt x="214" y="582"/>
                      </a:cubicBezTo>
                      <a:cubicBezTo>
                        <a:pt x="214" y="582"/>
                        <a:pt x="214" y="582"/>
                        <a:pt x="214" y="582"/>
                      </a:cubicBezTo>
                      <a:cubicBezTo>
                        <a:pt x="214" y="582"/>
                        <a:pt x="214" y="582"/>
                        <a:pt x="214" y="582"/>
                      </a:cubicBezTo>
                      <a:cubicBezTo>
                        <a:pt x="214" y="582"/>
                        <a:pt x="214" y="582"/>
                        <a:pt x="214" y="582"/>
                      </a:cubicBezTo>
                      <a:cubicBezTo>
                        <a:pt x="214" y="582"/>
                        <a:pt x="214" y="582"/>
                        <a:pt x="214" y="582"/>
                      </a:cubicBezTo>
                      <a:cubicBezTo>
                        <a:pt x="214" y="582"/>
                        <a:pt x="214" y="582"/>
                        <a:pt x="214" y="582"/>
                      </a:cubicBezTo>
                      <a:cubicBezTo>
                        <a:pt x="214" y="582"/>
                        <a:pt x="214" y="582"/>
                        <a:pt x="214" y="582"/>
                      </a:cubicBezTo>
                      <a:cubicBezTo>
                        <a:pt x="214" y="582"/>
                        <a:pt x="214" y="582"/>
                        <a:pt x="214" y="582"/>
                      </a:cubicBezTo>
                      <a:cubicBezTo>
                        <a:pt x="214" y="582"/>
                        <a:pt x="214" y="582"/>
                        <a:pt x="214" y="582"/>
                      </a:cubicBezTo>
                      <a:cubicBezTo>
                        <a:pt x="213" y="573"/>
                        <a:pt x="213" y="573"/>
                        <a:pt x="213" y="573"/>
                      </a:cubicBezTo>
                      <a:cubicBezTo>
                        <a:pt x="207" y="568"/>
                        <a:pt x="207" y="568"/>
                        <a:pt x="207" y="568"/>
                      </a:cubicBezTo>
                      <a:cubicBezTo>
                        <a:pt x="200" y="563"/>
                        <a:pt x="200" y="563"/>
                        <a:pt x="200" y="563"/>
                      </a:cubicBezTo>
                      <a:cubicBezTo>
                        <a:pt x="197" y="555"/>
                        <a:pt x="197" y="555"/>
                        <a:pt x="197" y="555"/>
                      </a:cubicBezTo>
                      <a:cubicBezTo>
                        <a:pt x="196" y="524"/>
                        <a:pt x="196" y="524"/>
                        <a:pt x="196" y="524"/>
                      </a:cubicBezTo>
                      <a:cubicBezTo>
                        <a:pt x="196" y="524"/>
                        <a:pt x="189" y="511"/>
                        <a:pt x="189" y="510"/>
                      </a:cubicBezTo>
                      <a:cubicBezTo>
                        <a:pt x="188" y="508"/>
                        <a:pt x="188" y="506"/>
                        <a:pt x="190" y="504"/>
                      </a:cubicBezTo>
                      <a:cubicBezTo>
                        <a:pt x="191" y="503"/>
                        <a:pt x="190" y="501"/>
                        <a:pt x="190" y="501"/>
                      </a:cubicBezTo>
                      <a:cubicBezTo>
                        <a:pt x="189" y="494"/>
                        <a:pt x="189" y="494"/>
                        <a:pt x="189" y="494"/>
                      </a:cubicBezTo>
                      <a:cubicBezTo>
                        <a:pt x="191" y="491"/>
                        <a:pt x="191" y="491"/>
                        <a:pt x="191" y="491"/>
                      </a:cubicBezTo>
                      <a:cubicBezTo>
                        <a:pt x="191" y="485"/>
                        <a:pt x="191" y="485"/>
                        <a:pt x="191" y="485"/>
                      </a:cubicBezTo>
                      <a:cubicBezTo>
                        <a:pt x="187" y="477"/>
                        <a:pt x="187" y="477"/>
                        <a:pt x="187" y="477"/>
                      </a:cubicBezTo>
                      <a:cubicBezTo>
                        <a:pt x="187" y="477"/>
                        <a:pt x="187" y="471"/>
                        <a:pt x="187" y="470"/>
                      </a:cubicBezTo>
                      <a:cubicBezTo>
                        <a:pt x="187" y="468"/>
                        <a:pt x="190" y="464"/>
                        <a:pt x="190" y="464"/>
                      </a:cubicBezTo>
                      <a:cubicBezTo>
                        <a:pt x="191" y="457"/>
                        <a:pt x="191" y="457"/>
                        <a:pt x="191" y="457"/>
                      </a:cubicBezTo>
                      <a:cubicBezTo>
                        <a:pt x="193" y="447"/>
                        <a:pt x="193" y="447"/>
                        <a:pt x="193" y="447"/>
                      </a:cubicBezTo>
                      <a:cubicBezTo>
                        <a:pt x="206" y="430"/>
                        <a:pt x="206" y="430"/>
                        <a:pt x="206" y="430"/>
                      </a:cubicBezTo>
                      <a:cubicBezTo>
                        <a:pt x="209" y="430"/>
                        <a:pt x="209" y="430"/>
                        <a:pt x="209" y="430"/>
                      </a:cubicBezTo>
                      <a:cubicBezTo>
                        <a:pt x="230" y="429"/>
                        <a:pt x="230" y="429"/>
                        <a:pt x="230" y="429"/>
                      </a:cubicBezTo>
                      <a:cubicBezTo>
                        <a:pt x="231" y="427"/>
                        <a:pt x="231" y="427"/>
                        <a:pt x="231" y="427"/>
                      </a:cubicBezTo>
                      <a:cubicBezTo>
                        <a:pt x="232" y="426"/>
                        <a:pt x="232" y="426"/>
                        <a:pt x="232" y="426"/>
                      </a:cubicBezTo>
                      <a:cubicBezTo>
                        <a:pt x="234" y="420"/>
                        <a:pt x="234" y="420"/>
                        <a:pt x="234" y="420"/>
                      </a:cubicBezTo>
                      <a:cubicBezTo>
                        <a:pt x="233" y="404"/>
                        <a:pt x="233" y="404"/>
                        <a:pt x="233" y="404"/>
                      </a:cubicBezTo>
                      <a:cubicBezTo>
                        <a:pt x="224" y="402"/>
                        <a:pt x="224" y="402"/>
                        <a:pt x="224" y="402"/>
                      </a:cubicBezTo>
                      <a:cubicBezTo>
                        <a:pt x="222" y="397"/>
                        <a:pt x="222" y="397"/>
                        <a:pt x="222" y="397"/>
                      </a:cubicBezTo>
                      <a:cubicBezTo>
                        <a:pt x="237" y="371"/>
                        <a:pt x="237" y="371"/>
                        <a:pt x="237" y="371"/>
                      </a:cubicBezTo>
                      <a:cubicBezTo>
                        <a:pt x="236" y="365"/>
                        <a:pt x="236" y="365"/>
                        <a:pt x="236" y="365"/>
                      </a:cubicBezTo>
                      <a:cubicBezTo>
                        <a:pt x="240" y="362"/>
                        <a:pt x="240" y="362"/>
                        <a:pt x="240" y="362"/>
                      </a:cubicBezTo>
                      <a:cubicBezTo>
                        <a:pt x="240" y="362"/>
                        <a:pt x="239" y="358"/>
                        <a:pt x="238" y="356"/>
                      </a:cubicBezTo>
                      <a:cubicBezTo>
                        <a:pt x="237" y="355"/>
                        <a:pt x="239" y="349"/>
                        <a:pt x="239" y="349"/>
                      </a:cubicBezTo>
                      <a:cubicBezTo>
                        <a:pt x="240" y="342"/>
                        <a:pt x="240" y="342"/>
                        <a:pt x="240" y="342"/>
                      </a:cubicBezTo>
                      <a:cubicBezTo>
                        <a:pt x="242" y="334"/>
                        <a:pt x="242" y="334"/>
                        <a:pt x="242" y="334"/>
                      </a:cubicBezTo>
                      <a:cubicBezTo>
                        <a:pt x="237" y="317"/>
                        <a:pt x="237" y="317"/>
                        <a:pt x="237" y="317"/>
                      </a:cubicBezTo>
                      <a:cubicBezTo>
                        <a:pt x="240" y="314"/>
                        <a:pt x="240" y="314"/>
                        <a:pt x="240" y="314"/>
                      </a:cubicBezTo>
                      <a:cubicBezTo>
                        <a:pt x="244" y="314"/>
                        <a:pt x="244" y="314"/>
                        <a:pt x="244" y="314"/>
                      </a:cubicBezTo>
                      <a:cubicBezTo>
                        <a:pt x="245" y="314"/>
                        <a:pt x="247" y="313"/>
                        <a:pt x="249" y="313"/>
                      </a:cubicBezTo>
                      <a:cubicBezTo>
                        <a:pt x="251" y="312"/>
                        <a:pt x="252" y="311"/>
                        <a:pt x="255" y="308"/>
                      </a:cubicBezTo>
                      <a:cubicBezTo>
                        <a:pt x="256" y="306"/>
                        <a:pt x="256" y="306"/>
                        <a:pt x="256" y="306"/>
                      </a:cubicBezTo>
                      <a:cubicBezTo>
                        <a:pt x="257" y="301"/>
                        <a:pt x="257" y="301"/>
                        <a:pt x="257" y="301"/>
                      </a:cubicBezTo>
                      <a:cubicBezTo>
                        <a:pt x="257" y="292"/>
                        <a:pt x="257" y="292"/>
                        <a:pt x="257" y="292"/>
                      </a:cubicBezTo>
                      <a:cubicBezTo>
                        <a:pt x="262" y="279"/>
                        <a:pt x="262" y="279"/>
                        <a:pt x="262" y="279"/>
                      </a:cubicBezTo>
                      <a:cubicBezTo>
                        <a:pt x="262" y="279"/>
                        <a:pt x="270" y="269"/>
                        <a:pt x="271" y="267"/>
                      </a:cubicBezTo>
                      <a:cubicBezTo>
                        <a:pt x="272" y="265"/>
                        <a:pt x="275" y="258"/>
                        <a:pt x="275" y="258"/>
                      </a:cubicBezTo>
                      <a:cubicBezTo>
                        <a:pt x="275" y="258"/>
                        <a:pt x="273" y="250"/>
                        <a:pt x="272" y="248"/>
                      </a:cubicBezTo>
                      <a:cubicBezTo>
                        <a:pt x="270" y="247"/>
                        <a:pt x="267" y="241"/>
                        <a:pt x="267" y="241"/>
                      </a:cubicBezTo>
                      <a:cubicBezTo>
                        <a:pt x="267" y="236"/>
                        <a:pt x="267" y="236"/>
                        <a:pt x="267" y="236"/>
                      </a:cubicBezTo>
                      <a:cubicBezTo>
                        <a:pt x="273" y="232"/>
                        <a:pt x="273" y="232"/>
                        <a:pt x="273" y="232"/>
                      </a:cubicBezTo>
                      <a:cubicBezTo>
                        <a:pt x="275" y="228"/>
                        <a:pt x="275" y="228"/>
                        <a:pt x="275" y="228"/>
                      </a:cubicBezTo>
                      <a:cubicBezTo>
                        <a:pt x="275" y="228"/>
                        <a:pt x="275" y="221"/>
                        <a:pt x="275" y="220"/>
                      </a:cubicBezTo>
                      <a:cubicBezTo>
                        <a:pt x="275" y="220"/>
                        <a:pt x="275" y="220"/>
                        <a:pt x="275" y="220"/>
                      </a:cubicBezTo>
                      <a:cubicBezTo>
                        <a:pt x="275" y="220"/>
                        <a:pt x="275" y="220"/>
                        <a:pt x="275" y="220"/>
                      </a:cubicBezTo>
                      <a:cubicBezTo>
                        <a:pt x="275" y="220"/>
                        <a:pt x="275" y="220"/>
                        <a:pt x="275" y="220"/>
                      </a:cubicBezTo>
                      <a:cubicBezTo>
                        <a:pt x="275" y="220"/>
                        <a:pt x="275" y="220"/>
                        <a:pt x="275" y="220"/>
                      </a:cubicBezTo>
                      <a:cubicBezTo>
                        <a:pt x="275" y="220"/>
                        <a:pt x="275" y="220"/>
                        <a:pt x="275" y="220"/>
                      </a:cubicBezTo>
                      <a:cubicBezTo>
                        <a:pt x="275" y="220"/>
                        <a:pt x="275" y="220"/>
                        <a:pt x="275" y="220"/>
                      </a:cubicBezTo>
                      <a:cubicBezTo>
                        <a:pt x="275" y="220"/>
                        <a:pt x="275" y="220"/>
                        <a:pt x="275" y="220"/>
                      </a:cubicBezTo>
                      <a:cubicBezTo>
                        <a:pt x="275" y="220"/>
                        <a:pt x="275" y="220"/>
                        <a:pt x="275" y="220"/>
                      </a:cubicBezTo>
                      <a:cubicBezTo>
                        <a:pt x="275" y="220"/>
                        <a:pt x="275" y="220"/>
                        <a:pt x="275" y="220"/>
                      </a:cubicBezTo>
                      <a:cubicBezTo>
                        <a:pt x="275" y="220"/>
                        <a:pt x="275" y="220"/>
                        <a:pt x="275" y="220"/>
                      </a:cubicBezTo>
                      <a:cubicBezTo>
                        <a:pt x="275" y="220"/>
                        <a:pt x="275" y="220"/>
                        <a:pt x="275" y="220"/>
                      </a:cubicBezTo>
                      <a:cubicBezTo>
                        <a:pt x="275" y="220"/>
                        <a:pt x="275" y="220"/>
                        <a:pt x="275" y="220"/>
                      </a:cubicBezTo>
                      <a:cubicBezTo>
                        <a:pt x="275" y="220"/>
                        <a:pt x="275" y="220"/>
                        <a:pt x="275" y="220"/>
                      </a:cubicBezTo>
                      <a:cubicBezTo>
                        <a:pt x="275" y="220"/>
                        <a:pt x="275" y="220"/>
                        <a:pt x="275" y="220"/>
                      </a:cubicBezTo>
                      <a:cubicBezTo>
                        <a:pt x="275" y="220"/>
                        <a:pt x="275" y="220"/>
                        <a:pt x="275" y="220"/>
                      </a:cubicBezTo>
                      <a:cubicBezTo>
                        <a:pt x="275" y="219"/>
                        <a:pt x="275" y="219"/>
                        <a:pt x="275" y="219"/>
                      </a:cubicBezTo>
                      <a:cubicBezTo>
                        <a:pt x="275" y="219"/>
                        <a:pt x="275" y="219"/>
                        <a:pt x="275" y="219"/>
                      </a:cubicBezTo>
                      <a:cubicBezTo>
                        <a:pt x="275" y="219"/>
                        <a:pt x="275" y="219"/>
                        <a:pt x="275" y="219"/>
                      </a:cubicBezTo>
                      <a:cubicBezTo>
                        <a:pt x="275" y="219"/>
                        <a:pt x="275" y="219"/>
                        <a:pt x="275" y="219"/>
                      </a:cubicBezTo>
                      <a:cubicBezTo>
                        <a:pt x="275" y="219"/>
                        <a:pt x="275" y="219"/>
                        <a:pt x="275" y="219"/>
                      </a:cubicBezTo>
                      <a:cubicBezTo>
                        <a:pt x="275" y="219"/>
                        <a:pt x="275" y="219"/>
                        <a:pt x="275" y="219"/>
                      </a:cubicBezTo>
                      <a:cubicBezTo>
                        <a:pt x="275" y="219"/>
                        <a:pt x="275" y="219"/>
                        <a:pt x="275" y="219"/>
                      </a:cubicBezTo>
                      <a:cubicBezTo>
                        <a:pt x="275" y="219"/>
                        <a:pt x="275" y="219"/>
                        <a:pt x="275" y="219"/>
                      </a:cubicBezTo>
                      <a:cubicBezTo>
                        <a:pt x="275" y="219"/>
                        <a:pt x="275" y="219"/>
                        <a:pt x="275" y="219"/>
                      </a:cubicBezTo>
                      <a:cubicBezTo>
                        <a:pt x="275" y="218"/>
                        <a:pt x="275" y="218"/>
                        <a:pt x="275" y="218"/>
                      </a:cubicBezTo>
                      <a:cubicBezTo>
                        <a:pt x="275" y="218"/>
                        <a:pt x="275" y="218"/>
                        <a:pt x="275" y="218"/>
                      </a:cubicBezTo>
                      <a:cubicBezTo>
                        <a:pt x="275" y="218"/>
                        <a:pt x="275" y="218"/>
                        <a:pt x="275" y="218"/>
                      </a:cubicBezTo>
                      <a:cubicBezTo>
                        <a:pt x="275" y="218"/>
                        <a:pt x="275" y="218"/>
                        <a:pt x="275" y="218"/>
                      </a:cubicBezTo>
                      <a:cubicBezTo>
                        <a:pt x="276" y="218"/>
                        <a:pt x="276" y="218"/>
                        <a:pt x="276" y="218"/>
                      </a:cubicBezTo>
                      <a:cubicBezTo>
                        <a:pt x="276" y="218"/>
                        <a:pt x="276" y="218"/>
                        <a:pt x="276" y="218"/>
                      </a:cubicBezTo>
                      <a:cubicBezTo>
                        <a:pt x="276" y="218"/>
                        <a:pt x="276" y="218"/>
                        <a:pt x="276" y="218"/>
                      </a:cubicBezTo>
                      <a:cubicBezTo>
                        <a:pt x="276" y="218"/>
                        <a:pt x="276" y="218"/>
                        <a:pt x="276" y="218"/>
                      </a:cubicBezTo>
                      <a:cubicBezTo>
                        <a:pt x="276" y="218"/>
                        <a:pt x="276" y="218"/>
                        <a:pt x="276" y="218"/>
                      </a:cubicBezTo>
                      <a:cubicBezTo>
                        <a:pt x="276" y="217"/>
                        <a:pt x="276" y="217"/>
                        <a:pt x="276" y="217"/>
                      </a:cubicBezTo>
                      <a:cubicBezTo>
                        <a:pt x="276" y="217"/>
                        <a:pt x="276" y="217"/>
                        <a:pt x="276" y="217"/>
                      </a:cubicBezTo>
                      <a:cubicBezTo>
                        <a:pt x="276" y="217"/>
                        <a:pt x="276" y="217"/>
                        <a:pt x="276" y="217"/>
                      </a:cubicBezTo>
                      <a:cubicBezTo>
                        <a:pt x="276" y="217"/>
                        <a:pt x="276" y="217"/>
                        <a:pt x="276" y="217"/>
                      </a:cubicBezTo>
                      <a:cubicBezTo>
                        <a:pt x="276" y="217"/>
                        <a:pt x="276" y="217"/>
                        <a:pt x="276" y="217"/>
                      </a:cubicBezTo>
                      <a:cubicBezTo>
                        <a:pt x="276" y="217"/>
                        <a:pt x="276" y="217"/>
                        <a:pt x="276" y="217"/>
                      </a:cubicBezTo>
                      <a:cubicBezTo>
                        <a:pt x="276" y="217"/>
                        <a:pt x="276" y="217"/>
                        <a:pt x="276" y="217"/>
                      </a:cubicBezTo>
                      <a:cubicBezTo>
                        <a:pt x="276" y="217"/>
                        <a:pt x="276" y="217"/>
                        <a:pt x="276" y="217"/>
                      </a:cubicBezTo>
                      <a:cubicBezTo>
                        <a:pt x="276" y="216"/>
                        <a:pt x="276" y="216"/>
                        <a:pt x="276" y="216"/>
                      </a:cubicBezTo>
                      <a:cubicBezTo>
                        <a:pt x="276" y="216"/>
                        <a:pt x="276" y="216"/>
                        <a:pt x="276" y="216"/>
                      </a:cubicBezTo>
                      <a:cubicBezTo>
                        <a:pt x="276" y="216"/>
                        <a:pt x="276" y="216"/>
                        <a:pt x="276" y="216"/>
                      </a:cubicBezTo>
                      <a:cubicBezTo>
                        <a:pt x="276" y="216"/>
                        <a:pt x="276" y="216"/>
                        <a:pt x="276" y="216"/>
                      </a:cubicBezTo>
                      <a:cubicBezTo>
                        <a:pt x="276" y="216"/>
                        <a:pt x="276" y="216"/>
                        <a:pt x="276" y="216"/>
                      </a:cubicBezTo>
                      <a:cubicBezTo>
                        <a:pt x="276" y="216"/>
                        <a:pt x="276" y="216"/>
                        <a:pt x="276" y="216"/>
                      </a:cubicBezTo>
                      <a:cubicBezTo>
                        <a:pt x="276" y="216"/>
                        <a:pt x="276" y="216"/>
                        <a:pt x="276" y="216"/>
                      </a:cubicBezTo>
                      <a:cubicBezTo>
                        <a:pt x="277" y="216"/>
                        <a:pt x="277" y="216"/>
                        <a:pt x="277" y="216"/>
                      </a:cubicBezTo>
                      <a:cubicBezTo>
                        <a:pt x="277" y="216"/>
                        <a:pt x="277" y="216"/>
                        <a:pt x="277" y="216"/>
                      </a:cubicBezTo>
                      <a:cubicBezTo>
                        <a:pt x="277" y="215"/>
                        <a:pt x="277" y="215"/>
                        <a:pt x="277" y="215"/>
                      </a:cubicBezTo>
                      <a:cubicBezTo>
                        <a:pt x="277" y="215"/>
                        <a:pt x="277" y="215"/>
                        <a:pt x="277" y="215"/>
                      </a:cubicBezTo>
                      <a:cubicBezTo>
                        <a:pt x="277" y="215"/>
                        <a:pt x="277" y="215"/>
                        <a:pt x="277" y="215"/>
                      </a:cubicBezTo>
                      <a:cubicBezTo>
                        <a:pt x="277" y="215"/>
                        <a:pt x="277" y="215"/>
                        <a:pt x="277" y="215"/>
                      </a:cubicBezTo>
                      <a:cubicBezTo>
                        <a:pt x="277" y="215"/>
                        <a:pt x="277" y="215"/>
                        <a:pt x="277" y="215"/>
                      </a:cubicBezTo>
                      <a:cubicBezTo>
                        <a:pt x="277" y="215"/>
                        <a:pt x="277" y="215"/>
                        <a:pt x="277" y="215"/>
                      </a:cubicBezTo>
                      <a:cubicBezTo>
                        <a:pt x="277" y="215"/>
                        <a:pt x="277" y="215"/>
                        <a:pt x="277" y="215"/>
                      </a:cubicBezTo>
                      <a:cubicBezTo>
                        <a:pt x="277" y="215"/>
                        <a:pt x="277" y="215"/>
                        <a:pt x="277" y="215"/>
                      </a:cubicBezTo>
                      <a:cubicBezTo>
                        <a:pt x="277" y="215"/>
                        <a:pt x="277" y="215"/>
                        <a:pt x="277" y="215"/>
                      </a:cubicBezTo>
                      <a:cubicBezTo>
                        <a:pt x="277" y="215"/>
                        <a:pt x="277" y="215"/>
                        <a:pt x="277" y="215"/>
                      </a:cubicBezTo>
                      <a:cubicBezTo>
                        <a:pt x="277" y="215"/>
                        <a:pt x="277" y="215"/>
                        <a:pt x="277" y="215"/>
                      </a:cubicBezTo>
                      <a:cubicBezTo>
                        <a:pt x="277" y="215"/>
                        <a:pt x="277" y="215"/>
                        <a:pt x="277" y="215"/>
                      </a:cubicBezTo>
                      <a:cubicBezTo>
                        <a:pt x="277" y="215"/>
                        <a:pt x="277" y="215"/>
                        <a:pt x="277" y="215"/>
                      </a:cubicBezTo>
                      <a:cubicBezTo>
                        <a:pt x="277" y="215"/>
                        <a:pt x="277" y="215"/>
                        <a:pt x="277" y="215"/>
                      </a:cubicBezTo>
                      <a:cubicBezTo>
                        <a:pt x="277" y="213"/>
                        <a:pt x="281" y="209"/>
                        <a:pt x="281" y="209"/>
                      </a:cubicBezTo>
                      <a:cubicBezTo>
                        <a:pt x="285" y="201"/>
                        <a:pt x="285" y="201"/>
                        <a:pt x="285" y="201"/>
                      </a:cubicBezTo>
                      <a:cubicBezTo>
                        <a:pt x="295" y="206"/>
                        <a:pt x="295" y="206"/>
                        <a:pt x="295" y="206"/>
                      </a:cubicBezTo>
                      <a:cubicBezTo>
                        <a:pt x="300" y="206"/>
                        <a:pt x="300" y="206"/>
                        <a:pt x="300" y="206"/>
                      </a:cubicBezTo>
                      <a:cubicBezTo>
                        <a:pt x="302" y="202"/>
                        <a:pt x="302" y="202"/>
                        <a:pt x="302" y="202"/>
                      </a:cubicBezTo>
                      <a:cubicBezTo>
                        <a:pt x="301" y="199"/>
                        <a:pt x="300" y="178"/>
                        <a:pt x="303" y="174"/>
                      </a:cubicBezTo>
                      <a:cubicBezTo>
                        <a:pt x="303" y="174"/>
                        <a:pt x="317" y="175"/>
                        <a:pt x="319" y="174"/>
                      </a:cubicBezTo>
                      <a:cubicBezTo>
                        <a:pt x="320" y="174"/>
                        <a:pt x="325" y="176"/>
                        <a:pt x="326" y="177"/>
                      </a:cubicBezTo>
                      <a:cubicBezTo>
                        <a:pt x="326" y="177"/>
                        <a:pt x="326" y="177"/>
                        <a:pt x="326" y="177"/>
                      </a:cubicBezTo>
                      <a:cubicBezTo>
                        <a:pt x="326" y="177"/>
                        <a:pt x="326" y="177"/>
                        <a:pt x="326" y="177"/>
                      </a:cubicBezTo>
                      <a:cubicBezTo>
                        <a:pt x="327" y="178"/>
                        <a:pt x="328" y="178"/>
                        <a:pt x="329" y="178"/>
                      </a:cubicBezTo>
                      <a:cubicBezTo>
                        <a:pt x="331" y="179"/>
                        <a:pt x="333" y="179"/>
                        <a:pt x="333" y="179"/>
                      </a:cubicBezTo>
                      <a:cubicBezTo>
                        <a:pt x="339" y="178"/>
                        <a:pt x="339" y="178"/>
                        <a:pt x="339" y="178"/>
                      </a:cubicBezTo>
                      <a:cubicBezTo>
                        <a:pt x="343" y="173"/>
                        <a:pt x="343" y="173"/>
                        <a:pt x="343" y="173"/>
                      </a:cubicBezTo>
                      <a:cubicBezTo>
                        <a:pt x="339" y="169"/>
                        <a:pt x="339" y="169"/>
                        <a:pt x="339" y="169"/>
                      </a:cubicBezTo>
                      <a:cubicBezTo>
                        <a:pt x="343" y="164"/>
                        <a:pt x="343" y="157"/>
                        <a:pt x="342" y="156"/>
                      </a:cubicBezTo>
                      <a:cubicBezTo>
                        <a:pt x="341" y="154"/>
                        <a:pt x="339" y="145"/>
                        <a:pt x="338" y="144"/>
                      </a:cubicBezTo>
                      <a:cubicBezTo>
                        <a:pt x="338" y="143"/>
                        <a:pt x="340" y="142"/>
                        <a:pt x="340" y="142"/>
                      </a:cubicBezTo>
                      <a:cubicBezTo>
                        <a:pt x="342" y="142"/>
                        <a:pt x="342" y="142"/>
                        <a:pt x="342" y="142"/>
                      </a:cubicBezTo>
                      <a:cubicBezTo>
                        <a:pt x="342" y="142"/>
                        <a:pt x="343" y="141"/>
                        <a:pt x="344" y="141"/>
                      </a:cubicBezTo>
                      <a:cubicBezTo>
                        <a:pt x="349" y="137"/>
                        <a:pt x="349" y="137"/>
                        <a:pt x="349" y="137"/>
                      </a:cubicBezTo>
                      <a:cubicBezTo>
                        <a:pt x="354" y="138"/>
                        <a:pt x="354" y="138"/>
                        <a:pt x="354" y="138"/>
                      </a:cubicBezTo>
                      <a:cubicBezTo>
                        <a:pt x="354" y="138"/>
                        <a:pt x="354" y="137"/>
                        <a:pt x="355" y="137"/>
                      </a:cubicBezTo>
                      <a:cubicBezTo>
                        <a:pt x="356" y="137"/>
                        <a:pt x="356" y="136"/>
                        <a:pt x="356" y="136"/>
                      </a:cubicBezTo>
                      <a:cubicBezTo>
                        <a:pt x="356" y="136"/>
                        <a:pt x="353" y="130"/>
                        <a:pt x="355" y="127"/>
                      </a:cubicBezTo>
                      <a:cubicBezTo>
                        <a:pt x="356" y="125"/>
                        <a:pt x="357" y="125"/>
                        <a:pt x="359" y="125"/>
                      </a:cubicBezTo>
                      <a:cubicBezTo>
                        <a:pt x="359" y="125"/>
                        <a:pt x="359" y="125"/>
                        <a:pt x="359" y="125"/>
                      </a:cubicBezTo>
                      <a:cubicBezTo>
                        <a:pt x="359" y="125"/>
                        <a:pt x="359" y="125"/>
                        <a:pt x="359" y="125"/>
                      </a:cubicBezTo>
                      <a:cubicBezTo>
                        <a:pt x="359" y="125"/>
                        <a:pt x="359" y="125"/>
                        <a:pt x="359" y="125"/>
                      </a:cubicBezTo>
                      <a:cubicBezTo>
                        <a:pt x="359" y="125"/>
                        <a:pt x="359" y="125"/>
                        <a:pt x="359" y="125"/>
                      </a:cubicBezTo>
                      <a:cubicBezTo>
                        <a:pt x="359" y="125"/>
                        <a:pt x="359" y="125"/>
                        <a:pt x="359" y="125"/>
                      </a:cubicBezTo>
                      <a:cubicBezTo>
                        <a:pt x="359" y="125"/>
                        <a:pt x="359" y="125"/>
                        <a:pt x="359" y="125"/>
                      </a:cubicBezTo>
                      <a:cubicBezTo>
                        <a:pt x="360" y="125"/>
                        <a:pt x="360" y="125"/>
                        <a:pt x="360" y="125"/>
                      </a:cubicBezTo>
                      <a:cubicBezTo>
                        <a:pt x="360" y="125"/>
                        <a:pt x="360" y="125"/>
                        <a:pt x="360" y="125"/>
                      </a:cubicBezTo>
                      <a:cubicBezTo>
                        <a:pt x="360" y="125"/>
                        <a:pt x="360" y="125"/>
                        <a:pt x="360" y="125"/>
                      </a:cubicBezTo>
                      <a:cubicBezTo>
                        <a:pt x="360" y="125"/>
                        <a:pt x="360" y="125"/>
                        <a:pt x="360" y="125"/>
                      </a:cubicBezTo>
                      <a:cubicBezTo>
                        <a:pt x="360" y="125"/>
                        <a:pt x="360" y="125"/>
                        <a:pt x="360" y="125"/>
                      </a:cubicBezTo>
                      <a:cubicBezTo>
                        <a:pt x="360" y="125"/>
                        <a:pt x="360" y="125"/>
                        <a:pt x="360" y="125"/>
                      </a:cubicBezTo>
                      <a:cubicBezTo>
                        <a:pt x="360" y="125"/>
                        <a:pt x="360" y="125"/>
                        <a:pt x="360" y="125"/>
                      </a:cubicBezTo>
                      <a:cubicBezTo>
                        <a:pt x="360" y="125"/>
                        <a:pt x="360" y="125"/>
                        <a:pt x="360" y="125"/>
                      </a:cubicBezTo>
                      <a:cubicBezTo>
                        <a:pt x="361" y="125"/>
                        <a:pt x="361" y="125"/>
                        <a:pt x="361" y="125"/>
                      </a:cubicBezTo>
                      <a:cubicBezTo>
                        <a:pt x="361" y="125"/>
                        <a:pt x="361" y="125"/>
                        <a:pt x="361" y="125"/>
                      </a:cubicBezTo>
                      <a:cubicBezTo>
                        <a:pt x="361" y="125"/>
                        <a:pt x="361" y="125"/>
                        <a:pt x="361" y="125"/>
                      </a:cubicBezTo>
                      <a:cubicBezTo>
                        <a:pt x="361" y="125"/>
                        <a:pt x="361" y="125"/>
                        <a:pt x="361" y="125"/>
                      </a:cubicBezTo>
                      <a:cubicBezTo>
                        <a:pt x="361" y="125"/>
                        <a:pt x="361" y="125"/>
                        <a:pt x="361" y="125"/>
                      </a:cubicBezTo>
                      <a:cubicBezTo>
                        <a:pt x="361" y="125"/>
                        <a:pt x="361" y="125"/>
                        <a:pt x="361" y="125"/>
                      </a:cubicBezTo>
                      <a:cubicBezTo>
                        <a:pt x="361" y="125"/>
                        <a:pt x="361" y="125"/>
                        <a:pt x="361" y="125"/>
                      </a:cubicBezTo>
                      <a:cubicBezTo>
                        <a:pt x="361" y="125"/>
                        <a:pt x="361" y="125"/>
                        <a:pt x="361" y="125"/>
                      </a:cubicBezTo>
                      <a:cubicBezTo>
                        <a:pt x="361" y="125"/>
                        <a:pt x="361" y="125"/>
                        <a:pt x="361" y="125"/>
                      </a:cubicBezTo>
                      <a:cubicBezTo>
                        <a:pt x="361" y="125"/>
                        <a:pt x="361" y="125"/>
                        <a:pt x="361" y="125"/>
                      </a:cubicBezTo>
                      <a:cubicBezTo>
                        <a:pt x="361" y="125"/>
                        <a:pt x="361" y="125"/>
                        <a:pt x="361" y="125"/>
                      </a:cubicBezTo>
                      <a:cubicBezTo>
                        <a:pt x="361" y="125"/>
                        <a:pt x="361" y="125"/>
                        <a:pt x="361" y="125"/>
                      </a:cubicBezTo>
                      <a:cubicBezTo>
                        <a:pt x="361" y="125"/>
                        <a:pt x="361" y="125"/>
                        <a:pt x="361" y="125"/>
                      </a:cubicBezTo>
                      <a:cubicBezTo>
                        <a:pt x="361" y="125"/>
                        <a:pt x="361" y="125"/>
                        <a:pt x="361" y="125"/>
                      </a:cubicBezTo>
                      <a:cubicBezTo>
                        <a:pt x="362" y="125"/>
                        <a:pt x="362" y="125"/>
                        <a:pt x="362" y="125"/>
                      </a:cubicBezTo>
                      <a:cubicBezTo>
                        <a:pt x="362" y="125"/>
                        <a:pt x="362" y="125"/>
                        <a:pt x="362" y="125"/>
                      </a:cubicBezTo>
                      <a:cubicBezTo>
                        <a:pt x="362" y="125"/>
                        <a:pt x="362" y="125"/>
                        <a:pt x="362" y="125"/>
                      </a:cubicBezTo>
                      <a:cubicBezTo>
                        <a:pt x="362" y="125"/>
                        <a:pt x="362" y="125"/>
                        <a:pt x="362" y="125"/>
                      </a:cubicBezTo>
                      <a:cubicBezTo>
                        <a:pt x="363" y="125"/>
                        <a:pt x="363" y="125"/>
                        <a:pt x="363" y="125"/>
                      </a:cubicBezTo>
                      <a:cubicBezTo>
                        <a:pt x="363" y="125"/>
                        <a:pt x="363" y="125"/>
                        <a:pt x="363" y="125"/>
                      </a:cubicBezTo>
                      <a:cubicBezTo>
                        <a:pt x="363" y="125"/>
                        <a:pt x="363" y="125"/>
                        <a:pt x="363" y="125"/>
                      </a:cubicBezTo>
                      <a:cubicBezTo>
                        <a:pt x="363" y="125"/>
                        <a:pt x="363" y="125"/>
                        <a:pt x="363" y="125"/>
                      </a:cubicBezTo>
                      <a:cubicBezTo>
                        <a:pt x="363" y="126"/>
                        <a:pt x="363" y="126"/>
                        <a:pt x="363" y="126"/>
                      </a:cubicBezTo>
                      <a:cubicBezTo>
                        <a:pt x="363" y="126"/>
                        <a:pt x="363" y="126"/>
                        <a:pt x="363" y="126"/>
                      </a:cubicBezTo>
                      <a:cubicBezTo>
                        <a:pt x="363" y="126"/>
                        <a:pt x="363" y="126"/>
                        <a:pt x="363" y="126"/>
                      </a:cubicBezTo>
                      <a:cubicBezTo>
                        <a:pt x="363" y="126"/>
                        <a:pt x="363" y="126"/>
                        <a:pt x="363" y="126"/>
                      </a:cubicBezTo>
                      <a:cubicBezTo>
                        <a:pt x="363" y="126"/>
                        <a:pt x="363" y="126"/>
                        <a:pt x="363" y="126"/>
                      </a:cubicBezTo>
                      <a:cubicBezTo>
                        <a:pt x="363" y="126"/>
                        <a:pt x="363" y="126"/>
                        <a:pt x="363" y="126"/>
                      </a:cubicBezTo>
                      <a:cubicBezTo>
                        <a:pt x="363" y="126"/>
                        <a:pt x="363" y="126"/>
                        <a:pt x="363" y="126"/>
                      </a:cubicBezTo>
                      <a:cubicBezTo>
                        <a:pt x="363" y="126"/>
                        <a:pt x="363" y="126"/>
                        <a:pt x="363" y="126"/>
                      </a:cubicBezTo>
                      <a:close/>
                    </a:path>
                  </a:pathLst>
                </a:custGeom>
                <a:solidFill>
                  <a:srgbClr val="E6EFF1"/>
                </a:solidFill>
                <a:ln w="12700" cap="rnd" cmpd="sng">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Lato Light"/>
                  </a:endParaRPr>
                </a:p>
              </p:txBody>
            </p:sp>
            <p:sp>
              <p:nvSpPr>
                <p:cNvPr id="238" name="Freeform 109">
                  <a:extLst>
                    <a:ext uri="{FF2B5EF4-FFF2-40B4-BE49-F238E27FC236}">
                      <a16:creationId xmlns:a16="http://schemas.microsoft.com/office/drawing/2014/main" id="{74D67633-CD6E-9B74-7706-52BFA7BC80DC}"/>
                    </a:ext>
                  </a:extLst>
                </p:cNvPr>
                <p:cNvSpPr>
                  <a:spLocks noEditPoints="1"/>
                </p:cNvSpPr>
                <p:nvPr/>
              </p:nvSpPr>
              <p:spPr bwMode="auto">
                <a:xfrm>
                  <a:off x="2297028" y="2412908"/>
                  <a:ext cx="839081" cy="1537796"/>
                </a:xfrm>
                <a:custGeom>
                  <a:avLst/>
                  <a:gdLst>
                    <a:gd name="T0" fmla="*/ 29 w 291"/>
                    <a:gd name="T1" fmla="*/ 540 h 550"/>
                    <a:gd name="T2" fmla="*/ 96 w 291"/>
                    <a:gd name="T3" fmla="*/ 541 h 550"/>
                    <a:gd name="T4" fmla="*/ 173 w 291"/>
                    <a:gd name="T5" fmla="*/ 531 h 550"/>
                    <a:gd name="T6" fmla="*/ 212 w 291"/>
                    <a:gd name="T7" fmla="*/ 534 h 550"/>
                    <a:gd name="T8" fmla="*/ 254 w 291"/>
                    <a:gd name="T9" fmla="*/ 506 h 550"/>
                    <a:gd name="T10" fmla="*/ 285 w 291"/>
                    <a:gd name="T11" fmla="*/ 469 h 550"/>
                    <a:gd name="T12" fmla="*/ 250 w 291"/>
                    <a:gd name="T13" fmla="*/ 407 h 550"/>
                    <a:gd name="T14" fmla="*/ 238 w 291"/>
                    <a:gd name="T15" fmla="*/ 368 h 550"/>
                    <a:gd name="T16" fmla="*/ 207 w 291"/>
                    <a:gd name="T17" fmla="*/ 282 h 550"/>
                    <a:gd name="T18" fmla="*/ 158 w 291"/>
                    <a:gd name="T19" fmla="*/ 243 h 550"/>
                    <a:gd name="T20" fmla="*/ 165 w 291"/>
                    <a:gd name="T21" fmla="*/ 227 h 550"/>
                    <a:gd name="T22" fmla="*/ 220 w 291"/>
                    <a:gd name="T23" fmla="*/ 173 h 550"/>
                    <a:gd name="T24" fmla="*/ 167 w 291"/>
                    <a:gd name="T25" fmla="*/ 157 h 550"/>
                    <a:gd name="T26" fmla="*/ 143 w 291"/>
                    <a:gd name="T27" fmla="*/ 156 h 550"/>
                    <a:gd name="T28" fmla="*/ 166 w 291"/>
                    <a:gd name="T29" fmla="*/ 136 h 550"/>
                    <a:gd name="T30" fmla="*/ 157 w 291"/>
                    <a:gd name="T31" fmla="*/ 107 h 550"/>
                    <a:gd name="T32" fmla="*/ 136 w 291"/>
                    <a:gd name="T33" fmla="*/ 106 h 550"/>
                    <a:gd name="T34" fmla="*/ 128 w 291"/>
                    <a:gd name="T35" fmla="*/ 138 h 550"/>
                    <a:gd name="T36" fmla="*/ 111 w 291"/>
                    <a:gd name="T37" fmla="*/ 142 h 550"/>
                    <a:gd name="T38" fmla="*/ 107 w 291"/>
                    <a:gd name="T39" fmla="*/ 165 h 550"/>
                    <a:gd name="T40" fmla="*/ 90 w 291"/>
                    <a:gd name="T41" fmla="*/ 144 h 550"/>
                    <a:gd name="T42" fmla="*/ 84 w 291"/>
                    <a:gd name="T43" fmla="*/ 159 h 550"/>
                    <a:gd name="T44" fmla="*/ 104 w 291"/>
                    <a:gd name="T45" fmla="*/ 172 h 550"/>
                    <a:gd name="T46" fmla="*/ 84 w 291"/>
                    <a:gd name="T47" fmla="*/ 191 h 550"/>
                    <a:gd name="T48" fmla="*/ 95 w 291"/>
                    <a:gd name="T49" fmla="*/ 210 h 550"/>
                    <a:gd name="T50" fmla="*/ 65 w 291"/>
                    <a:gd name="T51" fmla="*/ 241 h 550"/>
                    <a:gd name="T52" fmla="*/ 87 w 291"/>
                    <a:gd name="T53" fmla="*/ 231 h 550"/>
                    <a:gd name="T54" fmla="*/ 83 w 291"/>
                    <a:gd name="T55" fmla="*/ 256 h 550"/>
                    <a:gd name="T56" fmla="*/ 101 w 291"/>
                    <a:gd name="T57" fmla="*/ 237 h 550"/>
                    <a:gd name="T58" fmla="*/ 98 w 291"/>
                    <a:gd name="T59" fmla="*/ 306 h 550"/>
                    <a:gd name="T60" fmla="*/ 133 w 291"/>
                    <a:gd name="T61" fmla="*/ 306 h 550"/>
                    <a:gd name="T62" fmla="*/ 142 w 291"/>
                    <a:gd name="T63" fmla="*/ 337 h 550"/>
                    <a:gd name="T64" fmla="*/ 144 w 291"/>
                    <a:gd name="T65" fmla="*/ 382 h 550"/>
                    <a:gd name="T66" fmla="*/ 97 w 291"/>
                    <a:gd name="T67" fmla="*/ 376 h 550"/>
                    <a:gd name="T68" fmla="*/ 103 w 291"/>
                    <a:gd name="T69" fmla="*/ 422 h 550"/>
                    <a:gd name="T70" fmla="*/ 62 w 291"/>
                    <a:gd name="T71" fmla="*/ 461 h 550"/>
                    <a:gd name="T72" fmla="*/ 101 w 291"/>
                    <a:gd name="T73" fmla="*/ 472 h 550"/>
                    <a:gd name="T74" fmla="*/ 139 w 291"/>
                    <a:gd name="T75" fmla="*/ 482 h 550"/>
                    <a:gd name="T76" fmla="*/ 50 w 291"/>
                    <a:gd name="T77" fmla="*/ 266 h 550"/>
                    <a:gd name="T78" fmla="*/ 80 w 291"/>
                    <a:gd name="T79" fmla="*/ 314 h 550"/>
                    <a:gd name="T80" fmla="*/ 41 w 291"/>
                    <a:gd name="T81" fmla="*/ 324 h 550"/>
                    <a:gd name="T82" fmla="*/ 13 w 291"/>
                    <a:gd name="T83" fmla="*/ 287 h 550"/>
                    <a:gd name="T84" fmla="*/ 75 w 291"/>
                    <a:gd name="T85" fmla="*/ 227 h 550"/>
                    <a:gd name="T86" fmla="*/ 103 w 291"/>
                    <a:gd name="T87" fmla="*/ 263 h 550"/>
                    <a:gd name="T88" fmla="*/ 65 w 291"/>
                    <a:gd name="T89" fmla="*/ 199 h 550"/>
                    <a:gd name="T90" fmla="*/ 78 w 291"/>
                    <a:gd name="T91" fmla="*/ 171 h 550"/>
                    <a:gd name="T92" fmla="*/ 46 w 291"/>
                    <a:gd name="T93" fmla="*/ 177 h 550"/>
                    <a:gd name="T94" fmla="*/ 59 w 291"/>
                    <a:gd name="T95" fmla="*/ 158 h 550"/>
                    <a:gd name="T96" fmla="*/ 69 w 291"/>
                    <a:gd name="T97" fmla="*/ 132 h 550"/>
                    <a:gd name="T98" fmla="*/ 80 w 291"/>
                    <a:gd name="T99" fmla="*/ 106 h 550"/>
                    <a:gd name="T100" fmla="*/ 94 w 291"/>
                    <a:gd name="T101" fmla="*/ 116 h 550"/>
                    <a:gd name="T102" fmla="*/ 267 w 291"/>
                    <a:gd name="T103" fmla="*/ 15 h 550"/>
                    <a:gd name="T104" fmla="*/ 245 w 291"/>
                    <a:gd name="T105" fmla="*/ 27 h 550"/>
                    <a:gd name="T106" fmla="*/ 269 w 291"/>
                    <a:gd name="T107" fmla="*/ 2 h 550"/>
                    <a:gd name="T108" fmla="*/ 259 w 291"/>
                    <a:gd name="T109" fmla="*/ 29 h 550"/>
                    <a:gd name="T110" fmla="*/ 243 w 291"/>
                    <a:gd name="T111" fmla="*/ 64 h 550"/>
                    <a:gd name="T112" fmla="*/ 221 w 291"/>
                    <a:gd name="T113" fmla="*/ 72 h 550"/>
                    <a:gd name="T114" fmla="*/ 205 w 291"/>
                    <a:gd name="T115" fmla="*/ 80 h 550"/>
                    <a:gd name="T116" fmla="*/ 204 w 291"/>
                    <a:gd name="T117" fmla="*/ 75 h 550"/>
                    <a:gd name="T118" fmla="*/ 191 w 291"/>
                    <a:gd name="T119" fmla="*/ 91 h 550"/>
                    <a:gd name="T120" fmla="*/ 187 w 291"/>
                    <a:gd name="T121" fmla="*/ 92 h 5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91" h="550">
                      <a:moveTo>
                        <a:pt x="73" y="501"/>
                      </a:moveTo>
                      <a:cubicBezTo>
                        <a:pt x="69" y="504"/>
                        <a:pt x="69" y="504"/>
                        <a:pt x="69" y="504"/>
                      </a:cubicBezTo>
                      <a:cubicBezTo>
                        <a:pt x="69" y="508"/>
                        <a:pt x="69" y="508"/>
                        <a:pt x="69" y="508"/>
                      </a:cubicBezTo>
                      <a:cubicBezTo>
                        <a:pt x="67" y="512"/>
                        <a:pt x="67" y="512"/>
                        <a:pt x="67" y="512"/>
                      </a:cubicBezTo>
                      <a:cubicBezTo>
                        <a:pt x="67" y="512"/>
                        <a:pt x="65" y="513"/>
                        <a:pt x="65" y="514"/>
                      </a:cubicBezTo>
                      <a:cubicBezTo>
                        <a:pt x="64" y="515"/>
                        <a:pt x="60" y="518"/>
                        <a:pt x="60" y="518"/>
                      </a:cubicBezTo>
                      <a:cubicBezTo>
                        <a:pt x="60" y="518"/>
                        <a:pt x="60" y="519"/>
                        <a:pt x="59" y="519"/>
                      </a:cubicBezTo>
                      <a:cubicBezTo>
                        <a:pt x="58" y="519"/>
                        <a:pt x="51" y="522"/>
                        <a:pt x="51" y="522"/>
                      </a:cubicBezTo>
                      <a:cubicBezTo>
                        <a:pt x="49" y="526"/>
                        <a:pt x="49" y="526"/>
                        <a:pt x="49" y="526"/>
                      </a:cubicBezTo>
                      <a:cubicBezTo>
                        <a:pt x="45" y="527"/>
                        <a:pt x="45" y="527"/>
                        <a:pt x="45" y="527"/>
                      </a:cubicBezTo>
                      <a:cubicBezTo>
                        <a:pt x="42" y="532"/>
                        <a:pt x="42" y="532"/>
                        <a:pt x="42" y="532"/>
                      </a:cubicBezTo>
                      <a:cubicBezTo>
                        <a:pt x="37" y="534"/>
                        <a:pt x="37" y="534"/>
                        <a:pt x="37" y="534"/>
                      </a:cubicBezTo>
                      <a:cubicBezTo>
                        <a:pt x="33" y="535"/>
                        <a:pt x="33" y="535"/>
                        <a:pt x="33" y="535"/>
                      </a:cubicBezTo>
                      <a:cubicBezTo>
                        <a:pt x="29" y="533"/>
                        <a:pt x="29" y="533"/>
                        <a:pt x="29" y="533"/>
                      </a:cubicBezTo>
                      <a:cubicBezTo>
                        <a:pt x="26" y="535"/>
                        <a:pt x="26" y="535"/>
                        <a:pt x="26" y="535"/>
                      </a:cubicBezTo>
                      <a:cubicBezTo>
                        <a:pt x="23" y="537"/>
                        <a:pt x="23" y="537"/>
                        <a:pt x="23" y="537"/>
                      </a:cubicBezTo>
                      <a:cubicBezTo>
                        <a:pt x="24" y="541"/>
                        <a:pt x="24" y="541"/>
                        <a:pt x="24" y="541"/>
                      </a:cubicBezTo>
                      <a:cubicBezTo>
                        <a:pt x="27" y="543"/>
                        <a:pt x="27" y="543"/>
                        <a:pt x="27" y="543"/>
                      </a:cubicBezTo>
                      <a:cubicBezTo>
                        <a:pt x="29" y="540"/>
                        <a:pt x="29" y="540"/>
                        <a:pt x="29" y="540"/>
                      </a:cubicBezTo>
                      <a:cubicBezTo>
                        <a:pt x="35" y="542"/>
                        <a:pt x="35" y="542"/>
                        <a:pt x="35" y="542"/>
                      </a:cubicBezTo>
                      <a:cubicBezTo>
                        <a:pt x="35" y="542"/>
                        <a:pt x="37" y="545"/>
                        <a:pt x="38" y="546"/>
                      </a:cubicBezTo>
                      <a:cubicBezTo>
                        <a:pt x="38" y="547"/>
                        <a:pt x="38" y="550"/>
                        <a:pt x="39" y="550"/>
                      </a:cubicBezTo>
                      <a:cubicBezTo>
                        <a:pt x="40" y="549"/>
                        <a:pt x="45" y="546"/>
                        <a:pt x="45" y="546"/>
                      </a:cubicBezTo>
                      <a:cubicBezTo>
                        <a:pt x="43" y="542"/>
                        <a:pt x="43" y="542"/>
                        <a:pt x="43" y="542"/>
                      </a:cubicBezTo>
                      <a:cubicBezTo>
                        <a:pt x="43" y="542"/>
                        <a:pt x="46" y="541"/>
                        <a:pt x="48" y="541"/>
                      </a:cubicBezTo>
                      <a:cubicBezTo>
                        <a:pt x="50" y="541"/>
                        <a:pt x="52" y="542"/>
                        <a:pt x="53" y="540"/>
                      </a:cubicBezTo>
                      <a:cubicBezTo>
                        <a:pt x="53" y="539"/>
                        <a:pt x="56" y="539"/>
                        <a:pt x="56" y="539"/>
                      </a:cubicBezTo>
                      <a:cubicBezTo>
                        <a:pt x="56" y="539"/>
                        <a:pt x="58" y="536"/>
                        <a:pt x="58" y="536"/>
                      </a:cubicBezTo>
                      <a:cubicBezTo>
                        <a:pt x="58" y="535"/>
                        <a:pt x="61" y="533"/>
                        <a:pt x="61" y="533"/>
                      </a:cubicBezTo>
                      <a:cubicBezTo>
                        <a:pt x="61" y="533"/>
                        <a:pt x="68" y="536"/>
                        <a:pt x="69" y="536"/>
                      </a:cubicBezTo>
                      <a:cubicBezTo>
                        <a:pt x="70" y="536"/>
                        <a:pt x="77" y="534"/>
                        <a:pt x="77" y="534"/>
                      </a:cubicBezTo>
                      <a:cubicBezTo>
                        <a:pt x="80" y="537"/>
                        <a:pt x="80" y="537"/>
                        <a:pt x="80" y="537"/>
                      </a:cubicBezTo>
                      <a:cubicBezTo>
                        <a:pt x="80" y="537"/>
                        <a:pt x="80" y="539"/>
                        <a:pt x="82" y="540"/>
                      </a:cubicBezTo>
                      <a:cubicBezTo>
                        <a:pt x="84" y="540"/>
                        <a:pt x="85" y="540"/>
                        <a:pt x="85" y="540"/>
                      </a:cubicBezTo>
                      <a:cubicBezTo>
                        <a:pt x="88" y="544"/>
                        <a:pt x="88" y="544"/>
                        <a:pt x="88" y="544"/>
                      </a:cubicBezTo>
                      <a:cubicBezTo>
                        <a:pt x="91" y="546"/>
                        <a:pt x="91" y="546"/>
                        <a:pt x="91" y="546"/>
                      </a:cubicBezTo>
                      <a:cubicBezTo>
                        <a:pt x="91" y="546"/>
                        <a:pt x="94" y="546"/>
                        <a:pt x="94" y="545"/>
                      </a:cubicBezTo>
                      <a:cubicBezTo>
                        <a:pt x="94" y="544"/>
                        <a:pt x="95" y="542"/>
                        <a:pt x="96" y="541"/>
                      </a:cubicBezTo>
                      <a:cubicBezTo>
                        <a:pt x="97" y="541"/>
                        <a:pt x="100" y="540"/>
                        <a:pt x="100" y="540"/>
                      </a:cubicBezTo>
                      <a:cubicBezTo>
                        <a:pt x="100" y="540"/>
                        <a:pt x="100" y="538"/>
                        <a:pt x="100" y="537"/>
                      </a:cubicBezTo>
                      <a:cubicBezTo>
                        <a:pt x="100" y="535"/>
                        <a:pt x="100" y="532"/>
                        <a:pt x="101" y="531"/>
                      </a:cubicBezTo>
                      <a:cubicBezTo>
                        <a:pt x="101" y="531"/>
                        <a:pt x="104" y="527"/>
                        <a:pt x="104" y="527"/>
                      </a:cubicBezTo>
                      <a:cubicBezTo>
                        <a:pt x="109" y="526"/>
                        <a:pt x="109" y="526"/>
                        <a:pt x="109" y="526"/>
                      </a:cubicBezTo>
                      <a:cubicBezTo>
                        <a:pt x="121" y="525"/>
                        <a:pt x="121" y="525"/>
                        <a:pt x="121" y="525"/>
                      </a:cubicBezTo>
                      <a:cubicBezTo>
                        <a:pt x="125" y="525"/>
                        <a:pt x="125" y="525"/>
                        <a:pt x="125" y="525"/>
                      </a:cubicBezTo>
                      <a:cubicBezTo>
                        <a:pt x="130" y="529"/>
                        <a:pt x="130" y="529"/>
                        <a:pt x="130" y="529"/>
                      </a:cubicBezTo>
                      <a:cubicBezTo>
                        <a:pt x="135" y="534"/>
                        <a:pt x="135" y="534"/>
                        <a:pt x="135" y="534"/>
                      </a:cubicBezTo>
                      <a:cubicBezTo>
                        <a:pt x="135" y="534"/>
                        <a:pt x="138" y="538"/>
                        <a:pt x="138" y="537"/>
                      </a:cubicBezTo>
                      <a:cubicBezTo>
                        <a:pt x="139" y="535"/>
                        <a:pt x="140" y="531"/>
                        <a:pt x="141" y="531"/>
                      </a:cubicBezTo>
                      <a:cubicBezTo>
                        <a:pt x="142" y="531"/>
                        <a:pt x="145" y="535"/>
                        <a:pt x="145" y="535"/>
                      </a:cubicBezTo>
                      <a:cubicBezTo>
                        <a:pt x="149" y="536"/>
                        <a:pt x="149" y="536"/>
                        <a:pt x="149" y="536"/>
                      </a:cubicBezTo>
                      <a:cubicBezTo>
                        <a:pt x="152" y="536"/>
                        <a:pt x="152" y="536"/>
                        <a:pt x="152" y="536"/>
                      </a:cubicBezTo>
                      <a:cubicBezTo>
                        <a:pt x="155" y="533"/>
                        <a:pt x="155" y="533"/>
                        <a:pt x="155" y="533"/>
                      </a:cubicBezTo>
                      <a:cubicBezTo>
                        <a:pt x="153" y="530"/>
                        <a:pt x="153" y="530"/>
                        <a:pt x="153" y="530"/>
                      </a:cubicBezTo>
                      <a:cubicBezTo>
                        <a:pt x="157" y="531"/>
                        <a:pt x="157" y="531"/>
                        <a:pt x="157" y="531"/>
                      </a:cubicBezTo>
                      <a:cubicBezTo>
                        <a:pt x="168" y="532"/>
                        <a:pt x="168" y="532"/>
                        <a:pt x="168" y="532"/>
                      </a:cubicBezTo>
                      <a:cubicBezTo>
                        <a:pt x="173" y="531"/>
                        <a:pt x="173" y="531"/>
                        <a:pt x="173" y="531"/>
                      </a:cubicBezTo>
                      <a:cubicBezTo>
                        <a:pt x="177" y="530"/>
                        <a:pt x="177" y="530"/>
                        <a:pt x="177" y="530"/>
                      </a:cubicBezTo>
                      <a:cubicBezTo>
                        <a:pt x="177" y="532"/>
                        <a:pt x="177" y="532"/>
                        <a:pt x="177" y="532"/>
                      </a:cubicBezTo>
                      <a:cubicBezTo>
                        <a:pt x="171" y="534"/>
                        <a:pt x="171" y="534"/>
                        <a:pt x="171" y="534"/>
                      </a:cubicBezTo>
                      <a:cubicBezTo>
                        <a:pt x="171" y="534"/>
                        <a:pt x="168" y="534"/>
                        <a:pt x="169" y="535"/>
                      </a:cubicBezTo>
                      <a:cubicBezTo>
                        <a:pt x="170" y="537"/>
                        <a:pt x="175" y="539"/>
                        <a:pt x="175" y="539"/>
                      </a:cubicBezTo>
                      <a:cubicBezTo>
                        <a:pt x="175" y="539"/>
                        <a:pt x="172" y="540"/>
                        <a:pt x="176" y="540"/>
                      </a:cubicBezTo>
                      <a:cubicBezTo>
                        <a:pt x="180" y="540"/>
                        <a:pt x="182" y="539"/>
                        <a:pt x="182" y="539"/>
                      </a:cubicBezTo>
                      <a:cubicBezTo>
                        <a:pt x="185" y="536"/>
                        <a:pt x="185" y="536"/>
                        <a:pt x="185" y="536"/>
                      </a:cubicBezTo>
                      <a:cubicBezTo>
                        <a:pt x="183" y="534"/>
                        <a:pt x="183" y="534"/>
                        <a:pt x="183" y="534"/>
                      </a:cubicBezTo>
                      <a:cubicBezTo>
                        <a:pt x="178" y="533"/>
                        <a:pt x="178" y="533"/>
                        <a:pt x="178" y="533"/>
                      </a:cubicBezTo>
                      <a:cubicBezTo>
                        <a:pt x="179" y="529"/>
                        <a:pt x="179" y="529"/>
                        <a:pt x="179" y="529"/>
                      </a:cubicBezTo>
                      <a:cubicBezTo>
                        <a:pt x="180" y="529"/>
                        <a:pt x="180" y="529"/>
                        <a:pt x="180" y="529"/>
                      </a:cubicBezTo>
                      <a:cubicBezTo>
                        <a:pt x="183" y="532"/>
                        <a:pt x="183" y="532"/>
                        <a:pt x="183" y="532"/>
                      </a:cubicBezTo>
                      <a:cubicBezTo>
                        <a:pt x="186" y="530"/>
                        <a:pt x="186" y="530"/>
                        <a:pt x="186" y="530"/>
                      </a:cubicBezTo>
                      <a:cubicBezTo>
                        <a:pt x="190" y="531"/>
                        <a:pt x="190" y="531"/>
                        <a:pt x="190" y="531"/>
                      </a:cubicBezTo>
                      <a:cubicBezTo>
                        <a:pt x="192" y="535"/>
                        <a:pt x="192" y="535"/>
                        <a:pt x="192" y="535"/>
                      </a:cubicBezTo>
                      <a:cubicBezTo>
                        <a:pt x="192" y="535"/>
                        <a:pt x="194" y="537"/>
                        <a:pt x="196" y="535"/>
                      </a:cubicBezTo>
                      <a:cubicBezTo>
                        <a:pt x="198" y="534"/>
                        <a:pt x="200" y="533"/>
                        <a:pt x="200" y="533"/>
                      </a:cubicBezTo>
                      <a:cubicBezTo>
                        <a:pt x="212" y="534"/>
                        <a:pt x="212" y="534"/>
                        <a:pt x="212" y="534"/>
                      </a:cubicBezTo>
                      <a:cubicBezTo>
                        <a:pt x="212" y="534"/>
                        <a:pt x="218" y="533"/>
                        <a:pt x="219" y="535"/>
                      </a:cubicBezTo>
                      <a:cubicBezTo>
                        <a:pt x="220" y="536"/>
                        <a:pt x="223" y="538"/>
                        <a:pt x="223" y="538"/>
                      </a:cubicBezTo>
                      <a:cubicBezTo>
                        <a:pt x="228" y="539"/>
                        <a:pt x="228" y="539"/>
                        <a:pt x="228" y="539"/>
                      </a:cubicBezTo>
                      <a:cubicBezTo>
                        <a:pt x="233" y="539"/>
                        <a:pt x="233" y="539"/>
                        <a:pt x="233" y="539"/>
                      </a:cubicBezTo>
                      <a:cubicBezTo>
                        <a:pt x="233" y="539"/>
                        <a:pt x="235" y="537"/>
                        <a:pt x="236" y="536"/>
                      </a:cubicBezTo>
                      <a:cubicBezTo>
                        <a:pt x="238" y="536"/>
                        <a:pt x="241" y="534"/>
                        <a:pt x="242" y="534"/>
                      </a:cubicBezTo>
                      <a:cubicBezTo>
                        <a:pt x="244" y="534"/>
                        <a:pt x="249" y="533"/>
                        <a:pt x="249" y="533"/>
                      </a:cubicBezTo>
                      <a:cubicBezTo>
                        <a:pt x="250" y="533"/>
                        <a:pt x="251" y="534"/>
                        <a:pt x="253" y="533"/>
                      </a:cubicBezTo>
                      <a:cubicBezTo>
                        <a:pt x="254" y="533"/>
                        <a:pt x="257" y="528"/>
                        <a:pt x="257" y="528"/>
                      </a:cubicBezTo>
                      <a:cubicBezTo>
                        <a:pt x="257" y="528"/>
                        <a:pt x="258" y="526"/>
                        <a:pt x="260" y="526"/>
                      </a:cubicBezTo>
                      <a:cubicBezTo>
                        <a:pt x="262" y="526"/>
                        <a:pt x="265" y="526"/>
                        <a:pt x="266" y="525"/>
                      </a:cubicBezTo>
                      <a:cubicBezTo>
                        <a:pt x="267" y="523"/>
                        <a:pt x="268" y="522"/>
                        <a:pt x="269" y="521"/>
                      </a:cubicBezTo>
                      <a:cubicBezTo>
                        <a:pt x="270" y="520"/>
                        <a:pt x="272" y="517"/>
                        <a:pt x="271" y="516"/>
                      </a:cubicBezTo>
                      <a:cubicBezTo>
                        <a:pt x="271" y="515"/>
                        <a:pt x="272" y="511"/>
                        <a:pt x="272" y="511"/>
                      </a:cubicBezTo>
                      <a:cubicBezTo>
                        <a:pt x="272" y="511"/>
                        <a:pt x="269" y="511"/>
                        <a:pt x="268" y="511"/>
                      </a:cubicBezTo>
                      <a:cubicBezTo>
                        <a:pt x="267" y="510"/>
                        <a:pt x="263" y="511"/>
                        <a:pt x="262" y="510"/>
                      </a:cubicBezTo>
                      <a:cubicBezTo>
                        <a:pt x="261" y="510"/>
                        <a:pt x="257" y="510"/>
                        <a:pt x="257" y="510"/>
                      </a:cubicBezTo>
                      <a:cubicBezTo>
                        <a:pt x="256" y="508"/>
                        <a:pt x="256" y="508"/>
                        <a:pt x="256" y="508"/>
                      </a:cubicBezTo>
                      <a:cubicBezTo>
                        <a:pt x="256" y="508"/>
                        <a:pt x="255" y="507"/>
                        <a:pt x="254" y="506"/>
                      </a:cubicBezTo>
                      <a:cubicBezTo>
                        <a:pt x="253" y="506"/>
                        <a:pt x="254" y="506"/>
                        <a:pt x="252" y="505"/>
                      </a:cubicBezTo>
                      <a:cubicBezTo>
                        <a:pt x="251" y="505"/>
                        <a:pt x="249" y="503"/>
                        <a:pt x="249" y="503"/>
                      </a:cubicBezTo>
                      <a:cubicBezTo>
                        <a:pt x="246" y="502"/>
                        <a:pt x="246" y="502"/>
                        <a:pt x="246" y="502"/>
                      </a:cubicBezTo>
                      <a:cubicBezTo>
                        <a:pt x="242" y="502"/>
                        <a:pt x="242" y="502"/>
                        <a:pt x="242" y="502"/>
                      </a:cubicBezTo>
                      <a:cubicBezTo>
                        <a:pt x="246" y="500"/>
                        <a:pt x="246" y="500"/>
                        <a:pt x="246" y="500"/>
                      </a:cubicBezTo>
                      <a:cubicBezTo>
                        <a:pt x="246" y="500"/>
                        <a:pt x="250" y="500"/>
                        <a:pt x="251" y="500"/>
                      </a:cubicBezTo>
                      <a:cubicBezTo>
                        <a:pt x="252" y="501"/>
                        <a:pt x="256" y="501"/>
                        <a:pt x="256" y="500"/>
                      </a:cubicBezTo>
                      <a:cubicBezTo>
                        <a:pt x="257" y="500"/>
                        <a:pt x="260" y="495"/>
                        <a:pt x="260" y="495"/>
                      </a:cubicBezTo>
                      <a:cubicBezTo>
                        <a:pt x="259" y="492"/>
                        <a:pt x="259" y="492"/>
                        <a:pt x="259" y="492"/>
                      </a:cubicBezTo>
                      <a:cubicBezTo>
                        <a:pt x="257" y="490"/>
                        <a:pt x="257" y="490"/>
                        <a:pt x="257" y="490"/>
                      </a:cubicBezTo>
                      <a:cubicBezTo>
                        <a:pt x="253" y="491"/>
                        <a:pt x="253" y="491"/>
                        <a:pt x="253" y="491"/>
                      </a:cubicBezTo>
                      <a:cubicBezTo>
                        <a:pt x="259" y="488"/>
                        <a:pt x="259" y="488"/>
                        <a:pt x="259" y="488"/>
                      </a:cubicBezTo>
                      <a:cubicBezTo>
                        <a:pt x="261" y="486"/>
                        <a:pt x="261" y="486"/>
                        <a:pt x="261" y="486"/>
                      </a:cubicBezTo>
                      <a:cubicBezTo>
                        <a:pt x="264" y="488"/>
                        <a:pt x="264" y="488"/>
                        <a:pt x="264" y="488"/>
                      </a:cubicBezTo>
                      <a:cubicBezTo>
                        <a:pt x="264" y="488"/>
                        <a:pt x="269" y="489"/>
                        <a:pt x="269" y="488"/>
                      </a:cubicBezTo>
                      <a:cubicBezTo>
                        <a:pt x="270" y="487"/>
                        <a:pt x="271" y="485"/>
                        <a:pt x="271" y="485"/>
                      </a:cubicBezTo>
                      <a:cubicBezTo>
                        <a:pt x="271" y="482"/>
                        <a:pt x="271" y="482"/>
                        <a:pt x="271" y="482"/>
                      </a:cubicBezTo>
                      <a:cubicBezTo>
                        <a:pt x="281" y="475"/>
                        <a:pt x="281" y="475"/>
                        <a:pt x="281" y="475"/>
                      </a:cubicBezTo>
                      <a:cubicBezTo>
                        <a:pt x="285" y="469"/>
                        <a:pt x="285" y="469"/>
                        <a:pt x="285" y="469"/>
                      </a:cubicBezTo>
                      <a:cubicBezTo>
                        <a:pt x="286" y="463"/>
                        <a:pt x="286" y="463"/>
                        <a:pt x="286" y="463"/>
                      </a:cubicBezTo>
                      <a:cubicBezTo>
                        <a:pt x="291" y="454"/>
                        <a:pt x="291" y="454"/>
                        <a:pt x="291" y="454"/>
                      </a:cubicBezTo>
                      <a:cubicBezTo>
                        <a:pt x="290" y="442"/>
                        <a:pt x="290" y="442"/>
                        <a:pt x="290" y="442"/>
                      </a:cubicBezTo>
                      <a:cubicBezTo>
                        <a:pt x="285" y="434"/>
                        <a:pt x="285" y="434"/>
                        <a:pt x="285" y="434"/>
                      </a:cubicBezTo>
                      <a:cubicBezTo>
                        <a:pt x="285" y="434"/>
                        <a:pt x="279" y="429"/>
                        <a:pt x="277" y="428"/>
                      </a:cubicBezTo>
                      <a:cubicBezTo>
                        <a:pt x="275" y="428"/>
                        <a:pt x="264" y="425"/>
                        <a:pt x="264" y="425"/>
                      </a:cubicBezTo>
                      <a:cubicBezTo>
                        <a:pt x="256" y="423"/>
                        <a:pt x="256" y="423"/>
                        <a:pt x="256" y="423"/>
                      </a:cubicBezTo>
                      <a:cubicBezTo>
                        <a:pt x="252" y="425"/>
                        <a:pt x="252" y="425"/>
                        <a:pt x="252" y="425"/>
                      </a:cubicBezTo>
                      <a:cubicBezTo>
                        <a:pt x="251" y="428"/>
                        <a:pt x="251" y="428"/>
                        <a:pt x="251" y="428"/>
                      </a:cubicBezTo>
                      <a:cubicBezTo>
                        <a:pt x="248" y="430"/>
                        <a:pt x="248" y="430"/>
                        <a:pt x="248" y="430"/>
                      </a:cubicBezTo>
                      <a:cubicBezTo>
                        <a:pt x="248" y="430"/>
                        <a:pt x="245" y="432"/>
                        <a:pt x="245" y="432"/>
                      </a:cubicBezTo>
                      <a:cubicBezTo>
                        <a:pt x="244" y="432"/>
                        <a:pt x="242" y="429"/>
                        <a:pt x="242" y="429"/>
                      </a:cubicBezTo>
                      <a:cubicBezTo>
                        <a:pt x="242" y="429"/>
                        <a:pt x="239" y="426"/>
                        <a:pt x="239" y="426"/>
                      </a:cubicBezTo>
                      <a:cubicBezTo>
                        <a:pt x="238" y="426"/>
                        <a:pt x="235" y="425"/>
                        <a:pt x="235" y="425"/>
                      </a:cubicBezTo>
                      <a:cubicBezTo>
                        <a:pt x="239" y="422"/>
                        <a:pt x="239" y="422"/>
                        <a:pt x="239" y="422"/>
                      </a:cubicBezTo>
                      <a:cubicBezTo>
                        <a:pt x="244" y="420"/>
                        <a:pt x="244" y="420"/>
                        <a:pt x="244" y="420"/>
                      </a:cubicBezTo>
                      <a:cubicBezTo>
                        <a:pt x="244" y="420"/>
                        <a:pt x="246" y="418"/>
                        <a:pt x="246" y="417"/>
                      </a:cubicBezTo>
                      <a:cubicBezTo>
                        <a:pt x="247" y="417"/>
                        <a:pt x="249" y="415"/>
                        <a:pt x="249" y="415"/>
                      </a:cubicBezTo>
                      <a:cubicBezTo>
                        <a:pt x="250" y="407"/>
                        <a:pt x="250" y="407"/>
                        <a:pt x="250" y="407"/>
                      </a:cubicBezTo>
                      <a:cubicBezTo>
                        <a:pt x="248" y="399"/>
                        <a:pt x="248" y="399"/>
                        <a:pt x="248" y="399"/>
                      </a:cubicBezTo>
                      <a:cubicBezTo>
                        <a:pt x="245" y="395"/>
                        <a:pt x="245" y="395"/>
                        <a:pt x="245" y="395"/>
                      </a:cubicBezTo>
                      <a:cubicBezTo>
                        <a:pt x="243" y="391"/>
                        <a:pt x="243" y="391"/>
                        <a:pt x="243" y="391"/>
                      </a:cubicBezTo>
                      <a:cubicBezTo>
                        <a:pt x="241" y="391"/>
                        <a:pt x="241" y="391"/>
                        <a:pt x="241" y="391"/>
                      </a:cubicBezTo>
                      <a:cubicBezTo>
                        <a:pt x="237" y="388"/>
                        <a:pt x="237" y="388"/>
                        <a:pt x="237" y="388"/>
                      </a:cubicBezTo>
                      <a:cubicBezTo>
                        <a:pt x="234" y="384"/>
                        <a:pt x="234" y="384"/>
                        <a:pt x="234" y="384"/>
                      </a:cubicBezTo>
                      <a:cubicBezTo>
                        <a:pt x="233" y="381"/>
                        <a:pt x="233" y="381"/>
                        <a:pt x="233" y="381"/>
                      </a:cubicBezTo>
                      <a:cubicBezTo>
                        <a:pt x="234" y="379"/>
                        <a:pt x="234" y="379"/>
                        <a:pt x="234" y="379"/>
                      </a:cubicBezTo>
                      <a:cubicBezTo>
                        <a:pt x="235" y="380"/>
                        <a:pt x="235" y="380"/>
                        <a:pt x="235" y="380"/>
                      </a:cubicBezTo>
                      <a:cubicBezTo>
                        <a:pt x="235" y="380"/>
                        <a:pt x="235" y="382"/>
                        <a:pt x="236" y="382"/>
                      </a:cubicBezTo>
                      <a:cubicBezTo>
                        <a:pt x="236" y="383"/>
                        <a:pt x="237" y="384"/>
                        <a:pt x="237" y="384"/>
                      </a:cubicBezTo>
                      <a:cubicBezTo>
                        <a:pt x="238" y="385"/>
                        <a:pt x="242" y="387"/>
                        <a:pt x="242" y="387"/>
                      </a:cubicBezTo>
                      <a:cubicBezTo>
                        <a:pt x="244" y="387"/>
                        <a:pt x="244" y="387"/>
                        <a:pt x="244" y="387"/>
                      </a:cubicBezTo>
                      <a:cubicBezTo>
                        <a:pt x="246" y="390"/>
                        <a:pt x="246" y="390"/>
                        <a:pt x="246" y="390"/>
                      </a:cubicBezTo>
                      <a:cubicBezTo>
                        <a:pt x="246" y="390"/>
                        <a:pt x="247" y="387"/>
                        <a:pt x="247" y="387"/>
                      </a:cubicBezTo>
                      <a:cubicBezTo>
                        <a:pt x="247" y="386"/>
                        <a:pt x="244" y="382"/>
                        <a:pt x="244" y="382"/>
                      </a:cubicBezTo>
                      <a:cubicBezTo>
                        <a:pt x="243" y="382"/>
                        <a:pt x="242" y="378"/>
                        <a:pt x="242" y="378"/>
                      </a:cubicBezTo>
                      <a:cubicBezTo>
                        <a:pt x="241" y="377"/>
                        <a:pt x="239" y="371"/>
                        <a:pt x="239" y="371"/>
                      </a:cubicBezTo>
                      <a:cubicBezTo>
                        <a:pt x="239" y="371"/>
                        <a:pt x="238" y="369"/>
                        <a:pt x="238" y="368"/>
                      </a:cubicBezTo>
                      <a:cubicBezTo>
                        <a:pt x="238" y="368"/>
                        <a:pt x="238" y="363"/>
                        <a:pt x="238" y="363"/>
                      </a:cubicBezTo>
                      <a:cubicBezTo>
                        <a:pt x="240" y="362"/>
                        <a:pt x="240" y="362"/>
                        <a:pt x="240" y="362"/>
                      </a:cubicBezTo>
                      <a:cubicBezTo>
                        <a:pt x="242" y="360"/>
                        <a:pt x="242" y="360"/>
                        <a:pt x="242" y="360"/>
                      </a:cubicBezTo>
                      <a:cubicBezTo>
                        <a:pt x="242" y="360"/>
                        <a:pt x="241" y="360"/>
                        <a:pt x="241" y="359"/>
                      </a:cubicBezTo>
                      <a:cubicBezTo>
                        <a:pt x="240" y="357"/>
                        <a:pt x="238" y="355"/>
                        <a:pt x="238" y="355"/>
                      </a:cubicBezTo>
                      <a:cubicBezTo>
                        <a:pt x="238" y="355"/>
                        <a:pt x="236" y="354"/>
                        <a:pt x="235" y="353"/>
                      </a:cubicBezTo>
                      <a:cubicBezTo>
                        <a:pt x="235" y="351"/>
                        <a:pt x="234" y="349"/>
                        <a:pt x="234" y="349"/>
                      </a:cubicBezTo>
                      <a:cubicBezTo>
                        <a:pt x="234" y="348"/>
                        <a:pt x="233" y="342"/>
                        <a:pt x="233" y="342"/>
                      </a:cubicBezTo>
                      <a:cubicBezTo>
                        <a:pt x="228" y="337"/>
                        <a:pt x="228" y="337"/>
                        <a:pt x="228" y="337"/>
                      </a:cubicBezTo>
                      <a:cubicBezTo>
                        <a:pt x="228" y="337"/>
                        <a:pt x="226" y="335"/>
                        <a:pt x="225" y="334"/>
                      </a:cubicBezTo>
                      <a:cubicBezTo>
                        <a:pt x="225" y="334"/>
                        <a:pt x="222" y="333"/>
                        <a:pt x="222" y="333"/>
                      </a:cubicBezTo>
                      <a:cubicBezTo>
                        <a:pt x="221" y="333"/>
                        <a:pt x="216" y="330"/>
                        <a:pt x="216" y="330"/>
                      </a:cubicBezTo>
                      <a:cubicBezTo>
                        <a:pt x="216" y="330"/>
                        <a:pt x="212" y="325"/>
                        <a:pt x="212" y="324"/>
                      </a:cubicBezTo>
                      <a:cubicBezTo>
                        <a:pt x="212" y="323"/>
                        <a:pt x="210" y="317"/>
                        <a:pt x="210" y="317"/>
                      </a:cubicBezTo>
                      <a:cubicBezTo>
                        <a:pt x="210" y="313"/>
                        <a:pt x="210" y="313"/>
                        <a:pt x="210" y="313"/>
                      </a:cubicBezTo>
                      <a:cubicBezTo>
                        <a:pt x="208" y="305"/>
                        <a:pt x="208" y="305"/>
                        <a:pt x="208" y="305"/>
                      </a:cubicBezTo>
                      <a:cubicBezTo>
                        <a:pt x="207" y="297"/>
                        <a:pt x="207" y="297"/>
                        <a:pt x="207" y="297"/>
                      </a:cubicBezTo>
                      <a:cubicBezTo>
                        <a:pt x="207" y="289"/>
                        <a:pt x="207" y="289"/>
                        <a:pt x="207" y="289"/>
                      </a:cubicBezTo>
                      <a:cubicBezTo>
                        <a:pt x="207" y="282"/>
                        <a:pt x="207" y="282"/>
                        <a:pt x="207" y="282"/>
                      </a:cubicBezTo>
                      <a:cubicBezTo>
                        <a:pt x="207" y="276"/>
                        <a:pt x="207" y="276"/>
                        <a:pt x="207" y="276"/>
                      </a:cubicBezTo>
                      <a:cubicBezTo>
                        <a:pt x="202" y="270"/>
                        <a:pt x="202" y="270"/>
                        <a:pt x="202" y="270"/>
                      </a:cubicBezTo>
                      <a:cubicBezTo>
                        <a:pt x="200" y="264"/>
                        <a:pt x="200" y="264"/>
                        <a:pt x="200" y="264"/>
                      </a:cubicBezTo>
                      <a:cubicBezTo>
                        <a:pt x="194" y="258"/>
                        <a:pt x="194" y="258"/>
                        <a:pt x="194" y="258"/>
                      </a:cubicBezTo>
                      <a:cubicBezTo>
                        <a:pt x="190" y="253"/>
                        <a:pt x="190" y="253"/>
                        <a:pt x="190" y="253"/>
                      </a:cubicBezTo>
                      <a:cubicBezTo>
                        <a:pt x="187" y="252"/>
                        <a:pt x="187" y="252"/>
                        <a:pt x="187" y="252"/>
                      </a:cubicBezTo>
                      <a:cubicBezTo>
                        <a:pt x="182" y="246"/>
                        <a:pt x="182" y="246"/>
                        <a:pt x="182" y="246"/>
                      </a:cubicBezTo>
                      <a:cubicBezTo>
                        <a:pt x="178" y="245"/>
                        <a:pt x="178" y="245"/>
                        <a:pt x="178" y="245"/>
                      </a:cubicBezTo>
                      <a:cubicBezTo>
                        <a:pt x="174" y="247"/>
                        <a:pt x="174" y="247"/>
                        <a:pt x="174" y="247"/>
                      </a:cubicBezTo>
                      <a:cubicBezTo>
                        <a:pt x="170" y="248"/>
                        <a:pt x="170" y="248"/>
                        <a:pt x="170" y="248"/>
                      </a:cubicBezTo>
                      <a:cubicBezTo>
                        <a:pt x="166" y="249"/>
                        <a:pt x="166" y="249"/>
                        <a:pt x="166" y="249"/>
                      </a:cubicBezTo>
                      <a:cubicBezTo>
                        <a:pt x="159" y="246"/>
                        <a:pt x="159" y="246"/>
                        <a:pt x="159" y="246"/>
                      </a:cubicBezTo>
                      <a:cubicBezTo>
                        <a:pt x="156" y="243"/>
                        <a:pt x="156" y="243"/>
                        <a:pt x="156" y="243"/>
                      </a:cubicBezTo>
                      <a:cubicBezTo>
                        <a:pt x="152" y="242"/>
                        <a:pt x="152" y="242"/>
                        <a:pt x="152" y="242"/>
                      </a:cubicBezTo>
                      <a:cubicBezTo>
                        <a:pt x="150" y="242"/>
                        <a:pt x="150" y="242"/>
                        <a:pt x="150" y="242"/>
                      </a:cubicBezTo>
                      <a:cubicBezTo>
                        <a:pt x="150" y="242"/>
                        <a:pt x="150" y="241"/>
                        <a:pt x="150" y="241"/>
                      </a:cubicBezTo>
                      <a:cubicBezTo>
                        <a:pt x="150" y="241"/>
                        <a:pt x="152" y="241"/>
                        <a:pt x="152" y="241"/>
                      </a:cubicBezTo>
                      <a:cubicBezTo>
                        <a:pt x="152" y="241"/>
                        <a:pt x="154" y="242"/>
                        <a:pt x="155" y="242"/>
                      </a:cubicBezTo>
                      <a:cubicBezTo>
                        <a:pt x="155" y="242"/>
                        <a:pt x="158" y="243"/>
                        <a:pt x="158" y="243"/>
                      </a:cubicBezTo>
                      <a:cubicBezTo>
                        <a:pt x="158" y="243"/>
                        <a:pt x="159" y="244"/>
                        <a:pt x="160" y="244"/>
                      </a:cubicBezTo>
                      <a:cubicBezTo>
                        <a:pt x="161" y="244"/>
                        <a:pt x="164" y="244"/>
                        <a:pt x="164" y="244"/>
                      </a:cubicBezTo>
                      <a:cubicBezTo>
                        <a:pt x="167" y="242"/>
                        <a:pt x="167" y="242"/>
                        <a:pt x="167" y="242"/>
                      </a:cubicBezTo>
                      <a:cubicBezTo>
                        <a:pt x="168" y="239"/>
                        <a:pt x="168" y="239"/>
                        <a:pt x="168" y="239"/>
                      </a:cubicBezTo>
                      <a:cubicBezTo>
                        <a:pt x="171" y="238"/>
                        <a:pt x="171" y="238"/>
                        <a:pt x="171" y="238"/>
                      </a:cubicBezTo>
                      <a:cubicBezTo>
                        <a:pt x="173" y="237"/>
                        <a:pt x="173" y="237"/>
                        <a:pt x="173" y="237"/>
                      </a:cubicBezTo>
                      <a:cubicBezTo>
                        <a:pt x="175" y="237"/>
                        <a:pt x="175" y="237"/>
                        <a:pt x="175" y="237"/>
                      </a:cubicBezTo>
                      <a:cubicBezTo>
                        <a:pt x="175" y="237"/>
                        <a:pt x="176" y="239"/>
                        <a:pt x="178" y="238"/>
                      </a:cubicBezTo>
                      <a:cubicBezTo>
                        <a:pt x="180" y="238"/>
                        <a:pt x="181" y="237"/>
                        <a:pt x="181" y="237"/>
                      </a:cubicBezTo>
                      <a:cubicBezTo>
                        <a:pt x="181" y="237"/>
                        <a:pt x="185" y="235"/>
                        <a:pt x="184" y="235"/>
                      </a:cubicBezTo>
                      <a:cubicBezTo>
                        <a:pt x="184" y="234"/>
                        <a:pt x="184" y="233"/>
                        <a:pt x="183" y="233"/>
                      </a:cubicBezTo>
                      <a:cubicBezTo>
                        <a:pt x="183" y="232"/>
                        <a:pt x="181" y="230"/>
                        <a:pt x="181" y="230"/>
                      </a:cubicBezTo>
                      <a:cubicBezTo>
                        <a:pt x="181" y="230"/>
                        <a:pt x="180" y="230"/>
                        <a:pt x="180" y="229"/>
                      </a:cubicBezTo>
                      <a:cubicBezTo>
                        <a:pt x="180" y="228"/>
                        <a:pt x="180" y="226"/>
                        <a:pt x="180" y="226"/>
                      </a:cubicBezTo>
                      <a:cubicBezTo>
                        <a:pt x="178" y="224"/>
                        <a:pt x="178" y="224"/>
                        <a:pt x="178" y="224"/>
                      </a:cubicBezTo>
                      <a:cubicBezTo>
                        <a:pt x="178" y="224"/>
                        <a:pt x="177" y="224"/>
                        <a:pt x="176" y="224"/>
                      </a:cubicBezTo>
                      <a:cubicBezTo>
                        <a:pt x="175" y="224"/>
                        <a:pt x="174" y="225"/>
                        <a:pt x="174" y="225"/>
                      </a:cubicBezTo>
                      <a:cubicBezTo>
                        <a:pt x="170" y="226"/>
                        <a:pt x="170" y="226"/>
                        <a:pt x="170" y="226"/>
                      </a:cubicBezTo>
                      <a:cubicBezTo>
                        <a:pt x="165" y="227"/>
                        <a:pt x="165" y="227"/>
                        <a:pt x="165" y="227"/>
                      </a:cubicBezTo>
                      <a:cubicBezTo>
                        <a:pt x="165" y="226"/>
                        <a:pt x="165" y="226"/>
                        <a:pt x="165" y="226"/>
                      </a:cubicBezTo>
                      <a:cubicBezTo>
                        <a:pt x="170" y="225"/>
                        <a:pt x="170" y="225"/>
                        <a:pt x="170" y="225"/>
                      </a:cubicBezTo>
                      <a:cubicBezTo>
                        <a:pt x="173" y="223"/>
                        <a:pt x="173" y="223"/>
                        <a:pt x="173" y="223"/>
                      </a:cubicBezTo>
                      <a:cubicBezTo>
                        <a:pt x="173" y="223"/>
                        <a:pt x="173" y="222"/>
                        <a:pt x="174" y="222"/>
                      </a:cubicBezTo>
                      <a:cubicBezTo>
                        <a:pt x="175" y="222"/>
                        <a:pt x="178" y="223"/>
                        <a:pt x="178" y="223"/>
                      </a:cubicBezTo>
                      <a:cubicBezTo>
                        <a:pt x="179" y="223"/>
                        <a:pt x="183" y="223"/>
                        <a:pt x="183" y="223"/>
                      </a:cubicBezTo>
                      <a:cubicBezTo>
                        <a:pt x="183" y="223"/>
                        <a:pt x="186" y="221"/>
                        <a:pt x="186" y="220"/>
                      </a:cubicBezTo>
                      <a:cubicBezTo>
                        <a:pt x="187" y="220"/>
                        <a:pt x="191" y="218"/>
                        <a:pt x="191" y="218"/>
                      </a:cubicBezTo>
                      <a:cubicBezTo>
                        <a:pt x="191" y="215"/>
                        <a:pt x="191" y="215"/>
                        <a:pt x="191" y="215"/>
                      </a:cubicBezTo>
                      <a:cubicBezTo>
                        <a:pt x="191" y="215"/>
                        <a:pt x="192" y="212"/>
                        <a:pt x="193" y="212"/>
                      </a:cubicBezTo>
                      <a:cubicBezTo>
                        <a:pt x="193" y="212"/>
                        <a:pt x="197" y="209"/>
                        <a:pt x="197" y="209"/>
                      </a:cubicBezTo>
                      <a:cubicBezTo>
                        <a:pt x="201" y="205"/>
                        <a:pt x="201" y="205"/>
                        <a:pt x="201" y="205"/>
                      </a:cubicBezTo>
                      <a:cubicBezTo>
                        <a:pt x="203" y="200"/>
                        <a:pt x="203" y="200"/>
                        <a:pt x="203" y="200"/>
                      </a:cubicBezTo>
                      <a:cubicBezTo>
                        <a:pt x="205" y="196"/>
                        <a:pt x="205" y="196"/>
                        <a:pt x="205" y="196"/>
                      </a:cubicBezTo>
                      <a:cubicBezTo>
                        <a:pt x="205" y="196"/>
                        <a:pt x="209" y="193"/>
                        <a:pt x="208" y="192"/>
                      </a:cubicBezTo>
                      <a:cubicBezTo>
                        <a:pt x="208" y="190"/>
                        <a:pt x="208" y="187"/>
                        <a:pt x="208" y="187"/>
                      </a:cubicBezTo>
                      <a:cubicBezTo>
                        <a:pt x="208" y="187"/>
                        <a:pt x="211" y="185"/>
                        <a:pt x="212" y="184"/>
                      </a:cubicBezTo>
                      <a:cubicBezTo>
                        <a:pt x="212" y="183"/>
                        <a:pt x="219" y="178"/>
                        <a:pt x="219" y="178"/>
                      </a:cubicBezTo>
                      <a:cubicBezTo>
                        <a:pt x="220" y="173"/>
                        <a:pt x="220" y="173"/>
                        <a:pt x="220" y="173"/>
                      </a:cubicBezTo>
                      <a:cubicBezTo>
                        <a:pt x="219" y="171"/>
                        <a:pt x="219" y="171"/>
                        <a:pt x="219" y="171"/>
                      </a:cubicBezTo>
                      <a:cubicBezTo>
                        <a:pt x="218" y="168"/>
                        <a:pt x="218" y="168"/>
                        <a:pt x="218" y="168"/>
                      </a:cubicBezTo>
                      <a:cubicBezTo>
                        <a:pt x="216" y="165"/>
                        <a:pt x="216" y="165"/>
                        <a:pt x="216" y="165"/>
                      </a:cubicBezTo>
                      <a:cubicBezTo>
                        <a:pt x="214" y="162"/>
                        <a:pt x="214" y="162"/>
                        <a:pt x="214" y="162"/>
                      </a:cubicBezTo>
                      <a:cubicBezTo>
                        <a:pt x="210" y="162"/>
                        <a:pt x="210" y="162"/>
                        <a:pt x="210" y="162"/>
                      </a:cubicBezTo>
                      <a:cubicBezTo>
                        <a:pt x="210" y="162"/>
                        <a:pt x="209" y="164"/>
                        <a:pt x="209" y="163"/>
                      </a:cubicBezTo>
                      <a:cubicBezTo>
                        <a:pt x="208" y="163"/>
                        <a:pt x="206" y="161"/>
                        <a:pt x="206" y="161"/>
                      </a:cubicBezTo>
                      <a:cubicBezTo>
                        <a:pt x="202" y="162"/>
                        <a:pt x="202" y="162"/>
                        <a:pt x="202" y="162"/>
                      </a:cubicBezTo>
                      <a:cubicBezTo>
                        <a:pt x="197" y="161"/>
                        <a:pt x="197" y="161"/>
                        <a:pt x="197" y="161"/>
                      </a:cubicBezTo>
                      <a:cubicBezTo>
                        <a:pt x="196" y="159"/>
                        <a:pt x="196" y="159"/>
                        <a:pt x="196" y="159"/>
                      </a:cubicBezTo>
                      <a:cubicBezTo>
                        <a:pt x="192" y="159"/>
                        <a:pt x="192" y="159"/>
                        <a:pt x="192" y="159"/>
                      </a:cubicBezTo>
                      <a:cubicBezTo>
                        <a:pt x="190" y="158"/>
                        <a:pt x="190" y="158"/>
                        <a:pt x="190" y="158"/>
                      </a:cubicBezTo>
                      <a:cubicBezTo>
                        <a:pt x="186" y="159"/>
                        <a:pt x="186" y="159"/>
                        <a:pt x="186" y="159"/>
                      </a:cubicBezTo>
                      <a:cubicBezTo>
                        <a:pt x="183" y="159"/>
                        <a:pt x="183" y="159"/>
                        <a:pt x="183" y="159"/>
                      </a:cubicBezTo>
                      <a:cubicBezTo>
                        <a:pt x="181" y="158"/>
                        <a:pt x="181" y="158"/>
                        <a:pt x="181" y="158"/>
                      </a:cubicBezTo>
                      <a:cubicBezTo>
                        <a:pt x="178" y="155"/>
                        <a:pt x="178" y="155"/>
                        <a:pt x="178" y="155"/>
                      </a:cubicBezTo>
                      <a:cubicBezTo>
                        <a:pt x="172" y="155"/>
                        <a:pt x="172" y="155"/>
                        <a:pt x="172" y="155"/>
                      </a:cubicBezTo>
                      <a:cubicBezTo>
                        <a:pt x="171" y="157"/>
                        <a:pt x="171" y="157"/>
                        <a:pt x="171" y="157"/>
                      </a:cubicBezTo>
                      <a:cubicBezTo>
                        <a:pt x="167" y="157"/>
                        <a:pt x="167" y="157"/>
                        <a:pt x="167" y="157"/>
                      </a:cubicBezTo>
                      <a:cubicBezTo>
                        <a:pt x="167" y="157"/>
                        <a:pt x="166" y="157"/>
                        <a:pt x="165" y="157"/>
                      </a:cubicBezTo>
                      <a:cubicBezTo>
                        <a:pt x="165" y="157"/>
                        <a:pt x="163" y="158"/>
                        <a:pt x="163" y="158"/>
                      </a:cubicBezTo>
                      <a:cubicBezTo>
                        <a:pt x="161" y="159"/>
                        <a:pt x="161" y="159"/>
                        <a:pt x="161" y="159"/>
                      </a:cubicBezTo>
                      <a:cubicBezTo>
                        <a:pt x="159" y="159"/>
                        <a:pt x="159" y="159"/>
                        <a:pt x="159" y="159"/>
                      </a:cubicBezTo>
                      <a:cubicBezTo>
                        <a:pt x="155" y="158"/>
                        <a:pt x="155" y="158"/>
                        <a:pt x="155" y="158"/>
                      </a:cubicBezTo>
                      <a:cubicBezTo>
                        <a:pt x="153" y="161"/>
                        <a:pt x="153" y="161"/>
                        <a:pt x="153" y="161"/>
                      </a:cubicBezTo>
                      <a:cubicBezTo>
                        <a:pt x="150" y="162"/>
                        <a:pt x="150" y="162"/>
                        <a:pt x="150" y="162"/>
                      </a:cubicBezTo>
                      <a:cubicBezTo>
                        <a:pt x="147" y="165"/>
                        <a:pt x="147" y="165"/>
                        <a:pt x="147" y="165"/>
                      </a:cubicBezTo>
                      <a:cubicBezTo>
                        <a:pt x="148" y="162"/>
                        <a:pt x="148" y="162"/>
                        <a:pt x="148" y="162"/>
                      </a:cubicBezTo>
                      <a:cubicBezTo>
                        <a:pt x="150" y="160"/>
                        <a:pt x="150" y="160"/>
                        <a:pt x="150" y="160"/>
                      </a:cubicBezTo>
                      <a:cubicBezTo>
                        <a:pt x="153" y="159"/>
                        <a:pt x="153" y="159"/>
                        <a:pt x="153" y="159"/>
                      </a:cubicBezTo>
                      <a:cubicBezTo>
                        <a:pt x="155" y="156"/>
                        <a:pt x="155" y="156"/>
                        <a:pt x="155" y="156"/>
                      </a:cubicBezTo>
                      <a:cubicBezTo>
                        <a:pt x="155" y="156"/>
                        <a:pt x="157" y="155"/>
                        <a:pt x="157" y="154"/>
                      </a:cubicBezTo>
                      <a:cubicBezTo>
                        <a:pt x="158" y="154"/>
                        <a:pt x="160" y="152"/>
                        <a:pt x="160" y="152"/>
                      </a:cubicBezTo>
                      <a:cubicBezTo>
                        <a:pt x="157" y="151"/>
                        <a:pt x="157" y="151"/>
                        <a:pt x="157" y="151"/>
                      </a:cubicBezTo>
                      <a:cubicBezTo>
                        <a:pt x="154" y="153"/>
                        <a:pt x="154" y="153"/>
                        <a:pt x="154" y="153"/>
                      </a:cubicBezTo>
                      <a:cubicBezTo>
                        <a:pt x="154" y="153"/>
                        <a:pt x="153" y="153"/>
                        <a:pt x="152" y="153"/>
                      </a:cubicBezTo>
                      <a:cubicBezTo>
                        <a:pt x="152" y="153"/>
                        <a:pt x="149" y="154"/>
                        <a:pt x="149" y="154"/>
                      </a:cubicBezTo>
                      <a:cubicBezTo>
                        <a:pt x="143" y="156"/>
                        <a:pt x="143" y="156"/>
                        <a:pt x="143" y="156"/>
                      </a:cubicBezTo>
                      <a:cubicBezTo>
                        <a:pt x="149" y="153"/>
                        <a:pt x="149" y="153"/>
                        <a:pt x="149" y="153"/>
                      </a:cubicBezTo>
                      <a:cubicBezTo>
                        <a:pt x="149" y="153"/>
                        <a:pt x="151" y="152"/>
                        <a:pt x="152" y="151"/>
                      </a:cubicBezTo>
                      <a:cubicBezTo>
                        <a:pt x="153" y="151"/>
                        <a:pt x="155" y="150"/>
                        <a:pt x="155" y="150"/>
                      </a:cubicBezTo>
                      <a:cubicBezTo>
                        <a:pt x="156" y="150"/>
                        <a:pt x="158" y="149"/>
                        <a:pt x="158" y="149"/>
                      </a:cubicBezTo>
                      <a:cubicBezTo>
                        <a:pt x="159" y="150"/>
                        <a:pt x="161" y="151"/>
                        <a:pt x="162" y="150"/>
                      </a:cubicBezTo>
                      <a:cubicBezTo>
                        <a:pt x="162" y="150"/>
                        <a:pt x="163" y="148"/>
                        <a:pt x="164" y="148"/>
                      </a:cubicBezTo>
                      <a:cubicBezTo>
                        <a:pt x="164" y="147"/>
                        <a:pt x="166" y="145"/>
                        <a:pt x="166" y="145"/>
                      </a:cubicBezTo>
                      <a:cubicBezTo>
                        <a:pt x="160" y="145"/>
                        <a:pt x="160" y="145"/>
                        <a:pt x="160" y="145"/>
                      </a:cubicBezTo>
                      <a:cubicBezTo>
                        <a:pt x="160" y="145"/>
                        <a:pt x="159" y="146"/>
                        <a:pt x="158" y="146"/>
                      </a:cubicBezTo>
                      <a:cubicBezTo>
                        <a:pt x="157" y="145"/>
                        <a:pt x="155" y="145"/>
                        <a:pt x="154" y="144"/>
                      </a:cubicBezTo>
                      <a:cubicBezTo>
                        <a:pt x="154" y="144"/>
                        <a:pt x="153" y="143"/>
                        <a:pt x="153" y="143"/>
                      </a:cubicBezTo>
                      <a:cubicBezTo>
                        <a:pt x="152" y="143"/>
                        <a:pt x="150" y="141"/>
                        <a:pt x="150" y="141"/>
                      </a:cubicBezTo>
                      <a:cubicBezTo>
                        <a:pt x="151" y="140"/>
                        <a:pt x="151" y="140"/>
                        <a:pt x="151" y="140"/>
                      </a:cubicBezTo>
                      <a:cubicBezTo>
                        <a:pt x="153" y="142"/>
                        <a:pt x="153" y="142"/>
                        <a:pt x="153" y="142"/>
                      </a:cubicBezTo>
                      <a:cubicBezTo>
                        <a:pt x="153" y="142"/>
                        <a:pt x="154" y="143"/>
                        <a:pt x="155" y="143"/>
                      </a:cubicBezTo>
                      <a:cubicBezTo>
                        <a:pt x="156" y="143"/>
                        <a:pt x="157" y="142"/>
                        <a:pt x="159" y="142"/>
                      </a:cubicBezTo>
                      <a:cubicBezTo>
                        <a:pt x="160" y="143"/>
                        <a:pt x="162" y="140"/>
                        <a:pt x="162" y="140"/>
                      </a:cubicBezTo>
                      <a:cubicBezTo>
                        <a:pt x="162" y="140"/>
                        <a:pt x="160" y="140"/>
                        <a:pt x="163" y="139"/>
                      </a:cubicBezTo>
                      <a:cubicBezTo>
                        <a:pt x="165" y="137"/>
                        <a:pt x="164" y="138"/>
                        <a:pt x="166" y="136"/>
                      </a:cubicBezTo>
                      <a:cubicBezTo>
                        <a:pt x="168" y="135"/>
                        <a:pt x="173" y="132"/>
                        <a:pt x="173" y="132"/>
                      </a:cubicBezTo>
                      <a:cubicBezTo>
                        <a:pt x="179" y="130"/>
                        <a:pt x="179" y="130"/>
                        <a:pt x="179" y="130"/>
                      </a:cubicBezTo>
                      <a:cubicBezTo>
                        <a:pt x="183" y="125"/>
                        <a:pt x="183" y="125"/>
                        <a:pt x="183" y="125"/>
                      </a:cubicBezTo>
                      <a:cubicBezTo>
                        <a:pt x="186" y="125"/>
                        <a:pt x="186" y="125"/>
                        <a:pt x="186" y="125"/>
                      </a:cubicBezTo>
                      <a:cubicBezTo>
                        <a:pt x="190" y="121"/>
                        <a:pt x="190" y="121"/>
                        <a:pt x="190" y="121"/>
                      </a:cubicBezTo>
                      <a:cubicBezTo>
                        <a:pt x="192" y="119"/>
                        <a:pt x="192" y="119"/>
                        <a:pt x="192" y="119"/>
                      </a:cubicBezTo>
                      <a:cubicBezTo>
                        <a:pt x="191" y="114"/>
                        <a:pt x="191" y="114"/>
                        <a:pt x="191" y="114"/>
                      </a:cubicBezTo>
                      <a:cubicBezTo>
                        <a:pt x="193" y="110"/>
                        <a:pt x="193" y="110"/>
                        <a:pt x="193" y="110"/>
                      </a:cubicBezTo>
                      <a:cubicBezTo>
                        <a:pt x="193" y="107"/>
                        <a:pt x="193" y="107"/>
                        <a:pt x="193" y="107"/>
                      </a:cubicBezTo>
                      <a:cubicBezTo>
                        <a:pt x="190" y="106"/>
                        <a:pt x="190" y="106"/>
                        <a:pt x="190" y="106"/>
                      </a:cubicBezTo>
                      <a:cubicBezTo>
                        <a:pt x="184" y="106"/>
                        <a:pt x="184" y="106"/>
                        <a:pt x="184" y="106"/>
                      </a:cubicBezTo>
                      <a:cubicBezTo>
                        <a:pt x="184" y="106"/>
                        <a:pt x="183" y="109"/>
                        <a:pt x="182" y="108"/>
                      </a:cubicBezTo>
                      <a:cubicBezTo>
                        <a:pt x="182" y="108"/>
                        <a:pt x="178" y="105"/>
                        <a:pt x="177" y="105"/>
                      </a:cubicBezTo>
                      <a:cubicBezTo>
                        <a:pt x="177" y="105"/>
                        <a:pt x="173" y="108"/>
                        <a:pt x="173" y="108"/>
                      </a:cubicBezTo>
                      <a:cubicBezTo>
                        <a:pt x="171" y="108"/>
                        <a:pt x="171" y="108"/>
                        <a:pt x="171" y="108"/>
                      </a:cubicBezTo>
                      <a:cubicBezTo>
                        <a:pt x="171" y="108"/>
                        <a:pt x="170" y="108"/>
                        <a:pt x="168" y="108"/>
                      </a:cubicBezTo>
                      <a:cubicBezTo>
                        <a:pt x="166" y="107"/>
                        <a:pt x="162" y="106"/>
                        <a:pt x="162" y="106"/>
                      </a:cubicBezTo>
                      <a:cubicBezTo>
                        <a:pt x="159" y="108"/>
                        <a:pt x="159" y="108"/>
                        <a:pt x="159" y="108"/>
                      </a:cubicBezTo>
                      <a:cubicBezTo>
                        <a:pt x="157" y="107"/>
                        <a:pt x="157" y="107"/>
                        <a:pt x="157" y="107"/>
                      </a:cubicBezTo>
                      <a:cubicBezTo>
                        <a:pt x="153" y="110"/>
                        <a:pt x="153" y="110"/>
                        <a:pt x="153" y="110"/>
                      </a:cubicBezTo>
                      <a:cubicBezTo>
                        <a:pt x="153" y="108"/>
                        <a:pt x="153" y="108"/>
                        <a:pt x="153" y="108"/>
                      </a:cubicBezTo>
                      <a:cubicBezTo>
                        <a:pt x="155" y="105"/>
                        <a:pt x="155" y="105"/>
                        <a:pt x="155" y="105"/>
                      </a:cubicBezTo>
                      <a:cubicBezTo>
                        <a:pt x="155" y="105"/>
                        <a:pt x="154" y="104"/>
                        <a:pt x="153" y="104"/>
                      </a:cubicBezTo>
                      <a:cubicBezTo>
                        <a:pt x="153" y="104"/>
                        <a:pt x="151" y="103"/>
                        <a:pt x="151" y="103"/>
                      </a:cubicBezTo>
                      <a:cubicBezTo>
                        <a:pt x="149" y="106"/>
                        <a:pt x="149" y="106"/>
                        <a:pt x="149" y="106"/>
                      </a:cubicBezTo>
                      <a:cubicBezTo>
                        <a:pt x="145" y="108"/>
                        <a:pt x="145" y="108"/>
                        <a:pt x="145" y="108"/>
                      </a:cubicBezTo>
                      <a:cubicBezTo>
                        <a:pt x="146" y="107"/>
                        <a:pt x="146" y="107"/>
                        <a:pt x="146" y="107"/>
                      </a:cubicBezTo>
                      <a:cubicBezTo>
                        <a:pt x="149" y="105"/>
                        <a:pt x="149" y="105"/>
                        <a:pt x="149" y="105"/>
                      </a:cubicBezTo>
                      <a:cubicBezTo>
                        <a:pt x="149" y="103"/>
                        <a:pt x="149" y="103"/>
                        <a:pt x="149" y="103"/>
                      </a:cubicBezTo>
                      <a:cubicBezTo>
                        <a:pt x="149" y="103"/>
                        <a:pt x="148" y="103"/>
                        <a:pt x="148" y="103"/>
                      </a:cubicBezTo>
                      <a:cubicBezTo>
                        <a:pt x="147" y="103"/>
                        <a:pt x="146" y="102"/>
                        <a:pt x="146" y="102"/>
                      </a:cubicBezTo>
                      <a:cubicBezTo>
                        <a:pt x="144" y="101"/>
                        <a:pt x="144" y="101"/>
                        <a:pt x="144" y="101"/>
                      </a:cubicBezTo>
                      <a:cubicBezTo>
                        <a:pt x="143" y="99"/>
                        <a:pt x="143" y="99"/>
                        <a:pt x="143" y="99"/>
                      </a:cubicBezTo>
                      <a:cubicBezTo>
                        <a:pt x="140" y="100"/>
                        <a:pt x="140" y="100"/>
                        <a:pt x="140" y="100"/>
                      </a:cubicBezTo>
                      <a:cubicBezTo>
                        <a:pt x="139" y="102"/>
                        <a:pt x="139" y="102"/>
                        <a:pt x="139" y="102"/>
                      </a:cubicBezTo>
                      <a:cubicBezTo>
                        <a:pt x="137" y="103"/>
                        <a:pt x="137" y="103"/>
                        <a:pt x="137" y="103"/>
                      </a:cubicBezTo>
                      <a:cubicBezTo>
                        <a:pt x="135" y="103"/>
                        <a:pt x="135" y="103"/>
                        <a:pt x="135" y="103"/>
                      </a:cubicBezTo>
                      <a:cubicBezTo>
                        <a:pt x="136" y="106"/>
                        <a:pt x="136" y="106"/>
                        <a:pt x="136" y="106"/>
                      </a:cubicBezTo>
                      <a:cubicBezTo>
                        <a:pt x="135" y="109"/>
                        <a:pt x="135" y="109"/>
                        <a:pt x="135" y="109"/>
                      </a:cubicBezTo>
                      <a:cubicBezTo>
                        <a:pt x="132" y="109"/>
                        <a:pt x="132" y="109"/>
                        <a:pt x="132" y="109"/>
                      </a:cubicBezTo>
                      <a:cubicBezTo>
                        <a:pt x="132" y="109"/>
                        <a:pt x="132" y="113"/>
                        <a:pt x="133" y="113"/>
                      </a:cubicBezTo>
                      <a:cubicBezTo>
                        <a:pt x="133" y="113"/>
                        <a:pt x="134" y="115"/>
                        <a:pt x="134" y="115"/>
                      </a:cubicBezTo>
                      <a:cubicBezTo>
                        <a:pt x="134" y="117"/>
                        <a:pt x="134" y="117"/>
                        <a:pt x="134" y="117"/>
                      </a:cubicBezTo>
                      <a:cubicBezTo>
                        <a:pt x="135" y="118"/>
                        <a:pt x="135" y="118"/>
                        <a:pt x="135" y="118"/>
                      </a:cubicBezTo>
                      <a:cubicBezTo>
                        <a:pt x="135" y="118"/>
                        <a:pt x="134" y="118"/>
                        <a:pt x="133" y="118"/>
                      </a:cubicBezTo>
                      <a:cubicBezTo>
                        <a:pt x="133" y="118"/>
                        <a:pt x="132" y="116"/>
                        <a:pt x="132" y="116"/>
                      </a:cubicBezTo>
                      <a:cubicBezTo>
                        <a:pt x="128" y="116"/>
                        <a:pt x="128" y="116"/>
                        <a:pt x="128" y="116"/>
                      </a:cubicBezTo>
                      <a:cubicBezTo>
                        <a:pt x="127" y="116"/>
                        <a:pt x="127" y="116"/>
                        <a:pt x="127" y="116"/>
                      </a:cubicBezTo>
                      <a:cubicBezTo>
                        <a:pt x="126" y="119"/>
                        <a:pt x="126" y="119"/>
                        <a:pt x="126" y="119"/>
                      </a:cubicBezTo>
                      <a:cubicBezTo>
                        <a:pt x="127" y="122"/>
                        <a:pt x="127" y="122"/>
                        <a:pt x="127" y="122"/>
                      </a:cubicBezTo>
                      <a:cubicBezTo>
                        <a:pt x="126" y="124"/>
                        <a:pt x="126" y="124"/>
                        <a:pt x="126" y="124"/>
                      </a:cubicBezTo>
                      <a:cubicBezTo>
                        <a:pt x="125" y="125"/>
                        <a:pt x="125" y="125"/>
                        <a:pt x="125" y="125"/>
                      </a:cubicBezTo>
                      <a:cubicBezTo>
                        <a:pt x="125" y="125"/>
                        <a:pt x="123" y="127"/>
                        <a:pt x="123" y="127"/>
                      </a:cubicBezTo>
                      <a:cubicBezTo>
                        <a:pt x="123" y="128"/>
                        <a:pt x="124" y="131"/>
                        <a:pt x="124" y="131"/>
                      </a:cubicBezTo>
                      <a:cubicBezTo>
                        <a:pt x="124" y="131"/>
                        <a:pt x="125" y="133"/>
                        <a:pt x="126" y="133"/>
                      </a:cubicBezTo>
                      <a:cubicBezTo>
                        <a:pt x="126" y="134"/>
                        <a:pt x="128" y="135"/>
                        <a:pt x="128" y="135"/>
                      </a:cubicBezTo>
                      <a:cubicBezTo>
                        <a:pt x="128" y="138"/>
                        <a:pt x="128" y="138"/>
                        <a:pt x="128" y="138"/>
                      </a:cubicBezTo>
                      <a:cubicBezTo>
                        <a:pt x="126" y="135"/>
                        <a:pt x="126" y="135"/>
                        <a:pt x="126" y="135"/>
                      </a:cubicBezTo>
                      <a:cubicBezTo>
                        <a:pt x="126" y="135"/>
                        <a:pt x="125" y="134"/>
                        <a:pt x="124" y="133"/>
                      </a:cubicBezTo>
                      <a:cubicBezTo>
                        <a:pt x="124" y="133"/>
                        <a:pt x="123" y="131"/>
                        <a:pt x="123" y="131"/>
                      </a:cubicBezTo>
                      <a:cubicBezTo>
                        <a:pt x="123" y="131"/>
                        <a:pt x="121" y="132"/>
                        <a:pt x="121" y="132"/>
                      </a:cubicBezTo>
                      <a:cubicBezTo>
                        <a:pt x="121" y="132"/>
                        <a:pt x="120" y="132"/>
                        <a:pt x="121" y="133"/>
                      </a:cubicBezTo>
                      <a:cubicBezTo>
                        <a:pt x="121" y="134"/>
                        <a:pt x="119" y="135"/>
                        <a:pt x="119" y="135"/>
                      </a:cubicBezTo>
                      <a:cubicBezTo>
                        <a:pt x="119" y="135"/>
                        <a:pt x="116" y="136"/>
                        <a:pt x="116" y="135"/>
                      </a:cubicBezTo>
                      <a:cubicBezTo>
                        <a:pt x="116" y="134"/>
                        <a:pt x="116" y="133"/>
                        <a:pt x="115" y="132"/>
                      </a:cubicBezTo>
                      <a:cubicBezTo>
                        <a:pt x="115" y="132"/>
                        <a:pt x="114" y="132"/>
                        <a:pt x="114" y="132"/>
                      </a:cubicBezTo>
                      <a:cubicBezTo>
                        <a:pt x="114" y="133"/>
                        <a:pt x="113" y="134"/>
                        <a:pt x="113" y="134"/>
                      </a:cubicBezTo>
                      <a:cubicBezTo>
                        <a:pt x="114" y="137"/>
                        <a:pt x="114" y="137"/>
                        <a:pt x="114" y="137"/>
                      </a:cubicBezTo>
                      <a:cubicBezTo>
                        <a:pt x="114" y="137"/>
                        <a:pt x="113" y="139"/>
                        <a:pt x="113" y="139"/>
                      </a:cubicBezTo>
                      <a:cubicBezTo>
                        <a:pt x="113" y="138"/>
                        <a:pt x="112" y="136"/>
                        <a:pt x="112" y="135"/>
                      </a:cubicBezTo>
                      <a:cubicBezTo>
                        <a:pt x="112" y="135"/>
                        <a:pt x="112" y="133"/>
                        <a:pt x="111" y="133"/>
                      </a:cubicBezTo>
                      <a:cubicBezTo>
                        <a:pt x="111" y="133"/>
                        <a:pt x="109" y="135"/>
                        <a:pt x="109" y="135"/>
                      </a:cubicBezTo>
                      <a:cubicBezTo>
                        <a:pt x="109" y="135"/>
                        <a:pt x="108" y="135"/>
                        <a:pt x="108" y="136"/>
                      </a:cubicBezTo>
                      <a:cubicBezTo>
                        <a:pt x="108" y="136"/>
                        <a:pt x="107" y="139"/>
                        <a:pt x="108" y="140"/>
                      </a:cubicBezTo>
                      <a:cubicBezTo>
                        <a:pt x="109" y="141"/>
                        <a:pt x="109" y="141"/>
                        <a:pt x="110" y="141"/>
                      </a:cubicBezTo>
                      <a:cubicBezTo>
                        <a:pt x="111" y="141"/>
                        <a:pt x="111" y="142"/>
                        <a:pt x="111" y="142"/>
                      </a:cubicBezTo>
                      <a:cubicBezTo>
                        <a:pt x="107" y="142"/>
                        <a:pt x="107" y="142"/>
                        <a:pt x="107" y="142"/>
                      </a:cubicBezTo>
                      <a:cubicBezTo>
                        <a:pt x="107" y="142"/>
                        <a:pt x="106" y="143"/>
                        <a:pt x="107" y="144"/>
                      </a:cubicBezTo>
                      <a:cubicBezTo>
                        <a:pt x="107" y="144"/>
                        <a:pt x="107" y="146"/>
                        <a:pt x="107" y="146"/>
                      </a:cubicBezTo>
                      <a:cubicBezTo>
                        <a:pt x="107" y="146"/>
                        <a:pt x="109" y="148"/>
                        <a:pt x="109" y="148"/>
                      </a:cubicBezTo>
                      <a:cubicBezTo>
                        <a:pt x="109" y="148"/>
                        <a:pt x="108" y="150"/>
                        <a:pt x="108" y="150"/>
                      </a:cubicBezTo>
                      <a:cubicBezTo>
                        <a:pt x="108" y="150"/>
                        <a:pt x="106" y="149"/>
                        <a:pt x="106" y="149"/>
                      </a:cubicBezTo>
                      <a:cubicBezTo>
                        <a:pt x="105" y="148"/>
                        <a:pt x="105" y="149"/>
                        <a:pt x="104" y="149"/>
                      </a:cubicBezTo>
                      <a:cubicBezTo>
                        <a:pt x="104" y="150"/>
                        <a:pt x="103" y="151"/>
                        <a:pt x="103" y="152"/>
                      </a:cubicBezTo>
                      <a:cubicBezTo>
                        <a:pt x="103" y="152"/>
                        <a:pt x="104" y="153"/>
                        <a:pt x="104" y="154"/>
                      </a:cubicBezTo>
                      <a:cubicBezTo>
                        <a:pt x="103" y="156"/>
                        <a:pt x="103" y="158"/>
                        <a:pt x="103" y="158"/>
                      </a:cubicBezTo>
                      <a:cubicBezTo>
                        <a:pt x="103" y="158"/>
                        <a:pt x="102" y="158"/>
                        <a:pt x="103" y="159"/>
                      </a:cubicBezTo>
                      <a:cubicBezTo>
                        <a:pt x="104" y="160"/>
                        <a:pt x="106" y="160"/>
                        <a:pt x="107" y="160"/>
                      </a:cubicBezTo>
                      <a:cubicBezTo>
                        <a:pt x="108" y="160"/>
                        <a:pt x="108" y="160"/>
                        <a:pt x="108" y="160"/>
                      </a:cubicBezTo>
                      <a:cubicBezTo>
                        <a:pt x="109" y="160"/>
                        <a:pt x="110" y="160"/>
                        <a:pt x="111" y="161"/>
                      </a:cubicBezTo>
                      <a:cubicBezTo>
                        <a:pt x="111" y="161"/>
                        <a:pt x="112" y="161"/>
                        <a:pt x="112" y="161"/>
                      </a:cubicBezTo>
                      <a:cubicBezTo>
                        <a:pt x="112" y="161"/>
                        <a:pt x="111" y="163"/>
                        <a:pt x="110" y="162"/>
                      </a:cubicBezTo>
                      <a:cubicBezTo>
                        <a:pt x="109" y="161"/>
                        <a:pt x="107" y="161"/>
                        <a:pt x="106" y="161"/>
                      </a:cubicBezTo>
                      <a:cubicBezTo>
                        <a:pt x="105" y="161"/>
                        <a:pt x="106" y="163"/>
                        <a:pt x="106" y="163"/>
                      </a:cubicBezTo>
                      <a:cubicBezTo>
                        <a:pt x="107" y="165"/>
                        <a:pt x="107" y="165"/>
                        <a:pt x="107" y="165"/>
                      </a:cubicBezTo>
                      <a:cubicBezTo>
                        <a:pt x="107" y="165"/>
                        <a:pt x="108" y="166"/>
                        <a:pt x="107" y="166"/>
                      </a:cubicBezTo>
                      <a:cubicBezTo>
                        <a:pt x="106" y="166"/>
                        <a:pt x="104" y="165"/>
                        <a:pt x="104" y="165"/>
                      </a:cubicBezTo>
                      <a:cubicBezTo>
                        <a:pt x="104" y="165"/>
                        <a:pt x="104" y="165"/>
                        <a:pt x="103" y="165"/>
                      </a:cubicBezTo>
                      <a:cubicBezTo>
                        <a:pt x="103" y="165"/>
                        <a:pt x="102" y="166"/>
                        <a:pt x="101" y="166"/>
                      </a:cubicBezTo>
                      <a:cubicBezTo>
                        <a:pt x="100" y="166"/>
                        <a:pt x="100" y="166"/>
                        <a:pt x="99" y="165"/>
                      </a:cubicBezTo>
                      <a:cubicBezTo>
                        <a:pt x="98" y="165"/>
                        <a:pt x="96" y="163"/>
                        <a:pt x="96" y="163"/>
                      </a:cubicBezTo>
                      <a:cubicBezTo>
                        <a:pt x="96" y="163"/>
                        <a:pt x="95" y="163"/>
                        <a:pt x="95" y="162"/>
                      </a:cubicBezTo>
                      <a:cubicBezTo>
                        <a:pt x="95" y="161"/>
                        <a:pt x="96" y="159"/>
                        <a:pt x="96" y="159"/>
                      </a:cubicBezTo>
                      <a:cubicBezTo>
                        <a:pt x="97" y="158"/>
                        <a:pt x="96" y="158"/>
                        <a:pt x="97" y="158"/>
                      </a:cubicBezTo>
                      <a:cubicBezTo>
                        <a:pt x="98" y="158"/>
                        <a:pt x="101" y="158"/>
                        <a:pt x="99" y="156"/>
                      </a:cubicBezTo>
                      <a:cubicBezTo>
                        <a:pt x="98" y="154"/>
                        <a:pt x="98" y="154"/>
                        <a:pt x="97" y="154"/>
                      </a:cubicBezTo>
                      <a:cubicBezTo>
                        <a:pt x="96" y="155"/>
                        <a:pt x="94" y="156"/>
                        <a:pt x="94" y="156"/>
                      </a:cubicBezTo>
                      <a:cubicBezTo>
                        <a:pt x="94" y="156"/>
                        <a:pt x="93" y="155"/>
                        <a:pt x="94" y="152"/>
                      </a:cubicBezTo>
                      <a:cubicBezTo>
                        <a:pt x="95" y="149"/>
                        <a:pt x="94" y="149"/>
                        <a:pt x="95" y="148"/>
                      </a:cubicBezTo>
                      <a:cubicBezTo>
                        <a:pt x="96" y="147"/>
                        <a:pt x="97" y="146"/>
                        <a:pt x="97" y="146"/>
                      </a:cubicBezTo>
                      <a:cubicBezTo>
                        <a:pt x="97" y="146"/>
                        <a:pt x="97" y="145"/>
                        <a:pt x="95" y="143"/>
                      </a:cubicBezTo>
                      <a:cubicBezTo>
                        <a:pt x="94" y="141"/>
                        <a:pt x="93" y="139"/>
                        <a:pt x="93" y="139"/>
                      </a:cubicBezTo>
                      <a:cubicBezTo>
                        <a:pt x="92" y="138"/>
                        <a:pt x="90" y="140"/>
                        <a:pt x="90" y="140"/>
                      </a:cubicBezTo>
                      <a:cubicBezTo>
                        <a:pt x="90" y="141"/>
                        <a:pt x="89" y="143"/>
                        <a:pt x="90" y="144"/>
                      </a:cubicBezTo>
                      <a:cubicBezTo>
                        <a:pt x="90" y="145"/>
                        <a:pt x="90" y="146"/>
                        <a:pt x="89" y="147"/>
                      </a:cubicBezTo>
                      <a:cubicBezTo>
                        <a:pt x="88" y="147"/>
                        <a:pt x="88" y="148"/>
                        <a:pt x="87" y="147"/>
                      </a:cubicBezTo>
                      <a:cubicBezTo>
                        <a:pt x="86" y="146"/>
                        <a:pt x="87" y="147"/>
                        <a:pt x="86" y="145"/>
                      </a:cubicBezTo>
                      <a:cubicBezTo>
                        <a:pt x="85" y="144"/>
                        <a:pt x="86" y="144"/>
                        <a:pt x="85" y="144"/>
                      </a:cubicBezTo>
                      <a:cubicBezTo>
                        <a:pt x="84" y="143"/>
                        <a:pt x="83" y="142"/>
                        <a:pt x="83" y="142"/>
                      </a:cubicBezTo>
                      <a:cubicBezTo>
                        <a:pt x="83" y="142"/>
                        <a:pt x="80" y="141"/>
                        <a:pt x="80" y="142"/>
                      </a:cubicBezTo>
                      <a:cubicBezTo>
                        <a:pt x="80" y="143"/>
                        <a:pt x="80" y="143"/>
                        <a:pt x="81" y="144"/>
                      </a:cubicBezTo>
                      <a:cubicBezTo>
                        <a:pt x="81" y="145"/>
                        <a:pt x="82" y="145"/>
                        <a:pt x="82" y="146"/>
                      </a:cubicBezTo>
                      <a:cubicBezTo>
                        <a:pt x="82" y="147"/>
                        <a:pt x="81" y="147"/>
                        <a:pt x="81" y="147"/>
                      </a:cubicBezTo>
                      <a:cubicBezTo>
                        <a:pt x="81" y="147"/>
                        <a:pt x="80" y="146"/>
                        <a:pt x="79" y="146"/>
                      </a:cubicBezTo>
                      <a:cubicBezTo>
                        <a:pt x="79" y="146"/>
                        <a:pt x="77" y="148"/>
                        <a:pt x="77" y="148"/>
                      </a:cubicBezTo>
                      <a:cubicBezTo>
                        <a:pt x="77" y="148"/>
                        <a:pt x="77" y="149"/>
                        <a:pt x="77" y="150"/>
                      </a:cubicBezTo>
                      <a:cubicBezTo>
                        <a:pt x="77" y="150"/>
                        <a:pt x="77" y="151"/>
                        <a:pt x="77" y="152"/>
                      </a:cubicBezTo>
                      <a:cubicBezTo>
                        <a:pt x="78" y="153"/>
                        <a:pt x="78" y="155"/>
                        <a:pt x="79" y="155"/>
                      </a:cubicBezTo>
                      <a:cubicBezTo>
                        <a:pt x="81" y="155"/>
                        <a:pt x="85" y="153"/>
                        <a:pt x="85" y="153"/>
                      </a:cubicBezTo>
                      <a:cubicBezTo>
                        <a:pt x="85" y="154"/>
                        <a:pt x="87" y="155"/>
                        <a:pt x="88" y="156"/>
                      </a:cubicBezTo>
                      <a:cubicBezTo>
                        <a:pt x="88" y="156"/>
                        <a:pt x="88" y="158"/>
                        <a:pt x="88" y="158"/>
                      </a:cubicBezTo>
                      <a:cubicBezTo>
                        <a:pt x="88" y="158"/>
                        <a:pt x="87" y="159"/>
                        <a:pt x="86" y="159"/>
                      </a:cubicBezTo>
                      <a:cubicBezTo>
                        <a:pt x="85" y="159"/>
                        <a:pt x="84" y="157"/>
                        <a:pt x="84" y="159"/>
                      </a:cubicBezTo>
                      <a:cubicBezTo>
                        <a:pt x="84" y="160"/>
                        <a:pt x="83" y="162"/>
                        <a:pt x="84" y="163"/>
                      </a:cubicBezTo>
                      <a:cubicBezTo>
                        <a:pt x="85" y="164"/>
                        <a:pt x="85" y="166"/>
                        <a:pt x="87" y="166"/>
                      </a:cubicBezTo>
                      <a:cubicBezTo>
                        <a:pt x="89" y="167"/>
                        <a:pt x="89" y="168"/>
                        <a:pt x="90" y="167"/>
                      </a:cubicBezTo>
                      <a:cubicBezTo>
                        <a:pt x="91" y="166"/>
                        <a:pt x="91" y="165"/>
                        <a:pt x="92" y="166"/>
                      </a:cubicBezTo>
                      <a:cubicBezTo>
                        <a:pt x="93" y="166"/>
                        <a:pt x="94" y="166"/>
                        <a:pt x="95" y="167"/>
                      </a:cubicBezTo>
                      <a:cubicBezTo>
                        <a:pt x="95" y="168"/>
                        <a:pt x="94" y="168"/>
                        <a:pt x="94" y="168"/>
                      </a:cubicBezTo>
                      <a:cubicBezTo>
                        <a:pt x="94" y="168"/>
                        <a:pt x="93" y="168"/>
                        <a:pt x="93" y="169"/>
                      </a:cubicBezTo>
                      <a:cubicBezTo>
                        <a:pt x="93" y="169"/>
                        <a:pt x="92" y="170"/>
                        <a:pt x="93" y="170"/>
                      </a:cubicBezTo>
                      <a:cubicBezTo>
                        <a:pt x="95" y="170"/>
                        <a:pt x="96" y="170"/>
                        <a:pt x="96" y="170"/>
                      </a:cubicBezTo>
                      <a:cubicBezTo>
                        <a:pt x="96" y="170"/>
                        <a:pt x="97" y="168"/>
                        <a:pt x="98" y="169"/>
                      </a:cubicBezTo>
                      <a:cubicBezTo>
                        <a:pt x="98" y="170"/>
                        <a:pt x="97" y="170"/>
                        <a:pt x="96" y="171"/>
                      </a:cubicBezTo>
                      <a:cubicBezTo>
                        <a:pt x="95" y="172"/>
                        <a:pt x="95" y="172"/>
                        <a:pt x="95" y="173"/>
                      </a:cubicBezTo>
                      <a:cubicBezTo>
                        <a:pt x="95" y="174"/>
                        <a:pt x="94" y="174"/>
                        <a:pt x="94" y="175"/>
                      </a:cubicBezTo>
                      <a:cubicBezTo>
                        <a:pt x="94" y="176"/>
                        <a:pt x="92" y="180"/>
                        <a:pt x="95" y="177"/>
                      </a:cubicBezTo>
                      <a:cubicBezTo>
                        <a:pt x="99" y="174"/>
                        <a:pt x="99" y="175"/>
                        <a:pt x="99" y="174"/>
                      </a:cubicBezTo>
                      <a:cubicBezTo>
                        <a:pt x="99" y="173"/>
                        <a:pt x="99" y="173"/>
                        <a:pt x="101" y="172"/>
                      </a:cubicBezTo>
                      <a:cubicBezTo>
                        <a:pt x="102" y="171"/>
                        <a:pt x="103" y="171"/>
                        <a:pt x="104" y="171"/>
                      </a:cubicBezTo>
                      <a:cubicBezTo>
                        <a:pt x="104" y="170"/>
                        <a:pt x="106" y="170"/>
                        <a:pt x="105" y="171"/>
                      </a:cubicBezTo>
                      <a:cubicBezTo>
                        <a:pt x="104" y="172"/>
                        <a:pt x="103" y="171"/>
                        <a:pt x="104" y="172"/>
                      </a:cubicBezTo>
                      <a:cubicBezTo>
                        <a:pt x="105" y="173"/>
                        <a:pt x="105" y="174"/>
                        <a:pt x="106" y="174"/>
                      </a:cubicBezTo>
                      <a:cubicBezTo>
                        <a:pt x="107" y="174"/>
                        <a:pt x="107" y="174"/>
                        <a:pt x="107" y="174"/>
                      </a:cubicBezTo>
                      <a:cubicBezTo>
                        <a:pt x="107" y="174"/>
                        <a:pt x="105" y="174"/>
                        <a:pt x="104" y="174"/>
                      </a:cubicBezTo>
                      <a:cubicBezTo>
                        <a:pt x="104" y="174"/>
                        <a:pt x="103" y="174"/>
                        <a:pt x="103" y="174"/>
                      </a:cubicBezTo>
                      <a:cubicBezTo>
                        <a:pt x="102" y="174"/>
                        <a:pt x="102" y="175"/>
                        <a:pt x="102" y="175"/>
                      </a:cubicBezTo>
                      <a:cubicBezTo>
                        <a:pt x="101" y="176"/>
                        <a:pt x="101" y="176"/>
                        <a:pt x="101" y="176"/>
                      </a:cubicBezTo>
                      <a:cubicBezTo>
                        <a:pt x="101" y="176"/>
                        <a:pt x="102" y="177"/>
                        <a:pt x="102" y="178"/>
                      </a:cubicBezTo>
                      <a:cubicBezTo>
                        <a:pt x="102" y="178"/>
                        <a:pt x="102" y="178"/>
                        <a:pt x="101" y="178"/>
                      </a:cubicBezTo>
                      <a:cubicBezTo>
                        <a:pt x="100" y="178"/>
                        <a:pt x="101" y="177"/>
                        <a:pt x="99" y="178"/>
                      </a:cubicBezTo>
                      <a:cubicBezTo>
                        <a:pt x="97" y="178"/>
                        <a:pt x="98" y="176"/>
                        <a:pt x="97" y="179"/>
                      </a:cubicBezTo>
                      <a:cubicBezTo>
                        <a:pt x="96" y="182"/>
                        <a:pt x="95" y="182"/>
                        <a:pt x="95" y="182"/>
                      </a:cubicBezTo>
                      <a:cubicBezTo>
                        <a:pt x="95" y="182"/>
                        <a:pt x="95" y="182"/>
                        <a:pt x="95" y="183"/>
                      </a:cubicBezTo>
                      <a:cubicBezTo>
                        <a:pt x="95" y="183"/>
                        <a:pt x="96" y="184"/>
                        <a:pt x="97" y="185"/>
                      </a:cubicBezTo>
                      <a:cubicBezTo>
                        <a:pt x="99" y="186"/>
                        <a:pt x="100" y="187"/>
                        <a:pt x="100" y="187"/>
                      </a:cubicBezTo>
                      <a:cubicBezTo>
                        <a:pt x="100" y="187"/>
                        <a:pt x="99" y="187"/>
                        <a:pt x="98" y="187"/>
                      </a:cubicBezTo>
                      <a:cubicBezTo>
                        <a:pt x="96" y="188"/>
                        <a:pt x="95" y="188"/>
                        <a:pt x="94" y="189"/>
                      </a:cubicBezTo>
                      <a:cubicBezTo>
                        <a:pt x="94" y="189"/>
                        <a:pt x="93" y="190"/>
                        <a:pt x="92" y="190"/>
                      </a:cubicBezTo>
                      <a:cubicBezTo>
                        <a:pt x="91" y="190"/>
                        <a:pt x="88" y="189"/>
                        <a:pt x="87" y="190"/>
                      </a:cubicBezTo>
                      <a:cubicBezTo>
                        <a:pt x="86" y="190"/>
                        <a:pt x="85" y="190"/>
                        <a:pt x="84" y="191"/>
                      </a:cubicBezTo>
                      <a:cubicBezTo>
                        <a:pt x="84" y="191"/>
                        <a:pt x="84" y="192"/>
                        <a:pt x="84" y="192"/>
                      </a:cubicBezTo>
                      <a:cubicBezTo>
                        <a:pt x="84" y="192"/>
                        <a:pt x="83" y="193"/>
                        <a:pt x="84" y="193"/>
                      </a:cubicBezTo>
                      <a:cubicBezTo>
                        <a:pt x="85" y="193"/>
                        <a:pt x="89" y="193"/>
                        <a:pt x="89" y="193"/>
                      </a:cubicBezTo>
                      <a:cubicBezTo>
                        <a:pt x="90" y="193"/>
                        <a:pt x="90" y="194"/>
                        <a:pt x="90" y="194"/>
                      </a:cubicBezTo>
                      <a:cubicBezTo>
                        <a:pt x="88" y="194"/>
                        <a:pt x="88" y="194"/>
                        <a:pt x="88" y="194"/>
                      </a:cubicBezTo>
                      <a:cubicBezTo>
                        <a:pt x="88" y="194"/>
                        <a:pt x="86" y="194"/>
                        <a:pt x="85" y="194"/>
                      </a:cubicBezTo>
                      <a:cubicBezTo>
                        <a:pt x="85" y="194"/>
                        <a:pt x="82" y="195"/>
                        <a:pt x="82" y="195"/>
                      </a:cubicBezTo>
                      <a:cubicBezTo>
                        <a:pt x="82" y="195"/>
                        <a:pt x="80" y="197"/>
                        <a:pt x="80" y="198"/>
                      </a:cubicBezTo>
                      <a:cubicBezTo>
                        <a:pt x="80" y="198"/>
                        <a:pt x="80" y="199"/>
                        <a:pt x="81" y="201"/>
                      </a:cubicBezTo>
                      <a:cubicBezTo>
                        <a:pt x="83" y="202"/>
                        <a:pt x="83" y="203"/>
                        <a:pt x="83" y="204"/>
                      </a:cubicBezTo>
                      <a:cubicBezTo>
                        <a:pt x="83" y="204"/>
                        <a:pt x="83" y="204"/>
                        <a:pt x="83" y="205"/>
                      </a:cubicBezTo>
                      <a:cubicBezTo>
                        <a:pt x="82" y="205"/>
                        <a:pt x="80" y="207"/>
                        <a:pt x="80" y="207"/>
                      </a:cubicBezTo>
                      <a:cubicBezTo>
                        <a:pt x="80" y="207"/>
                        <a:pt x="80" y="207"/>
                        <a:pt x="80" y="209"/>
                      </a:cubicBezTo>
                      <a:cubicBezTo>
                        <a:pt x="79" y="210"/>
                        <a:pt x="77" y="213"/>
                        <a:pt x="79" y="213"/>
                      </a:cubicBezTo>
                      <a:cubicBezTo>
                        <a:pt x="81" y="214"/>
                        <a:pt x="80" y="215"/>
                        <a:pt x="82" y="214"/>
                      </a:cubicBezTo>
                      <a:cubicBezTo>
                        <a:pt x="85" y="213"/>
                        <a:pt x="82" y="212"/>
                        <a:pt x="86" y="213"/>
                      </a:cubicBezTo>
                      <a:cubicBezTo>
                        <a:pt x="90" y="214"/>
                        <a:pt x="91" y="213"/>
                        <a:pt x="92" y="213"/>
                      </a:cubicBezTo>
                      <a:cubicBezTo>
                        <a:pt x="93" y="212"/>
                        <a:pt x="93" y="212"/>
                        <a:pt x="94" y="211"/>
                      </a:cubicBezTo>
                      <a:cubicBezTo>
                        <a:pt x="94" y="211"/>
                        <a:pt x="92" y="210"/>
                        <a:pt x="95" y="210"/>
                      </a:cubicBezTo>
                      <a:cubicBezTo>
                        <a:pt x="98" y="209"/>
                        <a:pt x="98" y="209"/>
                        <a:pt x="98" y="209"/>
                      </a:cubicBezTo>
                      <a:cubicBezTo>
                        <a:pt x="98" y="209"/>
                        <a:pt x="96" y="206"/>
                        <a:pt x="98" y="208"/>
                      </a:cubicBezTo>
                      <a:cubicBezTo>
                        <a:pt x="101" y="210"/>
                        <a:pt x="101" y="211"/>
                        <a:pt x="101" y="211"/>
                      </a:cubicBezTo>
                      <a:cubicBezTo>
                        <a:pt x="99" y="213"/>
                        <a:pt x="99" y="213"/>
                        <a:pt x="99" y="213"/>
                      </a:cubicBezTo>
                      <a:cubicBezTo>
                        <a:pt x="99" y="214"/>
                        <a:pt x="99" y="214"/>
                        <a:pt x="99" y="214"/>
                      </a:cubicBezTo>
                      <a:cubicBezTo>
                        <a:pt x="99" y="214"/>
                        <a:pt x="97" y="214"/>
                        <a:pt x="96" y="216"/>
                      </a:cubicBezTo>
                      <a:cubicBezTo>
                        <a:pt x="95" y="218"/>
                        <a:pt x="92" y="221"/>
                        <a:pt x="92" y="222"/>
                      </a:cubicBezTo>
                      <a:cubicBezTo>
                        <a:pt x="92" y="222"/>
                        <a:pt x="93" y="221"/>
                        <a:pt x="91" y="223"/>
                      </a:cubicBezTo>
                      <a:cubicBezTo>
                        <a:pt x="88" y="225"/>
                        <a:pt x="87" y="225"/>
                        <a:pt x="85" y="226"/>
                      </a:cubicBezTo>
                      <a:cubicBezTo>
                        <a:pt x="84" y="228"/>
                        <a:pt x="84" y="227"/>
                        <a:pt x="83" y="228"/>
                      </a:cubicBezTo>
                      <a:cubicBezTo>
                        <a:pt x="83" y="229"/>
                        <a:pt x="82" y="230"/>
                        <a:pt x="82" y="230"/>
                      </a:cubicBezTo>
                      <a:cubicBezTo>
                        <a:pt x="81" y="232"/>
                        <a:pt x="81" y="232"/>
                        <a:pt x="81" y="232"/>
                      </a:cubicBezTo>
                      <a:cubicBezTo>
                        <a:pt x="78" y="233"/>
                        <a:pt x="78" y="233"/>
                        <a:pt x="78" y="233"/>
                      </a:cubicBezTo>
                      <a:cubicBezTo>
                        <a:pt x="75" y="232"/>
                        <a:pt x="75" y="232"/>
                        <a:pt x="75" y="232"/>
                      </a:cubicBezTo>
                      <a:cubicBezTo>
                        <a:pt x="73" y="234"/>
                        <a:pt x="73" y="234"/>
                        <a:pt x="73" y="234"/>
                      </a:cubicBezTo>
                      <a:cubicBezTo>
                        <a:pt x="73" y="234"/>
                        <a:pt x="70" y="233"/>
                        <a:pt x="69" y="233"/>
                      </a:cubicBezTo>
                      <a:cubicBezTo>
                        <a:pt x="68" y="234"/>
                        <a:pt x="67" y="235"/>
                        <a:pt x="67" y="235"/>
                      </a:cubicBezTo>
                      <a:cubicBezTo>
                        <a:pt x="67" y="235"/>
                        <a:pt x="66" y="235"/>
                        <a:pt x="66" y="237"/>
                      </a:cubicBezTo>
                      <a:cubicBezTo>
                        <a:pt x="66" y="238"/>
                        <a:pt x="65" y="241"/>
                        <a:pt x="65" y="241"/>
                      </a:cubicBezTo>
                      <a:cubicBezTo>
                        <a:pt x="63" y="243"/>
                        <a:pt x="63" y="243"/>
                        <a:pt x="63" y="243"/>
                      </a:cubicBezTo>
                      <a:cubicBezTo>
                        <a:pt x="63" y="243"/>
                        <a:pt x="62" y="245"/>
                        <a:pt x="64" y="244"/>
                      </a:cubicBezTo>
                      <a:cubicBezTo>
                        <a:pt x="66" y="243"/>
                        <a:pt x="67" y="242"/>
                        <a:pt x="68" y="241"/>
                      </a:cubicBezTo>
                      <a:cubicBezTo>
                        <a:pt x="68" y="241"/>
                        <a:pt x="70" y="240"/>
                        <a:pt x="70" y="240"/>
                      </a:cubicBezTo>
                      <a:cubicBezTo>
                        <a:pt x="70" y="242"/>
                        <a:pt x="70" y="242"/>
                        <a:pt x="70" y="242"/>
                      </a:cubicBezTo>
                      <a:cubicBezTo>
                        <a:pt x="69" y="246"/>
                        <a:pt x="69" y="246"/>
                        <a:pt x="69" y="246"/>
                      </a:cubicBezTo>
                      <a:cubicBezTo>
                        <a:pt x="68" y="247"/>
                        <a:pt x="68" y="247"/>
                        <a:pt x="68" y="247"/>
                      </a:cubicBezTo>
                      <a:cubicBezTo>
                        <a:pt x="67" y="248"/>
                        <a:pt x="67" y="248"/>
                        <a:pt x="67" y="248"/>
                      </a:cubicBezTo>
                      <a:cubicBezTo>
                        <a:pt x="67" y="248"/>
                        <a:pt x="65" y="252"/>
                        <a:pt x="67" y="252"/>
                      </a:cubicBezTo>
                      <a:cubicBezTo>
                        <a:pt x="69" y="251"/>
                        <a:pt x="68" y="251"/>
                        <a:pt x="70" y="250"/>
                      </a:cubicBezTo>
                      <a:cubicBezTo>
                        <a:pt x="72" y="250"/>
                        <a:pt x="71" y="249"/>
                        <a:pt x="75" y="248"/>
                      </a:cubicBezTo>
                      <a:cubicBezTo>
                        <a:pt x="78" y="248"/>
                        <a:pt x="78" y="246"/>
                        <a:pt x="78" y="245"/>
                      </a:cubicBezTo>
                      <a:cubicBezTo>
                        <a:pt x="78" y="245"/>
                        <a:pt x="78" y="244"/>
                        <a:pt x="78" y="243"/>
                      </a:cubicBezTo>
                      <a:cubicBezTo>
                        <a:pt x="78" y="242"/>
                        <a:pt x="76" y="241"/>
                        <a:pt x="79" y="240"/>
                      </a:cubicBezTo>
                      <a:cubicBezTo>
                        <a:pt x="81" y="240"/>
                        <a:pt x="80" y="241"/>
                        <a:pt x="81" y="240"/>
                      </a:cubicBezTo>
                      <a:cubicBezTo>
                        <a:pt x="82" y="239"/>
                        <a:pt x="82" y="241"/>
                        <a:pt x="82" y="238"/>
                      </a:cubicBezTo>
                      <a:cubicBezTo>
                        <a:pt x="82" y="236"/>
                        <a:pt x="82" y="236"/>
                        <a:pt x="84" y="235"/>
                      </a:cubicBezTo>
                      <a:cubicBezTo>
                        <a:pt x="86" y="233"/>
                        <a:pt x="85" y="234"/>
                        <a:pt x="86" y="233"/>
                      </a:cubicBezTo>
                      <a:cubicBezTo>
                        <a:pt x="87" y="232"/>
                        <a:pt x="86" y="232"/>
                        <a:pt x="87" y="231"/>
                      </a:cubicBezTo>
                      <a:cubicBezTo>
                        <a:pt x="89" y="230"/>
                        <a:pt x="89" y="230"/>
                        <a:pt x="89" y="230"/>
                      </a:cubicBezTo>
                      <a:cubicBezTo>
                        <a:pt x="89" y="229"/>
                        <a:pt x="92" y="227"/>
                        <a:pt x="92" y="227"/>
                      </a:cubicBezTo>
                      <a:cubicBezTo>
                        <a:pt x="92" y="225"/>
                        <a:pt x="92" y="225"/>
                        <a:pt x="92" y="225"/>
                      </a:cubicBezTo>
                      <a:cubicBezTo>
                        <a:pt x="96" y="223"/>
                        <a:pt x="96" y="223"/>
                        <a:pt x="96" y="223"/>
                      </a:cubicBezTo>
                      <a:cubicBezTo>
                        <a:pt x="96" y="223"/>
                        <a:pt x="97" y="222"/>
                        <a:pt x="97" y="223"/>
                      </a:cubicBezTo>
                      <a:cubicBezTo>
                        <a:pt x="96" y="224"/>
                        <a:pt x="95" y="226"/>
                        <a:pt x="95" y="226"/>
                      </a:cubicBezTo>
                      <a:cubicBezTo>
                        <a:pt x="95" y="228"/>
                        <a:pt x="95" y="228"/>
                        <a:pt x="95" y="228"/>
                      </a:cubicBezTo>
                      <a:cubicBezTo>
                        <a:pt x="92" y="230"/>
                        <a:pt x="92" y="230"/>
                        <a:pt x="92" y="230"/>
                      </a:cubicBezTo>
                      <a:cubicBezTo>
                        <a:pt x="92" y="230"/>
                        <a:pt x="94" y="231"/>
                        <a:pt x="93" y="232"/>
                      </a:cubicBezTo>
                      <a:cubicBezTo>
                        <a:pt x="92" y="233"/>
                        <a:pt x="90" y="234"/>
                        <a:pt x="90" y="234"/>
                      </a:cubicBezTo>
                      <a:cubicBezTo>
                        <a:pt x="90" y="236"/>
                        <a:pt x="90" y="236"/>
                        <a:pt x="90" y="236"/>
                      </a:cubicBezTo>
                      <a:cubicBezTo>
                        <a:pt x="91" y="237"/>
                        <a:pt x="91" y="237"/>
                        <a:pt x="91" y="237"/>
                      </a:cubicBezTo>
                      <a:cubicBezTo>
                        <a:pt x="89" y="241"/>
                        <a:pt x="89" y="241"/>
                        <a:pt x="89" y="241"/>
                      </a:cubicBezTo>
                      <a:cubicBezTo>
                        <a:pt x="91" y="243"/>
                        <a:pt x="91" y="243"/>
                        <a:pt x="91" y="243"/>
                      </a:cubicBezTo>
                      <a:cubicBezTo>
                        <a:pt x="92" y="245"/>
                        <a:pt x="92" y="245"/>
                        <a:pt x="92" y="245"/>
                      </a:cubicBezTo>
                      <a:cubicBezTo>
                        <a:pt x="92" y="245"/>
                        <a:pt x="91" y="246"/>
                        <a:pt x="90" y="247"/>
                      </a:cubicBezTo>
                      <a:cubicBezTo>
                        <a:pt x="89" y="247"/>
                        <a:pt x="87" y="250"/>
                        <a:pt x="87" y="250"/>
                      </a:cubicBezTo>
                      <a:cubicBezTo>
                        <a:pt x="85" y="253"/>
                        <a:pt x="85" y="253"/>
                        <a:pt x="85" y="253"/>
                      </a:cubicBezTo>
                      <a:cubicBezTo>
                        <a:pt x="83" y="256"/>
                        <a:pt x="83" y="256"/>
                        <a:pt x="83" y="256"/>
                      </a:cubicBezTo>
                      <a:cubicBezTo>
                        <a:pt x="83" y="259"/>
                        <a:pt x="83" y="259"/>
                        <a:pt x="83" y="259"/>
                      </a:cubicBezTo>
                      <a:cubicBezTo>
                        <a:pt x="82" y="263"/>
                        <a:pt x="82" y="263"/>
                        <a:pt x="82" y="263"/>
                      </a:cubicBezTo>
                      <a:cubicBezTo>
                        <a:pt x="80" y="264"/>
                        <a:pt x="80" y="264"/>
                        <a:pt x="80" y="264"/>
                      </a:cubicBezTo>
                      <a:cubicBezTo>
                        <a:pt x="80" y="264"/>
                        <a:pt x="79" y="267"/>
                        <a:pt x="81" y="267"/>
                      </a:cubicBezTo>
                      <a:cubicBezTo>
                        <a:pt x="83" y="268"/>
                        <a:pt x="83" y="268"/>
                        <a:pt x="84" y="268"/>
                      </a:cubicBezTo>
                      <a:cubicBezTo>
                        <a:pt x="86" y="268"/>
                        <a:pt x="85" y="268"/>
                        <a:pt x="86" y="268"/>
                      </a:cubicBezTo>
                      <a:cubicBezTo>
                        <a:pt x="87" y="268"/>
                        <a:pt x="89" y="268"/>
                        <a:pt x="89" y="266"/>
                      </a:cubicBezTo>
                      <a:cubicBezTo>
                        <a:pt x="89" y="264"/>
                        <a:pt x="89" y="262"/>
                        <a:pt x="89" y="261"/>
                      </a:cubicBezTo>
                      <a:cubicBezTo>
                        <a:pt x="89" y="261"/>
                        <a:pt x="91" y="258"/>
                        <a:pt x="91" y="258"/>
                      </a:cubicBezTo>
                      <a:cubicBezTo>
                        <a:pt x="91" y="254"/>
                        <a:pt x="91" y="254"/>
                        <a:pt x="91" y="254"/>
                      </a:cubicBezTo>
                      <a:cubicBezTo>
                        <a:pt x="91" y="254"/>
                        <a:pt x="91" y="253"/>
                        <a:pt x="93" y="251"/>
                      </a:cubicBezTo>
                      <a:cubicBezTo>
                        <a:pt x="95" y="250"/>
                        <a:pt x="94" y="250"/>
                        <a:pt x="95" y="250"/>
                      </a:cubicBezTo>
                      <a:cubicBezTo>
                        <a:pt x="96" y="249"/>
                        <a:pt x="96" y="248"/>
                        <a:pt x="96" y="247"/>
                      </a:cubicBezTo>
                      <a:cubicBezTo>
                        <a:pt x="97" y="246"/>
                        <a:pt x="97" y="246"/>
                        <a:pt x="97" y="246"/>
                      </a:cubicBezTo>
                      <a:cubicBezTo>
                        <a:pt x="98" y="244"/>
                        <a:pt x="98" y="244"/>
                        <a:pt x="98" y="244"/>
                      </a:cubicBezTo>
                      <a:cubicBezTo>
                        <a:pt x="98" y="236"/>
                        <a:pt x="98" y="236"/>
                        <a:pt x="98" y="236"/>
                      </a:cubicBezTo>
                      <a:cubicBezTo>
                        <a:pt x="98" y="236"/>
                        <a:pt x="98" y="234"/>
                        <a:pt x="99" y="234"/>
                      </a:cubicBezTo>
                      <a:cubicBezTo>
                        <a:pt x="100" y="234"/>
                        <a:pt x="101" y="234"/>
                        <a:pt x="101" y="234"/>
                      </a:cubicBezTo>
                      <a:cubicBezTo>
                        <a:pt x="101" y="234"/>
                        <a:pt x="101" y="235"/>
                        <a:pt x="101" y="237"/>
                      </a:cubicBezTo>
                      <a:cubicBezTo>
                        <a:pt x="100" y="239"/>
                        <a:pt x="101" y="242"/>
                        <a:pt x="101" y="242"/>
                      </a:cubicBezTo>
                      <a:cubicBezTo>
                        <a:pt x="108" y="248"/>
                        <a:pt x="108" y="248"/>
                        <a:pt x="108" y="248"/>
                      </a:cubicBezTo>
                      <a:cubicBezTo>
                        <a:pt x="108" y="248"/>
                        <a:pt x="111" y="253"/>
                        <a:pt x="111" y="254"/>
                      </a:cubicBezTo>
                      <a:cubicBezTo>
                        <a:pt x="111" y="254"/>
                        <a:pt x="116" y="258"/>
                        <a:pt x="116" y="258"/>
                      </a:cubicBezTo>
                      <a:cubicBezTo>
                        <a:pt x="116" y="258"/>
                        <a:pt x="117" y="259"/>
                        <a:pt x="116" y="260"/>
                      </a:cubicBezTo>
                      <a:cubicBezTo>
                        <a:pt x="116" y="261"/>
                        <a:pt x="117" y="262"/>
                        <a:pt x="117" y="263"/>
                      </a:cubicBezTo>
                      <a:cubicBezTo>
                        <a:pt x="116" y="264"/>
                        <a:pt x="115" y="267"/>
                        <a:pt x="115" y="267"/>
                      </a:cubicBezTo>
                      <a:cubicBezTo>
                        <a:pt x="113" y="268"/>
                        <a:pt x="113" y="268"/>
                        <a:pt x="113" y="268"/>
                      </a:cubicBezTo>
                      <a:cubicBezTo>
                        <a:pt x="110" y="271"/>
                        <a:pt x="110" y="271"/>
                        <a:pt x="110" y="271"/>
                      </a:cubicBezTo>
                      <a:cubicBezTo>
                        <a:pt x="109" y="275"/>
                        <a:pt x="109" y="275"/>
                        <a:pt x="109" y="275"/>
                      </a:cubicBezTo>
                      <a:cubicBezTo>
                        <a:pt x="107" y="278"/>
                        <a:pt x="107" y="278"/>
                        <a:pt x="107" y="278"/>
                      </a:cubicBezTo>
                      <a:cubicBezTo>
                        <a:pt x="103" y="280"/>
                        <a:pt x="103" y="280"/>
                        <a:pt x="103" y="280"/>
                      </a:cubicBezTo>
                      <a:cubicBezTo>
                        <a:pt x="98" y="285"/>
                        <a:pt x="98" y="285"/>
                        <a:pt x="98" y="285"/>
                      </a:cubicBezTo>
                      <a:cubicBezTo>
                        <a:pt x="96" y="289"/>
                        <a:pt x="96" y="289"/>
                        <a:pt x="96" y="289"/>
                      </a:cubicBezTo>
                      <a:cubicBezTo>
                        <a:pt x="93" y="293"/>
                        <a:pt x="93" y="293"/>
                        <a:pt x="93" y="293"/>
                      </a:cubicBezTo>
                      <a:cubicBezTo>
                        <a:pt x="93" y="296"/>
                        <a:pt x="93" y="296"/>
                        <a:pt x="93" y="296"/>
                      </a:cubicBezTo>
                      <a:cubicBezTo>
                        <a:pt x="93" y="296"/>
                        <a:pt x="95" y="300"/>
                        <a:pt x="96" y="300"/>
                      </a:cubicBezTo>
                      <a:cubicBezTo>
                        <a:pt x="96" y="300"/>
                        <a:pt x="97" y="301"/>
                        <a:pt x="97" y="301"/>
                      </a:cubicBezTo>
                      <a:cubicBezTo>
                        <a:pt x="98" y="306"/>
                        <a:pt x="98" y="306"/>
                        <a:pt x="98" y="306"/>
                      </a:cubicBezTo>
                      <a:cubicBezTo>
                        <a:pt x="98" y="306"/>
                        <a:pt x="98" y="309"/>
                        <a:pt x="99" y="309"/>
                      </a:cubicBezTo>
                      <a:cubicBezTo>
                        <a:pt x="100" y="308"/>
                        <a:pt x="101" y="305"/>
                        <a:pt x="101" y="305"/>
                      </a:cubicBezTo>
                      <a:cubicBezTo>
                        <a:pt x="101" y="305"/>
                        <a:pt x="99" y="303"/>
                        <a:pt x="99" y="301"/>
                      </a:cubicBezTo>
                      <a:cubicBezTo>
                        <a:pt x="99" y="299"/>
                        <a:pt x="101" y="296"/>
                        <a:pt x="101" y="296"/>
                      </a:cubicBezTo>
                      <a:cubicBezTo>
                        <a:pt x="103" y="295"/>
                        <a:pt x="103" y="295"/>
                        <a:pt x="103" y="295"/>
                      </a:cubicBezTo>
                      <a:cubicBezTo>
                        <a:pt x="103" y="295"/>
                        <a:pt x="102" y="295"/>
                        <a:pt x="103" y="296"/>
                      </a:cubicBezTo>
                      <a:cubicBezTo>
                        <a:pt x="104" y="298"/>
                        <a:pt x="104" y="297"/>
                        <a:pt x="105" y="298"/>
                      </a:cubicBezTo>
                      <a:cubicBezTo>
                        <a:pt x="105" y="299"/>
                        <a:pt x="108" y="302"/>
                        <a:pt x="108" y="302"/>
                      </a:cubicBezTo>
                      <a:cubicBezTo>
                        <a:pt x="108" y="302"/>
                        <a:pt x="111" y="305"/>
                        <a:pt x="112" y="306"/>
                      </a:cubicBezTo>
                      <a:cubicBezTo>
                        <a:pt x="113" y="307"/>
                        <a:pt x="114" y="309"/>
                        <a:pt x="115" y="309"/>
                      </a:cubicBezTo>
                      <a:cubicBezTo>
                        <a:pt x="116" y="308"/>
                        <a:pt x="117" y="309"/>
                        <a:pt x="117" y="307"/>
                      </a:cubicBezTo>
                      <a:cubicBezTo>
                        <a:pt x="117" y="305"/>
                        <a:pt x="118" y="305"/>
                        <a:pt x="118" y="303"/>
                      </a:cubicBezTo>
                      <a:cubicBezTo>
                        <a:pt x="117" y="302"/>
                        <a:pt x="117" y="299"/>
                        <a:pt x="117" y="299"/>
                      </a:cubicBezTo>
                      <a:cubicBezTo>
                        <a:pt x="117" y="299"/>
                        <a:pt x="117" y="298"/>
                        <a:pt x="118" y="298"/>
                      </a:cubicBezTo>
                      <a:cubicBezTo>
                        <a:pt x="120" y="298"/>
                        <a:pt x="120" y="300"/>
                        <a:pt x="120" y="300"/>
                      </a:cubicBezTo>
                      <a:cubicBezTo>
                        <a:pt x="120" y="300"/>
                        <a:pt x="121" y="303"/>
                        <a:pt x="122" y="304"/>
                      </a:cubicBezTo>
                      <a:cubicBezTo>
                        <a:pt x="123" y="304"/>
                        <a:pt x="124" y="304"/>
                        <a:pt x="125" y="305"/>
                      </a:cubicBezTo>
                      <a:cubicBezTo>
                        <a:pt x="126" y="307"/>
                        <a:pt x="131" y="308"/>
                        <a:pt x="131" y="308"/>
                      </a:cubicBezTo>
                      <a:cubicBezTo>
                        <a:pt x="131" y="308"/>
                        <a:pt x="132" y="307"/>
                        <a:pt x="133" y="306"/>
                      </a:cubicBezTo>
                      <a:cubicBezTo>
                        <a:pt x="133" y="305"/>
                        <a:pt x="135" y="305"/>
                        <a:pt x="135" y="305"/>
                      </a:cubicBezTo>
                      <a:cubicBezTo>
                        <a:pt x="135" y="305"/>
                        <a:pt x="134" y="303"/>
                        <a:pt x="137" y="304"/>
                      </a:cubicBezTo>
                      <a:cubicBezTo>
                        <a:pt x="139" y="304"/>
                        <a:pt x="140" y="305"/>
                        <a:pt x="140" y="304"/>
                      </a:cubicBezTo>
                      <a:cubicBezTo>
                        <a:pt x="141" y="303"/>
                        <a:pt x="143" y="299"/>
                        <a:pt x="143" y="299"/>
                      </a:cubicBezTo>
                      <a:cubicBezTo>
                        <a:pt x="143" y="299"/>
                        <a:pt x="142" y="296"/>
                        <a:pt x="145" y="297"/>
                      </a:cubicBezTo>
                      <a:cubicBezTo>
                        <a:pt x="147" y="299"/>
                        <a:pt x="158" y="301"/>
                        <a:pt x="158" y="301"/>
                      </a:cubicBezTo>
                      <a:cubicBezTo>
                        <a:pt x="157" y="303"/>
                        <a:pt x="157" y="303"/>
                        <a:pt x="157" y="303"/>
                      </a:cubicBezTo>
                      <a:cubicBezTo>
                        <a:pt x="153" y="302"/>
                        <a:pt x="153" y="302"/>
                        <a:pt x="153" y="302"/>
                      </a:cubicBezTo>
                      <a:cubicBezTo>
                        <a:pt x="150" y="303"/>
                        <a:pt x="150" y="303"/>
                        <a:pt x="150" y="303"/>
                      </a:cubicBezTo>
                      <a:cubicBezTo>
                        <a:pt x="150" y="303"/>
                        <a:pt x="149" y="303"/>
                        <a:pt x="148" y="305"/>
                      </a:cubicBezTo>
                      <a:cubicBezTo>
                        <a:pt x="148" y="306"/>
                        <a:pt x="148" y="307"/>
                        <a:pt x="147" y="308"/>
                      </a:cubicBezTo>
                      <a:cubicBezTo>
                        <a:pt x="147" y="309"/>
                        <a:pt x="146" y="310"/>
                        <a:pt x="145" y="310"/>
                      </a:cubicBezTo>
                      <a:cubicBezTo>
                        <a:pt x="145" y="311"/>
                        <a:pt x="141" y="314"/>
                        <a:pt x="141" y="314"/>
                      </a:cubicBezTo>
                      <a:cubicBezTo>
                        <a:pt x="139" y="317"/>
                        <a:pt x="139" y="317"/>
                        <a:pt x="139" y="317"/>
                      </a:cubicBezTo>
                      <a:cubicBezTo>
                        <a:pt x="137" y="322"/>
                        <a:pt x="137" y="322"/>
                        <a:pt x="137" y="322"/>
                      </a:cubicBezTo>
                      <a:cubicBezTo>
                        <a:pt x="137" y="322"/>
                        <a:pt x="137" y="326"/>
                        <a:pt x="138" y="326"/>
                      </a:cubicBezTo>
                      <a:cubicBezTo>
                        <a:pt x="139" y="327"/>
                        <a:pt x="141" y="330"/>
                        <a:pt x="141" y="330"/>
                      </a:cubicBezTo>
                      <a:cubicBezTo>
                        <a:pt x="141" y="330"/>
                        <a:pt x="141" y="332"/>
                        <a:pt x="141" y="333"/>
                      </a:cubicBezTo>
                      <a:cubicBezTo>
                        <a:pt x="141" y="334"/>
                        <a:pt x="141" y="335"/>
                        <a:pt x="142" y="337"/>
                      </a:cubicBezTo>
                      <a:cubicBezTo>
                        <a:pt x="143" y="338"/>
                        <a:pt x="144" y="342"/>
                        <a:pt x="144" y="342"/>
                      </a:cubicBezTo>
                      <a:cubicBezTo>
                        <a:pt x="145" y="342"/>
                        <a:pt x="145" y="342"/>
                        <a:pt x="145" y="342"/>
                      </a:cubicBezTo>
                      <a:cubicBezTo>
                        <a:pt x="145" y="345"/>
                        <a:pt x="145" y="345"/>
                        <a:pt x="145" y="345"/>
                      </a:cubicBezTo>
                      <a:cubicBezTo>
                        <a:pt x="145" y="345"/>
                        <a:pt x="145" y="348"/>
                        <a:pt x="146" y="348"/>
                      </a:cubicBezTo>
                      <a:cubicBezTo>
                        <a:pt x="148" y="348"/>
                        <a:pt x="151" y="346"/>
                        <a:pt x="151" y="346"/>
                      </a:cubicBezTo>
                      <a:cubicBezTo>
                        <a:pt x="159" y="344"/>
                        <a:pt x="159" y="344"/>
                        <a:pt x="159" y="344"/>
                      </a:cubicBezTo>
                      <a:cubicBezTo>
                        <a:pt x="159" y="344"/>
                        <a:pt x="158" y="348"/>
                        <a:pt x="158" y="349"/>
                      </a:cubicBezTo>
                      <a:cubicBezTo>
                        <a:pt x="158" y="350"/>
                        <a:pt x="156" y="350"/>
                        <a:pt x="155" y="351"/>
                      </a:cubicBezTo>
                      <a:cubicBezTo>
                        <a:pt x="155" y="352"/>
                        <a:pt x="155" y="353"/>
                        <a:pt x="155" y="353"/>
                      </a:cubicBezTo>
                      <a:cubicBezTo>
                        <a:pt x="155" y="353"/>
                        <a:pt x="154" y="356"/>
                        <a:pt x="153" y="356"/>
                      </a:cubicBezTo>
                      <a:cubicBezTo>
                        <a:pt x="151" y="356"/>
                        <a:pt x="149" y="357"/>
                        <a:pt x="149" y="357"/>
                      </a:cubicBezTo>
                      <a:cubicBezTo>
                        <a:pt x="149" y="357"/>
                        <a:pt x="148" y="355"/>
                        <a:pt x="148" y="358"/>
                      </a:cubicBezTo>
                      <a:cubicBezTo>
                        <a:pt x="147" y="360"/>
                        <a:pt x="146" y="362"/>
                        <a:pt x="146" y="363"/>
                      </a:cubicBezTo>
                      <a:cubicBezTo>
                        <a:pt x="146" y="364"/>
                        <a:pt x="144" y="365"/>
                        <a:pt x="147" y="366"/>
                      </a:cubicBezTo>
                      <a:cubicBezTo>
                        <a:pt x="149" y="366"/>
                        <a:pt x="149" y="369"/>
                        <a:pt x="149" y="369"/>
                      </a:cubicBezTo>
                      <a:cubicBezTo>
                        <a:pt x="149" y="369"/>
                        <a:pt x="147" y="371"/>
                        <a:pt x="146" y="372"/>
                      </a:cubicBezTo>
                      <a:cubicBezTo>
                        <a:pt x="145" y="373"/>
                        <a:pt x="144" y="372"/>
                        <a:pt x="144" y="373"/>
                      </a:cubicBezTo>
                      <a:cubicBezTo>
                        <a:pt x="144" y="374"/>
                        <a:pt x="146" y="379"/>
                        <a:pt x="146" y="379"/>
                      </a:cubicBezTo>
                      <a:cubicBezTo>
                        <a:pt x="146" y="379"/>
                        <a:pt x="146" y="382"/>
                        <a:pt x="144" y="382"/>
                      </a:cubicBezTo>
                      <a:cubicBezTo>
                        <a:pt x="142" y="382"/>
                        <a:pt x="142" y="382"/>
                        <a:pt x="141" y="382"/>
                      </a:cubicBezTo>
                      <a:cubicBezTo>
                        <a:pt x="140" y="382"/>
                        <a:pt x="139" y="382"/>
                        <a:pt x="139" y="382"/>
                      </a:cubicBezTo>
                      <a:cubicBezTo>
                        <a:pt x="139" y="382"/>
                        <a:pt x="140" y="383"/>
                        <a:pt x="140" y="385"/>
                      </a:cubicBezTo>
                      <a:cubicBezTo>
                        <a:pt x="140" y="387"/>
                        <a:pt x="140" y="389"/>
                        <a:pt x="140" y="389"/>
                      </a:cubicBezTo>
                      <a:cubicBezTo>
                        <a:pt x="137" y="388"/>
                        <a:pt x="137" y="388"/>
                        <a:pt x="137" y="388"/>
                      </a:cubicBezTo>
                      <a:cubicBezTo>
                        <a:pt x="134" y="385"/>
                        <a:pt x="134" y="385"/>
                        <a:pt x="134" y="385"/>
                      </a:cubicBezTo>
                      <a:cubicBezTo>
                        <a:pt x="134" y="385"/>
                        <a:pt x="131" y="385"/>
                        <a:pt x="130" y="385"/>
                      </a:cubicBezTo>
                      <a:cubicBezTo>
                        <a:pt x="129" y="386"/>
                        <a:pt x="126" y="386"/>
                        <a:pt x="126" y="386"/>
                      </a:cubicBezTo>
                      <a:cubicBezTo>
                        <a:pt x="126" y="386"/>
                        <a:pt x="121" y="384"/>
                        <a:pt x="120" y="383"/>
                      </a:cubicBezTo>
                      <a:cubicBezTo>
                        <a:pt x="120" y="382"/>
                        <a:pt x="120" y="382"/>
                        <a:pt x="119" y="383"/>
                      </a:cubicBezTo>
                      <a:cubicBezTo>
                        <a:pt x="119" y="383"/>
                        <a:pt x="120" y="383"/>
                        <a:pt x="119" y="383"/>
                      </a:cubicBezTo>
                      <a:cubicBezTo>
                        <a:pt x="118" y="384"/>
                        <a:pt x="120" y="384"/>
                        <a:pt x="116" y="384"/>
                      </a:cubicBezTo>
                      <a:cubicBezTo>
                        <a:pt x="112" y="385"/>
                        <a:pt x="108" y="386"/>
                        <a:pt x="108" y="386"/>
                      </a:cubicBezTo>
                      <a:cubicBezTo>
                        <a:pt x="108" y="386"/>
                        <a:pt x="111" y="383"/>
                        <a:pt x="110" y="382"/>
                      </a:cubicBezTo>
                      <a:cubicBezTo>
                        <a:pt x="109" y="381"/>
                        <a:pt x="110" y="382"/>
                        <a:pt x="108" y="381"/>
                      </a:cubicBezTo>
                      <a:cubicBezTo>
                        <a:pt x="107" y="380"/>
                        <a:pt x="105" y="378"/>
                        <a:pt x="105" y="377"/>
                      </a:cubicBezTo>
                      <a:cubicBezTo>
                        <a:pt x="105" y="376"/>
                        <a:pt x="105" y="374"/>
                        <a:pt x="103" y="374"/>
                      </a:cubicBezTo>
                      <a:cubicBezTo>
                        <a:pt x="102" y="374"/>
                        <a:pt x="101" y="372"/>
                        <a:pt x="99" y="374"/>
                      </a:cubicBezTo>
                      <a:cubicBezTo>
                        <a:pt x="98" y="375"/>
                        <a:pt x="97" y="375"/>
                        <a:pt x="97" y="376"/>
                      </a:cubicBezTo>
                      <a:cubicBezTo>
                        <a:pt x="96" y="377"/>
                        <a:pt x="92" y="378"/>
                        <a:pt x="92" y="378"/>
                      </a:cubicBezTo>
                      <a:cubicBezTo>
                        <a:pt x="92" y="378"/>
                        <a:pt x="95" y="382"/>
                        <a:pt x="95" y="383"/>
                      </a:cubicBezTo>
                      <a:cubicBezTo>
                        <a:pt x="95" y="384"/>
                        <a:pt x="97" y="388"/>
                        <a:pt x="97" y="388"/>
                      </a:cubicBezTo>
                      <a:cubicBezTo>
                        <a:pt x="104" y="388"/>
                        <a:pt x="104" y="388"/>
                        <a:pt x="104" y="388"/>
                      </a:cubicBezTo>
                      <a:cubicBezTo>
                        <a:pt x="104" y="388"/>
                        <a:pt x="99" y="390"/>
                        <a:pt x="99" y="392"/>
                      </a:cubicBezTo>
                      <a:cubicBezTo>
                        <a:pt x="98" y="393"/>
                        <a:pt x="98" y="394"/>
                        <a:pt x="97" y="395"/>
                      </a:cubicBezTo>
                      <a:cubicBezTo>
                        <a:pt x="96" y="396"/>
                        <a:pt x="96" y="397"/>
                        <a:pt x="94" y="398"/>
                      </a:cubicBezTo>
                      <a:cubicBezTo>
                        <a:pt x="91" y="398"/>
                        <a:pt x="88" y="399"/>
                        <a:pt x="86" y="400"/>
                      </a:cubicBezTo>
                      <a:cubicBezTo>
                        <a:pt x="85" y="401"/>
                        <a:pt x="84" y="401"/>
                        <a:pt x="84" y="402"/>
                      </a:cubicBezTo>
                      <a:cubicBezTo>
                        <a:pt x="84" y="404"/>
                        <a:pt x="78" y="403"/>
                        <a:pt x="84" y="405"/>
                      </a:cubicBezTo>
                      <a:cubicBezTo>
                        <a:pt x="90" y="406"/>
                        <a:pt x="91" y="407"/>
                        <a:pt x="91" y="407"/>
                      </a:cubicBezTo>
                      <a:cubicBezTo>
                        <a:pt x="91" y="407"/>
                        <a:pt x="94" y="404"/>
                        <a:pt x="95" y="403"/>
                      </a:cubicBezTo>
                      <a:cubicBezTo>
                        <a:pt x="97" y="401"/>
                        <a:pt x="97" y="401"/>
                        <a:pt x="101" y="401"/>
                      </a:cubicBezTo>
                      <a:cubicBezTo>
                        <a:pt x="105" y="402"/>
                        <a:pt x="105" y="401"/>
                        <a:pt x="105" y="402"/>
                      </a:cubicBezTo>
                      <a:cubicBezTo>
                        <a:pt x="105" y="404"/>
                        <a:pt x="105" y="405"/>
                        <a:pt x="105" y="407"/>
                      </a:cubicBezTo>
                      <a:cubicBezTo>
                        <a:pt x="104" y="409"/>
                        <a:pt x="102" y="410"/>
                        <a:pt x="104" y="413"/>
                      </a:cubicBezTo>
                      <a:cubicBezTo>
                        <a:pt x="106" y="415"/>
                        <a:pt x="103" y="417"/>
                        <a:pt x="103" y="418"/>
                      </a:cubicBezTo>
                      <a:cubicBezTo>
                        <a:pt x="103" y="418"/>
                        <a:pt x="101" y="421"/>
                        <a:pt x="102" y="421"/>
                      </a:cubicBezTo>
                      <a:cubicBezTo>
                        <a:pt x="103" y="422"/>
                        <a:pt x="103" y="422"/>
                        <a:pt x="103" y="422"/>
                      </a:cubicBezTo>
                      <a:cubicBezTo>
                        <a:pt x="103" y="422"/>
                        <a:pt x="101" y="427"/>
                        <a:pt x="101" y="428"/>
                      </a:cubicBezTo>
                      <a:cubicBezTo>
                        <a:pt x="101" y="428"/>
                        <a:pt x="98" y="434"/>
                        <a:pt x="97" y="434"/>
                      </a:cubicBezTo>
                      <a:cubicBezTo>
                        <a:pt x="96" y="435"/>
                        <a:pt x="98" y="435"/>
                        <a:pt x="92" y="437"/>
                      </a:cubicBezTo>
                      <a:cubicBezTo>
                        <a:pt x="86" y="438"/>
                        <a:pt x="83" y="439"/>
                        <a:pt x="83" y="439"/>
                      </a:cubicBezTo>
                      <a:cubicBezTo>
                        <a:pt x="78" y="441"/>
                        <a:pt x="78" y="441"/>
                        <a:pt x="78" y="441"/>
                      </a:cubicBezTo>
                      <a:cubicBezTo>
                        <a:pt x="74" y="444"/>
                        <a:pt x="74" y="444"/>
                        <a:pt x="74" y="444"/>
                      </a:cubicBezTo>
                      <a:cubicBezTo>
                        <a:pt x="71" y="444"/>
                        <a:pt x="71" y="444"/>
                        <a:pt x="71" y="444"/>
                      </a:cubicBezTo>
                      <a:cubicBezTo>
                        <a:pt x="66" y="443"/>
                        <a:pt x="66" y="443"/>
                        <a:pt x="66" y="443"/>
                      </a:cubicBezTo>
                      <a:cubicBezTo>
                        <a:pt x="66" y="443"/>
                        <a:pt x="61" y="446"/>
                        <a:pt x="61" y="447"/>
                      </a:cubicBezTo>
                      <a:cubicBezTo>
                        <a:pt x="61" y="447"/>
                        <a:pt x="58" y="448"/>
                        <a:pt x="57" y="449"/>
                      </a:cubicBezTo>
                      <a:cubicBezTo>
                        <a:pt x="57" y="450"/>
                        <a:pt x="62" y="452"/>
                        <a:pt x="62" y="452"/>
                      </a:cubicBezTo>
                      <a:cubicBezTo>
                        <a:pt x="63" y="455"/>
                        <a:pt x="63" y="455"/>
                        <a:pt x="63" y="455"/>
                      </a:cubicBezTo>
                      <a:cubicBezTo>
                        <a:pt x="61" y="455"/>
                        <a:pt x="61" y="455"/>
                        <a:pt x="61" y="455"/>
                      </a:cubicBezTo>
                      <a:cubicBezTo>
                        <a:pt x="57" y="456"/>
                        <a:pt x="57" y="456"/>
                        <a:pt x="57" y="456"/>
                      </a:cubicBezTo>
                      <a:cubicBezTo>
                        <a:pt x="57" y="458"/>
                        <a:pt x="57" y="458"/>
                        <a:pt x="57" y="458"/>
                      </a:cubicBezTo>
                      <a:cubicBezTo>
                        <a:pt x="59" y="459"/>
                        <a:pt x="59" y="459"/>
                        <a:pt x="59" y="459"/>
                      </a:cubicBezTo>
                      <a:cubicBezTo>
                        <a:pt x="59" y="459"/>
                        <a:pt x="60" y="460"/>
                        <a:pt x="61" y="460"/>
                      </a:cubicBezTo>
                      <a:cubicBezTo>
                        <a:pt x="63" y="460"/>
                        <a:pt x="67" y="458"/>
                        <a:pt x="67" y="458"/>
                      </a:cubicBezTo>
                      <a:cubicBezTo>
                        <a:pt x="62" y="461"/>
                        <a:pt x="62" y="461"/>
                        <a:pt x="62" y="461"/>
                      </a:cubicBezTo>
                      <a:cubicBezTo>
                        <a:pt x="61" y="464"/>
                        <a:pt x="61" y="464"/>
                        <a:pt x="61" y="464"/>
                      </a:cubicBezTo>
                      <a:cubicBezTo>
                        <a:pt x="61" y="464"/>
                        <a:pt x="60" y="466"/>
                        <a:pt x="62" y="466"/>
                      </a:cubicBezTo>
                      <a:cubicBezTo>
                        <a:pt x="64" y="466"/>
                        <a:pt x="66" y="466"/>
                        <a:pt x="66" y="466"/>
                      </a:cubicBezTo>
                      <a:cubicBezTo>
                        <a:pt x="66" y="466"/>
                        <a:pt x="67" y="464"/>
                        <a:pt x="69" y="464"/>
                      </a:cubicBezTo>
                      <a:cubicBezTo>
                        <a:pt x="72" y="465"/>
                        <a:pt x="72" y="465"/>
                        <a:pt x="72" y="465"/>
                      </a:cubicBezTo>
                      <a:cubicBezTo>
                        <a:pt x="72" y="465"/>
                        <a:pt x="73" y="462"/>
                        <a:pt x="74" y="462"/>
                      </a:cubicBezTo>
                      <a:cubicBezTo>
                        <a:pt x="74" y="462"/>
                        <a:pt x="73" y="462"/>
                        <a:pt x="76" y="462"/>
                      </a:cubicBezTo>
                      <a:cubicBezTo>
                        <a:pt x="78" y="463"/>
                        <a:pt x="85" y="462"/>
                        <a:pt x="85" y="462"/>
                      </a:cubicBezTo>
                      <a:cubicBezTo>
                        <a:pt x="85" y="462"/>
                        <a:pt x="86" y="462"/>
                        <a:pt x="86" y="463"/>
                      </a:cubicBezTo>
                      <a:cubicBezTo>
                        <a:pt x="86" y="465"/>
                        <a:pt x="88" y="465"/>
                        <a:pt x="89" y="467"/>
                      </a:cubicBezTo>
                      <a:cubicBezTo>
                        <a:pt x="91" y="468"/>
                        <a:pt x="95" y="469"/>
                        <a:pt x="95" y="469"/>
                      </a:cubicBezTo>
                      <a:cubicBezTo>
                        <a:pt x="92" y="470"/>
                        <a:pt x="92" y="470"/>
                        <a:pt x="92" y="470"/>
                      </a:cubicBezTo>
                      <a:cubicBezTo>
                        <a:pt x="88" y="469"/>
                        <a:pt x="88" y="469"/>
                        <a:pt x="88" y="469"/>
                      </a:cubicBezTo>
                      <a:cubicBezTo>
                        <a:pt x="88" y="469"/>
                        <a:pt x="86" y="468"/>
                        <a:pt x="86" y="469"/>
                      </a:cubicBezTo>
                      <a:cubicBezTo>
                        <a:pt x="86" y="471"/>
                        <a:pt x="85" y="474"/>
                        <a:pt x="85" y="474"/>
                      </a:cubicBezTo>
                      <a:cubicBezTo>
                        <a:pt x="86" y="474"/>
                        <a:pt x="91" y="475"/>
                        <a:pt x="91" y="475"/>
                      </a:cubicBezTo>
                      <a:cubicBezTo>
                        <a:pt x="96" y="475"/>
                        <a:pt x="96" y="475"/>
                        <a:pt x="96" y="475"/>
                      </a:cubicBezTo>
                      <a:cubicBezTo>
                        <a:pt x="98" y="474"/>
                        <a:pt x="98" y="474"/>
                        <a:pt x="98" y="474"/>
                      </a:cubicBezTo>
                      <a:cubicBezTo>
                        <a:pt x="101" y="472"/>
                        <a:pt x="101" y="472"/>
                        <a:pt x="101" y="472"/>
                      </a:cubicBezTo>
                      <a:cubicBezTo>
                        <a:pt x="101" y="472"/>
                        <a:pt x="102" y="474"/>
                        <a:pt x="101" y="474"/>
                      </a:cubicBezTo>
                      <a:cubicBezTo>
                        <a:pt x="101" y="475"/>
                        <a:pt x="102" y="477"/>
                        <a:pt x="102" y="477"/>
                      </a:cubicBezTo>
                      <a:cubicBezTo>
                        <a:pt x="102" y="477"/>
                        <a:pt x="102" y="480"/>
                        <a:pt x="103" y="480"/>
                      </a:cubicBezTo>
                      <a:cubicBezTo>
                        <a:pt x="104" y="480"/>
                        <a:pt x="106" y="483"/>
                        <a:pt x="106" y="483"/>
                      </a:cubicBezTo>
                      <a:cubicBezTo>
                        <a:pt x="108" y="486"/>
                        <a:pt x="108" y="486"/>
                        <a:pt x="108" y="486"/>
                      </a:cubicBezTo>
                      <a:cubicBezTo>
                        <a:pt x="112" y="487"/>
                        <a:pt x="112" y="487"/>
                        <a:pt x="112" y="487"/>
                      </a:cubicBezTo>
                      <a:cubicBezTo>
                        <a:pt x="112" y="487"/>
                        <a:pt x="115" y="487"/>
                        <a:pt x="116" y="487"/>
                      </a:cubicBezTo>
                      <a:cubicBezTo>
                        <a:pt x="117" y="488"/>
                        <a:pt x="119" y="489"/>
                        <a:pt x="119" y="488"/>
                      </a:cubicBezTo>
                      <a:cubicBezTo>
                        <a:pt x="120" y="487"/>
                        <a:pt x="122" y="485"/>
                        <a:pt x="122" y="485"/>
                      </a:cubicBezTo>
                      <a:cubicBezTo>
                        <a:pt x="126" y="482"/>
                        <a:pt x="126" y="482"/>
                        <a:pt x="126" y="482"/>
                      </a:cubicBezTo>
                      <a:cubicBezTo>
                        <a:pt x="126" y="482"/>
                        <a:pt x="128" y="482"/>
                        <a:pt x="130" y="482"/>
                      </a:cubicBezTo>
                      <a:cubicBezTo>
                        <a:pt x="131" y="482"/>
                        <a:pt x="138" y="481"/>
                        <a:pt x="138" y="481"/>
                      </a:cubicBezTo>
                      <a:cubicBezTo>
                        <a:pt x="138" y="481"/>
                        <a:pt x="139" y="479"/>
                        <a:pt x="141" y="478"/>
                      </a:cubicBezTo>
                      <a:cubicBezTo>
                        <a:pt x="142" y="477"/>
                        <a:pt x="146" y="475"/>
                        <a:pt x="146" y="475"/>
                      </a:cubicBezTo>
                      <a:cubicBezTo>
                        <a:pt x="153" y="473"/>
                        <a:pt x="153" y="473"/>
                        <a:pt x="153" y="473"/>
                      </a:cubicBezTo>
                      <a:cubicBezTo>
                        <a:pt x="147" y="475"/>
                        <a:pt x="147" y="475"/>
                        <a:pt x="147" y="475"/>
                      </a:cubicBezTo>
                      <a:cubicBezTo>
                        <a:pt x="145" y="477"/>
                        <a:pt x="145" y="477"/>
                        <a:pt x="145" y="477"/>
                      </a:cubicBezTo>
                      <a:cubicBezTo>
                        <a:pt x="141" y="480"/>
                        <a:pt x="141" y="480"/>
                        <a:pt x="141" y="480"/>
                      </a:cubicBezTo>
                      <a:cubicBezTo>
                        <a:pt x="139" y="482"/>
                        <a:pt x="139" y="482"/>
                        <a:pt x="139" y="482"/>
                      </a:cubicBezTo>
                      <a:cubicBezTo>
                        <a:pt x="139" y="482"/>
                        <a:pt x="137" y="483"/>
                        <a:pt x="136" y="484"/>
                      </a:cubicBezTo>
                      <a:cubicBezTo>
                        <a:pt x="136" y="484"/>
                        <a:pt x="133" y="489"/>
                        <a:pt x="133" y="489"/>
                      </a:cubicBezTo>
                      <a:cubicBezTo>
                        <a:pt x="130" y="490"/>
                        <a:pt x="130" y="490"/>
                        <a:pt x="130" y="490"/>
                      </a:cubicBezTo>
                      <a:cubicBezTo>
                        <a:pt x="130" y="490"/>
                        <a:pt x="127" y="492"/>
                        <a:pt x="126" y="494"/>
                      </a:cubicBezTo>
                      <a:cubicBezTo>
                        <a:pt x="125" y="495"/>
                        <a:pt x="124" y="496"/>
                        <a:pt x="124" y="496"/>
                      </a:cubicBezTo>
                      <a:cubicBezTo>
                        <a:pt x="124" y="496"/>
                        <a:pt x="125" y="498"/>
                        <a:pt x="120" y="498"/>
                      </a:cubicBezTo>
                      <a:cubicBezTo>
                        <a:pt x="115" y="497"/>
                        <a:pt x="111" y="496"/>
                        <a:pt x="111" y="496"/>
                      </a:cubicBezTo>
                      <a:cubicBezTo>
                        <a:pt x="111" y="496"/>
                        <a:pt x="106" y="495"/>
                        <a:pt x="105" y="495"/>
                      </a:cubicBezTo>
                      <a:cubicBezTo>
                        <a:pt x="104" y="494"/>
                        <a:pt x="104" y="494"/>
                        <a:pt x="101" y="494"/>
                      </a:cubicBezTo>
                      <a:cubicBezTo>
                        <a:pt x="99" y="494"/>
                        <a:pt x="89" y="491"/>
                        <a:pt x="89" y="491"/>
                      </a:cubicBezTo>
                      <a:cubicBezTo>
                        <a:pt x="89" y="491"/>
                        <a:pt x="87" y="491"/>
                        <a:pt x="86" y="492"/>
                      </a:cubicBezTo>
                      <a:cubicBezTo>
                        <a:pt x="85" y="493"/>
                        <a:pt x="83" y="493"/>
                        <a:pt x="83" y="494"/>
                      </a:cubicBezTo>
                      <a:cubicBezTo>
                        <a:pt x="83" y="496"/>
                        <a:pt x="83" y="497"/>
                        <a:pt x="83" y="497"/>
                      </a:cubicBezTo>
                      <a:cubicBezTo>
                        <a:pt x="82" y="500"/>
                        <a:pt x="82" y="500"/>
                        <a:pt x="82" y="500"/>
                      </a:cubicBezTo>
                      <a:cubicBezTo>
                        <a:pt x="78" y="501"/>
                        <a:pt x="78" y="501"/>
                        <a:pt x="78" y="501"/>
                      </a:cubicBezTo>
                      <a:cubicBezTo>
                        <a:pt x="73" y="501"/>
                        <a:pt x="73" y="501"/>
                        <a:pt x="73" y="501"/>
                      </a:cubicBezTo>
                      <a:close/>
                      <a:moveTo>
                        <a:pt x="43" y="266"/>
                      </a:moveTo>
                      <a:cubicBezTo>
                        <a:pt x="43" y="266"/>
                        <a:pt x="43" y="266"/>
                        <a:pt x="43" y="266"/>
                      </a:cubicBezTo>
                      <a:cubicBezTo>
                        <a:pt x="44" y="266"/>
                        <a:pt x="50" y="266"/>
                        <a:pt x="50" y="266"/>
                      </a:cubicBezTo>
                      <a:cubicBezTo>
                        <a:pt x="54" y="266"/>
                        <a:pt x="54" y="266"/>
                        <a:pt x="54" y="266"/>
                      </a:cubicBezTo>
                      <a:cubicBezTo>
                        <a:pt x="54" y="266"/>
                        <a:pt x="59" y="266"/>
                        <a:pt x="60" y="266"/>
                      </a:cubicBezTo>
                      <a:cubicBezTo>
                        <a:pt x="61" y="266"/>
                        <a:pt x="62" y="267"/>
                        <a:pt x="62" y="267"/>
                      </a:cubicBezTo>
                      <a:cubicBezTo>
                        <a:pt x="62" y="267"/>
                        <a:pt x="64" y="265"/>
                        <a:pt x="65" y="266"/>
                      </a:cubicBezTo>
                      <a:cubicBezTo>
                        <a:pt x="66" y="266"/>
                        <a:pt x="68" y="269"/>
                        <a:pt x="68" y="269"/>
                      </a:cubicBezTo>
                      <a:cubicBezTo>
                        <a:pt x="70" y="274"/>
                        <a:pt x="70" y="274"/>
                        <a:pt x="70" y="274"/>
                      </a:cubicBezTo>
                      <a:cubicBezTo>
                        <a:pt x="71" y="280"/>
                        <a:pt x="71" y="280"/>
                        <a:pt x="71" y="280"/>
                      </a:cubicBezTo>
                      <a:cubicBezTo>
                        <a:pt x="72" y="285"/>
                        <a:pt x="72" y="285"/>
                        <a:pt x="72" y="285"/>
                      </a:cubicBezTo>
                      <a:cubicBezTo>
                        <a:pt x="76" y="290"/>
                        <a:pt x="76" y="290"/>
                        <a:pt x="76" y="290"/>
                      </a:cubicBezTo>
                      <a:cubicBezTo>
                        <a:pt x="74" y="293"/>
                        <a:pt x="74" y="293"/>
                        <a:pt x="74" y="293"/>
                      </a:cubicBezTo>
                      <a:cubicBezTo>
                        <a:pt x="74" y="293"/>
                        <a:pt x="74" y="297"/>
                        <a:pt x="74" y="297"/>
                      </a:cubicBezTo>
                      <a:cubicBezTo>
                        <a:pt x="73" y="297"/>
                        <a:pt x="70" y="298"/>
                        <a:pt x="70" y="298"/>
                      </a:cubicBezTo>
                      <a:cubicBezTo>
                        <a:pt x="69" y="299"/>
                        <a:pt x="68" y="302"/>
                        <a:pt x="68" y="302"/>
                      </a:cubicBezTo>
                      <a:cubicBezTo>
                        <a:pt x="68" y="302"/>
                        <a:pt x="72" y="298"/>
                        <a:pt x="73" y="299"/>
                      </a:cubicBezTo>
                      <a:cubicBezTo>
                        <a:pt x="74" y="299"/>
                        <a:pt x="77" y="299"/>
                        <a:pt x="77" y="299"/>
                      </a:cubicBezTo>
                      <a:cubicBezTo>
                        <a:pt x="79" y="301"/>
                        <a:pt x="79" y="301"/>
                        <a:pt x="79" y="301"/>
                      </a:cubicBezTo>
                      <a:cubicBezTo>
                        <a:pt x="81" y="305"/>
                        <a:pt x="81" y="305"/>
                        <a:pt x="81" y="305"/>
                      </a:cubicBezTo>
                      <a:cubicBezTo>
                        <a:pt x="81" y="310"/>
                        <a:pt x="81" y="310"/>
                        <a:pt x="81" y="310"/>
                      </a:cubicBezTo>
                      <a:cubicBezTo>
                        <a:pt x="81" y="310"/>
                        <a:pt x="81" y="314"/>
                        <a:pt x="80" y="314"/>
                      </a:cubicBezTo>
                      <a:cubicBezTo>
                        <a:pt x="80" y="315"/>
                        <a:pt x="79" y="316"/>
                        <a:pt x="78" y="316"/>
                      </a:cubicBezTo>
                      <a:cubicBezTo>
                        <a:pt x="77" y="316"/>
                        <a:pt x="76" y="316"/>
                        <a:pt x="77" y="314"/>
                      </a:cubicBezTo>
                      <a:cubicBezTo>
                        <a:pt x="77" y="312"/>
                        <a:pt x="78" y="310"/>
                        <a:pt x="78" y="310"/>
                      </a:cubicBezTo>
                      <a:cubicBezTo>
                        <a:pt x="78" y="309"/>
                        <a:pt x="79" y="305"/>
                        <a:pt x="78" y="305"/>
                      </a:cubicBezTo>
                      <a:cubicBezTo>
                        <a:pt x="76" y="305"/>
                        <a:pt x="75" y="303"/>
                        <a:pt x="75" y="305"/>
                      </a:cubicBezTo>
                      <a:cubicBezTo>
                        <a:pt x="74" y="306"/>
                        <a:pt x="75" y="310"/>
                        <a:pt x="75" y="310"/>
                      </a:cubicBezTo>
                      <a:cubicBezTo>
                        <a:pt x="75" y="310"/>
                        <a:pt x="76" y="311"/>
                        <a:pt x="76" y="312"/>
                      </a:cubicBezTo>
                      <a:cubicBezTo>
                        <a:pt x="75" y="313"/>
                        <a:pt x="75" y="312"/>
                        <a:pt x="74" y="314"/>
                      </a:cubicBezTo>
                      <a:cubicBezTo>
                        <a:pt x="72" y="315"/>
                        <a:pt x="75" y="316"/>
                        <a:pt x="75" y="316"/>
                      </a:cubicBezTo>
                      <a:cubicBezTo>
                        <a:pt x="76" y="318"/>
                        <a:pt x="76" y="318"/>
                        <a:pt x="76" y="318"/>
                      </a:cubicBezTo>
                      <a:cubicBezTo>
                        <a:pt x="76" y="318"/>
                        <a:pt x="76" y="321"/>
                        <a:pt x="75" y="321"/>
                      </a:cubicBezTo>
                      <a:cubicBezTo>
                        <a:pt x="74" y="322"/>
                        <a:pt x="74" y="323"/>
                        <a:pt x="70" y="321"/>
                      </a:cubicBezTo>
                      <a:cubicBezTo>
                        <a:pt x="66" y="320"/>
                        <a:pt x="65" y="319"/>
                        <a:pt x="65" y="319"/>
                      </a:cubicBezTo>
                      <a:cubicBezTo>
                        <a:pt x="64" y="324"/>
                        <a:pt x="64" y="324"/>
                        <a:pt x="64" y="324"/>
                      </a:cubicBezTo>
                      <a:cubicBezTo>
                        <a:pt x="62" y="328"/>
                        <a:pt x="62" y="328"/>
                        <a:pt x="62" y="328"/>
                      </a:cubicBezTo>
                      <a:cubicBezTo>
                        <a:pt x="55" y="330"/>
                        <a:pt x="55" y="330"/>
                        <a:pt x="55" y="330"/>
                      </a:cubicBezTo>
                      <a:cubicBezTo>
                        <a:pt x="51" y="325"/>
                        <a:pt x="51" y="325"/>
                        <a:pt x="51" y="325"/>
                      </a:cubicBezTo>
                      <a:cubicBezTo>
                        <a:pt x="51" y="325"/>
                        <a:pt x="48" y="326"/>
                        <a:pt x="47" y="326"/>
                      </a:cubicBezTo>
                      <a:cubicBezTo>
                        <a:pt x="46" y="325"/>
                        <a:pt x="41" y="324"/>
                        <a:pt x="41" y="324"/>
                      </a:cubicBezTo>
                      <a:cubicBezTo>
                        <a:pt x="40" y="319"/>
                        <a:pt x="40" y="319"/>
                        <a:pt x="40" y="319"/>
                      </a:cubicBezTo>
                      <a:cubicBezTo>
                        <a:pt x="35" y="314"/>
                        <a:pt x="35" y="314"/>
                        <a:pt x="35" y="314"/>
                      </a:cubicBezTo>
                      <a:cubicBezTo>
                        <a:pt x="36" y="310"/>
                        <a:pt x="36" y="310"/>
                        <a:pt x="36" y="310"/>
                      </a:cubicBezTo>
                      <a:cubicBezTo>
                        <a:pt x="33" y="304"/>
                        <a:pt x="33" y="304"/>
                        <a:pt x="33" y="304"/>
                      </a:cubicBezTo>
                      <a:cubicBezTo>
                        <a:pt x="27" y="305"/>
                        <a:pt x="27" y="305"/>
                        <a:pt x="27" y="305"/>
                      </a:cubicBezTo>
                      <a:cubicBezTo>
                        <a:pt x="25" y="310"/>
                        <a:pt x="25" y="310"/>
                        <a:pt x="25" y="310"/>
                      </a:cubicBezTo>
                      <a:cubicBezTo>
                        <a:pt x="25" y="310"/>
                        <a:pt x="27" y="312"/>
                        <a:pt x="25" y="313"/>
                      </a:cubicBezTo>
                      <a:cubicBezTo>
                        <a:pt x="23" y="313"/>
                        <a:pt x="19" y="314"/>
                        <a:pt x="19" y="314"/>
                      </a:cubicBezTo>
                      <a:cubicBezTo>
                        <a:pt x="19" y="314"/>
                        <a:pt x="14" y="315"/>
                        <a:pt x="13" y="315"/>
                      </a:cubicBezTo>
                      <a:cubicBezTo>
                        <a:pt x="13" y="315"/>
                        <a:pt x="9" y="309"/>
                        <a:pt x="9" y="309"/>
                      </a:cubicBezTo>
                      <a:cubicBezTo>
                        <a:pt x="9" y="309"/>
                        <a:pt x="7" y="309"/>
                        <a:pt x="6" y="309"/>
                      </a:cubicBezTo>
                      <a:cubicBezTo>
                        <a:pt x="5" y="309"/>
                        <a:pt x="5" y="310"/>
                        <a:pt x="5" y="308"/>
                      </a:cubicBezTo>
                      <a:cubicBezTo>
                        <a:pt x="5" y="306"/>
                        <a:pt x="4" y="303"/>
                        <a:pt x="4" y="303"/>
                      </a:cubicBezTo>
                      <a:cubicBezTo>
                        <a:pt x="4" y="303"/>
                        <a:pt x="7" y="306"/>
                        <a:pt x="4" y="302"/>
                      </a:cubicBezTo>
                      <a:cubicBezTo>
                        <a:pt x="1" y="298"/>
                        <a:pt x="0" y="294"/>
                        <a:pt x="0" y="294"/>
                      </a:cubicBezTo>
                      <a:cubicBezTo>
                        <a:pt x="5" y="291"/>
                        <a:pt x="5" y="291"/>
                        <a:pt x="5" y="291"/>
                      </a:cubicBezTo>
                      <a:cubicBezTo>
                        <a:pt x="5" y="291"/>
                        <a:pt x="10" y="291"/>
                        <a:pt x="11" y="292"/>
                      </a:cubicBezTo>
                      <a:cubicBezTo>
                        <a:pt x="12" y="292"/>
                        <a:pt x="13" y="290"/>
                        <a:pt x="13" y="290"/>
                      </a:cubicBezTo>
                      <a:cubicBezTo>
                        <a:pt x="13" y="290"/>
                        <a:pt x="15" y="288"/>
                        <a:pt x="13" y="287"/>
                      </a:cubicBezTo>
                      <a:cubicBezTo>
                        <a:pt x="12" y="287"/>
                        <a:pt x="10" y="285"/>
                        <a:pt x="10" y="285"/>
                      </a:cubicBezTo>
                      <a:cubicBezTo>
                        <a:pt x="10" y="285"/>
                        <a:pt x="8" y="283"/>
                        <a:pt x="11" y="282"/>
                      </a:cubicBezTo>
                      <a:cubicBezTo>
                        <a:pt x="14" y="282"/>
                        <a:pt x="14" y="282"/>
                        <a:pt x="16" y="282"/>
                      </a:cubicBezTo>
                      <a:cubicBezTo>
                        <a:pt x="18" y="283"/>
                        <a:pt x="19" y="286"/>
                        <a:pt x="20" y="282"/>
                      </a:cubicBezTo>
                      <a:cubicBezTo>
                        <a:pt x="21" y="279"/>
                        <a:pt x="19" y="279"/>
                        <a:pt x="22" y="278"/>
                      </a:cubicBezTo>
                      <a:cubicBezTo>
                        <a:pt x="25" y="278"/>
                        <a:pt x="27" y="277"/>
                        <a:pt x="27" y="276"/>
                      </a:cubicBezTo>
                      <a:cubicBezTo>
                        <a:pt x="27" y="275"/>
                        <a:pt x="27" y="271"/>
                        <a:pt x="28" y="271"/>
                      </a:cubicBezTo>
                      <a:cubicBezTo>
                        <a:pt x="29" y="271"/>
                        <a:pt x="34" y="272"/>
                        <a:pt x="34" y="272"/>
                      </a:cubicBezTo>
                      <a:cubicBezTo>
                        <a:pt x="34" y="272"/>
                        <a:pt x="36" y="270"/>
                        <a:pt x="38" y="271"/>
                      </a:cubicBezTo>
                      <a:cubicBezTo>
                        <a:pt x="40" y="271"/>
                        <a:pt x="41" y="270"/>
                        <a:pt x="41" y="270"/>
                      </a:cubicBezTo>
                      <a:cubicBezTo>
                        <a:pt x="41" y="270"/>
                        <a:pt x="43" y="266"/>
                        <a:pt x="43" y="266"/>
                      </a:cubicBezTo>
                      <a:close/>
                      <a:moveTo>
                        <a:pt x="74" y="227"/>
                      </a:moveTo>
                      <a:cubicBezTo>
                        <a:pt x="74" y="227"/>
                        <a:pt x="74" y="227"/>
                        <a:pt x="74" y="227"/>
                      </a:cubicBezTo>
                      <a:cubicBezTo>
                        <a:pt x="74" y="227"/>
                        <a:pt x="73" y="224"/>
                        <a:pt x="74" y="224"/>
                      </a:cubicBezTo>
                      <a:cubicBezTo>
                        <a:pt x="75" y="224"/>
                        <a:pt x="78" y="223"/>
                        <a:pt x="78" y="223"/>
                      </a:cubicBezTo>
                      <a:cubicBezTo>
                        <a:pt x="78" y="223"/>
                        <a:pt x="79" y="221"/>
                        <a:pt x="79" y="222"/>
                      </a:cubicBezTo>
                      <a:cubicBezTo>
                        <a:pt x="80" y="222"/>
                        <a:pt x="80" y="224"/>
                        <a:pt x="79" y="224"/>
                      </a:cubicBezTo>
                      <a:cubicBezTo>
                        <a:pt x="79" y="224"/>
                        <a:pt x="77" y="226"/>
                        <a:pt x="77" y="226"/>
                      </a:cubicBezTo>
                      <a:cubicBezTo>
                        <a:pt x="77" y="226"/>
                        <a:pt x="75" y="227"/>
                        <a:pt x="75" y="227"/>
                      </a:cubicBezTo>
                      <a:cubicBezTo>
                        <a:pt x="74" y="227"/>
                        <a:pt x="74" y="227"/>
                        <a:pt x="74" y="227"/>
                      </a:cubicBezTo>
                      <a:close/>
                      <a:moveTo>
                        <a:pt x="87" y="248"/>
                      </a:moveTo>
                      <a:cubicBezTo>
                        <a:pt x="87" y="248"/>
                        <a:pt x="87" y="248"/>
                        <a:pt x="87" y="248"/>
                      </a:cubicBezTo>
                      <a:cubicBezTo>
                        <a:pt x="87" y="248"/>
                        <a:pt x="87" y="249"/>
                        <a:pt x="86" y="249"/>
                      </a:cubicBezTo>
                      <a:cubicBezTo>
                        <a:pt x="85" y="249"/>
                        <a:pt x="83" y="249"/>
                        <a:pt x="83" y="248"/>
                      </a:cubicBezTo>
                      <a:cubicBezTo>
                        <a:pt x="83" y="248"/>
                        <a:pt x="84" y="246"/>
                        <a:pt x="85" y="246"/>
                      </a:cubicBezTo>
                      <a:cubicBezTo>
                        <a:pt x="85" y="246"/>
                        <a:pt x="86" y="245"/>
                        <a:pt x="86" y="245"/>
                      </a:cubicBezTo>
                      <a:cubicBezTo>
                        <a:pt x="86" y="245"/>
                        <a:pt x="86" y="244"/>
                        <a:pt x="86" y="244"/>
                      </a:cubicBezTo>
                      <a:cubicBezTo>
                        <a:pt x="87" y="244"/>
                        <a:pt x="88" y="246"/>
                        <a:pt x="88" y="246"/>
                      </a:cubicBezTo>
                      <a:cubicBezTo>
                        <a:pt x="87" y="248"/>
                        <a:pt x="87" y="248"/>
                        <a:pt x="87" y="248"/>
                      </a:cubicBezTo>
                      <a:close/>
                      <a:moveTo>
                        <a:pt x="95" y="255"/>
                      </a:moveTo>
                      <a:cubicBezTo>
                        <a:pt x="95" y="255"/>
                        <a:pt x="95" y="255"/>
                        <a:pt x="95" y="255"/>
                      </a:cubicBezTo>
                      <a:cubicBezTo>
                        <a:pt x="95" y="254"/>
                        <a:pt x="97" y="252"/>
                        <a:pt x="97" y="251"/>
                      </a:cubicBezTo>
                      <a:cubicBezTo>
                        <a:pt x="98" y="251"/>
                        <a:pt x="98" y="250"/>
                        <a:pt x="98" y="250"/>
                      </a:cubicBezTo>
                      <a:cubicBezTo>
                        <a:pt x="99" y="249"/>
                        <a:pt x="100" y="249"/>
                        <a:pt x="101" y="249"/>
                      </a:cubicBezTo>
                      <a:cubicBezTo>
                        <a:pt x="103" y="250"/>
                        <a:pt x="105" y="252"/>
                        <a:pt x="104" y="252"/>
                      </a:cubicBezTo>
                      <a:cubicBezTo>
                        <a:pt x="104" y="253"/>
                        <a:pt x="103" y="252"/>
                        <a:pt x="103" y="255"/>
                      </a:cubicBezTo>
                      <a:cubicBezTo>
                        <a:pt x="103" y="258"/>
                        <a:pt x="103" y="258"/>
                        <a:pt x="103" y="259"/>
                      </a:cubicBezTo>
                      <a:cubicBezTo>
                        <a:pt x="104" y="260"/>
                        <a:pt x="103" y="263"/>
                        <a:pt x="103" y="263"/>
                      </a:cubicBezTo>
                      <a:cubicBezTo>
                        <a:pt x="103" y="263"/>
                        <a:pt x="102" y="265"/>
                        <a:pt x="101" y="265"/>
                      </a:cubicBezTo>
                      <a:cubicBezTo>
                        <a:pt x="101" y="265"/>
                        <a:pt x="101" y="265"/>
                        <a:pt x="99" y="264"/>
                      </a:cubicBezTo>
                      <a:cubicBezTo>
                        <a:pt x="98" y="264"/>
                        <a:pt x="95" y="262"/>
                        <a:pt x="95" y="262"/>
                      </a:cubicBezTo>
                      <a:cubicBezTo>
                        <a:pt x="95" y="262"/>
                        <a:pt x="95" y="257"/>
                        <a:pt x="95" y="257"/>
                      </a:cubicBezTo>
                      <a:cubicBezTo>
                        <a:pt x="95" y="256"/>
                        <a:pt x="94" y="255"/>
                        <a:pt x="94" y="255"/>
                      </a:cubicBezTo>
                      <a:cubicBezTo>
                        <a:pt x="95" y="255"/>
                        <a:pt x="95" y="255"/>
                        <a:pt x="95" y="255"/>
                      </a:cubicBezTo>
                      <a:close/>
                      <a:moveTo>
                        <a:pt x="74" y="210"/>
                      </a:moveTo>
                      <a:cubicBezTo>
                        <a:pt x="74" y="210"/>
                        <a:pt x="74" y="210"/>
                        <a:pt x="74" y="210"/>
                      </a:cubicBezTo>
                      <a:cubicBezTo>
                        <a:pt x="74" y="210"/>
                        <a:pt x="74" y="209"/>
                        <a:pt x="76" y="209"/>
                      </a:cubicBezTo>
                      <a:cubicBezTo>
                        <a:pt x="77" y="210"/>
                        <a:pt x="77" y="211"/>
                        <a:pt x="77" y="212"/>
                      </a:cubicBezTo>
                      <a:cubicBezTo>
                        <a:pt x="77" y="213"/>
                        <a:pt x="80" y="213"/>
                        <a:pt x="79" y="214"/>
                      </a:cubicBezTo>
                      <a:cubicBezTo>
                        <a:pt x="77" y="215"/>
                        <a:pt x="76" y="215"/>
                        <a:pt x="76" y="215"/>
                      </a:cubicBezTo>
                      <a:cubicBezTo>
                        <a:pt x="76" y="214"/>
                        <a:pt x="75" y="215"/>
                        <a:pt x="75" y="214"/>
                      </a:cubicBezTo>
                      <a:cubicBezTo>
                        <a:pt x="75" y="213"/>
                        <a:pt x="73" y="212"/>
                        <a:pt x="73" y="212"/>
                      </a:cubicBezTo>
                      <a:cubicBezTo>
                        <a:pt x="73" y="212"/>
                        <a:pt x="74" y="210"/>
                        <a:pt x="74" y="210"/>
                      </a:cubicBezTo>
                      <a:close/>
                      <a:moveTo>
                        <a:pt x="61" y="196"/>
                      </a:moveTo>
                      <a:cubicBezTo>
                        <a:pt x="61" y="196"/>
                        <a:pt x="61" y="196"/>
                        <a:pt x="61" y="196"/>
                      </a:cubicBezTo>
                      <a:cubicBezTo>
                        <a:pt x="63" y="197"/>
                        <a:pt x="64" y="196"/>
                        <a:pt x="64" y="197"/>
                      </a:cubicBezTo>
                      <a:cubicBezTo>
                        <a:pt x="65" y="197"/>
                        <a:pt x="66" y="198"/>
                        <a:pt x="65" y="199"/>
                      </a:cubicBezTo>
                      <a:cubicBezTo>
                        <a:pt x="63" y="200"/>
                        <a:pt x="63" y="200"/>
                        <a:pt x="61" y="200"/>
                      </a:cubicBezTo>
                      <a:cubicBezTo>
                        <a:pt x="60" y="200"/>
                        <a:pt x="62" y="200"/>
                        <a:pt x="60" y="200"/>
                      </a:cubicBezTo>
                      <a:cubicBezTo>
                        <a:pt x="58" y="200"/>
                        <a:pt x="55" y="202"/>
                        <a:pt x="57" y="199"/>
                      </a:cubicBezTo>
                      <a:cubicBezTo>
                        <a:pt x="59" y="197"/>
                        <a:pt x="61" y="196"/>
                        <a:pt x="61" y="196"/>
                      </a:cubicBezTo>
                      <a:close/>
                      <a:moveTo>
                        <a:pt x="72" y="191"/>
                      </a:moveTo>
                      <a:cubicBezTo>
                        <a:pt x="72" y="191"/>
                        <a:pt x="72" y="191"/>
                        <a:pt x="72" y="191"/>
                      </a:cubicBezTo>
                      <a:cubicBezTo>
                        <a:pt x="73" y="191"/>
                        <a:pt x="74" y="189"/>
                        <a:pt x="75" y="190"/>
                      </a:cubicBezTo>
                      <a:cubicBezTo>
                        <a:pt x="76" y="191"/>
                        <a:pt x="78" y="192"/>
                        <a:pt x="76" y="193"/>
                      </a:cubicBezTo>
                      <a:cubicBezTo>
                        <a:pt x="74" y="194"/>
                        <a:pt x="74" y="194"/>
                        <a:pt x="73" y="195"/>
                      </a:cubicBezTo>
                      <a:cubicBezTo>
                        <a:pt x="71" y="196"/>
                        <a:pt x="69" y="197"/>
                        <a:pt x="68" y="197"/>
                      </a:cubicBezTo>
                      <a:cubicBezTo>
                        <a:pt x="67" y="197"/>
                        <a:pt x="66" y="195"/>
                        <a:pt x="67" y="195"/>
                      </a:cubicBezTo>
                      <a:cubicBezTo>
                        <a:pt x="68" y="195"/>
                        <a:pt x="69" y="194"/>
                        <a:pt x="70" y="194"/>
                      </a:cubicBezTo>
                      <a:cubicBezTo>
                        <a:pt x="70" y="193"/>
                        <a:pt x="72" y="191"/>
                        <a:pt x="72" y="191"/>
                      </a:cubicBezTo>
                      <a:close/>
                      <a:moveTo>
                        <a:pt x="78" y="171"/>
                      </a:moveTo>
                      <a:cubicBezTo>
                        <a:pt x="78" y="171"/>
                        <a:pt x="78" y="171"/>
                        <a:pt x="78" y="171"/>
                      </a:cubicBezTo>
                      <a:cubicBezTo>
                        <a:pt x="78" y="171"/>
                        <a:pt x="78" y="168"/>
                        <a:pt x="79" y="169"/>
                      </a:cubicBezTo>
                      <a:cubicBezTo>
                        <a:pt x="81" y="169"/>
                        <a:pt x="81" y="169"/>
                        <a:pt x="81" y="170"/>
                      </a:cubicBezTo>
                      <a:cubicBezTo>
                        <a:pt x="81" y="171"/>
                        <a:pt x="83" y="170"/>
                        <a:pt x="81" y="171"/>
                      </a:cubicBezTo>
                      <a:cubicBezTo>
                        <a:pt x="80" y="171"/>
                        <a:pt x="78" y="171"/>
                        <a:pt x="78" y="171"/>
                      </a:cubicBezTo>
                      <a:close/>
                      <a:moveTo>
                        <a:pt x="87" y="181"/>
                      </a:moveTo>
                      <a:cubicBezTo>
                        <a:pt x="87" y="181"/>
                        <a:pt x="87" y="181"/>
                        <a:pt x="87" y="181"/>
                      </a:cubicBezTo>
                      <a:cubicBezTo>
                        <a:pt x="87" y="181"/>
                        <a:pt x="88" y="179"/>
                        <a:pt x="89" y="179"/>
                      </a:cubicBezTo>
                      <a:cubicBezTo>
                        <a:pt x="89" y="179"/>
                        <a:pt x="90" y="179"/>
                        <a:pt x="90" y="180"/>
                      </a:cubicBezTo>
                      <a:cubicBezTo>
                        <a:pt x="90" y="181"/>
                        <a:pt x="90" y="183"/>
                        <a:pt x="89" y="183"/>
                      </a:cubicBezTo>
                      <a:cubicBezTo>
                        <a:pt x="88" y="183"/>
                        <a:pt x="88" y="184"/>
                        <a:pt x="87" y="183"/>
                      </a:cubicBezTo>
                      <a:cubicBezTo>
                        <a:pt x="86" y="183"/>
                        <a:pt x="87" y="181"/>
                        <a:pt x="87" y="181"/>
                      </a:cubicBezTo>
                      <a:close/>
                      <a:moveTo>
                        <a:pt x="82" y="177"/>
                      </a:moveTo>
                      <a:cubicBezTo>
                        <a:pt x="82" y="177"/>
                        <a:pt x="82" y="177"/>
                        <a:pt x="82" y="177"/>
                      </a:cubicBezTo>
                      <a:cubicBezTo>
                        <a:pt x="82" y="177"/>
                        <a:pt x="81" y="173"/>
                        <a:pt x="83" y="173"/>
                      </a:cubicBezTo>
                      <a:cubicBezTo>
                        <a:pt x="85" y="172"/>
                        <a:pt x="86" y="172"/>
                        <a:pt x="86" y="172"/>
                      </a:cubicBezTo>
                      <a:cubicBezTo>
                        <a:pt x="86" y="172"/>
                        <a:pt x="89" y="176"/>
                        <a:pt x="89" y="176"/>
                      </a:cubicBezTo>
                      <a:cubicBezTo>
                        <a:pt x="88" y="177"/>
                        <a:pt x="88" y="178"/>
                        <a:pt x="86" y="178"/>
                      </a:cubicBezTo>
                      <a:cubicBezTo>
                        <a:pt x="85" y="178"/>
                        <a:pt x="84" y="179"/>
                        <a:pt x="84" y="178"/>
                      </a:cubicBezTo>
                      <a:cubicBezTo>
                        <a:pt x="83" y="177"/>
                        <a:pt x="82" y="177"/>
                        <a:pt x="82" y="177"/>
                      </a:cubicBezTo>
                      <a:close/>
                      <a:moveTo>
                        <a:pt x="45" y="174"/>
                      </a:moveTo>
                      <a:cubicBezTo>
                        <a:pt x="45" y="174"/>
                        <a:pt x="45" y="174"/>
                        <a:pt x="45" y="174"/>
                      </a:cubicBezTo>
                      <a:cubicBezTo>
                        <a:pt x="46" y="174"/>
                        <a:pt x="46" y="173"/>
                        <a:pt x="46" y="175"/>
                      </a:cubicBezTo>
                      <a:cubicBezTo>
                        <a:pt x="46" y="176"/>
                        <a:pt x="46" y="177"/>
                        <a:pt x="46" y="177"/>
                      </a:cubicBezTo>
                      <a:cubicBezTo>
                        <a:pt x="46" y="177"/>
                        <a:pt x="45" y="179"/>
                        <a:pt x="44" y="178"/>
                      </a:cubicBezTo>
                      <a:cubicBezTo>
                        <a:pt x="43" y="177"/>
                        <a:pt x="43" y="176"/>
                        <a:pt x="43" y="176"/>
                      </a:cubicBezTo>
                      <a:cubicBezTo>
                        <a:pt x="45" y="174"/>
                        <a:pt x="45" y="174"/>
                        <a:pt x="45" y="174"/>
                      </a:cubicBezTo>
                      <a:close/>
                      <a:moveTo>
                        <a:pt x="53" y="164"/>
                      </a:moveTo>
                      <a:cubicBezTo>
                        <a:pt x="53" y="164"/>
                        <a:pt x="53" y="164"/>
                        <a:pt x="53" y="164"/>
                      </a:cubicBezTo>
                      <a:cubicBezTo>
                        <a:pt x="54" y="165"/>
                        <a:pt x="56" y="167"/>
                        <a:pt x="56" y="167"/>
                      </a:cubicBezTo>
                      <a:cubicBezTo>
                        <a:pt x="53" y="170"/>
                        <a:pt x="53" y="170"/>
                        <a:pt x="53" y="170"/>
                      </a:cubicBezTo>
                      <a:cubicBezTo>
                        <a:pt x="53" y="170"/>
                        <a:pt x="50" y="171"/>
                        <a:pt x="50" y="172"/>
                      </a:cubicBezTo>
                      <a:cubicBezTo>
                        <a:pt x="49" y="172"/>
                        <a:pt x="51" y="175"/>
                        <a:pt x="49" y="174"/>
                      </a:cubicBezTo>
                      <a:cubicBezTo>
                        <a:pt x="47" y="173"/>
                        <a:pt x="46" y="171"/>
                        <a:pt x="47" y="171"/>
                      </a:cubicBezTo>
                      <a:cubicBezTo>
                        <a:pt x="48" y="170"/>
                        <a:pt x="48" y="170"/>
                        <a:pt x="49" y="169"/>
                      </a:cubicBezTo>
                      <a:cubicBezTo>
                        <a:pt x="50" y="168"/>
                        <a:pt x="52" y="165"/>
                        <a:pt x="52" y="165"/>
                      </a:cubicBezTo>
                      <a:cubicBezTo>
                        <a:pt x="53" y="164"/>
                        <a:pt x="53" y="164"/>
                        <a:pt x="53" y="164"/>
                      </a:cubicBezTo>
                      <a:close/>
                      <a:moveTo>
                        <a:pt x="58" y="150"/>
                      </a:moveTo>
                      <a:cubicBezTo>
                        <a:pt x="58" y="150"/>
                        <a:pt x="58" y="150"/>
                        <a:pt x="58" y="150"/>
                      </a:cubicBezTo>
                      <a:cubicBezTo>
                        <a:pt x="58" y="150"/>
                        <a:pt x="60" y="150"/>
                        <a:pt x="61" y="151"/>
                      </a:cubicBezTo>
                      <a:cubicBezTo>
                        <a:pt x="61" y="151"/>
                        <a:pt x="62" y="154"/>
                        <a:pt x="62" y="154"/>
                      </a:cubicBezTo>
                      <a:cubicBezTo>
                        <a:pt x="62" y="154"/>
                        <a:pt x="63" y="155"/>
                        <a:pt x="62" y="156"/>
                      </a:cubicBezTo>
                      <a:cubicBezTo>
                        <a:pt x="61" y="157"/>
                        <a:pt x="59" y="158"/>
                        <a:pt x="59" y="158"/>
                      </a:cubicBezTo>
                      <a:cubicBezTo>
                        <a:pt x="59" y="163"/>
                        <a:pt x="59" y="163"/>
                        <a:pt x="59" y="163"/>
                      </a:cubicBezTo>
                      <a:cubicBezTo>
                        <a:pt x="58" y="165"/>
                        <a:pt x="58" y="165"/>
                        <a:pt x="58" y="165"/>
                      </a:cubicBezTo>
                      <a:cubicBezTo>
                        <a:pt x="55" y="164"/>
                        <a:pt x="55" y="164"/>
                        <a:pt x="55" y="164"/>
                      </a:cubicBezTo>
                      <a:cubicBezTo>
                        <a:pt x="55" y="158"/>
                        <a:pt x="55" y="158"/>
                        <a:pt x="55" y="158"/>
                      </a:cubicBezTo>
                      <a:cubicBezTo>
                        <a:pt x="54" y="155"/>
                        <a:pt x="54" y="155"/>
                        <a:pt x="54" y="155"/>
                      </a:cubicBezTo>
                      <a:cubicBezTo>
                        <a:pt x="57" y="152"/>
                        <a:pt x="57" y="152"/>
                        <a:pt x="57" y="152"/>
                      </a:cubicBezTo>
                      <a:cubicBezTo>
                        <a:pt x="58" y="150"/>
                        <a:pt x="58" y="150"/>
                        <a:pt x="58" y="150"/>
                      </a:cubicBezTo>
                      <a:close/>
                      <a:moveTo>
                        <a:pt x="60" y="142"/>
                      </a:moveTo>
                      <a:cubicBezTo>
                        <a:pt x="60" y="142"/>
                        <a:pt x="60" y="142"/>
                        <a:pt x="60" y="142"/>
                      </a:cubicBezTo>
                      <a:cubicBezTo>
                        <a:pt x="60" y="142"/>
                        <a:pt x="62" y="141"/>
                        <a:pt x="63" y="142"/>
                      </a:cubicBezTo>
                      <a:cubicBezTo>
                        <a:pt x="64" y="143"/>
                        <a:pt x="64" y="141"/>
                        <a:pt x="65" y="143"/>
                      </a:cubicBezTo>
                      <a:cubicBezTo>
                        <a:pt x="66" y="145"/>
                        <a:pt x="67" y="145"/>
                        <a:pt x="66" y="146"/>
                      </a:cubicBezTo>
                      <a:cubicBezTo>
                        <a:pt x="66" y="147"/>
                        <a:pt x="66" y="148"/>
                        <a:pt x="65" y="149"/>
                      </a:cubicBezTo>
                      <a:cubicBezTo>
                        <a:pt x="64" y="150"/>
                        <a:pt x="65" y="151"/>
                        <a:pt x="63" y="150"/>
                      </a:cubicBezTo>
                      <a:cubicBezTo>
                        <a:pt x="61" y="149"/>
                        <a:pt x="61" y="149"/>
                        <a:pt x="60" y="148"/>
                      </a:cubicBezTo>
                      <a:cubicBezTo>
                        <a:pt x="59" y="147"/>
                        <a:pt x="59" y="147"/>
                        <a:pt x="59" y="147"/>
                      </a:cubicBezTo>
                      <a:cubicBezTo>
                        <a:pt x="60" y="142"/>
                        <a:pt x="60" y="142"/>
                        <a:pt x="60" y="142"/>
                      </a:cubicBezTo>
                      <a:close/>
                      <a:moveTo>
                        <a:pt x="69" y="132"/>
                      </a:moveTo>
                      <a:cubicBezTo>
                        <a:pt x="69" y="132"/>
                        <a:pt x="69" y="132"/>
                        <a:pt x="69" y="132"/>
                      </a:cubicBezTo>
                      <a:cubicBezTo>
                        <a:pt x="69" y="132"/>
                        <a:pt x="70" y="131"/>
                        <a:pt x="69" y="133"/>
                      </a:cubicBezTo>
                      <a:cubicBezTo>
                        <a:pt x="67" y="136"/>
                        <a:pt x="67" y="137"/>
                        <a:pt x="68" y="137"/>
                      </a:cubicBezTo>
                      <a:cubicBezTo>
                        <a:pt x="68" y="137"/>
                        <a:pt x="69" y="137"/>
                        <a:pt x="69" y="137"/>
                      </a:cubicBezTo>
                      <a:cubicBezTo>
                        <a:pt x="69" y="141"/>
                        <a:pt x="69" y="141"/>
                        <a:pt x="69" y="141"/>
                      </a:cubicBezTo>
                      <a:cubicBezTo>
                        <a:pt x="69" y="141"/>
                        <a:pt x="69" y="142"/>
                        <a:pt x="66" y="141"/>
                      </a:cubicBezTo>
                      <a:cubicBezTo>
                        <a:pt x="63" y="141"/>
                        <a:pt x="61" y="140"/>
                        <a:pt x="61" y="140"/>
                      </a:cubicBezTo>
                      <a:cubicBezTo>
                        <a:pt x="58" y="137"/>
                        <a:pt x="58" y="137"/>
                        <a:pt x="58" y="137"/>
                      </a:cubicBezTo>
                      <a:cubicBezTo>
                        <a:pt x="58" y="137"/>
                        <a:pt x="57" y="136"/>
                        <a:pt x="59" y="134"/>
                      </a:cubicBezTo>
                      <a:cubicBezTo>
                        <a:pt x="60" y="132"/>
                        <a:pt x="63" y="133"/>
                        <a:pt x="63" y="133"/>
                      </a:cubicBezTo>
                      <a:cubicBezTo>
                        <a:pt x="63" y="133"/>
                        <a:pt x="64" y="135"/>
                        <a:pt x="65" y="133"/>
                      </a:cubicBezTo>
                      <a:cubicBezTo>
                        <a:pt x="66" y="131"/>
                        <a:pt x="66" y="129"/>
                        <a:pt x="67" y="130"/>
                      </a:cubicBezTo>
                      <a:cubicBezTo>
                        <a:pt x="68" y="131"/>
                        <a:pt x="69" y="132"/>
                        <a:pt x="69" y="132"/>
                      </a:cubicBezTo>
                      <a:close/>
                      <a:moveTo>
                        <a:pt x="77" y="121"/>
                      </a:moveTo>
                      <a:cubicBezTo>
                        <a:pt x="77" y="121"/>
                        <a:pt x="77" y="121"/>
                        <a:pt x="77" y="121"/>
                      </a:cubicBezTo>
                      <a:cubicBezTo>
                        <a:pt x="76" y="120"/>
                        <a:pt x="76" y="118"/>
                        <a:pt x="76" y="118"/>
                      </a:cubicBezTo>
                      <a:cubicBezTo>
                        <a:pt x="77" y="116"/>
                        <a:pt x="77" y="116"/>
                        <a:pt x="77" y="116"/>
                      </a:cubicBezTo>
                      <a:cubicBezTo>
                        <a:pt x="77" y="116"/>
                        <a:pt x="75" y="114"/>
                        <a:pt x="75" y="113"/>
                      </a:cubicBezTo>
                      <a:cubicBezTo>
                        <a:pt x="75" y="112"/>
                        <a:pt x="75" y="110"/>
                        <a:pt x="77" y="109"/>
                      </a:cubicBezTo>
                      <a:cubicBezTo>
                        <a:pt x="78" y="108"/>
                        <a:pt x="79" y="106"/>
                        <a:pt x="80" y="106"/>
                      </a:cubicBezTo>
                      <a:cubicBezTo>
                        <a:pt x="80" y="107"/>
                        <a:pt x="80" y="107"/>
                        <a:pt x="81" y="109"/>
                      </a:cubicBezTo>
                      <a:cubicBezTo>
                        <a:pt x="82" y="110"/>
                        <a:pt x="82" y="112"/>
                        <a:pt x="83" y="111"/>
                      </a:cubicBezTo>
                      <a:cubicBezTo>
                        <a:pt x="84" y="110"/>
                        <a:pt x="84" y="109"/>
                        <a:pt x="85" y="108"/>
                      </a:cubicBezTo>
                      <a:cubicBezTo>
                        <a:pt x="86" y="107"/>
                        <a:pt x="87" y="104"/>
                        <a:pt x="87" y="104"/>
                      </a:cubicBezTo>
                      <a:cubicBezTo>
                        <a:pt x="87" y="104"/>
                        <a:pt x="89" y="105"/>
                        <a:pt x="90" y="104"/>
                      </a:cubicBezTo>
                      <a:cubicBezTo>
                        <a:pt x="92" y="103"/>
                        <a:pt x="90" y="103"/>
                        <a:pt x="93" y="102"/>
                      </a:cubicBezTo>
                      <a:cubicBezTo>
                        <a:pt x="96" y="102"/>
                        <a:pt x="97" y="102"/>
                        <a:pt x="98" y="100"/>
                      </a:cubicBezTo>
                      <a:cubicBezTo>
                        <a:pt x="99" y="99"/>
                        <a:pt x="99" y="100"/>
                        <a:pt x="100" y="99"/>
                      </a:cubicBezTo>
                      <a:cubicBezTo>
                        <a:pt x="101" y="98"/>
                        <a:pt x="102" y="97"/>
                        <a:pt x="103" y="97"/>
                      </a:cubicBezTo>
                      <a:cubicBezTo>
                        <a:pt x="104" y="98"/>
                        <a:pt x="105" y="99"/>
                        <a:pt x="105" y="100"/>
                      </a:cubicBezTo>
                      <a:cubicBezTo>
                        <a:pt x="105" y="101"/>
                        <a:pt x="106" y="103"/>
                        <a:pt x="105" y="104"/>
                      </a:cubicBezTo>
                      <a:cubicBezTo>
                        <a:pt x="104" y="105"/>
                        <a:pt x="104" y="106"/>
                        <a:pt x="103" y="106"/>
                      </a:cubicBezTo>
                      <a:cubicBezTo>
                        <a:pt x="102" y="107"/>
                        <a:pt x="99" y="109"/>
                        <a:pt x="99" y="109"/>
                      </a:cubicBezTo>
                      <a:cubicBezTo>
                        <a:pt x="99" y="109"/>
                        <a:pt x="99" y="111"/>
                        <a:pt x="100" y="111"/>
                      </a:cubicBezTo>
                      <a:cubicBezTo>
                        <a:pt x="101" y="111"/>
                        <a:pt x="103" y="108"/>
                        <a:pt x="103" y="110"/>
                      </a:cubicBezTo>
                      <a:cubicBezTo>
                        <a:pt x="102" y="112"/>
                        <a:pt x="105" y="113"/>
                        <a:pt x="102" y="114"/>
                      </a:cubicBezTo>
                      <a:cubicBezTo>
                        <a:pt x="100" y="114"/>
                        <a:pt x="98" y="113"/>
                        <a:pt x="98" y="113"/>
                      </a:cubicBezTo>
                      <a:cubicBezTo>
                        <a:pt x="96" y="116"/>
                        <a:pt x="96" y="116"/>
                        <a:pt x="96" y="116"/>
                      </a:cubicBezTo>
                      <a:cubicBezTo>
                        <a:pt x="96" y="116"/>
                        <a:pt x="94" y="115"/>
                        <a:pt x="94" y="116"/>
                      </a:cubicBezTo>
                      <a:cubicBezTo>
                        <a:pt x="94" y="117"/>
                        <a:pt x="95" y="119"/>
                        <a:pt x="95" y="119"/>
                      </a:cubicBezTo>
                      <a:cubicBezTo>
                        <a:pt x="93" y="121"/>
                        <a:pt x="93" y="121"/>
                        <a:pt x="93" y="121"/>
                      </a:cubicBezTo>
                      <a:cubicBezTo>
                        <a:pt x="93" y="121"/>
                        <a:pt x="90" y="120"/>
                        <a:pt x="90" y="121"/>
                      </a:cubicBezTo>
                      <a:cubicBezTo>
                        <a:pt x="91" y="122"/>
                        <a:pt x="92" y="124"/>
                        <a:pt x="92" y="124"/>
                      </a:cubicBezTo>
                      <a:cubicBezTo>
                        <a:pt x="92" y="124"/>
                        <a:pt x="92" y="126"/>
                        <a:pt x="90" y="126"/>
                      </a:cubicBezTo>
                      <a:cubicBezTo>
                        <a:pt x="88" y="126"/>
                        <a:pt x="86" y="126"/>
                        <a:pt x="85" y="126"/>
                      </a:cubicBezTo>
                      <a:cubicBezTo>
                        <a:pt x="84" y="125"/>
                        <a:pt x="84" y="125"/>
                        <a:pt x="84" y="125"/>
                      </a:cubicBezTo>
                      <a:cubicBezTo>
                        <a:pt x="83" y="128"/>
                        <a:pt x="83" y="128"/>
                        <a:pt x="83" y="128"/>
                      </a:cubicBezTo>
                      <a:cubicBezTo>
                        <a:pt x="83" y="128"/>
                        <a:pt x="84" y="129"/>
                        <a:pt x="83" y="130"/>
                      </a:cubicBezTo>
                      <a:cubicBezTo>
                        <a:pt x="82" y="131"/>
                        <a:pt x="79" y="131"/>
                        <a:pt x="79" y="131"/>
                      </a:cubicBezTo>
                      <a:cubicBezTo>
                        <a:pt x="79" y="131"/>
                        <a:pt x="78" y="131"/>
                        <a:pt x="78" y="131"/>
                      </a:cubicBezTo>
                      <a:cubicBezTo>
                        <a:pt x="78" y="132"/>
                        <a:pt x="77" y="134"/>
                        <a:pt x="76" y="134"/>
                      </a:cubicBezTo>
                      <a:cubicBezTo>
                        <a:pt x="75" y="133"/>
                        <a:pt x="73" y="132"/>
                        <a:pt x="72" y="131"/>
                      </a:cubicBezTo>
                      <a:cubicBezTo>
                        <a:pt x="72" y="130"/>
                        <a:pt x="71" y="126"/>
                        <a:pt x="73" y="127"/>
                      </a:cubicBezTo>
                      <a:cubicBezTo>
                        <a:pt x="75" y="127"/>
                        <a:pt x="77" y="128"/>
                        <a:pt x="77" y="126"/>
                      </a:cubicBezTo>
                      <a:cubicBezTo>
                        <a:pt x="77" y="124"/>
                        <a:pt x="76" y="123"/>
                        <a:pt x="76" y="123"/>
                      </a:cubicBezTo>
                      <a:cubicBezTo>
                        <a:pt x="77" y="121"/>
                        <a:pt x="77" y="121"/>
                        <a:pt x="77" y="121"/>
                      </a:cubicBezTo>
                      <a:close/>
                      <a:moveTo>
                        <a:pt x="267" y="15"/>
                      </a:moveTo>
                      <a:cubicBezTo>
                        <a:pt x="267" y="15"/>
                        <a:pt x="267" y="15"/>
                        <a:pt x="267" y="15"/>
                      </a:cubicBezTo>
                      <a:cubicBezTo>
                        <a:pt x="268" y="15"/>
                        <a:pt x="271" y="16"/>
                        <a:pt x="271" y="15"/>
                      </a:cubicBezTo>
                      <a:cubicBezTo>
                        <a:pt x="271" y="15"/>
                        <a:pt x="272" y="13"/>
                        <a:pt x="272" y="13"/>
                      </a:cubicBezTo>
                      <a:cubicBezTo>
                        <a:pt x="271" y="12"/>
                        <a:pt x="270" y="11"/>
                        <a:pt x="269" y="12"/>
                      </a:cubicBezTo>
                      <a:cubicBezTo>
                        <a:pt x="268" y="12"/>
                        <a:pt x="267" y="13"/>
                        <a:pt x="267" y="13"/>
                      </a:cubicBezTo>
                      <a:cubicBezTo>
                        <a:pt x="267" y="14"/>
                        <a:pt x="267" y="15"/>
                        <a:pt x="267" y="15"/>
                      </a:cubicBezTo>
                      <a:close/>
                      <a:moveTo>
                        <a:pt x="235" y="32"/>
                      </a:moveTo>
                      <a:cubicBezTo>
                        <a:pt x="235" y="32"/>
                        <a:pt x="235" y="32"/>
                        <a:pt x="235" y="32"/>
                      </a:cubicBezTo>
                      <a:cubicBezTo>
                        <a:pt x="236" y="32"/>
                        <a:pt x="237" y="30"/>
                        <a:pt x="237" y="31"/>
                      </a:cubicBezTo>
                      <a:cubicBezTo>
                        <a:pt x="237" y="33"/>
                        <a:pt x="238" y="33"/>
                        <a:pt x="237" y="34"/>
                      </a:cubicBezTo>
                      <a:cubicBezTo>
                        <a:pt x="236" y="34"/>
                        <a:pt x="234" y="36"/>
                        <a:pt x="233" y="35"/>
                      </a:cubicBezTo>
                      <a:cubicBezTo>
                        <a:pt x="233" y="35"/>
                        <a:pt x="234" y="31"/>
                        <a:pt x="234" y="31"/>
                      </a:cubicBezTo>
                      <a:cubicBezTo>
                        <a:pt x="235" y="32"/>
                        <a:pt x="235" y="32"/>
                        <a:pt x="235" y="32"/>
                      </a:cubicBezTo>
                      <a:close/>
                      <a:moveTo>
                        <a:pt x="254" y="34"/>
                      </a:moveTo>
                      <a:cubicBezTo>
                        <a:pt x="254" y="34"/>
                        <a:pt x="254" y="34"/>
                        <a:pt x="254" y="34"/>
                      </a:cubicBezTo>
                      <a:cubicBezTo>
                        <a:pt x="254" y="34"/>
                        <a:pt x="254" y="35"/>
                        <a:pt x="252" y="34"/>
                      </a:cubicBezTo>
                      <a:cubicBezTo>
                        <a:pt x="249" y="34"/>
                        <a:pt x="248" y="35"/>
                        <a:pt x="248" y="33"/>
                      </a:cubicBezTo>
                      <a:cubicBezTo>
                        <a:pt x="248" y="32"/>
                        <a:pt x="249" y="31"/>
                        <a:pt x="247" y="30"/>
                      </a:cubicBezTo>
                      <a:cubicBezTo>
                        <a:pt x="245" y="30"/>
                        <a:pt x="245" y="30"/>
                        <a:pt x="245" y="30"/>
                      </a:cubicBezTo>
                      <a:cubicBezTo>
                        <a:pt x="245" y="30"/>
                        <a:pt x="244" y="28"/>
                        <a:pt x="245" y="27"/>
                      </a:cubicBezTo>
                      <a:cubicBezTo>
                        <a:pt x="247" y="25"/>
                        <a:pt x="247" y="26"/>
                        <a:pt x="248" y="26"/>
                      </a:cubicBezTo>
                      <a:cubicBezTo>
                        <a:pt x="250" y="26"/>
                        <a:pt x="249" y="26"/>
                        <a:pt x="251" y="27"/>
                      </a:cubicBezTo>
                      <a:cubicBezTo>
                        <a:pt x="253" y="27"/>
                        <a:pt x="254" y="28"/>
                        <a:pt x="254" y="26"/>
                      </a:cubicBezTo>
                      <a:cubicBezTo>
                        <a:pt x="254" y="25"/>
                        <a:pt x="255" y="25"/>
                        <a:pt x="253" y="23"/>
                      </a:cubicBezTo>
                      <a:cubicBezTo>
                        <a:pt x="252" y="21"/>
                        <a:pt x="252" y="22"/>
                        <a:pt x="251" y="21"/>
                      </a:cubicBezTo>
                      <a:cubicBezTo>
                        <a:pt x="250" y="19"/>
                        <a:pt x="248" y="17"/>
                        <a:pt x="249" y="16"/>
                      </a:cubicBezTo>
                      <a:cubicBezTo>
                        <a:pt x="249" y="15"/>
                        <a:pt x="248" y="15"/>
                        <a:pt x="250" y="13"/>
                      </a:cubicBezTo>
                      <a:cubicBezTo>
                        <a:pt x="253" y="12"/>
                        <a:pt x="255" y="10"/>
                        <a:pt x="256" y="10"/>
                      </a:cubicBezTo>
                      <a:cubicBezTo>
                        <a:pt x="257" y="10"/>
                        <a:pt x="258" y="10"/>
                        <a:pt x="258" y="11"/>
                      </a:cubicBezTo>
                      <a:cubicBezTo>
                        <a:pt x="258" y="13"/>
                        <a:pt x="258" y="14"/>
                        <a:pt x="257" y="15"/>
                      </a:cubicBezTo>
                      <a:cubicBezTo>
                        <a:pt x="256" y="15"/>
                        <a:pt x="256" y="16"/>
                        <a:pt x="256" y="16"/>
                      </a:cubicBezTo>
                      <a:cubicBezTo>
                        <a:pt x="256" y="16"/>
                        <a:pt x="255" y="19"/>
                        <a:pt x="257" y="19"/>
                      </a:cubicBezTo>
                      <a:cubicBezTo>
                        <a:pt x="259" y="18"/>
                        <a:pt x="260" y="16"/>
                        <a:pt x="260" y="15"/>
                      </a:cubicBezTo>
                      <a:cubicBezTo>
                        <a:pt x="261" y="14"/>
                        <a:pt x="262" y="15"/>
                        <a:pt x="261" y="13"/>
                      </a:cubicBezTo>
                      <a:cubicBezTo>
                        <a:pt x="261" y="11"/>
                        <a:pt x="260" y="10"/>
                        <a:pt x="261" y="10"/>
                      </a:cubicBezTo>
                      <a:cubicBezTo>
                        <a:pt x="262" y="10"/>
                        <a:pt x="263" y="12"/>
                        <a:pt x="264" y="10"/>
                      </a:cubicBezTo>
                      <a:cubicBezTo>
                        <a:pt x="266" y="7"/>
                        <a:pt x="266" y="6"/>
                        <a:pt x="266" y="6"/>
                      </a:cubicBezTo>
                      <a:cubicBezTo>
                        <a:pt x="266" y="6"/>
                        <a:pt x="265" y="6"/>
                        <a:pt x="267" y="5"/>
                      </a:cubicBezTo>
                      <a:cubicBezTo>
                        <a:pt x="269" y="4"/>
                        <a:pt x="268" y="3"/>
                        <a:pt x="269" y="2"/>
                      </a:cubicBezTo>
                      <a:cubicBezTo>
                        <a:pt x="270" y="1"/>
                        <a:pt x="268" y="0"/>
                        <a:pt x="271" y="0"/>
                      </a:cubicBezTo>
                      <a:cubicBezTo>
                        <a:pt x="273" y="1"/>
                        <a:pt x="273" y="1"/>
                        <a:pt x="274" y="2"/>
                      </a:cubicBezTo>
                      <a:cubicBezTo>
                        <a:pt x="275" y="2"/>
                        <a:pt x="273" y="6"/>
                        <a:pt x="272" y="6"/>
                      </a:cubicBezTo>
                      <a:cubicBezTo>
                        <a:pt x="271" y="6"/>
                        <a:pt x="271" y="5"/>
                        <a:pt x="269" y="6"/>
                      </a:cubicBezTo>
                      <a:cubicBezTo>
                        <a:pt x="268" y="7"/>
                        <a:pt x="270" y="9"/>
                        <a:pt x="269" y="10"/>
                      </a:cubicBezTo>
                      <a:cubicBezTo>
                        <a:pt x="268" y="11"/>
                        <a:pt x="267" y="10"/>
                        <a:pt x="266" y="11"/>
                      </a:cubicBezTo>
                      <a:cubicBezTo>
                        <a:pt x="265" y="12"/>
                        <a:pt x="265" y="12"/>
                        <a:pt x="265" y="13"/>
                      </a:cubicBezTo>
                      <a:cubicBezTo>
                        <a:pt x="265" y="14"/>
                        <a:pt x="264" y="15"/>
                        <a:pt x="263" y="16"/>
                      </a:cubicBezTo>
                      <a:cubicBezTo>
                        <a:pt x="263" y="16"/>
                        <a:pt x="260" y="14"/>
                        <a:pt x="263" y="16"/>
                      </a:cubicBezTo>
                      <a:cubicBezTo>
                        <a:pt x="266" y="18"/>
                        <a:pt x="267" y="18"/>
                        <a:pt x="266" y="19"/>
                      </a:cubicBezTo>
                      <a:cubicBezTo>
                        <a:pt x="265" y="19"/>
                        <a:pt x="263" y="19"/>
                        <a:pt x="262" y="20"/>
                      </a:cubicBezTo>
                      <a:cubicBezTo>
                        <a:pt x="261" y="20"/>
                        <a:pt x="260" y="21"/>
                        <a:pt x="262" y="22"/>
                      </a:cubicBezTo>
                      <a:cubicBezTo>
                        <a:pt x="264" y="23"/>
                        <a:pt x="263" y="23"/>
                        <a:pt x="264" y="23"/>
                      </a:cubicBezTo>
                      <a:cubicBezTo>
                        <a:pt x="265" y="22"/>
                        <a:pt x="270" y="22"/>
                        <a:pt x="270" y="23"/>
                      </a:cubicBezTo>
                      <a:cubicBezTo>
                        <a:pt x="269" y="25"/>
                        <a:pt x="270" y="25"/>
                        <a:pt x="268" y="26"/>
                      </a:cubicBezTo>
                      <a:cubicBezTo>
                        <a:pt x="265" y="27"/>
                        <a:pt x="263" y="26"/>
                        <a:pt x="262" y="25"/>
                      </a:cubicBezTo>
                      <a:cubicBezTo>
                        <a:pt x="261" y="25"/>
                        <a:pt x="261" y="23"/>
                        <a:pt x="261" y="26"/>
                      </a:cubicBezTo>
                      <a:cubicBezTo>
                        <a:pt x="262" y="29"/>
                        <a:pt x="264" y="29"/>
                        <a:pt x="263" y="29"/>
                      </a:cubicBezTo>
                      <a:cubicBezTo>
                        <a:pt x="261" y="29"/>
                        <a:pt x="259" y="29"/>
                        <a:pt x="259" y="29"/>
                      </a:cubicBezTo>
                      <a:cubicBezTo>
                        <a:pt x="259" y="29"/>
                        <a:pt x="258" y="27"/>
                        <a:pt x="259" y="30"/>
                      </a:cubicBezTo>
                      <a:cubicBezTo>
                        <a:pt x="260" y="33"/>
                        <a:pt x="260" y="33"/>
                        <a:pt x="260" y="33"/>
                      </a:cubicBezTo>
                      <a:cubicBezTo>
                        <a:pt x="260" y="33"/>
                        <a:pt x="258" y="34"/>
                        <a:pt x="258" y="34"/>
                      </a:cubicBezTo>
                      <a:cubicBezTo>
                        <a:pt x="258" y="35"/>
                        <a:pt x="259" y="37"/>
                        <a:pt x="260" y="38"/>
                      </a:cubicBezTo>
                      <a:cubicBezTo>
                        <a:pt x="260" y="38"/>
                        <a:pt x="259" y="42"/>
                        <a:pt x="258" y="42"/>
                      </a:cubicBezTo>
                      <a:cubicBezTo>
                        <a:pt x="258" y="42"/>
                        <a:pt x="258" y="43"/>
                        <a:pt x="257" y="44"/>
                      </a:cubicBezTo>
                      <a:cubicBezTo>
                        <a:pt x="256" y="45"/>
                        <a:pt x="255" y="46"/>
                        <a:pt x="255" y="46"/>
                      </a:cubicBezTo>
                      <a:cubicBezTo>
                        <a:pt x="253" y="52"/>
                        <a:pt x="253" y="52"/>
                        <a:pt x="253" y="52"/>
                      </a:cubicBezTo>
                      <a:cubicBezTo>
                        <a:pt x="253" y="52"/>
                        <a:pt x="252" y="54"/>
                        <a:pt x="251" y="52"/>
                      </a:cubicBezTo>
                      <a:cubicBezTo>
                        <a:pt x="251" y="50"/>
                        <a:pt x="250" y="50"/>
                        <a:pt x="251" y="49"/>
                      </a:cubicBezTo>
                      <a:cubicBezTo>
                        <a:pt x="252" y="49"/>
                        <a:pt x="252" y="47"/>
                        <a:pt x="253" y="46"/>
                      </a:cubicBezTo>
                      <a:cubicBezTo>
                        <a:pt x="253" y="45"/>
                        <a:pt x="254" y="41"/>
                        <a:pt x="254" y="41"/>
                      </a:cubicBezTo>
                      <a:cubicBezTo>
                        <a:pt x="254" y="41"/>
                        <a:pt x="256" y="41"/>
                        <a:pt x="257" y="40"/>
                      </a:cubicBezTo>
                      <a:cubicBezTo>
                        <a:pt x="257" y="40"/>
                        <a:pt x="255" y="36"/>
                        <a:pt x="255" y="36"/>
                      </a:cubicBezTo>
                      <a:cubicBezTo>
                        <a:pt x="256" y="34"/>
                        <a:pt x="256" y="34"/>
                        <a:pt x="256" y="34"/>
                      </a:cubicBezTo>
                      <a:cubicBezTo>
                        <a:pt x="254" y="34"/>
                        <a:pt x="254" y="34"/>
                        <a:pt x="254" y="34"/>
                      </a:cubicBezTo>
                      <a:close/>
                      <a:moveTo>
                        <a:pt x="239" y="67"/>
                      </a:moveTo>
                      <a:cubicBezTo>
                        <a:pt x="239" y="67"/>
                        <a:pt x="239" y="67"/>
                        <a:pt x="239" y="67"/>
                      </a:cubicBezTo>
                      <a:cubicBezTo>
                        <a:pt x="239" y="67"/>
                        <a:pt x="242" y="63"/>
                        <a:pt x="243" y="64"/>
                      </a:cubicBezTo>
                      <a:cubicBezTo>
                        <a:pt x="243" y="64"/>
                        <a:pt x="243" y="65"/>
                        <a:pt x="243" y="66"/>
                      </a:cubicBezTo>
                      <a:cubicBezTo>
                        <a:pt x="243" y="66"/>
                        <a:pt x="244" y="68"/>
                        <a:pt x="243" y="68"/>
                      </a:cubicBezTo>
                      <a:cubicBezTo>
                        <a:pt x="242" y="68"/>
                        <a:pt x="241" y="68"/>
                        <a:pt x="240" y="68"/>
                      </a:cubicBezTo>
                      <a:cubicBezTo>
                        <a:pt x="240" y="68"/>
                        <a:pt x="239" y="67"/>
                        <a:pt x="239" y="67"/>
                      </a:cubicBezTo>
                      <a:close/>
                      <a:moveTo>
                        <a:pt x="196" y="98"/>
                      </a:moveTo>
                      <a:cubicBezTo>
                        <a:pt x="196" y="98"/>
                        <a:pt x="196" y="98"/>
                        <a:pt x="196" y="98"/>
                      </a:cubicBezTo>
                      <a:cubicBezTo>
                        <a:pt x="198" y="96"/>
                        <a:pt x="198" y="96"/>
                        <a:pt x="198" y="96"/>
                      </a:cubicBezTo>
                      <a:cubicBezTo>
                        <a:pt x="201" y="97"/>
                        <a:pt x="201" y="97"/>
                        <a:pt x="201" y="97"/>
                      </a:cubicBezTo>
                      <a:cubicBezTo>
                        <a:pt x="201" y="97"/>
                        <a:pt x="202" y="95"/>
                        <a:pt x="202" y="97"/>
                      </a:cubicBezTo>
                      <a:cubicBezTo>
                        <a:pt x="201" y="99"/>
                        <a:pt x="199" y="102"/>
                        <a:pt x="199" y="102"/>
                      </a:cubicBezTo>
                      <a:cubicBezTo>
                        <a:pt x="199" y="102"/>
                        <a:pt x="200" y="102"/>
                        <a:pt x="198" y="103"/>
                      </a:cubicBezTo>
                      <a:cubicBezTo>
                        <a:pt x="196" y="104"/>
                        <a:pt x="196" y="105"/>
                        <a:pt x="195" y="103"/>
                      </a:cubicBezTo>
                      <a:cubicBezTo>
                        <a:pt x="194" y="102"/>
                        <a:pt x="193" y="102"/>
                        <a:pt x="193" y="101"/>
                      </a:cubicBezTo>
                      <a:cubicBezTo>
                        <a:pt x="194" y="100"/>
                        <a:pt x="194" y="98"/>
                        <a:pt x="194" y="98"/>
                      </a:cubicBezTo>
                      <a:cubicBezTo>
                        <a:pt x="196" y="98"/>
                        <a:pt x="196" y="98"/>
                        <a:pt x="196" y="98"/>
                      </a:cubicBezTo>
                      <a:close/>
                      <a:moveTo>
                        <a:pt x="217" y="72"/>
                      </a:moveTo>
                      <a:cubicBezTo>
                        <a:pt x="217" y="72"/>
                        <a:pt x="217" y="72"/>
                        <a:pt x="217" y="72"/>
                      </a:cubicBezTo>
                      <a:cubicBezTo>
                        <a:pt x="217" y="72"/>
                        <a:pt x="218" y="70"/>
                        <a:pt x="219" y="70"/>
                      </a:cubicBezTo>
                      <a:cubicBezTo>
                        <a:pt x="220" y="71"/>
                        <a:pt x="221" y="71"/>
                        <a:pt x="221" y="72"/>
                      </a:cubicBezTo>
                      <a:cubicBezTo>
                        <a:pt x="220" y="73"/>
                        <a:pt x="219" y="74"/>
                        <a:pt x="218" y="74"/>
                      </a:cubicBezTo>
                      <a:cubicBezTo>
                        <a:pt x="217" y="74"/>
                        <a:pt x="217" y="72"/>
                        <a:pt x="217" y="72"/>
                      </a:cubicBezTo>
                      <a:close/>
                      <a:moveTo>
                        <a:pt x="213" y="77"/>
                      </a:moveTo>
                      <a:cubicBezTo>
                        <a:pt x="213" y="77"/>
                        <a:pt x="213" y="77"/>
                        <a:pt x="213" y="77"/>
                      </a:cubicBezTo>
                      <a:cubicBezTo>
                        <a:pt x="213" y="77"/>
                        <a:pt x="215" y="75"/>
                        <a:pt x="216" y="76"/>
                      </a:cubicBezTo>
                      <a:cubicBezTo>
                        <a:pt x="216" y="76"/>
                        <a:pt x="217" y="76"/>
                        <a:pt x="216" y="77"/>
                      </a:cubicBezTo>
                      <a:cubicBezTo>
                        <a:pt x="216" y="78"/>
                        <a:pt x="218" y="77"/>
                        <a:pt x="215" y="78"/>
                      </a:cubicBezTo>
                      <a:cubicBezTo>
                        <a:pt x="213" y="80"/>
                        <a:pt x="214" y="81"/>
                        <a:pt x="212" y="80"/>
                      </a:cubicBezTo>
                      <a:cubicBezTo>
                        <a:pt x="211" y="79"/>
                        <a:pt x="211" y="78"/>
                        <a:pt x="211" y="77"/>
                      </a:cubicBezTo>
                      <a:cubicBezTo>
                        <a:pt x="211" y="77"/>
                        <a:pt x="212" y="75"/>
                        <a:pt x="212" y="75"/>
                      </a:cubicBezTo>
                      <a:cubicBezTo>
                        <a:pt x="213" y="76"/>
                        <a:pt x="213" y="77"/>
                        <a:pt x="213" y="77"/>
                      </a:cubicBezTo>
                      <a:close/>
                      <a:moveTo>
                        <a:pt x="205" y="80"/>
                      </a:moveTo>
                      <a:cubicBezTo>
                        <a:pt x="205" y="80"/>
                        <a:pt x="205" y="80"/>
                        <a:pt x="205" y="80"/>
                      </a:cubicBezTo>
                      <a:cubicBezTo>
                        <a:pt x="205" y="80"/>
                        <a:pt x="207" y="81"/>
                        <a:pt x="207" y="81"/>
                      </a:cubicBezTo>
                      <a:cubicBezTo>
                        <a:pt x="208" y="82"/>
                        <a:pt x="208" y="81"/>
                        <a:pt x="209" y="80"/>
                      </a:cubicBezTo>
                      <a:cubicBezTo>
                        <a:pt x="211" y="80"/>
                        <a:pt x="209" y="80"/>
                        <a:pt x="210" y="79"/>
                      </a:cubicBezTo>
                      <a:cubicBezTo>
                        <a:pt x="211" y="77"/>
                        <a:pt x="210" y="78"/>
                        <a:pt x="210" y="77"/>
                      </a:cubicBezTo>
                      <a:cubicBezTo>
                        <a:pt x="209" y="77"/>
                        <a:pt x="209" y="77"/>
                        <a:pt x="208" y="77"/>
                      </a:cubicBezTo>
                      <a:cubicBezTo>
                        <a:pt x="206" y="77"/>
                        <a:pt x="205" y="80"/>
                        <a:pt x="205" y="80"/>
                      </a:cubicBezTo>
                      <a:close/>
                      <a:moveTo>
                        <a:pt x="209" y="86"/>
                      </a:moveTo>
                      <a:cubicBezTo>
                        <a:pt x="209" y="86"/>
                        <a:pt x="209" y="86"/>
                        <a:pt x="209" y="86"/>
                      </a:cubicBezTo>
                      <a:cubicBezTo>
                        <a:pt x="209" y="86"/>
                        <a:pt x="210" y="83"/>
                        <a:pt x="211" y="83"/>
                      </a:cubicBezTo>
                      <a:cubicBezTo>
                        <a:pt x="212" y="84"/>
                        <a:pt x="212" y="83"/>
                        <a:pt x="212" y="84"/>
                      </a:cubicBezTo>
                      <a:cubicBezTo>
                        <a:pt x="212" y="85"/>
                        <a:pt x="212" y="87"/>
                        <a:pt x="211" y="87"/>
                      </a:cubicBezTo>
                      <a:cubicBezTo>
                        <a:pt x="210" y="87"/>
                        <a:pt x="209" y="86"/>
                        <a:pt x="209" y="86"/>
                      </a:cubicBezTo>
                      <a:close/>
                      <a:moveTo>
                        <a:pt x="201" y="86"/>
                      </a:moveTo>
                      <a:cubicBezTo>
                        <a:pt x="201" y="86"/>
                        <a:pt x="201" y="86"/>
                        <a:pt x="201" y="86"/>
                      </a:cubicBezTo>
                      <a:cubicBezTo>
                        <a:pt x="202" y="84"/>
                        <a:pt x="202" y="84"/>
                        <a:pt x="202" y="84"/>
                      </a:cubicBezTo>
                      <a:cubicBezTo>
                        <a:pt x="204" y="85"/>
                        <a:pt x="204" y="85"/>
                        <a:pt x="204" y="85"/>
                      </a:cubicBezTo>
                      <a:cubicBezTo>
                        <a:pt x="204" y="85"/>
                        <a:pt x="205" y="86"/>
                        <a:pt x="204" y="86"/>
                      </a:cubicBezTo>
                      <a:cubicBezTo>
                        <a:pt x="204" y="87"/>
                        <a:pt x="203" y="87"/>
                        <a:pt x="203" y="88"/>
                      </a:cubicBezTo>
                      <a:cubicBezTo>
                        <a:pt x="202" y="88"/>
                        <a:pt x="201" y="87"/>
                        <a:pt x="201" y="87"/>
                      </a:cubicBezTo>
                      <a:cubicBezTo>
                        <a:pt x="201" y="86"/>
                        <a:pt x="201" y="86"/>
                        <a:pt x="201" y="86"/>
                      </a:cubicBezTo>
                      <a:close/>
                      <a:moveTo>
                        <a:pt x="201" y="73"/>
                      </a:moveTo>
                      <a:cubicBezTo>
                        <a:pt x="201" y="73"/>
                        <a:pt x="201" y="73"/>
                        <a:pt x="201" y="73"/>
                      </a:cubicBezTo>
                      <a:cubicBezTo>
                        <a:pt x="201" y="73"/>
                        <a:pt x="203" y="70"/>
                        <a:pt x="203" y="70"/>
                      </a:cubicBezTo>
                      <a:cubicBezTo>
                        <a:pt x="204" y="70"/>
                        <a:pt x="205" y="69"/>
                        <a:pt x="205" y="71"/>
                      </a:cubicBezTo>
                      <a:cubicBezTo>
                        <a:pt x="205" y="73"/>
                        <a:pt x="207" y="75"/>
                        <a:pt x="204" y="75"/>
                      </a:cubicBezTo>
                      <a:cubicBezTo>
                        <a:pt x="202" y="75"/>
                        <a:pt x="201" y="76"/>
                        <a:pt x="201" y="75"/>
                      </a:cubicBezTo>
                      <a:cubicBezTo>
                        <a:pt x="200" y="74"/>
                        <a:pt x="201" y="73"/>
                        <a:pt x="201" y="73"/>
                      </a:cubicBezTo>
                      <a:close/>
                      <a:moveTo>
                        <a:pt x="197" y="79"/>
                      </a:moveTo>
                      <a:cubicBezTo>
                        <a:pt x="197" y="79"/>
                        <a:pt x="197" y="79"/>
                        <a:pt x="197" y="79"/>
                      </a:cubicBezTo>
                      <a:cubicBezTo>
                        <a:pt x="197" y="79"/>
                        <a:pt x="199" y="77"/>
                        <a:pt x="200" y="77"/>
                      </a:cubicBezTo>
                      <a:cubicBezTo>
                        <a:pt x="201" y="78"/>
                        <a:pt x="202" y="78"/>
                        <a:pt x="202" y="79"/>
                      </a:cubicBezTo>
                      <a:cubicBezTo>
                        <a:pt x="202" y="80"/>
                        <a:pt x="202" y="80"/>
                        <a:pt x="201" y="81"/>
                      </a:cubicBezTo>
                      <a:cubicBezTo>
                        <a:pt x="201" y="82"/>
                        <a:pt x="200" y="82"/>
                        <a:pt x="199" y="82"/>
                      </a:cubicBezTo>
                      <a:cubicBezTo>
                        <a:pt x="199" y="82"/>
                        <a:pt x="197" y="79"/>
                        <a:pt x="197" y="79"/>
                      </a:cubicBezTo>
                      <a:close/>
                      <a:moveTo>
                        <a:pt x="200" y="91"/>
                      </a:moveTo>
                      <a:cubicBezTo>
                        <a:pt x="200" y="91"/>
                        <a:pt x="200" y="91"/>
                        <a:pt x="200" y="91"/>
                      </a:cubicBezTo>
                      <a:cubicBezTo>
                        <a:pt x="200" y="91"/>
                        <a:pt x="199" y="94"/>
                        <a:pt x="199" y="95"/>
                      </a:cubicBezTo>
                      <a:cubicBezTo>
                        <a:pt x="199" y="96"/>
                        <a:pt x="202" y="96"/>
                        <a:pt x="203" y="95"/>
                      </a:cubicBezTo>
                      <a:cubicBezTo>
                        <a:pt x="203" y="95"/>
                        <a:pt x="204" y="93"/>
                        <a:pt x="204" y="93"/>
                      </a:cubicBezTo>
                      <a:cubicBezTo>
                        <a:pt x="204" y="93"/>
                        <a:pt x="203" y="91"/>
                        <a:pt x="202" y="90"/>
                      </a:cubicBezTo>
                      <a:cubicBezTo>
                        <a:pt x="201" y="89"/>
                        <a:pt x="200" y="91"/>
                        <a:pt x="200" y="91"/>
                      </a:cubicBezTo>
                      <a:close/>
                      <a:moveTo>
                        <a:pt x="191" y="88"/>
                      </a:moveTo>
                      <a:cubicBezTo>
                        <a:pt x="191" y="88"/>
                        <a:pt x="191" y="88"/>
                        <a:pt x="191" y="88"/>
                      </a:cubicBezTo>
                      <a:cubicBezTo>
                        <a:pt x="191" y="91"/>
                        <a:pt x="191" y="91"/>
                        <a:pt x="191" y="91"/>
                      </a:cubicBezTo>
                      <a:cubicBezTo>
                        <a:pt x="191" y="91"/>
                        <a:pt x="193" y="93"/>
                        <a:pt x="194" y="93"/>
                      </a:cubicBezTo>
                      <a:cubicBezTo>
                        <a:pt x="195" y="94"/>
                        <a:pt x="195" y="93"/>
                        <a:pt x="197" y="94"/>
                      </a:cubicBezTo>
                      <a:cubicBezTo>
                        <a:pt x="198" y="94"/>
                        <a:pt x="198" y="93"/>
                        <a:pt x="198" y="93"/>
                      </a:cubicBezTo>
                      <a:cubicBezTo>
                        <a:pt x="199" y="93"/>
                        <a:pt x="199" y="93"/>
                        <a:pt x="199" y="92"/>
                      </a:cubicBezTo>
                      <a:cubicBezTo>
                        <a:pt x="199" y="92"/>
                        <a:pt x="197" y="91"/>
                        <a:pt x="196" y="90"/>
                      </a:cubicBezTo>
                      <a:cubicBezTo>
                        <a:pt x="196" y="89"/>
                        <a:pt x="196" y="89"/>
                        <a:pt x="196" y="88"/>
                      </a:cubicBezTo>
                      <a:cubicBezTo>
                        <a:pt x="196" y="88"/>
                        <a:pt x="197" y="87"/>
                        <a:pt x="198" y="87"/>
                      </a:cubicBezTo>
                      <a:cubicBezTo>
                        <a:pt x="198" y="86"/>
                        <a:pt x="198" y="84"/>
                        <a:pt x="198" y="84"/>
                      </a:cubicBezTo>
                      <a:cubicBezTo>
                        <a:pt x="198" y="84"/>
                        <a:pt x="196" y="84"/>
                        <a:pt x="196" y="83"/>
                      </a:cubicBezTo>
                      <a:cubicBezTo>
                        <a:pt x="196" y="83"/>
                        <a:pt x="195" y="82"/>
                        <a:pt x="194" y="81"/>
                      </a:cubicBezTo>
                      <a:cubicBezTo>
                        <a:pt x="194" y="80"/>
                        <a:pt x="192" y="80"/>
                        <a:pt x="191" y="80"/>
                      </a:cubicBezTo>
                      <a:cubicBezTo>
                        <a:pt x="191" y="80"/>
                        <a:pt x="190" y="83"/>
                        <a:pt x="189" y="84"/>
                      </a:cubicBezTo>
                      <a:cubicBezTo>
                        <a:pt x="189" y="84"/>
                        <a:pt x="188" y="86"/>
                        <a:pt x="188" y="86"/>
                      </a:cubicBezTo>
                      <a:cubicBezTo>
                        <a:pt x="188" y="87"/>
                        <a:pt x="188" y="88"/>
                        <a:pt x="189" y="89"/>
                      </a:cubicBezTo>
                      <a:cubicBezTo>
                        <a:pt x="190" y="89"/>
                        <a:pt x="191" y="88"/>
                        <a:pt x="191" y="88"/>
                      </a:cubicBezTo>
                      <a:close/>
                      <a:moveTo>
                        <a:pt x="188" y="96"/>
                      </a:moveTo>
                      <a:cubicBezTo>
                        <a:pt x="188" y="96"/>
                        <a:pt x="188" y="96"/>
                        <a:pt x="188" y="96"/>
                      </a:cubicBezTo>
                      <a:cubicBezTo>
                        <a:pt x="187" y="96"/>
                        <a:pt x="185" y="94"/>
                        <a:pt x="185" y="94"/>
                      </a:cubicBezTo>
                      <a:cubicBezTo>
                        <a:pt x="185" y="94"/>
                        <a:pt x="187" y="93"/>
                        <a:pt x="187" y="92"/>
                      </a:cubicBezTo>
                      <a:cubicBezTo>
                        <a:pt x="188" y="92"/>
                        <a:pt x="187" y="91"/>
                        <a:pt x="189" y="91"/>
                      </a:cubicBezTo>
                      <a:cubicBezTo>
                        <a:pt x="191" y="92"/>
                        <a:pt x="191" y="93"/>
                        <a:pt x="191" y="93"/>
                      </a:cubicBezTo>
                      <a:cubicBezTo>
                        <a:pt x="191" y="93"/>
                        <a:pt x="192" y="95"/>
                        <a:pt x="192" y="96"/>
                      </a:cubicBezTo>
                      <a:cubicBezTo>
                        <a:pt x="192" y="96"/>
                        <a:pt x="192" y="97"/>
                        <a:pt x="192" y="97"/>
                      </a:cubicBezTo>
                      <a:cubicBezTo>
                        <a:pt x="192" y="98"/>
                        <a:pt x="194" y="99"/>
                        <a:pt x="191" y="99"/>
                      </a:cubicBezTo>
                      <a:cubicBezTo>
                        <a:pt x="189" y="99"/>
                        <a:pt x="189" y="99"/>
                        <a:pt x="189" y="99"/>
                      </a:cubicBezTo>
                      <a:lnTo>
                        <a:pt x="188" y="96"/>
                      </a:lnTo>
                      <a:close/>
                    </a:path>
                  </a:pathLst>
                </a:custGeom>
                <a:solidFill>
                  <a:srgbClr val="1C6D7D"/>
                </a:solidFill>
                <a:ln w="12700" cap="rnd" cmpd="sng">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Lato Light"/>
                  </a:endParaRPr>
                </a:p>
              </p:txBody>
            </p:sp>
            <p:sp>
              <p:nvSpPr>
                <p:cNvPr id="239" name="Freeform 139">
                  <a:extLst>
                    <a:ext uri="{FF2B5EF4-FFF2-40B4-BE49-F238E27FC236}">
                      <a16:creationId xmlns:a16="http://schemas.microsoft.com/office/drawing/2014/main" id="{D6FE4947-DDAE-06A7-6578-689142DB026C}"/>
                    </a:ext>
                  </a:extLst>
                </p:cNvPr>
                <p:cNvSpPr>
                  <a:spLocks noEditPoints="1"/>
                </p:cNvSpPr>
                <p:nvPr/>
              </p:nvSpPr>
              <p:spPr bwMode="auto">
                <a:xfrm>
                  <a:off x="1723285" y="4793663"/>
                  <a:ext cx="1539241" cy="1226735"/>
                </a:xfrm>
                <a:custGeom>
                  <a:avLst/>
                  <a:gdLst>
                    <a:gd name="T0" fmla="*/ 432 w 534"/>
                    <a:gd name="T1" fmla="*/ 208 h 439"/>
                    <a:gd name="T2" fmla="*/ 350 w 534"/>
                    <a:gd name="T3" fmla="*/ 268 h 439"/>
                    <a:gd name="T4" fmla="*/ 305 w 534"/>
                    <a:gd name="T5" fmla="*/ 368 h 439"/>
                    <a:gd name="T6" fmla="*/ 243 w 534"/>
                    <a:gd name="T7" fmla="*/ 412 h 439"/>
                    <a:gd name="T8" fmla="*/ 174 w 534"/>
                    <a:gd name="T9" fmla="*/ 422 h 439"/>
                    <a:gd name="T10" fmla="*/ 78 w 534"/>
                    <a:gd name="T11" fmla="*/ 433 h 439"/>
                    <a:gd name="T12" fmla="*/ 40 w 534"/>
                    <a:gd name="T13" fmla="*/ 384 h 439"/>
                    <a:gd name="T14" fmla="*/ 1 w 534"/>
                    <a:gd name="T15" fmla="*/ 348 h 439"/>
                    <a:gd name="T16" fmla="*/ 2 w 534"/>
                    <a:gd name="T17" fmla="*/ 334 h 439"/>
                    <a:gd name="T18" fmla="*/ 15 w 534"/>
                    <a:gd name="T19" fmla="*/ 321 h 439"/>
                    <a:gd name="T20" fmla="*/ 26 w 534"/>
                    <a:gd name="T21" fmla="*/ 316 h 439"/>
                    <a:gd name="T22" fmla="*/ 31 w 534"/>
                    <a:gd name="T23" fmla="*/ 307 h 439"/>
                    <a:gd name="T24" fmla="*/ 23 w 534"/>
                    <a:gd name="T25" fmla="*/ 297 h 439"/>
                    <a:gd name="T26" fmla="*/ 21 w 534"/>
                    <a:gd name="T27" fmla="*/ 287 h 439"/>
                    <a:gd name="T28" fmla="*/ 28 w 534"/>
                    <a:gd name="T29" fmla="*/ 275 h 439"/>
                    <a:gd name="T30" fmla="*/ 38 w 534"/>
                    <a:gd name="T31" fmla="*/ 268 h 439"/>
                    <a:gd name="T32" fmla="*/ 40 w 534"/>
                    <a:gd name="T33" fmla="*/ 257 h 439"/>
                    <a:gd name="T34" fmla="*/ 34 w 534"/>
                    <a:gd name="T35" fmla="*/ 251 h 439"/>
                    <a:gd name="T36" fmla="*/ 32 w 534"/>
                    <a:gd name="T37" fmla="*/ 240 h 439"/>
                    <a:gd name="T38" fmla="*/ 29 w 534"/>
                    <a:gd name="T39" fmla="*/ 230 h 439"/>
                    <a:gd name="T40" fmla="*/ 33 w 534"/>
                    <a:gd name="T41" fmla="*/ 225 h 439"/>
                    <a:gd name="T42" fmla="*/ 44 w 534"/>
                    <a:gd name="T43" fmla="*/ 227 h 439"/>
                    <a:gd name="T44" fmla="*/ 51 w 534"/>
                    <a:gd name="T45" fmla="*/ 223 h 439"/>
                    <a:gd name="T46" fmla="*/ 58 w 534"/>
                    <a:gd name="T47" fmla="*/ 213 h 439"/>
                    <a:gd name="T48" fmla="*/ 55 w 534"/>
                    <a:gd name="T49" fmla="*/ 200 h 439"/>
                    <a:gd name="T50" fmla="*/ 65 w 534"/>
                    <a:gd name="T51" fmla="*/ 195 h 439"/>
                    <a:gd name="T52" fmla="*/ 68 w 534"/>
                    <a:gd name="T53" fmla="*/ 182 h 439"/>
                    <a:gd name="T54" fmla="*/ 70 w 534"/>
                    <a:gd name="T55" fmla="*/ 169 h 439"/>
                    <a:gd name="T56" fmla="*/ 70 w 534"/>
                    <a:gd name="T57" fmla="*/ 157 h 439"/>
                    <a:gd name="T58" fmla="*/ 82 w 534"/>
                    <a:gd name="T59" fmla="*/ 149 h 439"/>
                    <a:gd name="T60" fmla="*/ 97 w 534"/>
                    <a:gd name="T61" fmla="*/ 142 h 439"/>
                    <a:gd name="T62" fmla="*/ 105 w 534"/>
                    <a:gd name="T63" fmla="*/ 130 h 439"/>
                    <a:gd name="T64" fmla="*/ 94 w 534"/>
                    <a:gd name="T65" fmla="*/ 122 h 439"/>
                    <a:gd name="T66" fmla="*/ 96 w 534"/>
                    <a:gd name="T67" fmla="*/ 112 h 439"/>
                    <a:gd name="T68" fmla="*/ 87 w 534"/>
                    <a:gd name="T69" fmla="*/ 106 h 439"/>
                    <a:gd name="T70" fmla="*/ 75 w 534"/>
                    <a:gd name="T71" fmla="*/ 103 h 439"/>
                    <a:gd name="T72" fmla="*/ 63 w 534"/>
                    <a:gd name="T73" fmla="*/ 108 h 439"/>
                    <a:gd name="T74" fmla="*/ 54 w 534"/>
                    <a:gd name="T75" fmla="*/ 108 h 439"/>
                    <a:gd name="T76" fmla="*/ 44 w 534"/>
                    <a:gd name="T77" fmla="*/ 102 h 439"/>
                    <a:gd name="T78" fmla="*/ 34 w 534"/>
                    <a:gd name="T79" fmla="*/ 102 h 439"/>
                    <a:gd name="T80" fmla="*/ 33 w 534"/>
                    <a:gd name="T81" fmla="*/ 93 h 439"/>
                    <a:gd name="T82" fmla="*/ 29 w 534"/>
                    <a:gd name="T83" fmla="*/ 84 h 439"/>
                    <a:gd name="T84" fmla="*/ 13 w 534"/>
                    <a:gd name="T85" fmla="*/ 86 h 439"/>
                    <a:gd name="T86" fmla="*/ 6 w 534"/>
                    <a:gd name="T87" fmla="*/ 77 h 439"/>
                    <a:gd name="T88" fmla="*/ 6 w 534"/>
                    <a:gd name="T89" fmla="*/ 41 h 439"/>
                    <a:gd name="T90" fmla="*/ 35 w 534"/>
                    <a:gd name="T91" fmla="*/ 17 h 439"/>
                    <a:gd name="T92" fmla="*/ 130 w 534"/>
                    <a:gd name="T93" fmla="*/ 26 h 439"/>
                    <a:gd name="T94" fmla="*/ 280 w 534"/>
                    <a:gd name="T95" fmla="*/ 72 h 439"/>
                    <a:gd name="T96" fmla="*/ 366 w 534"/>
                    <a:gd name="T97" fmla="*/ 119 h 439"/>
                    <a:gd name="T98" fmla="*/ 424 w 534"/>
                    <a:gd name="T99" fmla="*/ 134 h 439"/>
                    <a:gd name="T100" fmla="*/ 424 w 534"/>
                    <a:gd name="T101" fmla="*/ 138 h 439"/>
                    <a:gd name="T102" fmla="*/ 426 w 534"/>
                    <a:gd name="T103" fmla="*/ 141 h 439"/>
                    <a:gd name="T104" fmla="*/ 456 w 534"/>
                    <a:gd name="T105" fmla="*/ 145 h 439"/>
                    <a:gd name="T106" fmla="*/ 521 w 534"/>
                    <a:gd name="T107" fmla="*/ 289 h 439"/>
                    <a:gd name="T108" fmla="*/ 460 w 534"/>
                    <a:gd name="T109" fmla="*/ 299 h 439"/>
                    <a:gd name="T110" fmla="*/ 478 w 534"/>
                    <a:gd name="T111" fmla="*/ 282 h 439"/>
                    <a:gd name="T112" fmla="*/ 411 w 534"/>
                    <a:gd name="T113" fmla="*/ 326 h 4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34" h="439">
                      <a:moveTo>
                        <a:pt x="496" y="159"/>
                      </a:moveTo>
                      <a:cubicBezTo>
                        <a:pt x="493" y="161"/>
                        <a:pt x="492" y="156"/>
                        <a:pt x="490" y="159"/>
                      </a:cubicBezTo>
                      <a:cubicBezTo>
                        <a:pt x="487" y="163"/>
                        <a:pt x="495" y="172"/>
                        <a:pt x="492" y="177"/>
                      </a:cubicBezTo>
                      <a:cubicBezTo>
                        <a:pt x="488" y="182"/>
                        <a:pt x="480" y="189"/>
                        <a:pt x="469" y="191"/>
                      </a:cubicBezTo>
                      <a:cubicBezTo>
                        <a:pt x="464" y="192"/>
                        <a:pt x="460" y="197"/>
                        <a:pt x="456" y="196"/>
                      </a:cubicBezTo>
                      <a:cubicBezTo>
                        <a:pt x="453" y="196"/>
                        <a:pt x="446" y="203"/>
                        <a:pt x="445" y="205"/>
                      </a:cubicBezTo>
                      <a:cubicBezTo>
                        <a:pt x="443" y="208"/>
                        <a:pt x="437" y="205"/>
                        <a:pt x="432" y="208"/>
                      </a:cubicBezTo>
                      <a:cubicBezTo>
                        <a:pt x="425" y="211"/>
                        <a:pt x="429" y="207"/>
                        <a:pt x="404" y="214"/>
                      </a:cubicBezTo>
                      <a:cubicBezTo>
                        <a:pt x="399" y="215"/>
                        <a:pt x="395" y="217"/>
                        <a:pt x="391" y="218"/>
                      </a:cubicBezTo>
                      <a:cubicBezTo>
                        <a:pt x="387" y="220"/>
                        <a:pt x="383" y="219"/>
                        <a:pt x="383" y="227"/>
                      </a:cubicBezTo>
                      <a:cubicBezTo>
                        <a:pt x="384" y="231"/>
                        <a:pt x="389" y="228"/>
                        <a:pt x="388" y="232"/>
                      </a:cubicBezTo>
                      <a:cubicBezTo>
                        <a:pt x="388" y="235"/>
                        <a:pt x="381" y="234"/>
                        <a:pt x="374" y="238"/>
                      </a:cubicBezTo>
                      <a:cubicBezTo>
                        <a:pt x="371" y="240"/>
                        <a:pt x="369" y="247"/>
                        <a:pt x="367" y="249"/>
                      </a:cubicBezTo>
                      <a:cubicBezTo>
                        <a:pt x="357" y="255"/>
                        <a:pt x="350" y="268"/>
                        <a:pt x="350" y="268"/>
                      </a:cubicBezTo>
                      <a:cubicBezTo>
                        <a:pt x="345" y="273"/>
                        <a:pt x="339" y="277"/>
                        <a:pt x="336" y="283"/>
                      </a:cubicBezTo>
                      <a:cubicBezTo>
                        <a:pt x="329" y="296"/>
                        <a:pt x="327" y="289"/>
                        <a:pt x="331" y="305"/>
                      </a:cubicBezTo>
                      <a:cubicBezTo>
                        <a:pt x="332" y="307"/>
                        <a:pt x="332" y="314"/>
                        <a:pt x="335" y="319"/>
                      </a:cubicBezTo>
                      <a:cubicBezTo>
                        <a:pt x="340" y="326"/>
                        <a:pt x="351" y="333"/>
                        <a:pt x="348" y="335"/>
                      </a:cubicBezTo>
                      <a:cubicBezTo>
                        <a:pt x="346" y="336"/>
                        <a:pt x="334" y="344"/>
                        <a:pt x="330" y="344"/>
                      </a:cubicBezTo>
                      <a:cubicBezTo>
                        <a:pt x="324" y="345"/>
                        <a:pt x="321" y="349"/>
                        <a:pt x="313" y="358"/>
                      </a:cubicBezTo>
                      <a:cubicBezTo>
                        <a:pt x="309" y="361"/>
                        <a:pt x="308" y="364"/>
                        <a:pt x="305" y="368"/>
                      </a:cubicBezTo>
                      <a:cubicBezTo>
                        <a:pt x="300" y="374"/>
                        <a:pt x="302" y="373"/>
                        <a:pt x="298" y="380"/>
                      </a:cubicBezTo>
                      <a:cubicBezTo>
                        <a:pt x="297" y="382"/>
                        <a:pt x="298" y="389"/>
                        <a:pt x="298" y="392"/>
                      </a:cubicBezTo>
                      <a:cubicBezTo>
                        <a:pt x="288" y="393"/>
                        <a:pt x="288" y="393"/>
                        <a:pt x="288" y="393"/>
                      </a:cubicBezTo>
                      <a:cubicBezTo>
                        <a:pt x="271" y="388"/>
                        <a:pt x="271" y="388"/>
                        <a:pt x="271" y="388"/>
                      </a:cubicBezTo>
                      <a:cubicBezTo>
                        <a:pt x="261" y="397"/>
                        <a:pt x="261" y="397"/>
                        <a:pt x="261" y="397"/>
                      </a:cubicBezTo>
                      <a:cubicBezTo>
                        <a:pt x="257" y="400"/>
                        <a:pt x="251" y="398"/>
                        <a:pt x="247" y="401"/>
                      </a:cubicBezTo>
                      <a:cubicBezTo>
                        <a:pt x="247" y="401"/>
                        <a:pt x="244" y="410"/>
                        <a:pt x="243" y="412"/>
                      </a:cubicBezTo>
                      <a:cubicBezTo>
                        <a:pt x="243" y="415"/>
                        <a:pt x="236" y="423"/>
                        <a:pt x="236" y="423"/>
                      </a:cubicBezTo>
                      <a:cubicBezTo>
                        <a:pt x="235" y="424"/>
                        <a:pt x="230" y="429"/>
                        <a:pt x="228" y="430"/>
                      </a:cubicBezTo>
                      <a:cubicBezTo>
                        <a:pt x="225" y="431"/>
                        <a:pt x="223" y="423"/>
                        <a:pt x="221" y="423"/>
                      </a:cubicBezTo>
                      <a:cubicBezTo>
                        <a:pt x="217" y="423"/>
                        <a:pt x="217" y="422"/>
                        <a:pt x="213" y="421"/>
                      </a:cubicBezTo>
                      <a:cubicBezTo>
                        <a:pt x="208" y="421"/>
                        <a:pt x="207" y="428"/>
                        <a:pt x="202" y="428"/>
                      </a:cubicBezTo>
                      <a:cubicBezTo>
                        <a:pt x="194" y="427"/>
                        <a:pt x="180" y="419"/>
                        <a:pt x="180" y="419"/>
                      </a:cubicBezTo>
                      <a:cubicBezTo>
                        <a:pt x="177" y="418"/>
                        <a:pt x="177" y="422"/>
                        <a:pt x="174" y="422"/>
                      </a:cubicBezTo>
                      <a:cubicBezTo>
                        <a:pt x="168" y="421"/>
                        <a:pt x="160" y="417"/>
                        <a:pt x="152" y="415"/>
                      </a:cubicBezTo>
                      <a:cubicBezTo>
                        <a:pt x="146" y="414"/>
                        <a:pt x="134" y="412"/>
                        <a:pt x="134" y="412"/>
                      </a:cubicBezTo>
                      <a:cubicBezTo>
                        <a:pt x="131" y="414"/>
                        <a:pt x="128" y="414"/>
                        <a:pt x="125" y="415"/>
                      </a:cubicBezTo>
                      <a:cubicBezTo>
                        <a:pt x="121" y="417"/>
                        <a:pt x="117" y="420"/>
                        <a:pt x="114" y="421"/>
                      </a:cubicBezTo>
                      <a:cubicBezTo>
                        <a:pt x="111" y="422"/>
                        <a:pt x="105" y="417"/>
                        <a:pt x="96" y="422"/>
                      </a:cubicBezTo>
                      <a:cubicBezTo>
                        <a:pt x="93" y="423"/>
                        <a:pt x="89" y="422"/>
                        <a:pt x="87" y="424"/>
                      </a:cubicBezTo>
                      <a:cubicBezTo>
                        <a:pt x="84" y="427"/>
                        <a:pt x="83" y="431"/>
                        <a:pt x="78" y="433"/>
                      </a:cubicBezTo>
                      <a:cubicBezTo>
                        <a:pt x="75" y="434"/>
                        <a:pt x="71" y="438"/>
                        <a:pt x="69" y="439"/>
                      </a:cubicBezTo>
                      <a:cubicBezTo>
                        <a:pt x="64" y="436"/>
                        <a:pt x="57" y="436"/>
                        <a:pt x="55" y="428"/>
                      </a:cubicBezTo>
                      <a:cubicBezTo>
                        <a:pt x="54" y="425"/>
                        <a:pt x="51" y="428"/>
                        <a:pt x="49" y="425"/>
                      </a:cubicBezTo>
                      <a:cubicBezTo>
                        <a:pt x="45" y="421"/>
                        <a:pt x="42" y="412"/>
                        <a:pt x="42" y="408"/>
                      </a:cubicBezTo>
                      <a:cubicBezTo>
                        <a:pt x="42" y="408"/>
                        <a:pt x="45" y="404"/>
                        <a:pt x="42" y="400"/>
                      </a:cubicBezTo>
                      <a:cubicBezTo>
                        <a:pt x="40" y="396"/>
                        <a:pt x="37" y="395"/>
                        <a:pt x="38" y="391"/>
                      </a:cubicBezTo>
                      <a:cubicBezTo>
                        <a:pt x="41" y="391"/>
                        <a:pt x="40" y="384"/>
                        <a:pt x="40" y="384"/>
                      </a:cubicBezTo>
                      <a:cubicBezTo>
                        <a:pt x="40" y="382"/>
                        <a:pt x="33" y="370"/>
                        <a:pt x="31" y="368"/>
                      </a:cubicBezTo>
                      <a:cubicBezTo>
                        <a:pt x="26" y="365"/>
                        <a:pt x="20" y="361"/>
                        <a:pt x="14" y="360"/>
                      </a:cubicBezTo>
                      <a:cubicBezTo>
                        <a:pt x="0" y="358"/>
                        <a:pt x="0" y="358"/>
                        <a:pt x="0" y="358"/>
                      </a:cubicBezTo>
                      <a:cubicBezTo>
                        <a:pt x="0" y="354"/>
                        <a:pt x="0" y="354"/>
                        <a:pt x="0" y="354"/>
                      </a:cubicBezTo>
                      <a:cubicBezTo>
                        <a:pt x="0" y="352"/>
                        <a:pt x="0" y="352"/>
                        <a:pt x="0" y="352"/>
                      </a:cubicBezTo>
                      <a:cubicBezTo>
                        <a:pt x="0" y="351"/>
                        <a:pt x="0" y="351"/>
                        <a:pt x="0" y="351"/>
                      </a:cubicBezTo>
                      <a:cubicBezTo>
                        <a:pt x="1" y="348"/>
                        <a:pt x="1" y="348"/>
                        <a:pt x="1" y="348"/>
                      </a:cubicBezTo>
                      <a:cubicBezTo>
                        <a:pt x="2" y="346"/>
                        <a:pt x="2" y="346"/>
                        <a:pt x="2" y="346"/>
                      </a:cubicBezTo>
                      <a:cubicBezTo>
                        <a:pt x="1" y="344"/>
                        <a:pt x="1" y="344"/>
                        <a:pt x="1" y="344"/>
                      </a:cubicBezTo>
                      <a:cubicBezTo>
                        <a:pt x="1" y="342"/>
                        <a:pt x="1" y="342"/>
                        <a:pt x="1" y="342"/>
                      </a:cubicBezTo>
                      <a:cubicBezTo>
                        <a:pt x="1" y="339"/>
                        <a:pt x="1" y="339"/>
                        <a:pt x="1" y="339"/>
                      </a:cubicBezTo>
                      <a:cubicBezTo>
                        <a:pt x="1" y="339"/>
                        <a:pt x="0" y="337"/>
                        <a:pt x="0" y="337"/>
                      </a:cubicBezTo>
                      <a:cubicBezTo>
                        <a:pt x="0" y="337"/>
                        <a:pt x="0" y="335"/>
                        <a:pt x="0" y="335"/>
                      </a:cubicBezTo>
                      <a:cubicBezTo>
                        <a:pt x="0" y="335"/>
                        <a:pt x="2" y="334"/>
                        <a:pt x="2" y="334"/>
                      </a:cubicBezTo>
                      <a:cubicBezTo>
                        <a:pt x="2" y="333"/>
                        <a:pt x="4" y="332"/>
                        <a:pt x="4" y="332"/>
                      </a:cubicBezTo>
                      <a:cubicBezTo>
                        <a:pt x="4" y="332"/>
                        <a:pt x="5" y="329"/>
                        <a:pt x="5" y="328"/>
                      </a:cubicBezTo>
                      <a:cubicBezTo>
                        <a:pt x="5" y="328"/>
                        <a:pt x="6" y="327"/>
                        <a:pt x="6" y="327"/>
                      </a:cubicBezTo>
                      <a:cubicBezTo>
                        <a:pt x="9" y="326"/>
                        <a:pt x="9" y="326"/>
                        <a:pt x="9" y="326"/>
                      </a:cubicBezTo>
                      <a:cubicBezTo>
                        <a:pt x="11" y="324"/>
                        <a:pt x="11" y="324"/>
                        <a:pt x="11" y="324"/>
                      </a:cubicBezTo>
                      <a:cubicBezTo>
                        <a:pt x="13" y="323"/>
                        <a:pt x="13" y="323"/>
                        <a:pt x="13" y="323"/>
                      </a:cubicBezTo>
                      <a:cubicBezTo>
                        <a:pt x="15" y="321"/>
                        <a:pt x="15" y="321"/>
                        <a:pt x="15" y="321"/>
                      </a:cubicBezTo>
                      <a:cubicBezTo>
                        <a:pt x="16" y="317"/>
                        <a:pt x="16" y="317"/>
                        <a:pt x="16" y="317"/>
                      </a:cubicBezTo>
                      <a:cubicBezTo>
                        <a:pt x="17" y="316"/>
                        <a:pt x="17" y="316"/>
                        <a:pt x="17" y="316"/>
                      </a:cubicBezTo>
                      <a:cubicBezTo>
                        <a:pt x="17" y="316"/>
                        <a:pt x="20" y="316"/>
                        <a:pt x="20" y="316"/>
                      </a:cubicBezTo>
                      <a:cubicBezTo>
                        <a:pt x="20" y="316"/>
                        <a:pt x="22" y="316"/>
                        <a:pt x="22" y="316"/>
                      </a:cubicBezTo>
                      <a:cubicBezTo>
                        <a:pt x="22" y="315"/>
                        <a:pt x="22" y="315"/>
                        <a:pt x="22" y="315"/>
                      </a:cubicBezTo>
                      <a:cubicBezTo>
                        <a:pt x="24" y="314"/>
                        <a:pt x="24" y="314"/>
                        <a:pt x="24" y="314"/>
                      </a:cubicBezTo>
                      <a:cubicBezTo>
                        <a:pt x="26" y="316"/>
                        <a:pt x="26" y="316"/>
                        <a:pt x="26" y="316"/>
                      </a:cubicBezTo>
                      <a:cubicBezTo>
                        <a:pt x="26" y="316"/>
                        <a:pt x="27" y="316"/>
                        <a:pt x="28" y="316"/>
                      </a:cubicBezTo>
                      <a:cubicBezTo>
                        <a:pt x="28" y="316"/>
                        <a:pt x="29" y="316"/>
                        <a:pt x="29" y="316"/>
                      </a:cubicBezTo>
                      <a:cubicBezTo>
                        <a:pt x="29" y="313"/>
                        <a:pt x="29" y="313"/>
                        <a:pt x="29" y="313"/>
                      </a:cubicBezTo>
                      <a:cubicBezTo>
                        <a:pt x="33" y="309"/>
                        <a:pt x="33" y="309"/>
                        <a:pt x="33" y="309"/>
                      </a:cubicBezTo>
                      <a:cubicBezTo>
                        <a:pt x="33" y="309"/>
                        <a:pt x="33" y="308"/>
                        <a:pt x="33" y="308"/>
                      </a:cubicBezTo>
                      <a:cubicBezTo>
                        <a:pt x="33" y="308"/>
                        <a:pt x="33" y="307"/>
                        <a:pt x="33" y="307"/>
                      </a:cubicBezTo>
                      <a:cubicBezTo>
                        <a:pt x="32" y="306"/>
                        <a:pt x="31" y="307"/>
                        <a:pt x="31" y="307"/>
                      </a:cubicBezTo>
                      <a:cubicBezTo>
                        <a:pt x="31" y="307"/>
                        <a:pt x="29" y="307"/>
                        <a:pt x="29" y="307"/>
                      </a:cubicBezTo>
                      <a:cubicBezTo>
                        <a:pt x="29" y="307"/>
                        <a:pt x="27" y="307"/>
                        <a:pt x="26" y="307"/>
                      </a:cubicBezTo>
                      <a:cubicBezTo>
                        <a:pt x="26" y="307"/>
                        <a:pt x="26" y="306"/>
                        <a:pt x="26" y="306"/>
                      </a:cubicBezTo>
                      <a:cubicBezTo>
                        <a:pt x="25" y="304"/>
                        <a:pt x="25" y="304"/>
                        <a:pt x="25" y="304"/>
                      </a:cubicBezTo>
                      <a:cubicBezTo>
                        <a:pt x="25" y="304"/>
                        <a:pt x="24" y="302"/>
                        <a:pt x="24" y="301"/>
                      </a:cubicBezTo>
                      <a:cubicBezTo>
                        <a:pt x="24" y="300"/>
                        <a:pt x="24" y="299"/>
                        <a:pt x="24" y="298"/>
                      </a:cubicBezTo>
                      <a:cubicBezTo>
                        <a:pt x="24" y="298"/>
                        <a:pt x="23" y="297"/>
                        <a:pt x="23" y="297"/>
                      </a:cubicBezTo>
                      <a:cubicBezTo>
                        <a:pt x="23" y="297"/>
                        <a:pt x="22" y="296"/>
                        <a:pt x="22" y="295"/>
                      </a:cubicBezTo>
                      <a:cubicBezTo>
                        <a:pt x="22" y="295"/>
                        <a:pt x="21" y="292"/>
                        <a:pt x="21" y="292"/>
                      </a:cubicBezTo>
                      <a:cubicBezTo>
                        <a:pt x="20" y="291"/>
                        <a:pt x="20" y="291"/>
                        <a:pt x="20" y="291"/>
                      </a:cubicBezTo>
                      <a:cubicBezTo>
                        <a:pt x="21" y="290"/>
                        <a:pt x="21" y="290"/>
                        <a:pt x="21" y="290"/>
                      </a:cubicBezTo>
                      <a:cubicBezTo>
                        <a:pt x="20" y="288"/>
                        <a:pt x="20" y="288"/>
                        <a:pt x="20" y="288"/>
                      </a:cubicBezTo>
                      <a:cubicBezTo>
                        <a:pt x="22" y="288"/>
                        <a:pt x="22" y="288"/>
                        <a:pt x="22" y="288"/>
                      </a:cubicBezTo>
                      <a:cubicBezTo>
                        <a:pt x="21" y="287"/>
                        <a:pt x="21" y="287"/>
                        <a:pt x="21" y="287"/>
                      </a:cubicBezTo>
                      <a:cubicBezTo>
                        <a:pt x="22" y="285"/>
                        <a:pt x="22" y="285"/>
                        <a:pt x="22" y="285"/>
                      </a:cubicBezTo>
                      <a:cubicBezTo>
                        <a:pt x="22" y="285"/>
                        <a:pt x="24" y="284"/>
                        <a:pt x="24" y="284"/>
                      </a:cubicBezTo>
                      <a:cubicBezTo>
                        <a:pt x="24" y="284"/>
                        <a:pt x="26" y="282"/>
                        <a:pt x="26" y="282"/>
                      </a:cubicBezTo>
                      <a:cubicBezTo>
                        <a:pt x="26" y="282"/>
                        <a:pt x="25" y="281"/>
                        <a:pt x="25" y="281"/>
                      </a:cubicBezTo>
                      <a:cubicBezTo>
                        <a:pt x="25" y="281"/>
                        <a:pt x="25" y="279"/>
                        <a:pt x="25" y="279"/>
                      </a:cubicBezTo>
                      <a:cubicBezTo>
                        <a:pt x="27" y="275"/>
                        <a:pt x="27" y="275"/>
                        <a:pt x="27" y="275"/>
                      </a:cubicBezTo>
                      <a:cubicBezTo>
                        <a:pt x="28" y="275"/>
                        <a:pt x="28" y="275"/>
                        <a:pt x="28" y="275"/>
                      </a:cubicBezTo>
                      <a:cubicBezTo>
                        <a:pt x="31" y="274"/>
                        <a:pt x="31" y="274"/>
                        <a:pt x="31" y="274"/>
                      </a:cubicBezTo>
                      <a:cubicBezTo>
                        <a:pt x="32" y="273"/>
                        <a:pt x="32" y="273"/>
                        <a:pt x="32" y="273"/>
                      </a:cubicBezTo>
                      <a:cubicBezTo>
                        <a:pt x="33" y="273"/>
                        <a:pt x="33" y="273"/>
                        <a:pt x="33" y="273"/>
                      </a:cubicBezTo>
                      <a:cubicBezTo>
                        <a:pt x="35" y="272"/>
                        <a:pt x="35" y="272"/>
                        <a:pt x="35" y="272"/>
                      </a:cubicBezTo>
                      <a:cubicBezTo>
                        <a:pt x="37" y="271"/>
                        <a:pt x="37" y="271"/>
                        <a:pt x="37" y="271"/>
                      </a:cubicBezTo>
                      <a:cubicBezTo>
                        <a:pt x="38" y="270"/>
                        <a:pt x="38" y="270"/>
                        <a:pt x="38" y="270"/>
                      </a:cubicBezTo>
                      <a:cubicBezTo>
                        <a:pt x="38" y="268"/>
                        <a:pt x="38" y="268"/>
                        <a:pt x="38" y="268"/>
                      </a:cubicBezTo>
                      <a:cubicBezTo>
                        <a:pt x="39" y="267"/>
                        <a:pt x="39" y="267"/>
                        <a:pt x="39" y="267"/>
                      </a:cubicBezTo>
                      <a:cubicBezTo>
                        <a:pt x="41" y="265"/>
                        <a:pt x="41" y="265"/>
                        <a:pt x="41" y="265"/>
                      </a:cubicBezTo>
                      <a:cubicBezTo>
                        <a:pt x="43" y="263"/>
                        <a:pt x="43" y="263"/>
                        <a:pt x="43" y="263"/>
                      </a:cubicBezTo>
                      <a:cubicBezTo>
                        <a:pt x="43" y="261"/>
                        <a:pt x="43" y="261"/>
                        <a:pt x="43" y="261"/>
                      </a:cubicBezTo>
                      <a:cubicBezTo>
                        <a:pt x="42" y="260"/>
                        <a:pt x="42" y="260"/>
                        <a:pt x="42" y="260"/>
                      </a:cubicBezTo>
                      <a:cubicBezTo>
                        <a:pt x="42" y="260"/>
                        <a:pt x="41" y="258"/>
                        <a:pt x="41" y="257"/>
                      </a:cubicBezTo>
                      <a:cubicBezTo>
                        <a:pt x="41" y="257"/>
                        <a:pt x="40" y="257"/>
                        <a:pt x="40" y="257"/>
                      </a:cubicBezTo>
                      <a:cubicBezTo>
                        <a:pt x="38" y="258"/>
                        <a:pt x="38" y="258"/>
                        <a:pt x="38" y="258"/>
                      </a:cubicBezTo>
                      <a:cubicBezTo>
                        <a:pt x="38" y="258"/>
                        <a:pt x="37" y="257"/>
                        <a:pt x="36" y="257"/>
                      </a:cubicBezTo>
                      <a:cubicBezTo>
                        <a:pt x="36" y="257"/>
                        <a:pt x="36" y="256"/>
                        <a:pt x="36" y="256"/>
                      </a:cubicBezTo>
                      <a:cubicBezTo>
                        <a:pt x="37" y="255"/>
                        <a:pt x="37" y="255"/>
                        <a:pt x="37" y="255"/>
                      </a:cubicBezTo>
                      <a:cubicBezTo>
                        <a:pt x="37" y="253"/>
                        <a:pt x="37" y="253"/>
                        <a:pt x="37" y="253"/>
                      </a:cubicBezTo>
                      <a:cubicBezTo>
                        <a:pt x="35" y="253"/>
                        <a:pt x="35" y="253"/>
                        <a:pt x="35" y="253"/>
                      </a:cubicBezTo>
                      <a:cubicBezTo>
                        <a:pt x="34" y="251"/>
                        <a:pt x="34" y="251"/>
                        <a:pt x="34" y="251"/>
                      </a:cubicBezTo>
                      <a:cubicBezTo>
                        <a:pt x="33" y="249"/>
                        <a:pt x="33" y="249"/>
                        <a:pt x="33" y="249"/>
                      </a:cubicBezTo>
                      <a:cubicBezTo>
                        <a:pt x="33" y="247"/>
                        <a:pt x="33" y="247"/>
                        <a:pt x="33" y="247"/>
                      </a:cubicBezTo>
                      <a:cubicBezTo>
                        <a:pt x="34" y="246"/>
                        <a:pt x="34" y="246"/>
                        <a:pt x="34" y="246"/>
                      </a:cubicBezTo>
                      <a:cubicBezTo>
                        <a:pt x="34" y="245"/>
                        <a:pt x="34" y="245"/>
                        <a:pt x="34" y="245"/>
                      </a:cubicBezTo>
                      <a:cubicBezTo>
                        <a:pt x="33" y="244"/>
                        <a:pt x="33" y="244"/>
                        <a:pt x="33" y="244"/>
                      </a:cubicBezTo>
                      <a:cubicBezTo>
                        <a:pt x="33" y="242"/>
                        <a:pt x="33" y="242"/>
                        <a:pt x="33" y="242"/>
                      </a:cubicBezTo>
                      <a:cubicBezTo>
                        <a:pt x="32" y="240"/>
                        <a:pt x="32" y="240"/>
                        <a:pt x="32" y="240"/>
                      </a:cubicBezTo>
                      <a:cubicBezTo>
                        <a:pt x="33" y="239"/>
                        <a:pt x="33" y="239"/>
                        <a:pt x="33" y="239"/>
                      </a:cubicBezTo>
                      <a:cubicBezTo>
                        <a:pt x="34" y="238"/>
                        <a:pt x="34" y="238"/>
                        <a:pt x="34" y="238"/>
                      </a:cubicBezTo>
                      <a:cubicBezTo>
                        <a:pt x="34" y="236"/>
                        <a:pt x="34" y="236"/>
                        <a:pt x="34" y="236"/>
                      </a:cubicBezTo>
                      <a:cubicBezTo>
                        <a:pt x="34" y="236"/>
                        <a:pt x="32" y="235"/>
                        <a:pt x="32" y="235"/>
                      </a:cubicBezTo>
                      <a:cubicBezTo>
                        <a:pt x="32" y="235"/>
                        <a:pt x="31" y="233"/>
                        <a:pt x="31" y="233"/>
                      </a:cubicBezTo>
                      <a:cubicBezTo>
                        <a:pt x="31" y="232"/>
                        <a:pt x="31" y="232"/>
                        <a:pt x="31" y="232"/>
                      </a:cubicBezTo>
                      <a:cubicBezTo>
                        <a:pt x="31" y="232"/>
                        <a:pt x="29" y="230"/>
                        <a:pt x="29" y="230"/>
                      </a:cubicBezTo>
                      <a:cubicBezTo>
                        <a:pt x="29" y="230"/>
                        <a:pt x="29" y="228"/>
                        <a:pt x="29" y="228"/>
                      </a:cubicBezTo>
                      <a:cubicBezTo>
                        <a:pt x="29" y="228"/>
                        <a:pt x="28" y="226"/>
                        <a:pt x="28" y="226"/>
                      </a:cubicBezTo>
                      <a:cubicBezTo>
                        <a:pt x="27" y="225"/>
                        <a:pt x="27" y="224"/>
                        <a:pt x="27" y="224"/>
                      </a:cubicBezTo>
                      <a:cubicBezTo>
                        <a:pt x="29" y="224"/>
                        <a:pt x="29" y="224"/>
                        <a:pt x="29" y="224"/>
                      </a:cubicBezTo>
                      <a:cubicBezTo>
                        <a:pt x="31" y="224"/>
                        <a:pt x="31" y="224"/>
                        <a:pt x="31" y="224"/>
                      </a:cubicBezTo>
                      <a:cubicBezTo>
                        <a:pt x="32" y="226"/>
                        <a:pt x="32" y="226"/>
                        <a:pt x="32" y="226"/>
                      </a:cubicBezTo>
                      <a:cubicBezTo>
                        <a:pt x="33" y="225"/>
                        <a:pt x="33" y="225"/>
                        <a:pt x="33" y="225"/>
                      </a:cubicBezTo>
                      <a:cubicBezTo>
                        <a:pt x="33" y="226"/>
                        <a:pt x="33" y="226"/>
                        <a:pt x="33" y="226"/>
                      </a:cubicBezTo>
                      <a:cubicBezTo>
                        <a:pt x="35" y="226"/>
                        <a:pt x="35" y="226"/>
                        <a:pt x="35" y="226"/>
                      </a:cubicBezTo>
                      <a:cubicBezTo>
                        <a:pt x="38" y="226"/>
                        <a:pt x="38" y="226"/>
                        <a:pt x="38" y="226"/>
                      </a:cubicBezTo>
                      <a:cubicBezTo>
                        <a:pt x="40" y="226"/>
                        <a:pt x="40" y="226"/>
                        <a:pt x="40" y="226"/>
                      </a:cubicBezTo>
                      <a:cubicBezTo>
                        <a:pt x="41" y="226"/>
                        <a:pt x="41" y="226"/>
                        <a:pt x="41" y="226"/>
                      </a:cubicBezTo>
                      <a:cubicBezTo>
                        <a:pt x="41" y="226"/>
                        <a:pt x="42" y="227"/>
                        <a:pt x="42" y="227"/>
                      </a:cubicBezTo>
                      <a:cubicBezTo>
                        <a:pt x="43" y="228"/>
                        <a:pt x="44" y="227"/>
                        <a:pt x="44" y="227"/>
                      </a:cubicBezTo>
                      <a:cubicBezTo>
                        <a:pt x="44" y="228"/>
                        <a:pt x="46" y="228"/>
                        <a:pt x="46" y="228"/>
                      </a:cubicBezTo>
                      <a:cubicBezTo>
                        <a:pt x="46" y="228"/>
                        <a:pt x="47" y="227"/>
                        <a:pt x="48" y="227"/>
                      </a:cubicBezTo>
                      <a:cubicBezTo>
                        <a:pt x="48" y="227"/>
                        <a:pt x="49" y="227"/>
                        <a:pt x="49" y="227"/>
                      </a:cubicBezTo>
                      <a:cubicBezTo>
                        <a:pt x="50" y="226"/>
                        <a:pt x="50" y="226"/>
                        <a:pt x="50" y="226"/>
                      </a:cubicBezTo>
                      <a:cubicBezTo>
                        <a:pt x="50" y="224"/>
                        <a:pt x="50" y="224"/>
                        <a:pt x="50" y="224"/>
                      </a:cubicBezTo>
                      <a:cubicBezTo>
                        <a:pt x="51" y="224"/>
                        <a:pt x="51" y="224"/>
                        <a:pt x="51" y="224"/>
                      </a:cubicBezTo>
                      <a:cubicBezTo>
                        <a:pt x="51" y="223"/>
                        <a:pt x="51" y="223"/>
                        <a:pt x="51" y="223"/>
                      </a:cubicBezTo>
                      <a:cubicBezTo>
                        <a:pt x="52" y="221"/>
                        <a:pt x="52" y="221"/>
                        <a:pt x="52" y="221"/>
                      </a:cubicBezTo>
                      <a:cubicBezTo>
                        <a:pt x="52" y="220"/>
                        <a:pt x="52" y="220"/>
                        <a:pt x="52" y="220"/>
                      </a:cubicBezTo>
                      <a:cubicBezTo>
                        <a:pt x="54" y="220"/>
                        <a:pt x="54" y="220"/>
                        <a:pt x="54" y="220"/>
                      </a:cubicBezTo>
                      <a:cubicBezTo>
                        <a:pt x="55" y="219"/>
                        <a:pt x="55" y="219"/>
                        <a:pt x="55" y="219"/>
                      </a:cubicBezTo>
                      <a:cubicBezTo>
                        <a:pt x="56" y="217"/>
                        <a:pt x="56" y="217"/>
                        <a:pt x="56" y="217"/>
                      </a:cubicBezTo>
                      <a:cubicBezTo>
                        <a:pt x="57" y="215"/>
                        <a:pt x="57" y="215"/>
                        <a:pt x="57" y="215"/>
                      </a:cubicBezTo>
                      <a:cubicBezTo>
                        <a:pt x="57" y="215"/>
                        <a:pt x="58" y="213"/>
                        <a:pt x="58" y="213"/>
                      </a:cubicBezTo>
                      <a:cubicBezTo>
                        <a:pt x="58" y="213"/>
                        <a:pt x="59" y="211"/>
                        <a:pt x="59" y="211"/>
                      </a:cubicBezTo>
                      <a:cubicBezTo>
                        <a:pt x="58" y="208"/>
                        <a:pt x="58" y="208"/>
                        <a:pt x="58" y="208"/>
                      </a:cubicBezTo>
                      <a:cubicBezTo>
                        <a:pt x="57" y="206"/>
                        <a:pt x="57" y="206"/>
                        <a:pt x="57" y="206"/>
                      </a:cubicBezTo>
                      <a:cubicBezTo>
                        <a:pt x="56" y="204"/>
                        <a:pt x="56" y="204"/>
                        <a:pt x="56" y="204"/>
                      </a:cubicBezTo>
                      <a:cubicBezTo>
                        <a:pt x="56" y="204"/>
                        <a:pt x="56" y="203"/>
                        <a:pt x="55" y="203"/>
                      </a:cubicBezTo>
                      <a:cubicBezTo>
                        <a:pt x="55" y="203"/>
                        <a:pt x="55" y="202"/>
                        <a:pt x="55" y="202"/>
                      </a:cubicBezTo>
                      <a:cubicBezTo>
                        <a:pt x="55" y="200"/>
                        <a:pt x="55" y="200"/>
                        <a:pt x="55" y="200"/>
                      </a:cubicBezTo>
                      <a:cubicBezTo>
                        <a:pt x="56" y="199"/>
                        <a:pt x="56" y="199"/>
                        <a:pt x="56" y="199"/>
                      </a:cubicBezTo>
                      <a:cubicBezTo>
                        <a:pt x="57" y="199"/>
                        <a:pt x="57" y="199"/>
                        <a:pt x="57" y="199"/>
                      </a:cubicBezTo>
                      <a:cubicBezTo>
                        <a:pt x="59" y="197"/>
                        <a:pt x="59" y="197"/>
                        <a:pt x="59" y="197"/>
                      </a:cubicBezTo>
                      <a:cubicBezTo>
                        <a:pt x="60" y="197"/>
                        <a:pt x="60" y="197"/>
                        <a:pt x="60" y="197"/>
                      </a:cubicBezTo>
                      <a:cubicBezTo>
                        <a:pt x="62" y="197"/>
                        <a:pt x="62" y="197"/>
                        <a:pt x="62" y="197"/>
                      </a:cubicBezTo>
                      <a:cubicBezTo>
                        <a:pt x="64" y="195"/>
                        <a:pt x="64" y="195"/>
                        <a:pt x="64" y="195"/>
                      </a:cubicBezTo>
                      <a:cubicBezTo>
                        <a:pt x="65" y="195"/>
                        <a:pt x="65" y="195"/>
                        <a:pt x="65" y="195"/>
                      </a:cubicBezTo>
                      <a:cubicBezTo>
                        <a:pt x="66" y="194"/>
                        <a:pt x="66" y="194"/>
                        <a:pt x="66" y="194"/>
                      </a:cubicBezTo>
                      <a:cubicBezTo>
                        <a:pt x="67" y="192"/>
                        <a:pt x="67" y="192"/>
                        <a:pt x="67" y="192"/>
                      </a:cubicBezTo>
                      <a:cubicBezTo>
                        <a:pt x="66" y="190"/>
                        <a:pt x="66" y="190"/>
                        <a:pt x="66" y="190"/>
                      </a:cubicBezTo>
                      <a:cubicBezTo>
                        <a:pt x="65" y="189"/>
                        <a:pt x="65" y="189"/>
                        <a:pt x="65" y="189"/>
                      </a:cubicBezTo>
                      <a:cubicBezTo>
                        <a:pt x="66" y="186"/>
                        <a:pt x="66" y="186"/>
                        <a:pt x="66" y="186"/>
                      </a:cubicBezTo>
                      <a:cubicBezTo>
                        <a:pt x="68" y="185"/>
                        <a:pt x="68" y="185"/>
                        <a:pt x="68" y="185"/>
                      </a:cubicBezTo>
                      <a:cubicBezTo>
                        <a:pt x="68" y="182"/>
                        <a:pt x="68" y="182"/>
                        <a:pt x="68" y="182"/>
                      </a:cubicBezTo>
                      <a:cubicBezTo>
                        <a:pt x="67" y="181"/>
                        <a:pt x="67" y="181"/>
                        <a:pt x="67" y="181"/>
                      </a:cubicBezTo>
                      <a:cubicBezTo>
                        <a:pt x="68" y="179"/>
                        <a:pt x="68" y="179"/>
                        <a:pt x="68" y="179"/>
                      </a:cubicBezTo>
                      <a:cubicBezTo>
                        <a:pt x="69" y="178"/>
                        <a:pt x="69" y="178"/>
                        <a:pt x="69" y="178"/>
                      </a:cubicBezTo>
                      <a:cubicBezTo>
                        <a:pt x="69" y="178"/>
                        <a:pt x="70" y="176"/>
                        <a:pt x="70" y="175"/>
                      </a:cubicBezTo>
                      <a:cubicBezTo>
                        <a:pt x="71" y="175"/>
                        <a:pt x="71" y="172"/>
                        <a:pt x="71" y="172"/>
                      </a:cubicBezTo>
                      <a:cubicBezTo>
                        <a:pt x="70" y="170"/>
                        <a:pt x="70" y="170"/>
                        <a:pt x="70" y="170"/>
                      </a:cubicBezTo>
                      <a:cubicBezTo>
                        <a:pt x="70" y="169"/>
                        <a:pt x="70" y="169"/>
                        <a:pt x="70" y="169"/>
                      </a:cubicBezTo>
                      <a:cubicBezTo>
                        <a:pt x="70" y="169"/>
                        <a:pt x="72" y="168"/>
                        <a:pt x="72" y="168"/>
                      </a:cubicBezTo>
                      <a:cubicBezTo>
                        <a:pt x="73" y="168"/>
                        <a:pt x="73" y="165"/>
                        <a:pt x="73" y="165"/>
                      </a:cubicBezTo>
                      <a:cubicBezTo>
                        <a:pt x="71" y="164"/>
                        <a:pt x="71" y="164"/>
                        <a:pt x="71" y="164"/>
                      </a:cubicBezTo>
                      <a:cubicBezTo>
                        <a:pt x="71" y="164"/>
                        <a:pt x="71" y="162"/>
                        <a:pt x="71" y="161"/>
                      </a:cubicBezTo>
                      <a:cubicBezTo>
                        <a:pt x="71" y="161"/>
                        <a:pt x="71" y="159"/>
                        <a:pt x="71" y="159"/>
                      </a:cubicBezTo>
                      <a:cubicBezTo>
                        <a:pt x="70" y="159"/>
                        <a:pt x="70" y="159"/>
                        <a:pt x="70" y="159"/>
                      </a:cubicBezTo>
                      <a:cubicBezTo>
                        <a:pt x="70" y="157"/>
                        <a:pt x="70" y="157"/>
                        <a:pt x="70" y="157"/>
                      </a:cubicBezTo>
                      <a:cubicBezTo>
                        <a:pt x="71" y="156"/>
                        <a:pt x="71" y="156"/>
                        <a:pt x="71" y="156"/>
                      </a:cubicBezTo>
                      <a:cubicBezTo>
                        <a:pt x="73" y="157"/>
                        <a:pt x="73" y="157"/>
                        <a:pt x="73" y="157"/>
                      </a:cubicBezTo>
                      <a:cubicBezTo>
                        <a:pt x="73" y="157"/>
                        <a:pt x="74" y="156"/>
                        <a:pt x="75" y="156"/>
                      </a:cubicBezTo>
                      <a:cubicBezTo>
                        <a:pt x="75" y="155"/>
                        <a:pt x="77" y="155"/>
                        <a:pt x="77" y="155"/>
                      </a:cubicBezTo>
                      <a:cubicBezTo>
                        <a:pt x="78" y="152"/>
                        <a:pt x="78" y="152"/>
                        <a:pt x="78" y="152"/>
                      </a:cubicBezTo>
                      <a:cubicBezTo>
                        <a:pt x="82" y="150"/>
                        <a:pt x="82" y="150"/>
                        <a:pt x="82" y="150"/>
                      </a:cubicBezTo>
                      <a:cubicBezTo>
                        <a:pt x="82" y="149"/>
                        <a:pt x="82" y="149"/>
                        <a:pt x="82" y="149"/>
                      </a:cubicBezTo>
                      <a:cubicBezTo>
                        <a:pt x="85" y="148"/>
                        <a:pt x="85" y="148"/>
                        <a:pt x="85" y="148"/>
                      </a:cubicBezTo>
                      <a:cubicBezTo>
                        <a:pt x="87" y="149"/>
                        <a:pt x="87" y="149"/>
                        <a:pt x="87" y="149"/>
                      </a:cubicBezTo>
                      <a:cubicBezTo>
                        <a:pt x="89" y="147"/>
                        <a:pt x="89" y="147"/>
                        <a:pt x="89" y="147"/>
                      </a:cubicBezTo>
                      <a:cubicBezTo>
                        <a:pt x="90" y="147"/>
                        <a:pt x="90" y="147"/>
                        <a:pt x="90" y="147"/>
                      </a:cubicBezTo>
                      <a:cubicBezTo>
                        <a:pt x="92" y="146"/>
                        <a:pt x="92" y="146"/>
                        <a:pt x="92" y="146"/>
                      </a:cubicBezTo>
                      <a:cubicBezTo>
                        <a:pt x="94" y="145"/>
                        <a:pt x="94" y="145"/>
                        <a:pt x="94" y="145"/>
                      </a:cubicBezTo>
                      <a:cubicBezTo>
                        <a:pt x="97" y="142"/>
                        <a:pt x="97" y="142"/>
                        <a:pt x="97" y="142"/>
                      </a:cubicBezTo>
                      <a:cubicBezTo>
                        <a:pt x="98" y="142"/>
                        <a:pt x="98" y="142"/>
                        <a:pt x="98" y="142"/>
                      </a:cubicBezTo>
                      <a:cubicBezTo>
                        <a:pt x="98" y="142"/>
                        <a:pt x="100" y="141"/>
                        <a:pt x="100" y="141"/>
                      </a:cubicBezTo>
                      <a:cubicBezTo>
                        <a:pt x="100" y="141"/>
                        <a:pt x="101" y="139"/>
                        <a:pt x="101" y="139"/>
                      </a:cubicBezTo>
                      <a:cubicBezTo>
                        <a:pt x="103" y="138"/>
                        <a:pt x="103" y="138"/>
                        <a:pt x="103" y="138"/>
                      </a:cubicBezTo>
                      <a:cubicBezTo>
                        <a:pt x="105" y="135"/>
                        <a:pt x="105" y="135"/>
                        <a:pt x="105" y="135"/>
                      </a:cubicBezTo>
                      <a:cubicBezTo>
                        <a:pt x="107" y="133"/>
                        <a:pt x="107" y="133"/>
                        <a:pt x="107" y="133"/>
                      </a:cubicBezTo>
                      <a:cubicBezTo>
                        <a:pt x="105" y="130"/>
                        <a:pt x="105" y="130"/>
                        <a:pt x="105" y="130"/>
                      </a:cubicBezTo>
                      <a:cubicBezTo>
                        <a:pt x="105" y="130"/>
                        <a:pt x="103" y="128"/>
                        <a:pt x="102" y="128"/>
                      </a:cubicBezTo>
                      <a:cubicBezTo>
                        <a:pt x="102" y="127"/>
                        <a:pt x="100" y="126"/>
                        <a:pt x="100" y="126"/>
                      </a:cubicBezTo>
                      <a:cubicBezTo>
                        <a:pt x="100" y="126"/>
                        <a:pt x="97" y="125"/>
                        <a:pt x="97" y="125"/>
                      </a:cubicBezTo>
                      <a:cubicBezTo>
                        <a:pt x="97" y="125"/>
                        <a:pt x="95" y="126"/>
                        <a:pt x="95" y="126"/>
                      </a:cubicBezTo>
                      <a:cubicBezTo>
                        <a:pt x="94" y="125"/>
                        <a:pt x="94" y="125"/>
                        <a:pt x="94" y="125"/>
                      </a:cubicBezTo>
                      <a:cubicBezTo>
                        <a:pt x="94" y="125"/>
                        <a:pt x="93" y="123"/>
                        <a:pt x="94" y="123"/>
                      </a:cubicBezTo>
                      <a:cubicBezTo>
                        <a:pt x="94" y="123"/>
                        <a:pt x="94" y="122"/>
                        <a:pt x="94" y="122"/>
                      </a:cubicBezTo>
                      <a:cubicBezTo>
                        <a:pt x="94" y="121"/>
                        <a:pt x="94" y="121"/>
                        <a:pt x="94" y="121"/>
                      </a:cubicBezTo>
                      <a:cubicBezTo>
                        <a:pt x="94" y="120"/>
                        <a:pt x="94" y="120"/>
                        <a:pt x="94" y="120"/>
                      </a:cubicBezTo>
                      <a:cubicBezTo>
                        <a:pt x="95" y="119"/>
                        <a:pt x="95" y="119"/>
                        <a:pt x="95" y="119"/>
                      </a:cubicBezTo>
                      <a:cubicBezTo>
                        <a:pt x="95" y="119"/>
                        <a:pt x="96" y="118"/>
                        <a:pt x="96" y="117"/>
                      </a:cubicBezTo>
                      <a:cubicBezTo>
                        <a:pt x="96" y="117"/>
                        <a:pt x="97" y="115"/>
                        <a:pt x="97" y="115"/>
                      </a:cubicBezTo>
                      <a:cubicBezTo>
                        <a:pt x="97" y="115"/>
                        <a:pt x="96" y="114"/>
                        <a:pt x="96" y="113"/>
                      </a:cubicBezTo>
                      <a:cubicBezTo>
                        <a:pt x="95" y="113"/>
                        <a:pt x="95" y="113"/>
                        <a:pt x="96" y="112"/>
                      </a:cubicBezTo>
                      <a:cubicBezTo>
                        <a:pt x="96" y="112"/>
                        <a:pt x="96" y="111"/>
                        <a:pt x="96" y="111"/>
                      </a:cubicBezTo>
                      <a:cubicBezTo>
                        <a:pt x="96" y="111"/>
                        <a:pt x="96" y="109"/>
                        <a:pt x="95" y="109"/>
                      </a:cubicBezTo>
                      <a:cubicBezTo>
                        <a:pt x="95" y="109"/>
                        <a:pt x="93" y="110"/>
                        <a:pt x="93" y="110"/>
                      </a:cubicBezTo>
                      <a:cubicBezTo>
                        <a:pt x="93" y="110"/>
                        <a:pt x="90" y="109"/>
                        <a:pt x="90" y="109"/>
                      </a:cubicBezTo>
                      <a:cubicBezTo>
                        <a:pt x="90" y="109"/>
                        <a:pt x="89" y="108"/>
                        <a:pt x="89" y="108"/>
                      </a:cubicBezTo>
                      <a:cubicBezTo>
                        <a:pt x="89" y="108"/>
                        <a:pt x="89" y="106"/>
                        <a:pt x="88" y="106"/>
                      </a:cubicBezTo>
                      <a:cubicBezTo>
                        <a:pt x="87" y="105"/>
                        <a:pt x="87" y="106"/>
                        <a:pt x="87" y="106"/>
                      </a:cubicBezTo>
                      <a:cubicBezTo>
                        <a:pt x="86" y="108"/>
                        <a:pt x="86" y="108"/>
                        <a:pt x="86" y="108"/>
                      </a:cubicBezTo>
                      <a:cubicBezTo>
                        <a:pt x="86" y="108"/>
                        <a:pt x="84" y="108"/>
                        <a:pt x="83" y="107"/>
                      </a:cubicBezTo>
                      <a:cubicBezTo>
                        <a:pt x="83" y="107"/>
                        <a:pt x="82" y="107"/>
                        <a:pt x="82" y="107"/>
                      </a:cubicBezTo>
                      <a:cubicBezTo>
                        <a:pt x="81" y="107"/>
                        <a:pt x="81" y="106"/>
                        <a:pt x="81" y="105"/>
                      </a:cubicBezTo>
                      <a:cubicBezTo>
                        <a:pt x="80" y="104"/>
                        <a:pt x="80" y="105"/>
                        <a:pt x="79" y="105"/>
                      </a:cubicBezTo>
                      <a:cubicBezTo>
                        <a:pt x="79" y="105"/>
                        <a:pt x="77" y="105"/>
                        <a:pt x="77" y="105"/>
                      </a:cubicBezTo>
                      <a:cubicBezTo>
                        <a:pt x="77" y="105"/>
                        <a:pt x="75" y="103"/>
                        <a:pt x="75" y="103"/>
                      </a:cubicBezTo>
                      <a:cubicBezTo>
                        <a:pt x="75" y="102"/>
                        <a:pt x="74" y="102"/>
                        <a:pt x="74" y="102"/>
                      </a:cubicBezTo>
                      <a:cubicBezTo>
                        <a:pt x="74" y="102"/>
                        <a:pt x="72" y="103"/>
                        <a:pt x="72" y="103"/>
                      </a:cubicBezTo>
                      <a:cubicBezTo>
                        <a:pt x="72" y="104"/>
                        <a:pt x="72" y="104"/>
                        <a:pt x="72" y="104"/>
                      </a:cubicBezTo>
                      <a:cubicBezTo>
                        <a:pt x="71" y="107"/>
                        <a:pt x="71" y="107"/>
                        <a:pt x="71" y="107"/>
                      </a:cubicBezTo>
                      <a:cubicBezTo>
                        <a:pt x="68" y="109"/>
                        <a:pt x="68" y="109"/>
                        <a:pt x="68" y="109"/>
                      </a:cubicBezTo>
                      <a:cubicBezTo>
                        <a:pt x="68" y="109"/>
                        <a:pt x="65" y="109"/>
                        <a:pt x="64" y="108"/>
                      </a:cubicBezTo>
                      <a:cubicBezTo>
                        <a:pt x="64" y="108"/>
                        <a:pt x="64" y="108"/>
                        <a:pt x="63" y="108"/>
                      </a:cubicBezTo>
                      <a:cubicBezTo>
                        <a:pt x="62" y="108"/>
                        <a:pt x="62" y="108"/>
                        <a:pt x="62" y="108"/>
                      </a:cubicBezTo>
                      <a:cubicBezTo>
                        <a:pt x="62" y="108"/>
                        <a:pt x="60" y="109"/>
                        <a:pt x="60" y="109"/>
                      </a:cubicBezTo>
                      <a:cubicBezTo>
                        <a:pt x="60" y="109"/>
                        <a:pt x="59" y="107"/>
                        <a:pt x="59" y="107"/>
                      </a:cubicBezTo>
                      <a:cubicBezTo>
                        <a:pt x="59" y="107"/>
                        <a:pt x="57" y="106"/>
                        <a:pt x="57" y="105"/>
                      </a:cubicBezTo>
                      <a:cubicBezTo>
                        <a:pt x="57" y="105"/>
                        <a:pt x="57" y="106"/>
                        <a:pt x="57" y="106"/>
                      </a:cubicBezTo>
                      <a:cubicBezTo>
                        <a:pt x="57" y="106"/>
                        <a:pt x="56" y="107"/>
                        <a:pt x="55" y="107"/>
                      </a:cubicBezTo>
                      <a:cubicBezTo>
                        <a:pt x="55" y="107"/>
                        <a:pt x="54" y="108"/>
                        <a:pt x="54" y="108"/>
                      </a:cubicBezTo>
                      <a:cubicBezTo>
                        <a:pt x="53" y="108"/>
                        <a:pt x="54" y="106"/>
                        <a:pt x="54" y="106"/>
                      </a:cubicBezTo>
                      <a:cubicBezTo>
                        <a:pt x="55" y="104"/>
                        <a:pt x="55" y="104"/>
                        <a:pt x="55" y="104"/>
                      </a:cubicBezTo>
                      <a:cubicBezTo>
                        <a:pt x="55" y="104"/>
                        <a:pt x="52" y="103"/>
                        <a:pt x="52" y="102"/>
                      </a:cubicBezTo>
                      <a:cubicBezTo>
                        <a:pt x="51" y="102"/>
                        <a:pt x="50" y="101"/>
                        <a:pt x="50" y="101"/>
                      </a:cubicBezTo>
                      <a:cubicBezTo>
                        <a:pt x="50" y="101"/>
                        <a:pt x="48" y="101"/>
                        <a:pt x="48" y="101"/>
                      </a:cubicBezTo>
                      <a:cubicBezTo>
                        <a:pt x="46" y="101"/>
                        <a:pt x="46" y="101"/>
                        <a:pt x="46" y="101"/>
                      </a:cubicBezTo>
                      <a:cubicBezTo>
                        <a:pt x="46" y="101"/>
                        <a:pt x="45" y="101"/>
                        <a:pt x="44" y="102"/>
                      </a:cubicBezTo>
                      <a:cubicBezTo>
                        <a:pt x="44" y="102"/>
                        <a:pt x="43" y="103"/>
                        <a:pt x="42" y="102"/>
                      </a:cubicBezTo>
                      <a:cubicBezTo>
                        <a:pt x="42" y="102"/>
                        <a:pt x="43" y="100"/>
                        <a:pt x="43" y="100"/>
                      </a:cubicBezTo>
                      <a:cubicBezTo>
                        <a:pt x="43" y="100"/>
                        <a:pt x="43" y="98"/>
                        <a:pt x="43" y="98"/>
                      </a:cubicBezTo>
                      <a:cubicBezTo>
                        <a:pt x="42" y="97"/>
                        <a:pt x="42" y="99"/>
                        <a:pt x="42" y="99"/>
                      </a:cubicBezTo>
                      <a:cubicBezTo>
                        <a:pt x="42" y="99"/>
                        <a:pt x="40" y="100"/>
                        <a:pt x="39" y="101"/>
                      </a:cubicBezTo>
                      <a:cubicBezTo>
                        <a:pt x="39" y="101"/>
                        <a:pt x="38" y="101"/>
                        <a:pt x="38" y="101"/>
                      </a:cubicBezTo>
                      <a:cubicBezTo>
                        <a:pt x="37" y="101"/>
                        <a:pt x="36" y="102"/>
                        <a:pt x="34" y="102"/>
                      </a:cubicBezTo>
                      <a:cubicBezTo>
                        <a:pt x="33" y="102"/>
                        <a:pt x="32" y="103"/>
                        <a:pt x="32" y="102"/>
                      </a:cubicBezTo>
                      <a:cubicBezTo>
                        <a:pt x="31" y="102"/>
                        <a:pt x="31" y="101"/>
                        <a:pt x="31" y="101"/>
                      </a:cubicBezTo>
                      <a:cubicBezTo>
                        <a:pt x="31" y="99"/>
                        <a:pt x="31" y="99"/>
                        <a:pt x="31" y="99"/>
                      </a:cubicBezTo>
                      <a:cubicBezTo>
                        <a:pt x="31" y="99"/>
                        <a:pt x="30" y="98"/>
                        <a:pt x="30" y="97"/>
                      </a:cubicBezTo>
                      <a:cubicBezTo>
                        <a:pt x="29" y="96"/>
                        <a:pt x="30" y="96"/>
                        <a:pt x="30" y="95"/>
                      </a:cubicBezTo>
                      <a:cubicBezTo>
                        <a:pt x="30" y="95"/>
                        <a:pt x="32" y="94"/>
                        <a:pt x="32" y="94"/>
                      </a:cubicBezTo>
                      <a:cubicBezTo>
                        <a:pt x="32" y="93"/>
                        <a:pt x="33" y="93"/>
                        <a:pt x="33" y="93"/>
                      </a:cubicBezTo>
                      <a:cubicBezTo>
                        <a:pt x="36" y="92"/>
                        <a:pt x="36" y="92"/>
                        <a:pt x="36" y="92"/>
                      </a:cubicBezTo>
                      <a:cubicBezTo>
                        <a:pt x="36" y="92"/>
                        <a:pt x="36" y="89"/>
                        <a:pt x="36" y="88"/>
                      </a:cubicBezTo>
                      <a:cubicBezTo>
                        <a:pt x="36" y="88"/>
                        <a:pt x="36" y="88"/>
                        <a:pt x="35" y="88"/>
                      </a:cubicBezTo>
                      <a:cubicBezTo>
                        <a:pt x="34" y="88"/>
                        <a:pt x="34" y="87"/>
                        <a:pt x="34" y="87"/>
                      </a:cubicBezTo>
                      <a:cubicBezTo>
                        <a:pt x="34" y="87"/>
                        <a:pt x="34" y="85"/>
                        <a:pt x="34" y="85"/>
                      </a:cubicBezTo>
                      <a:cubicBezTo>
                        <a:pt x="33" y="83"/>
                        <a:pt x="33" y="83"/>
                        <a:pt x="33" y="83"/>
                      </a:cubicBezTo>
                      <a:cubicBezTo>
                        <a:pt x="29" y="84"/>
                        <a:pt x="29" y="84"/>
                        <a:pt x="29" y="84"/>
                      </a:cubicBezTo>
                      <a:cubicBezTo>
                        <a:pt x="29" y="84"/>
                        <a:pt x="27" y="85"/>
                        <a:pt x="26" y="85"/>
                      </a:cubicBezTo>
                      <a:cubicBezTo>
                        <a:pt x="26" y="85"/>
                        <a:pt x="24" y="85"/>
                        <a:pt x="24" y="85"/>
                      </a:cubicBezTo>
                      <a:cubicBezTo>
                        <a:pt x="23" y="85"/>
                        <a:pt x="22" y="84"/>
                        <a:pt x="22" y="84"/>
                      </a:cubicBezTo>
                      <a:cubicBezTo>
                        <a:pt x="22" y="84"/>
                        <a:pt x="18" y="85"/>
                        <a:pt x="18" y="85"/>
                      </a:cubicBezTo>
                      <a:cubicBezTo>
                        <a:pt x="18" y="85"/>
                        <a:pt x="17" y="85"/>
                        <a:pt x="17" y="85"/>
                      </a:cubicBezTo>
                      <a:cubicBezTo>
                        <a:pt x="15" y="85"/>
                        <a:pt x="15" y="85"/>
                        <a:pt x="15" y="85"/>
                      </a:cubicBezTo>
                      <a:cubicBezTo>
                        <a:pt x="13" y="86"/>
                        <a:pt x="13" y="86"/>
                        <a:pt x="13" y="86"/>
                      </a:cubicBezTo>
                      <a:cubicBezTo>
                        <a:pt x="12" y="87"/>
                        <a:pt x="12" y="87"/>
                        <a:pt x="12" y="87"/>
                      </a:cubicBezTo>
                      <a:cubicBezTo>
                        <a:pt x="12" y="87"/>
                        <a:pt x="11" y="88"/>
                        <a:pt x="11" y="88"/>
                      </a:cubicBezTo>
                      <a:cubicBezTo>
                        <a:pt x="10" y="88"/>
                        <a:pt x="9" y="88"/>
                        <a:pt x="8" y="88"/>
                      </a:cubicBezTo>
                      <a:cubicBezTo>
                        <a:pt x="8" y="88"/>
                        <a:pt x="7" y="89"/>
                        <a:pt x="7" y="89"/>
                      </a:cubicBezTo>
                      <a:cubicBezTo>
                        <a:pt x="7" y="89"/>
                        <a:pt x="5" y="90"/>
                        <a:pt x="4" y="91"/>
                      </a:cubicBezTo>
                      <a:cubicBezTo>
                        <a:pt x="3" y="86"/>
                        <a:pt x="3" y="86"/>
                        <a:pt x="3" y="86"/>
                      </a:cubicBezTo>
                      <a:cubicBezTo>
                        <a:pt x="6" y="77"/>
                        <a:pt x="6" y="77"/>
                        <a:pt x="6" y="77"/>
                      </a:cubicBezTo>
                      <a:cubicBezTo>
                        <a:pt x="11" y="73"/>
                        <a:pt x="11" y="73"/>
                        <a:pt x="11" y="73"/>
                      </a:cubicBezTo>
                      <a:cubicBezTo>
                        <a:pt x="13" y="65"/>
                        <a:pt x="13" y="65"/>
                        <a:pt x="13" y="65"/>
                      </a:cubicBezTo>
                      <a:cubicBezTo>
                        <a:pt x="10" y="62"/>
                        <a:pt x="10" y="62"/>
                        <a:pt x="10" y="62"/>
                      </a:cubicBezTo>
                      <a:cubicBezTo>
                        <a:pt x="10" y="59"/>
                        <a:pt x="19" y="53"/>
                        <a:pt x="18" y="50"/>
                      </a:cubicBezTo>
                      <a:cubicBezTo>
                        <a:pt x="17" y="47"/>
                        <a:pt x="6" y="56"/>
                        <a:pt x="5" y="53"/>
                      </a:cubicBezTo>
                      <a:cubicBezTo>
                        <a:pt x="4" y="47"/>
                        <a:pt x="7" y="48"/>
                        <a:pt x="12" y="43"/>
                      </a:cubicBezTo>
                      <a:cubicBezTo>
                        <a:pt x="6" y="41"/>
                        <a:pt x="6" y="41"/>
                        <a:pt x="6" y="41"/>
                      </a:cubicBezTo>
                      <a:cubicBezTo>
                        <a:pt x="6" y="35"/>
                        <a:pt x="6" y="35"/>
                        <a:pt x="6" y="35"/>
                      </a:cubicBezTo>
                      <a:cubicBezTo>
                        <a:pt x="2" y="33"/>
                        <a:pt x="2" y="33"/>
                        <a:pt x="2" y="33"/>
                      </a:cubicBezTo>
                      <a:cubicBezTo>
                        <a:pt x="2" y="33"/>
                        <a:pt x="3" y="30"/>
                        <a:pt x="3" y="27"/>
                      </a:cubicBezTo>
                      <a:cubicBezTo>
                        <a:pt x="3" y="24"/>
                        <a:pt x="6" y="23"/>
                        <a:pt x="6" y="23"/>
                      </a:cubicBezTo>
                      <a:cubicBezTo>
                        <a:pt x="9" y="22"/>
                        <a:pt x="11" y="20"/>
                        <a:pt x="14" y="18"/>
                      </a:cubicBezTo>
                      <a:cubicBezTo>
                        <a:pt x="17" y="14"/>
                        <a:pt x="20" y="16"/>
                        <a:pt x="22" y="15"/>
                      </a:cubicBezTo>
                      <a:cubicBezTo>
                        <a:pt x="25" y="13"/>
                        <a:pt x="25" y="15"/>
                        <a:pt x="35" y="17"/>
                      </a:cubicBezTo>
                      <a:cubicBezTo>
                        <a:pt x="37" y="16"/>
                        <a:pt x="41" y="16"/>
                        <a:pt x="42" y="14"/>
                      </a:cubicBezTo>
                      <a:cubicBezTo>
                        <a:pt x="44" y="12"/>
                        <a:pt x="47" y="13"/>
                        <a:pt x="47" y="9"/>
                      </a:cubicBezTo>
                      <a:cubicBezTo>
                        <a:pt x="48" y="3"/>
                        <a:pt x="59" y="7"/>
                        <a:pt x="59" y="5"/>
                      </a:cubicBezTo>
                      <a:cubicBezTo>
                        <a:pt x="61" y="5"/>
                        <a:pt x="63" y="0"/>
                        <a:pt x="68" y="0"/>
                      </a:cubicBezTo>
                      <a:cubicBezTo>
                        <a:pt x="72" y="1"/>
                        <a:pt x="73" y="2"/>
                        <a:pt x="76" y="3"/>
                      </a:cubicBezTo>
                      <a:cubicBezTo>
                        <a:pt x="87" y="10"/>
                        <a:pt x="82" y="14"/>
                        <a:pt x="95" y="18"/>
                      </a:cubicBezTo>
                      <a:cubicBezTo>
                        <a:pt x="106" y="21"/>
                        <a:pt x="119" y="24"/>
                        <a:pt x="130" y="26"/>
                      </a:cubicBezTo>
                      <a:cubicBezTo>
                        <a:pt x="140" y="27"/>
                        <a:pt x="150" y="31"/>
                        <a:pt x="160" y="35"/>
                      </a:cubicBezTo>
                      <a:cubicBezTo>
                        <a:pt x="160" y="35"/>
                        <a:pt x="197" y="52"/>
                        <a:pt x="198" y="53"/>
                      </a:cubicBezTo>
                      <a:cubicBezTo>
                        <a:pt x="199" y="53"/>
                        <a:pt x="220" y="49"/>
                        <a:pt x="221" y="49"/>
                      </a:cubicBezTo>
                      <a:cubicBezTo>
                        <a:pt x="222" y="49"/>
                        <a:pt x="229" y="50"/>
                        <a:pt x="234" y="53"/>
                      </a:cubicBezTo>
                      <a:cubicBezTo>
                        <a:pt x="237" y="56"/>
                        <a:pt x="247" y="63"/>
                        <a:pt x="247" y="63"/>
                      </a:cubicBezTo>
                      <a:cubicBezTo>
                        <a:pt x="249" y="64"/>
                        <a:pt x="261" y="62"/>
                        <a:pt x="261" y="62"/>
                      </a:cubicBezTo>
                      <a:cubicBezTo>
                        <a:pt x="269" y="62"/>
                        <a:pt x="276" y="71"/>
                        <a:pt x="280" y="72"/>
                      </a:cubicBezTo>
                      <a:cubicBezTo>
                        <a:pt x="285" y="73"/>
                        <a:pt x="297" y="67"/>
                        <a:pt x="302" y="72"/>
                      </a:cubicBezTo>
                      <a:cubicBezTo>
                        <a:pt x="302" y="72"/>
                        <a:pt x="312" y="73"/>
                        <a:pt x="313" y="78"/>
                      </a:cubicBezTo>
                      <a:cubicBezTo>
                        <a:pt x="315" y="83"/>
                        <a:pt x="319" y="91"/>
                        <a:pt x="319" y="91"/>
                      </a:cubicBezTo>
                      <a:cubicBezTo>
                        <a:pt x="332" y="96"/>
                        <a:pt x="332" y="96"/>
                        <a:pt x="332" y="96"/>
                      </a:cubicBezTo>
                      <a:cubicBezTo>
                        <a:pt x="332" y="96"/>
                        <a:pt x="339" y="102"/>
                        <a:pt x="340" y="104"/>
                      </a:cubicBezTo>
                      <a:cubicBezTo>
                        <a:pt x="341" y="105"/>
                        <a:pt x="356" y="110"/>
                        <a:pt x="356" y="110"/>
                      </a:cubicBezTo>
                      <a:cubicBezTo>
                        <a:pt x="366" y="119"/>
                        <a:pt x="366" y="119"/>
                        <a:pt x="366" y="119"/>
                      </a:cubicBezTo>
                      <a:cubicBezTo>
                        <a:pt x="381" y="119"/>
                        <a:pt x="381" y="119"/>
                        <a:pt x="381" y="119"/>
                      </a:cubicBezTo>
                      <a:cubicBezTo>
                        <a:pt x="391" y="121"/>
                        <a:pt x="391" y="121"/>
                        <a:pt x="391" y="121"/>
                      </a:cubicBezTo>
                      <a:cubicBezTo>
                        <a:pt x="396" y="115"/>
                        <a:pt x="396" y="115"/>
                        <a:pt x="396" y="115"/>
                      </a:cubicBezTo>
                      <a:cubicBezTo>
                        <a:pt x="396" y="115"/>
                        <a:pt x="421" y="127"/>
                        <a:pt x="422" y="127"/>
                      </a:cubicBezTo>
                      <a:cubicBezTo>
                        <a:pt x="423" y="127"/>
                        <a:pt x="423" y="130"/>
                        <a:pt x="424" y="133"/>
                      </a:cubicBezTo>
                      <a:cubicBezTo>
                        <a:pt x="424" y="134"/>
                        <a:pt x="424" y="134"/>
                        <a:pt x="424" y="134"/>
                      </a:cubicBezTo>
                      <a:cubicBezTo>
                        <a:pt x="423" y="134"/>
                        <a:pt x="424" y="134"/>
                        <a:pt x="424" y="134"/>
                      </a:cubicBezTo>
                      <a:cubicBezTo>
                        <a:pt x="424" y="134"/>
                        <a:pt x="424" y="134"/>
                        <a:pt x="424" y="134"/>
                      </a:cubicBezTo>
                      <a:cubicBezTo>
                        <a:pt x="424" y="136"/>
                        <a:pt x="424" y="136"/>
                        <a:pt x="424" y="136"/>
                      </a:cubicBezTo>
                      <a:cubicBezTo>
                        <a:pt x="424" y="137"/>
                        <a:pt x="424" y="137"/>
                        <a:pt x="424" y="137"/>
                      </a:cubicBezTo>
                      <a:cubicBezTo>
                        <a:pt x="423" y="137"/>
                        <a:pt x="423" y="137"/>
                        <a:pt x="423" y="137"/>
                      </a:cubicBezTo>
                      <a:cubicBezTo>
                        <a:pt x="423" y="137"/>
                        <a:pt x="423" y="137"/>
                        <a:pt x="423" y="137"/>
                      </a:cubicBezTo>
                      <a:cubicBezTo>
                        <a:pt x="424" y="138"/>
                        <a:pt x="424" y="138"/>
                        <a:pt x="424" y="138"/>
                      </a:cubicBezTo>
                      <a:cubicBezTo>
                        <a:pt x="424" y="138"/>
                        <a:pt x="424" y="138"/>
                        <a:pt x="424" y="138"/>
                      </a:cubicBezTo>
                      <a:cubicBezTo>
                        <a:pt x="424" y="138"/>
                        <a:pt x="424" y="138"/>
                        <a:pt x="424" y="139"/>
                      </a:cubicBezTo>
                      <a:cubicBezTo>
                        <a:pt x="424" y="139"/>
                        <a:pt x="424" y="139"/>
                        <a:pt x="424" y="139"/>
                      </a:cubicBezTo>
                      <a:cubicBezTo>
                        <a:pt x="424" y="139"/>
                        <a:pt x="424" y="139"/>
                        <a:pt x="424" y="140"/>
                      </a:cubicBezTo>
                      <a:cubicBezTo>
                        <a:pt x="424" y="140"/>
                        <a:pt x="424" y="140"/>
                        <a:pt x="424" y="140"/>
                      </a:cubicBezTo>
                      <a:cubicBezTo>
                        <a:pt x="425" y="140"/>
                        <a:pt x="425" y="140"/>
                        <a:pt x="425" y="140"/>
                      </a:cubicBezTo>
                      <a:cubicBezTo>
                        <a:pt x="425" y="140"/>
                        <a:pt x="425" y="140"/>
                        <a:pt x="425" y="140"/>
                      </a:cubicBezTo>
                      <a:cubicBezTo>
                        <a:pt x="425" y="140"/>
                        <a:pt x="426" y="141"/>
                        <a:pt x="426" y="141"/>
                      </a:cubicBezTo>
                      <a:cubicBezTo>
                        <a:pt x="426" y="141"/>
                        <a:pt x="426" y="141"/>
                        <a:pt x="427" y="141"/>
                      </a:cubicBezTo>
                      <a:cubicBezTo>
                        <a:pt x="427" y="141"/>
                        <a:pt x="427" y="141"/>
                        <a:pt x="428" y="141"/>
                      </a:cubicBezTo>
                      <a:cubicBezTo>
                        <a:pt x="428" y="141"/>
                        <a:pt x="428" y="141"/>
                        <a:pt x="428" y="141"/>
                      </a:cubicBezTo>
                      <a:cubicBezTo>
                        <a:pt x="428" y="141"/>
                        <a:pt x="429" y="141"/>
                        <a:pt x="429" y="140"/>
                      </a:cubicBezTo>
                      <a:cubicBezTo>
                        <a:pt x="442" y="143"/>
                        <a:pt x="442" y="143"/>
                        <a:pt x="442" y="143"/>
                      </a:cubicBezTo>
                      <a:cubicBezTo>
                        <a:pt x="445" y="144"/>
                        <a:pt x="445" y="146"/>
                        <a:pt x="448" y="148"/>
                      </a:cubicBezTo>
                      <a:cubicBezTo>
                        <a:pt x="456" y="145"/>
                        <a:pt x="456" y="145"/>
                        <a:pt x="456" y="145"/>
                      </a:cubicBezTo>
                      <a:cubicBezTo>
                        <a:pt x="466" y="152"/>
                        <a:pt x="466" y="152"/>
                        <a:pt x="466" y="152"/>
                      </a:cubicBezTo>
                      <a:cubicBezTo>
                        <a:pt x="475" y="149"/>
                        <a:pt x="475" y="149"/>
                        <a:pt x="475" y="149"/>
                      </a:cubicBezTo>
                      <a:cubicBezTo>
                        <a:pt x="484" y="149"/>
                        <a:pt x="484" y="149"/>
                        <a:pt x="484" y="149"/>
                      </a:cubicBezTo>
                      <a:cubicBezTo>
                        <a:pt x="484" y="147"/>
                        <a:pt x="505" y="149"/>
                        <a:pt x="496" y="159"/>
                      </a:cubicBezTo>
                      <a:close/>
                      <a:moveTo>
                        <a:pt x="506" y="281"/>
                      </a:moveTo>
                      <a:cubicBezTo>
                        <a:pt x="506" y="281"/>
                        <a:pt x="506" y="281"/>
                        <a:pt x="506" y="281"/>
                      </a:cubicBezTo>
                      <a:cubicBezTo>
                        <a:pt x="506" y="287"/>
                        <a:pt x="516" y="285"/>
                        <a:pt x="521" y="289"/>
                      </a:cubicBezTo>
                      <a:cubicBezTo>
                        <a:pt x="523" y="291"/>
                        <a:pt x="521" y="296"/>
                        <a:pt x="524" y="297"/>
                      </a:cubicBezTo>
                      <a:cubicBezTo>
                        <a:pt x="531" y="303"/>
                        <a:pt x="534" y="292"/>
                        <a:pt x="528" y="281"/>
                      </a:cubicBezTo>
                      <a:cubicBezTo>
                        <a:pt x="526" y="279"/>
                        <a:pt x="523" y="279"/>
                        <a:pt x="520" y="279"/>
                      </a:cubicBezTo>
                      <a:cubicBezTo>
                        <a:pt x="515" y="279"/>
                        <a:pt x="505" y="276"/>
                        <a:pt x="506" y="281"/>
                      </a:cubicBezTo>
                      <a:close/>
                      <a:moveTo>
                        <a:pt x="448" y="300"/>
                      </a:moveTo>
                      <a:cubicBezTo>
                        <a:pt x="448" y="300"/>
                        <a:pt x="448" y="300"/>
                        <a:pt x="448" y="300"/>
                      </a:cubicBezTo>
                      <a:cubicBezTo>
                        <a:pt x="452" y="301"/>
                        <a:pt x="456" y="297"/>
                        <a:pt x="460" y="299"/>
                      </a:cubicBezTo>
                      <a:cubicBezTo>
                        <a:pt x="462" y="301"/>
                        <a:pt x="461" y="305"/>
                        <a:pt x="462" y="308"/>
                      </a:cubicBezTo>
                      <a:cubicBezTo>
                        <a:pt x="456" y="314"/>
                        <a:pt x="472" y="313"/>
                        <a:pt x="473" y="313"/>
                      </a:cubicBezTo>
                      <a:cubicBezTo>
                        <a:pt x="473" y="315"/>
                        <a:pt x="475" y="320"/>
                        <a:pt x="478" y="318"/>
                      </a:cubicBezTo>
                      <a:cubicBezTo>
                        <a:pt x="494" y="299"/>
                        <a:pt x="494" y="299"/>
                        <a:pt x="494" y="299"/>
                      </a:cubicBezTo>
                      <a:cubicBezTo>
                        <a:pt x="494" y="297"/>
                        <a:pt x="493" y="295"/>
                        <a:pt x="491" y="295"/>
                      </a:cubicBezTo>
                      <a:cubicBezTo>
                        <a:pt x="487" y="293"/>
                        <a:pt x="482" y="297"/>
                        <a:pt x="479" y="295"/>
                      </a:cubicBezTo>
                      <a:cubicBezTo>
                        <a:pt x="476" y="293"/>
                        <a:pt x="482" y="285"/>
                        <a:pt x="478" y="282"/>
                      </a:cubicBezTo>
                      <a:cubicBezTo>
                        <a:pt x="470" y="276"/>
                        <a:pt x="467" y="283"/>
                        <a:pt x="461" y="288"/>
                      </a:cubicBezTo>
                      <a:cubicBezTo>
                        <a:pt x="457" y="291"/>
                        <a:pt x="451" y="292"/>
                        <a:pt x="447" y="296"/>
                      </a:cubicBezTo>
                      <a:cubicBezTo>
                        <a:pt x="446" y="297"/>
                        <a:pt x="447" y="300"/>
                        <a:pt x="448" y="300"/>
                      </a:cubicBezTo>
                      <a:close/>
                      <a:moveTo>
                        <a:pt x="391" y="329"/>
                      </a:moveTo>
                      <a:cubicBezTo>
                        <a:pt x="391" y="329"/>
                        <a:pt x="391" y="329"/>
                        <a:pt x="391" y="329"/>
                      </a:cubicBezTo>
                      <a:cubicBezTo>
                        <a:pt x="387" y="332"/>
                        <a:pt x="395" y="337"/>
                        <a:pt x="397" y="337"/>
                      </a:cubicBezTo>
                      <a:cubicBezTo>
                        <a:pt x="399" y="337"/>
                        <a:pt x="411" y="329"/>
                        <a:pt x="411" y="326"/>
                      </a:cubicBezTo>
                      <a:cubicBezTo>
                        <a:pt x="410" y="322"/>
                        <a:pt x="405" y="321"/>
                        <a:pt x="402" y="321"/>
                      </a:cubicBezTo>
                      <a:cubicBezTo>
                        <a:pt x="398" y="322"/>
                        <a:pt x="394" y="326"/>
                        <a:pt x="391" y="329"/>
                      </a:cubicBezTo>
                      <a:close/>
                    </a:path>
                  </a:pathLst>
                </a:custGeom>
                <a:solidFill>
                  <a:srgbClr val="1C6D7D"/>
                </a:solidFill>
                <a:ln w="12700" cap="rnd" cmpd="sng">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Lato Light"/>
                  </a:endParaRPr>
                </a:p>
              </p:txBody>
            </p:sp>
            <p:sp>
              <p:nvSpPr>
                <p:cNvPr id="240" name="Freeform 146">
                  <a:extLst>
                    <a:ext uri="{FF2B5EF4-FFF2-40B4-BE49-F238E27FC236}">
                      <a16:creationId xmlns:a16="http://schemas.microsoft.com/office/drawing/2014/main" id="{76BEE3A4-9480-7BD4-8AFC-11FB631CA7EE}"/>
                    </a:ext>
                  </a:extLst>
                </p:cNvPr>
                <p:cNvSpPr>
                  <a:spLocks noEditPoints="1"/>
                </p:cNvSpPr>
                <p:nvPr/>
              </p:nvSpPr>
              <p:spPr bwMode="auto">
                <a:xfrm>
                  <a:off x="5135177" y="5110109"/>
                  <a:ext cx="1175269" cy="1061106"/>
                </a:xfrm>
                <a:custGeom>
                  <a:avLst/>
                  <a:gdLst>
                    <a:gd name="T0" fmla="*/ 263 w 408"/>
                    <a:gd name="T1" fmla="*/ 27 h 380"/>
                    <a:gd name="T2" fmla="*/ 184 w 408"/>
                    <a:gd name="T3" fmla="*/ 62 h 380"/>
                    <a:gd name="T4" fmla="*/ 187 w 408"/>
                    <a:gd name="T5" fmla="*/ 95 h 380"/>
                    <a:gd name="T6" fmla="*/ 179 w 408"/>
                    <a:gd name="T7" fmla="*/ 109 h 380"/>
                    <a:gd name="T8" fmla="*/ 168 w 408"/>
                    <a:gd name="T9" fmla="*/ 118 h 380"/>
                    <a:gd name="T10" fmla="*/ 128 w 408"/>
                    <a:gd name="T11" fmla="*/ 89 h 380"/>
                    <a:gd name="T12" fmla="*/ 141 w 408"/>
                    <a:gd name="T13" fmla="*/ 145 h 380"/>
                    <a:gd name="T14" fmla="*/ 138 w 408"/>
                    <a:gd name="T15" fmla="*/ 166 h 380"/>
                    <a:gd name="T16" fmla="*/ 152 w 408"/>
                    <a:gd name="T17" fmla="*/ 191 h 380"/>
                    <a:gd name="T18" fmla="*/ 154 w 408"/>
                    <a:gd name="T19" fmla="*/ 172 h 380"/>
                    <a:gd name="T20" fmla="*/ 214 w 408"/>
                    <a:gd name="T21" fmla="*/ 210 h 380"/>
                    <a:gd name="T22" fmla="*/ 187 w 408"/>
                    <a:gd name="T23" fmla="*/ 202 h 380"/>
                    <a:gd name="T24" fmla="*/ 199 w 408"/>
                    <a:gd name="T25" fmla="*/ 234 h 380"/>
                    <a:gd name="T26" fmla="*/ 164 w 408"/>
                    <a:gd name="T27" fmla="*/ 233 h 380"/>
                    <a:gd name="T28" fmla="*/ 133 w 408"/>
                    <a:gd name="T29" fmla="*/ 212 h 380"/>
                    <a:gd name="T30" fmla="*/ 67 w 408"/>
                    <a:gd name="T31" fmla="*/ 211 h 380"/>
                    <a:gd name="T32" fmla="*/ 71 w 408"/>
                    <a:gd name="T33" fmla="*/ 194 h 380"/>
                    <a:gd name="T34" fmla="*/ 29 w 408"/>
                    <a:gd name="T35" fmla="*/ 157 h 380"/>
                    <a:gd name="T36" fmla="*/ 89 w 408"/>
                    <a:gd name="T37" fmla="*/ 68 h 380"/>
                    <a:gd name="T38" fmla="*/ 195 w 408"/>
                    <a:gd name="T39" fmla="*/ 33 h 380"/>
                    <a:gd name="T40" fmla="*/ 184 w 408"/>
                    <a:gd name="T41" fmla="*/ 157 h 380"/>
                    <a:gd name="T42" fmla="*/ 353 w 408"/>
                    <a:gd name="T43" fmla="*/ 252 h 380"/>
                    <a:gd name="T44" fmla="*/ 393 w 408"/>
                    <a:gd name="T45" fmla="*/ 297 h 380"/>
                    <a:gd name="T46" fmla="*/ 373 w 408"/>
                    <a:gd name="T47" fmla="*/ 331 h 380"/>
                    <a:gd name="T48" fmla="*/ 370 w 408"/>
                    <a:gd name="T49" fmla="*/ 333 h 380"/>
                    <a:gd name="T50" fmla="*/ 174 w 408"/>
                    <a:gd name="T51" fmla="*/ 162 h 380"/>
                    <a:gd name="T52" fmla="*/ 262 w 408"/>
                    <a:gd name="T53" fmla="*/ 176 h 380"/>
                    <a:gd name="T54" fmla="*/ 205 w 408"/>
                    <a:gd name="T55" fmla="*/ 72 h 380"/>
                    <a:gd name="T56" fmla="*/ 233 w 408"/>
                    <a:gd name="T57" fmla="*/ 105 h 380"/>
                    <a:gd name="T58" fmla="*/ 281 w 408"/>
                    <a:gd name="T59" fmla="*/ 146 h 380"/>
                    <a:gd name="T60" fmla="*/ 277 w 408"/>
                    <a:gd name="T61" fmla="*/ 131 h 380"/>
                    <a:gd name="T62" fmla="*/ 288 w 408"/>
                    <a:gd name="T63" fmla="*/ 180 h 380"/>
                    <a:gd name="T64" fmla="*/ 288 w 408"/>
                    <a:gd name="T65" fmla="*/ 190 h 380"/>
                    <a:gd name="T66" fmla="*/ 315 w 408"/>
                    <a:gd name="T67" fmla="*/ 213 h 380"/>
                    <a:gd name="T68" fmla="*/ 279 w 408"/>
                    <a:gd name="T69" fmla="*/ 292 h 380"/>
                    <a:gd name="T70" fmla="*/ 239 w 408"/>
                    <a:gd name="T71" fmla="*/ 288 h 380"/>
                    <a:gd name="T72" fmla="*/ 255 w 408"/>
                    <a:gd name="T73" fmla="*/ 287 h 380"/>
                    <a:gd name="T74" fmla="*/ 274 w 408"/>
                    <a:gd name="T75" fmla="*/ 259 h 380"/>
                    <a:gd name="T76" fmla="*/ 267 w 408"/>
                    <a:gd name="T77" fmla="*/ 256 h 380"/>
                    <a:gd name="T78" fmla="*/ 244 w 408"/>
                    <a:gd name="T79" fmla="*/ 271 h 380"/>
                    <a:gd name="T80" fmla="*/ 219 w 408"/>
                    <a:gd name="T81" fmla="*/ 239 h 380"/>
                    <a:gd name="T82" fmla="*/ 245 w 408"/>
                    <a:gd name="T83" fmla="*/ 240 h 380"/>
                    <a:gd name="T84" fmla="*/ 270 w 408"/>
                    <a:gd name="T85" fmla="*/ 236 h 380"/>
                    <a:gd name="T86" fmla="*/ 245 w 408"/>
                    <a:gd name="T87" fmla="*/ 222 h 380"/>
                    <a:gd name="T88" fmla="*/ 221 w 408"/>
                    <a:gd name="T89" fmla="*/ 357 h 380"/>
                    <a:gd name="T90" fmla="*/ 282 w 408"/>
                    <a:gd name="T91" fmla="*/ 356 h 380"/>
                    <a:gd name="T92" fmla="*/ 335 w 408"/>
                    <a:gd name="T93" fmla="*/ 353 h 380"/>
                    <a:gd name="T94" fmla="*/ 260 w 408"/>
                    <a:gd name="T95" fmla="*/ 372 h 380"/>
                    <a:gd name="T96" fmla="*/ 172 w 408"/>
                    <a:gd name="T97" fmla="*/ 319 h 380"/>
                    <a:gd name="T98" fmla="*/ 87 w 408"/>
                    <a:gd name="T99" fmla="*/ 238 h 380"/>
                    <a:gd name="T100" fmla="*/ 107 w 408"/>
                    <a:gd name="T101" fmla="*/ 292 h 380"/>
                    <a:gd name="T102" fmla="*/ 138 w 408"/>
                    <a:gd name="T103" fmla="*/ 298 h 380"/>
                    <a:gd name="T104" fmla="*/ 163 w 408"/>
                    <a:gd name="T105" fmla="*/ 298 h 380"/>
                    <a:gd name="T106" fmla="*/ 174 w 408"/>
                    <a:gd name="T107" fmla="*/ 293 h 380"/>
                    <a:gd name="T108" fmla="*/ 169 w 408"/>
                    <a:gd name="T109" fmla="*/ 263 h 380"/>
                    <a:gd name="T110" fmla="*/ 178 w 408"/>
                    <a:gd name="T111" fmla="*/ 247 h 380"/>
                    <a:gd name="T112" fmla="*/ 115 w 408"/>
                    <a:gd name="T113" fmla="*/ 223 h 380"/>
                    <a:gd name="T114" fmla="*/ 66 w 408"/>
                    <a:gd name="T115" fmla="*/ 265 h 380"/>
                    <a:gd name="T116" fmla="*/ 65 w 408"/>
                    <a:gd name="T117" fmla="*/ 242 h 380"/>
                    <a:gd name="T118" fmla="*/ 11 w 408"/>
                    <a:gd name="T119" fmla="*/ 161 h 380"/>
                    <a:gd name="T120" fmla="*/ 11 w 408"/>
                    <a:gd name="T121" fmla="*/ 157 h 3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08" h="380">
                      <a:moveTo>
                        <a:pt x="222" y="32"/>
                      </a:moveTo>
                      <a:cubicBezTo>
                        <a:pt x="227" y="30"/>
                        <a:pt x="227" y="30"/>
                        <a:pt x="227" y="30"/>
                      </a:cubicBezTo>
                      <a:cubicBezTo>
                        <a:pt x="227" y="30"/>
                        <a:pt x="233" y="28"/>
                        <a:pt x="234" y="28"/>
                      </a:cubicBezTo>
                      <a:cubicBezTo>
                        <a:pt x="235" y="28"/>
                        <a:pt x="240" y="27"/>
                        <a:pt x="241" y="26"/>
                      </a:cubicBezTo>
                      <a:cubicBezTo>
                        <a:pt x="242" y="26"/>
                        <a:pt x="245" y="24"/>
                        <a:pt x="246" y="23"/>
                      </a:cubicBezTo>
                      <a:cubicBezTo>
                        <a:pt x="247" y="23"/>
                        <a:pt x="249" y="23"/>
                        <a:pt x="251" y="21"/>
                      </a:cubicBezTo>
                      <a:cubicBezTo>
                        <a:pt x="252" y="20"/>
                        <a:pt x="253" y="17"/>
                        <a:pt x="253" y="16"/>
                      </a:cubicBezTo>
                      <a:cubicBezTo>
                        <a:pt x="253" y="15"/>
                        <a:pt x="252" y="15"/>
                        <a:pt x="251" y="12"/>
                      </a:cubicBezTo>
                      <a:cubicBezTo>
                        <a:pt x="249" y="9"/>
                        <a:pt x="247" y="7"/>
                        <a:pt x="247" y="6"/>
                      </a:cubicBezTo>
                      <a:cubicBezTo>
                        <a:pt x="246" y="4"/>
                        <a:pt x="246" y="2"/>
                        <a:pt x="247" y="2"/>
                      </a:cubicBezTo>
                      <a:cubicBezTo>
                        <a:pt x="248" y="1"/>
                        <a:pt x="251" y="0"/>
                        <a:pt x="253" y="0"/>
                      </a:cubicBezTo>
                      <a:cubicBezTo>
                        <a:pt x="255" y="1"/>
                        <a:pt x="260" y="2"/>
                        <a:pt x="261" y="2"/>
                      </a:cubicBezTo>
                      <a:cubicBezTo>
                        <a:pt x="262" y="2"/>
                        <a:pt x="267" y="5"/>
                        <a:pt x="267" y="5"/>
                      </a:cubicBezTo>
                      <a:cubicBezTo>
                        <a:pt x="267" y="5"/>
                        <a:pt x="269" y="10"/>
                        <a:pt x="269" y="11"/>
                      </a:cubicBezTo>
                      <a:cubicBezTo>
                        <a:pt x="269" y="12"/>
                        <a:pt x="274" y="18"/>
                        <a:pt x="272" y="18"/>
                      </a:cubicBezTo>
                      <a:cubicBezTo>
                        <a:pt x="271" y="18"/>
                        <a:pt x="267" y="19"/>
                        <a:pt x="267" y="19"/>
                      </a:cubicBezTo>
                      <a:cubicBezTo>
                        <a:pt x="265" y="22"/>
                        <a:pt x="265" y="22"/>
                        <a:pt x="265" y="22"/>
                      </a:cubicBezTo>
                      <a:cubicBezTo>
                        <a:pt x="265" y="22"/>
                        <a:pt x="263" y="26"/>
                        <a:pt x="263" y="27"/>
                      </a:cubicBezTo>
                      <a:cubicBezTo>
                        <a:pt x="263" y="28"/>
                        <a:pt x="262" y="33"/>
                        <a:pt x="262" y="33"/>
                      </a:cubicBezTo>
                      <a:cubicBezTo>
                        <a:pt x="267" y="44"/>
                        <a:pt x="267" y="44"/>
                        <a:pt x="267" y="44"/>
                      </a:cubicBezTo>
                      <a:cubicBezTo>
                        <a:pt x="262" y="51"/>
                        <a:pt x="262" y="51"/>
                        <a:pt x="262" y="51"/>
                      </a:cubicBezTo>
                      <a:cubicBezTo>
                        <a:pt x="258" y="55"/>
                        <a:pt x="258" y="55"/>
                        <a:pt x="258" y="55"/>
                      </a:cubicBezTo>
                      <a:cubicBezTo>
                        <a:pt x="258" y="55"/>
                        <a:pt x="252" y="55"/>
                        <a:pt x="252" y="54"/>
                      </a:cubicBezTo>
                      <a:cubicBezTo>
                        <a:pt x="252" y="53"/>
                        <a:pt x="248" y="51"/>
                        <a:pt x="248" y="51"/>
                      </a:cubicBezTo>
                      <a:cubicBezTo>
                        <a:pt x="248" y="51"/>
                        <a:pt x="242" y="52"/>
                        <a:pt x="241" y="53"/>
                      </a:cubicBezTo>
                      <a:cubicBezTo>
                        <a:pt x="240" y="53"/>
                        <a:pt x="226" y="54"/>
                        <a:pt x="226" y="54"/>
                      </a:cubicBezTo>
                      <a:cubicBezTo>
                        <a:pt x="226" y="54"/>
                        <a:pt x="223" y="53"/>
                        <a:pt x="222" y="53"/>
                      </a:cubicBezTo>
                      <a:cubicBezTo>
                        <a:pt x="221" y="53"/>
                        <a:pt x="216" y="53"/>
                        <a:pt x="216" y="53"/>
                      </a:cubicBezTo>
                      <a:cubicBezTo>
                        <a:pt x="215" y="49"/>
                        <a:pt x="215" y="49"/>
                        <a:pt x="215" y="49"/>
                      </a:cubicBezTo>
                      <a:cubicBezTo>
                        <a:pt x="211" y="50"/>
                        <a:pt x="211" y="50"/>
                        <a:pt x="211" y="50"/>
                      </a:cubicBezTo>
                      <a:cubicBezTo>
                        <a:pt x="210" y="54"/>
                        <a:pt x="210" y="54"/>
                        <a:pt x="210" y="54"/>
                      </a:cubicBezTo>
                      <a:cubicBezTo>
                        <a:pt x="205" y="57"/>
                        <a:pt x="205" y="57"/>
                        <a:pt x="205" y="57"/>
                      </a:cubicBezTo>
                      <a:cubicBezTo>
                        <a:pt x="200" y="60"/>
                        <a:pt x="200" y="60"/>
                        <a:pt x="200" y="60"/>
                      </a:cubicBezTo>
                      <a:cubicBezTo>
                        <a:pt x="190" y="60"/>
                        <a:pt x="190" y="60"/>
                        <a:pt x="190" y="60"/>
                      </a:cubicBezTo>
                      <a:cubicBezTo>
                        <a:pt x="184" y="60"/>
                        <a:pt x="184" y="60"/>
                        <a:pt x="184" y="60"/>
                      </a:cubicBezTo>
                      <a:cubicBezTo>
                        <a:pt x="184" y="62"/>
                        <a:pt x="184" y="62"/>
                        <a:pt x="184" y="62"/>
                      </a:cubicBezTo>
                      <a:cubicBezTo>
                        <a:pt x="181" y="68"/>
                        <a:pt x="181" y="68"/>
                        <a:pt x="181" y="68"/>
                      </a:cubicBezTo>
                      <a:cubicBezTo>
                        <a:pt x="177" y="71"/>
                        <a:pt x="177" y="71"/>
                        <a:pt x="177" y="71"/>
                      </a:cubicBezTo>
                      <a:cubicBezTo>
                        <a:pt x="177" y="71"/>
                        <a:pt x="171" y="73"/>
                        <a:pt x="170" y="74"/>
                      </a:cubicBezTo>
                      <a:cubicBezTo>
                        <a:pt x="170" y="74"/>
                        <a:pt x="166" y="73"/>
                        <a:pt x="166" y="73"/>
                      </a:cubicBezTo>
                      <a:cubicBezTo>
                        <a:pt x="161" y="76"/>
                        <a:pt x="161" y="76"/>
                        <a:pt x="161" y="76"/>
                      </a:cubicBezTo>
                      <a:cubicBezTo>
                        <a:pt x="160" y="79"/>
                        <a:pt x="160" y="79"/>
                        <a:pt x="160" y="79"/>
                      </a:cubicBezTo>
                      <a:cubicBezTo>
                        <a:pt x="162" y="81"/>
                        <a:pt x="162" y="81"/>
                        <a:pt x="162" y="81"/>
                      </a:cubicBezTo>
                      <a:cubicBezTo>
                        <a:pt x="166" y="83"/>
                        <a:pt x="166" y="83"/>
                        <a:pt x="166" y="83"/>
                      </a:cubicBezTo>
                      <a:cubicBezTo>
                        <a:pt x="166" y="83"/>
                        <a:pt x="169" y="84"/>
                        <a:pt x="169" y="85"/>
                      </a:cubicBezTo>
                      <a:cubicBezTo>
                        <a:pt x="169" y="85"/>
                        <a:pt x="168" y="87"/>
                        <a:pt x="168" y="87"/>
                      </a:cubicBezTo>
                      <a:cubicBezTo>
                        <a:pt x="168" y="92"/>
                        <a:pt x="168" y="92"/>
                        <a:pt x="168" y="92"/>
                      </a:cubicBezTo>
                      <a:cubicBezTo>
                        <a:pt x="168" y="92"/>
                        <a:pt x="171" y="93"/>
                        <a:pt x="172" y="93"/>
                      </a:cubicBezTo>
                      <a:cubicBezTo>
                        <a:pt x="172" y="93"/>
                        <a:pt x="175" y="91"/>
                        <a:pt x="175" y="91"/>
                      </a:cubicBezTo>
                      <a:cubicBezTo>
                        <a:pt x="175" y="90"/>
                        <a:pt x="176" y="89"/>
                        <a:pt x="176" y="89"/>
                      </a:cubicBezTo>
                      <a:cubicBezTo>
                        <a:pt x="178" y="91"/>
                        <a:pt x="178" y="91"/>
                        <a:pt x="178" y="91"/>
                      </a:cubicBezTo>
                      <a:cubicBezTo>
                        <a:pt x="178" y="91"/>
                        <a:pt x="179" y="93"/>
                        <a:pt x="180" y="93"/>
                      </a:cubicBezTo>
                      <a:cubicBezTo>
                        <a:pt x="180" y="93"/>
                        <a:pt x="183" y="93"/>
                        <a:pt x="183" y="93"/>
                      </a:cubicBezTo>
                      <a:cubicBezTo>
                        <a:pt x="187" y="95"/>
                        <a:pt x="187" y="95"/>
                        <a:pt x="187" y="95"/>
                      </a:cubicBezTo>
                      <a:cubicBezTo>
                        <a:pt x="192" y="99"/>
                        <a:pt x="192" y="99"/>
                        <a:pt x="192" y="99"/>
                      </a:cubicBezTo>
                      <a:cubicBezTo>
                        <a:pt x="192" y="99"/>
                        <a:pt x="196" y="101"/>
                        <a:pt x="195" y="102"/>
                      </a:cubicBezTo>
                      <a:cubicBezTo>
                        <a:pt x="193" y="103"/>
                        <a:pt x="191" y="104"/>
                        <a:pt x="190" y="104"/>
                      </a:cubicBezTo>
                      <a:cubicBezTo>
                        <a:pt x="190" y="104"/>
                        <a:pt x="188" y="103"/>
                        <a:pt x="188" y="102"/>
                      </a:cubicBezTo>
                      <a:cubicBezTo>
                        <a:pt x="188" y="100"/>
                        <a:pt x="187" y="99"/>
                        <a:pt x="186" y="99"/>
                      </a:cubicBezTo>
                      <a:cubicBezTo>
                        <a:pt x="185" y="99"/>
                        <a:pt x="183" y="97"/>
                        <a:pt x="183" y="97"/>
                      </a:cubicBezTo>
                      <a:cubicBezTo>
                        <a:pt x="182" y="97"/>
                        <a:pt x="180" y="97"/>
                        <a:pt x="179" y="98"/>
                      </a:cubicBezTo>
                      <a:cubicBezTo>
                        <a:pt x="178" y="98"/>
                        <a:pt x="176" y="98"/>
                        <a:pt x="176" y="97"/>
                      </a:cubicBezTo>
                      <a:cubicBezTo>
                        <a:pt x="175" y="97"/>
                        <a:pt x="174" y="94"/>
                        <a:pt x="174" y="94"/>
                      </a:cubicBezTo>
                      <a:cubicBezTo>
                        <a:pt x="169" y="93"/>
                        <a:pt x="169" y="93"/>
                        <a:pt x="169" y="93"/>
                      </a:cubicBezTo>
                      <a:cubicBezTo>
                        <a:pt x="169" y="93"/>
                        <a:pt x="168" y="94"/>
                        <a:pt x="168" y="95"/>
                      </a:cubicBezTo>
                      <a:cubicBezTo>
                        <a:pt x="168" y="95"/>
                        <a:pt x="166" y="97"/>
                        <a:pt x="166" y="97"/>
                      </a:cubicBezTo>
                      <a:cubicBezTo>
                        <a:pt x="165" y="98"/>
                        <a:pt x="165" y="98"/>
                        <a:pt x="165" y="98"/>
                      </a:cubicBezTo>
                      <a:cubicBezTo>
                        <a:pt x="165" y="100"/>
                        <a:pt x="165" y="100"/>
                        <a:pt x="165" y="100"/>
                      </a:cubicBezTo>
                      <a:cubicBezTo>
                        <a:pt x="167" y="102"/>
                        <a:pt x="167" y="102"/>
                        <a:pt x="167" y="102"/>
                      </a:cubicBezTo>
                      <a:cubicBezTo>
                        <a:pt x="171" y="105"/>
                        <a:pt x="171" y="105"/>
                        <a:pt x="171" y="105"/>
                      </a:cubicBezTo>
                      <a:cubicBezTo>
                        <a:pt x="171" y="105"/>
                        <a:pt x="176" y="106"/>
                        <a:pt x="176" y="106"/>
                      </a:cubicBezTo>
                      <a:cubicBezTo>
                        <a:pt x="177" y="106"/>
                        <a:pt x="179" y="109"/>
                        <a:pt x="179" y="109"/>
                      </a:cubicBezTo>
                      <a:cubicBezTo>
                        <a:pt x="179" y="112"/>
                        <a:pt x="179" y="112"/>
                        <a:pt x="179" y="112"/>
                      </a:cubicBezTo>
                      <a:cubicBezTo>
                        <a:pt x="178" y="115"/>
                        <a:pt x="178" y="115"/>
                        <a:pt x="178" y="115"/>
                      </a:cubicBezTo>
                      <a:cubicBezTo>
                        <a:pt x="178" y="115"/>
                        <a:pt x="178" y="117"/>
                        <a:pt x="176" y="116"/>
                      </a:cubicBezTo>
                      <a:cubicBezTo>
                        <a:pt x="174" y="115"/>
                        <a:pt x="173" y="114"/>
                        <a:pt x="173" y="114"/>
                      </a:cubicBezTo>
                      <a:cubicBezTo>
                        <a:pt x="170" y="113"/>
                        <a:pt x="170" y="113"/>
                        <a:pt x="170" y="113"/>
                      </a:cubicBezTo>
                      <a:cubicBezTo>
                        <a:pt x="169" y="109"/>
                        <a:pt x="169" y="109"/>
                        <a:pt x="169" y="109"/>
                      </a:cubicBezTo>
                      <a:cubicBezTo>
                        <a:pt x="169" y="109"/>
                        <a:pt x="167" y="107"/>
                        <a:pt x="167" y="107"/>
                      </a:cubicBezTo>
                      <a:cubicBezTo>
                        <a:pt x="166" y="107"/>
                        <a:pt x="161" y="104"/>
                        <a:pt x="161" y="104"/>
                      </a:cubicBezTo>
                      <a:cubicBezTo>
                        <a:pt x="155" y="104"/>
                        <a:pt x="155" y="104"/>
                        <a:pt x="155" y="104"/>
                      </a:cubicBezTo>
                      <a:cubicBezTo>
                        <a:pt x="151" y="104"/>
                        <a:pt x="151" y="104"/>
                        <a:pt x="151" y="104"/>
                      </a:cubicBezTo>
                      <a:cubicBezTo>
                        <a:pt x="150" y="107"/>
                        <a:pt x="150" y="107"/>
                        <a:pt x="150" y="107"/>
                      </a:cubicBezTo>
                      <a:cubicBezTo>
                        <a:pt x="150" y="107"/>
                        <a:pt x="150" y="109"/>
                        <a:pt x="151" y="109"/>
                      </a:cubicBezTo>
                      <a:cubicBezTo>
                        <a:pt x="151" y="110"/>
                        <a:pt x="154" y="112"/>
                        <a:pt x="154" y="112"/>
                      </a:cubicBezTo>
                      <a:cubicBezTo>
                        <a:pt x="154" y="112"/>
                        <a:pt x="156" y="112"/>
                        <a:pt x="156" y="113"/>
                      </a:cubicBezTo>
                      <a:cubicBezTo>
                        <a:pt x="157" y="114"/>
                        <a:pt x="159" y="116"/>
                        <a:pt x="159" y="116"/>
                      </a:cubicBezTo>
                      <a:cubicBezTo>
                        <a:pt x="159" y="116"/>
                        <a:pt x="160" y="116"/>
                        <a:pt x="161" y="116"/>
                      </a:cubicBezTo>
                      <a:cubicBezTo>
                        <a:pt x="163" y="116"/>
                        <a:pt x="165" y="117"/>
                        <a:pt x="165" y="117"/>
                      </a:cubicBezTo>
                      <a:cubicBezTo>
                        <a:pt x="168" y="118"/>
                        <a:pt x="168" y="118"/>
                        <a:pt x="168" y="118"/>
                      </a:cubicBezTo>
                      <a:cubicBezTo>
                        <a:pt x="169" y="119"/>
                        <a:pt x="169" y="119"/>
                        <a:pt x="169" y="119"/>
                      </a:cubicBezTo>
                      <a:cubicBezTo>
                        <a:pt x="169" y="119"/>
                        <a:pt x="166" y="120"/>
                        <a:pt x="165" y="120"/>
                      </a:cubicBezTo>
                      <a:cubicBezTo>
                        <a:pt x="164" y="121"/>
                        <a:pt x="161" y="121"/>
                        <a:pt x="161" y="121"/>
                      </a:cubicBezTo>
                      <a:cubicBezTo>
                        <a:pt x="161" y="121"/>
                        <a:pt x="159" y="119"/>
                        <a:pt x="158" y="119"/>
                      </a:cubicBezTo>
                      <a:cubicBezTo>
                        <a:pt x="158" y="119"/>
                        <a:pt x="155" y="120"/>
                        <a:pt x="155" y="120"/>
                      </a:cubicBezTo>
                      <a:cubicBezTo>
                        <a:pt x="155" y="120"/>
                        <a:pt x="153" y="122"/>
                        <a:pt x="152" y="120"/>
                      </a:cubicBezTo>
                      <a:cubicBezTo>
                        <a:pt x="151" y="118"/>
                        <a:pt x="150" y="116"/>
                        <a:pt x="150" y="116"/>
                      </a:cubicBezTo>
                      <a:cubicBezTo>
                        <a:pt x="150" y="114"/>
                        <a:pt x="150" y="114"/>
                        <a:pt x="150" y="114"/>
                      </a:cubicBezTo>
                      <a:cubicBezTo>
                        <a:pt x="150" y="111"/>
                        <a:pt x="150" y="111"/>
                        <a:pt x="150" y="111"/>
                      </a:cubicBezTo>
                      <a:cubicBezTo>
                        <a:pt x="149" y="108"/>
                        <a:pt x="149" y="108"/>
                        <a:pt x="149" y="108"/>
                      </a:cubicBezTo>
                      <a:cubicBezTo>
                        <a:pt x="145" y="106"/>
                        <a:pt x="145" y="106"/>
                        <a:pt x="145" y="106"/>
                      </a:cubicBezTo>
                      <a:cubicBezTo>
                        <a:pt x="140" y="106"/>
                        <a:pt x="140" y="106"/>
                        <a:pt x="140" y="106"/>
                      </a:cubicBezTo>
                      <a:cubicBezTo>
                        <a:pt x="135" y="103"/>
                        <a:pt x="135" y="103"/>
                        <a:pt x="135" y="103"/>
                      </a:cubicBezTo>
                      <a:cubicBezTo>
                        <a:pt x="129" y="101"/>
                        <a:pt x="129" y="101"/>
                        <a:pt x="129" y="101"/>
                      </a:cubicBezTo>
                      <a:cubicBezTo>
                        <a:pt x="127" y="97"/>
                        <a:pt x="127" y="97"/>
                        <a:pt x="127" y="97"/>
                      </a:cubicBezTo>
                      <a:cubicBezTo>
                        <a:pt x="131" y="94"/>
                        <a:pt x="131" y="94"/>
                        <a:pt x="131" y="94"/>
                      </a:cubicBezTo>
                      <a:cubicBezTo>
                        <a:pt x="130" y="91"/>
                        <a:pt x="130" y="91"/>
                        <a:pt x="130" y="91"/>
                      </a:cubicBezTo>
                      <a:cubicBezTo>
                        <a:pt x="128" y="89"/>
                        <a:pt x="128" y="89"/>
                        <a:pt x="128" y="89"/>
                      </a:cubicBezTo>
                      <a:cubicBezTo>
                        <a:pt x="123" y="92"/>
                        <a:pt x="123" y="92"/>
                        <a:pt x="123" y="92"/>
                      </a:cubicBezTo>
                      <a:cubicBezTo>
                        <a:pt x="123" y="95"/>
                        <a:pt x="123" y="95"/>
                        <a:pt x="123" y="95"/>
                      </a:cubicBezTo>
                      <a:cubicBezTo>
                        <a:pt x="118" y="97"/>
                        <a:pt x="118" y="97"/>
                        <a:pt x="118" y="97"/>
                      </a:cubicBezTo>
                      <a:cubicBezTo>
                        <a:pt x="116" y="101"/>
                        <a:pt x="116" y="101"/>
                        <a:pt x="116" y="101"/>
                      </a:cubicBezTo>
                      <a:cubicBezTo>
                        <a:pt x="119" y="104"/>
                        <a:pt x="119" y="104"/>
                        <a:pt x="119" y="104"/>
                      </a:cubicBezTo>
                      <a:cubicBezTo>
                        <a:pt x="119" y="109"/>
                        <a:pt x="119" y="109"/>
                        <a:pt x="119" y="109"/>
                      </a:cubicBezTo>
                      <a:cubicBezTo>
                        <a:pt x="119" y="109"/>
                        <a:pt x="118" y="114"/>
                        <a:pt x="119" y="115"/>
                      </a:cubicBezTo>
                      <a:cubicBezTo>
                        <a:pt x="119" y="115"/>
                        <a:pt x="118" y="118"/>
                        <a:pt x="118" y="120"/>
                      </a:cubicBezTo>
                      <a:cubicBezTo>
                        <a:pt x="119" y="121"/>
                        <a:pt x="119" y="122"/>
                        <a:pt x="121" y="123"/>
                      </a:cubicBezTo>
                      <a:cubicBezTo>
                        <a:pt x="122" y="124"/>
                        <a:pt x="122" y="124"/>
                        <a:pt x="124" y="125"/>
                      </a:cubicBezTo>
                      <a:cubicBezTo>
                        <a:pt x="126" y="126"/>
                        <a:pt x="127" y="127"/>
                        <a:pt x="127" y="127"/>
                      </a:cubicBezTo>
                      <a:cubicBezTo>
                        <a:pt x="129" y="131"/>
                        <a:pt x="129" y="131"/>
                        <a:pt x="129" y="131"/>
                      </a:cubicBezTo>
                      <a:cubicBezTo>
                        <a:pt x="129" y="131"/>
                        <a:pt x="130" y="132"/>
                        <a:pt x="131" y="132"/>
                      </a:cubicBezTo>
                      <a:cubicBezTo>
                        <a:pt x="132" y="133"/>
                        <a:pt x="135" y="134"/>
                        <a:pt x="135" y="135"/>
                      </a:cubicBezTo>
                      <a:cubicBezTo>
                        <a:pt x="135" y="137"/>
                        <a:pt x="136" y="139"/>
                        <a:pt x="136" y="139"/>
                      </a:cubicBezTo>
                      <a:cubicBezTo>
                        <a:pt x="136" y="139"/>
                        <a:pt x="137" y="141"/>
                        <a:pt x="137" y="141"/>
                      </a:cubicBezTo>
                      <a:cubicBezTo>
                        <a:pt x="138" y="142"/>
                        <a:pt x="139" y="141"/>
                        <a:pt x="139" y="142"/>
                      </a:cubicBezTo>
                      <a:cubicBezTo>
                        <a:pt x="140" y="143"/>
                        <a:pt x="139" y="144"/>
                        <a:pt x="141" y="145"/>
                      </a:cubicBezTo>
                      <a:cubicBezTo>
                        <a:pt x="142" y="147"/>
                        <a:pt x="144" y="148"/>
                        <a:pt x="144" y="148"/>
                      </a:cubicBezTo>
                      <a:cubicBezTo>
                        <a:pt x="145" y="148"/>
                        <a:pt x="147" y="149"/>
                        <a:pt x="147" y="149"/>
                      </a:cubicBezTo>
                      <a:cubicBezTo>
                        <a:pt x="153" y="153"/>
                        <a:pt x="153" y="153"/>
                        <a:pt x="153" y="153"/>
                      </a:cubicBezTo>
                      <a:cubicBezTo>
                        <a:pt x="157" y="158"/>
                        <a:pt x="157" y="158"/>
                        <a:pt x="157" y="158"/>
                      </a:cubicBezTo>
                      <a:cubicBezTo>
                        <a:pt x="160" y="161"/>
                        <a:pt x="160" y="161"/>
                        <a:pt x="160" y="161"/>
                      </a:cubicBezTo>
                      <a:cubicBezTo>
                        <a:pt x="159" y="165"/>
                        <a:pt x="159" y="165"/>
                        <a:pt x="159" y="165"/>
                      </a:cubicBezTo>
                      <a:cubicBezTo>
                        <a:pt x="158" y="167"/>
                        <a:pt x="158" y="167"/>
                        <a:pt x="158" y="167"/>
                      </a:cubicBezTo>
                      <a:cubicBezTo>
                        <a:pt x="158" y="167"/>
                        <a:pt x="156" y="168"/>
                        <a:pt x="155" y="168"/>
                      </a:cubicBezTo>
                      <a:cubicBezTo>
                        <a:pt x="155" y="168"/>
                        <a:pt x="153" y="169"/>
                        <a:pt x="153" y="169"/>
                      </a:cubicBezTo>
                      <a:cubicBezTo>
                        <a:pt x="153" y="169"/>
                        <a:pt x="152" y="168"/>
                        <a:pt x="152" y="168"/>
                      </a:cubicBezTo>
                      <a:cubicBezTo>
                        <a:pt x="153" y="167"/>
                        <a:pt x="156" y="166"/>
                        <a:pt x="156" y="166"/>
                      </a:cubicBezTo>
                      <a:cubicBezTo>
                        <a:pt x="156" y="166"/>
                        <a:pt x="156" y="163"/>
                        <a:pt x="155" y="163"/>
                      </a:cubicBezTo>
                      <a:cubicBezTo>
                        <a:pt x="154" y="162"/>
                        <a:pt x="151" y="160"/>
                        <a:pt x="151" y="160"/>
                      </a:cubicBezTo>
                      <a:cubicBezTo>
                        <a:pt x="149" y="158"/>
                        <a:pt x="149" y="158"/>
                        <a:pt x="149" y="158"/>
                      </a:cubicBezTo>
                      <a:cubicBezTo>
                        <a:pt x="146" y="158"/>
                        <a:pt x="146" y="158"/>
                        <a:pt x="146" y="158"/>
                      </a:cubicBezTo>
                      <a:cubicBezTo>
                        <a:pt x="146" y="158"/>
                        <a:pt x="144" y="158"/>
                        <a:pt x="144" y="159"/>
                      </a:cubicBezTo>
                      <a:cubicBezTo>
                        <a:pt x="143" y="160"/>
                        <a:pt x="140" y="162"/>
                        <a:pt x="140" y="162"/>
                      </a:cubicBezTo>
                      <a:cubicBezTo>
                        <a:pt x="138" y="166"/>
                        <a:pt x="138" y="166"/>
                        <a:pt x="138" y="166"/>
                      </a:cubicBezTo>
                      <a:cubicBezTo>
                        <a:pt x="143" y="167"/>
                        <a:pt x="143" y="167"/>
                        <a:pt x="143" y="167"/>
                      </a:cubicBezTo>
                      <a:cubicBezTo>
                        <a:pt x="143" y="167"/>
                        <a:pt x="145" y="169"/>
                        <a:pt x="145" y="169"/>
                      </a:cubicBezTo>
                      <a:cubicBezTo>
                        <a:pt x="145" y="170"/>
                        <a:pt x="147" y="172"/>
                        <a:pt x="147" y="172"/>
                      </a:cubicBezTo>
                      <a:cubicBezTo>
                        <a:pt x="149" y="173"/>
                        <a:pt x="149" y="173"/>
                        <a:pt x="149" y="173"/>
                      </a:cubicBezTo>
                      <a:cubicBezTo>
                        <a:pt x="149" y="175"/>
                        <a:pt x="149" y="175"/>
                        <a:pt x="149" y="175"/>
                      </a:cubicBezTo>
                      <a:cubicBezTo>
                        <a:pt x="148" y="178"/>
                        <a:pt x="148" y="178"/>
                        <a:pt x="148" y="178"/>
                      </a:cubicBezTo>
                      <a:cubicBezTo>
                        <a:pt x="145" y="182"/>
                        <a:pt x="145" y="182"/>
                        <a:pt x="145" y="182"/>
                      </a:cubicBezTo>
                      <a:cubicBezTo>
                        <a:pt x="145" y="182"/>
                        <a:pt x="143" y="183"/>
                        <a:pt x="143" y="183"/>
                      </a:cubicBezTo>
                      <a:cubicBezTo>
                        <a:pt x="142" y="183"/>
                        <a:pt x="140" y="185"/>
                        <a:pt x="140" y="185"/>
                      </a:cubicBezTo>
                      <a:cubicBezTo>
                        <a:pt x="140" y="185"/>
                        <a:pt x="139" y="185"/>
                        <a:pt x="139" y="185"/>
                      </a:cubicBezTo>
                      <a:cubicBezTo>
                        <a:pt x="138" y="185"/>
                        <a:pt x="136" y="184"/>
                        <a:pt x="135" y="184"/>
                      </a:cubicBezTo>
                      <a:cubicBezTo>
                        <a:pt x="135" y="184"/>
                        <a:pt x="133" y="185"/>
                        <a:pt x="133" y="185"/>
                      </a:cubicBezTo>
                      <a:cubicBezTo>
                        <a:pt x="133" y="185"/>
                        <a:pt x="130" y="187"/>
                        <a:pt x="134" y="188"/>
                      </a:cubicBezTo>
                      <a:cubicBezTo>
                        <a:pt x="138" y="188"/>
                        <a:pt x="139" y="188"/>
                        <a:pt x="140" y="188"/>
                      </a:cubicBezTo>
                      <a:cubicBezTo>
                        <a:pt x="140" y="188"/>
                        <a:pt x="144" y="188"/>
                        <a:pt x="144" y="188"/>
                      </a:cubicBezTo>
                      <a:cubicBezTo>
                        <a:pt x="144" y="188"/>
                        <a:pt x="145" y="188"/>
                        <a:pt x="146" y="189"/>
                      </a:cubicBezTo>
                      <a:cubicBezTo>
                        <a:pt x="148" y="189"/>
                        <a:pt x="149" y="189"/>
                        <a:pt x="150" y="190"/>
                      </a:cubicBezTo>
                      <a:cubicBezTo>
                        <a:pt x="151" y="190"/>
                        <a:pt x="152" y="191"/>
                        <a:pt x="152" y="191"/>
                      </a:cubicBezTo>
                      <a:cubicBezTo>
                        <a:pt x="152" y="192"/>
                        <a:pt x="152" y="192"/>
                        <a:pt x="153" y="192"/>
                      </a:cubicBezTo>
                      <a:cubicBezTo>
                        <a:pt x="154" y="192"/>
                        <a:pt x="155" y="193"/>
                        <a:pt x="155" y="193"/>
                      </a:cubicBezTo>
                      <a:cubicBezTo>
                        <a:pt x="156" y="193"/>
                        <a:pt x="156" y="193"/>
                        <a:pt x="156" y="193"/>
                      </a:cubicBezTo>
                      <a:cubicBezTo>
                        <a:pt x="156" y="193"/>
                        <a:pt x="157" y="193"/>
                        <a:pt x="158" y="193"/>
                      </a:cubicBezTo>
                      <a:cubicBezTo>
                        <a:pt x="159" y="193"/>
                        <a:pt x="159" y="192"/>
                        <a:pt x="160" y="192"/>
                      </a:cubicBezTo>
                      <a:cubicBezTo>
                        <a:pt x="161" y="192"/>
                        <a:pt x="164" y="192"/>
                        <a:pt x="164" y="192"/>
                      </a:cubicBezTo>
                      <a:cubicBezTo>
                        <a:pt x="166" y="196"/>
                        <a:pt x="166" y="196"/>
                        <a:pt x="166" y="196"/>
                      </a:cubicBezTo>
                      <a:cubicBezTo>
                        <a:pt x="166" y="196"/>
                        <a:pt x="166" y="197"/>
                        <a:pt x="167" y="197"/>
                      </a:cubicBezTo>
                      <a:cubicBezTo>
                        <a:pt x="167" y="198"/>
                        <a:pt x="169" y="199"/>
                        <a:pt x="170" y="199"/>
                      </a:cubicBezTo>
                      <a:cubicBezTo>
                        <a:pt x="171" y="199"/>
                        <a:pt x="179" y="197"/>
                        <a:pt x="179" y="197"/>
                      </a:cubicBezTo>
                      <a:cubicBezTo>
                        <a:pt x="175" y="194"/>
                        <a:pt x="175" y="194"/>
                        <a:pt x="175" y="194"/>
                      </a:cubicBezTo>
                      <a:cubicBezTo>
                        <a:pt x="175" y="194"/>
                        <a:pt x="173" y="192"/>
                        <a:pt x="172" y="191"/>
                      </a:cubicBezTo>
                      <a:cubicBezTo>
                        <a:pt x="172" y="190"/>
                        <a:pt x="167" y="187"/>
                        <a:pt x="167" y="187"/>
                      </a:cubicBezTo>
                      <a:cubicBezTo>
                        <a:pt x="162" y="186"/>
                        <a:pt x="162" y="186"/>
                        <a:pt x="162" y="186"/>
                      </a:cubicBezTo>
                      <a:cubicBezTo>
                        <a:pt x="156" y="183"/>
                        <a:pt x="156" y="183"/>
                        <a:pt x="156" y="183"/>
                      </a:cubicBezTo>
                      <a:cubicBezTo>
                        <a:pt x="150" y="181"/>
                        <a:pt x="150" y="181"/>
                        <a:pt x="150" y="181"/>
                      </a:cubicBezTo>
                      <a:cubicBezTo>
                        <a:pt x="150" y="181"/>
                        <a:pt x="152" y="177"/>
                        <a:pt x="153" y="176"/>
                      </a:cubicBezTo>
                      <a:cubicBezTo>
                        <a:pt x="153" y="175"/>
                        <a:pt x="153" y="172"/>
                        <a:pt x="154" y="172"/>
                      </a:cubicBezTo>
                      <a:cubicBezTo>
                        <a:pt x="155" y="173"/>
                        <a:pt x="157" y="173"/>
                        <a:pt x="158" y="173"/>
                      </a:cubicBezTo>
                      <a:cubicBezTo>
                        <a:pt x="159" y="173"/>
                        <a:pt x="161" y="172"/>
                        <a:pt x="162" y="172"/>
                      </a:cubicBezTo>
                      <a:cubicBezTo>
                        <a:pt x="163" y="172"/>
                        <a:pt x="165" y="173"/>
                        <a:pt x="165" y="173"/>
                      </a:cubicBezTo>
                      <a:cubicBezTo>
                        <a:pt x="165" y="173"/>
                        <a:pt x="166" y="175"/>
                        <a:pt x="166" y="176"/>
                      </a:cubicBezTo>
                      <a:cubicBezTo>
                        <a:pt x="167" y="176"/>
                        <a:pt x="167" y="178"/>
                        <a:pt x="168" y="179"/>
                      </a:cubicBezTo>
                      <a:cubicBezTo>
                        <a:pt x="169" y="179"/>
                        <a:pt x="174" y="181"/>
                        <a:pt x="174" y="181"/>
                      </a:cubicBezTo>
                      <a:cubicBezTo>
                        <a:pt x="174" y="181"/>
                        <a:pt x="180" y="183"/>
                        <a:pt x="180" y="183"/>
                      </a:cubicBezTo>
                      <a:cubicBezTo>
                        <a:pt x="181" y="183"/>
                        <a:pt x="183" y="183"/>
                        <a:pt x="183" y="183"/>
                      </a:cubicBezTo>
                      <a:cubicBezTo>
                        <a:pt x="186" y="186"/>
                        <a:pt x="186" y="186"/>
                        <a:pt x="186" y="186"/>
                      </a:cubicBezTo>
                      <a:cubicBezTo>
                        <a:pt x="192" y="185"/>
                        <a:pt x="192" y="185"/>
                        <a:pt x="192" y="185"/>
                      </a:cubicBezTo>
                      <a:cubicBezTo>
                        <a:pt x="198" y="184"/>
                        <a:pt x="198" y="184"/>
                        <a:pt x="198" y="184"/>
                      </a:cubicBezTo>
                      <a:cubicBezTo>
                        <a:pt x="199" y="186"/>
                        <a:pt x="199" y="186"/>
                        <a:pt x="199" y="186"/>
                      </a:cubicBezTo>
                      <a:cubicBezTo>
                        <a:pt x="199" y="186"/>
                        <a:pt x="202" y="188"/>
                        <a:pt x="202" y="188"/>
                      </a:cubicBezTo>
                      <a:cubicBezTo>
                        <a:pt x="202" y="189"/>
                        <a:pt x="204" y="193"/>
                        <a:pt x="204" y="193"/>
                      </a:cubicBezTo>
                      <a:cubicBezTo>
                        <a:pt x="204" y="193"/>
                        <a:pt x="204" y="196"/>
                        <a:pt x="204" y="196"/>
                      </a:cubicBezTo>
                      <a:cubicBezTo>
                        <a:pt x="204" y="197"/>
                        <a:pt x="206" y="201"/>
                        <a:pt x="206" y="201"/>
                      </a:cubicBezTo>
                      <a:cubicBezTo>
                        <a:pt x="207" y="202"/>
                        <a:pt x="211" y="206"/>
                        <a:pt x="211" y="207"/>
                      </a:cubicBezTo>
                      <a:cubicBezTo>
                        <a:pt x="211" y="207"/>
                        <a:pt x="213" y="210"/>
                        <a:pt x="214" y="210"/>
                      </a:cubicBezTo>
                      <a:cubicBezTo>
                        <a:pt x="214" y="210"/>
                        <a:pt x="215" y="209"/>
                        <a:pt x="215" y="209"/>
                      </a:cubicBezTo>
                      <a:cubicBezTo>
                        <a:pt x="216" y="209"/>
                        <a:pt x="219" y="207"/>
                        <a:pt x="219" y="207"/>
                      </a:cubicBezTo>
                      <a:cubicBezTo>
                        <a:pt x="219" y="207"/>
                        <a:pt x="222" y="207"/>
                        <a:pt x="222" y="208"/>
                      </a:cubicBezTo>
                      <a:cubicBezTo>
                        <a:pt x="222" y="209"/>
                        <a:pt x="226" y="212"/>
                        <a:pt x="226" y="212"/>
                      </a:cubicBezTo>
                      <a:cubicBezTo>
                        <a:pt x="226" y="212"/>
                        <a:pt x="227" y="216"/>
                        <a:pt x="227" y="216"/>
                      </a:cubicBezTo>
                      <a:cubicBezTo>
                        <a:pt x="226" y="217"/>
                        <a:pt x="223" y="218"/>
                        <a:pt x="223" y="219"/>
                      </a:cubicBezTo>
                      <a:cubicBezTo>
                        <a:pt x="222" y="219"/>
                        <a:pt x="219" y="219"/>
                        <a:pt x="219" y="219"/>
                      </a:cubicBezTo>
                      <a:cubicBezTo>
                        <a:pt x="218" y="220"/>
                        <a:pt x="214" y="221"/>
                        <a:pt x="214" y="221"/>
                      </a:cubicBezTo>
                      <a:cubicBezTo>
                        <a:pt x="214" y="217"/>
                        <a:pt x="214" y="217"/>
                        <a:pt x="214" y="217"/>
                      </a:cubicBezTo>
                      <a:cubicBezTo>
                        <a:pt x="214" y="217"/>
                        <a:pt x="214" y="216"/>
                        <a:pt x="213" y="216"/>
                      </a:cubicBezTo>
                      <a:cubicBezTo>
                        <a:pt x="213" y="216"/>
                        <a:pt x="207" y="214"/>
                        <a:pt x="207" y="214"/>
                      </a:cubicBezTo>
                      <a:cubicBezTo>
                        <a:pt x="206" y="209"/>
                        <a:pt x="206" y="209"/>
                        <a:pt x="206" y="209"/>
                      </a:cubicBezTo>
                      <a:cubicBezTo>
                        <a:pt x="203" y="206"/>
                        <a:pt x="203" y="206"/>
                        <a:pt x="203" y="206"/>
                      </a:cubicBezTo>
                      <a:cubicBezTo>
                        <a:pt x="200" y="204"/>
                        <a:pt x="200" y="204"/>
                        <a:pt x="200" y="204"/>
                      </a:cubicBezTo>
                      <a:cubicBezTo>
                        <a:pt x="198" y="201"/>
                        <a:pt x="198" y="201"/>
                        <a:pt x="198" y="201"/>
                      </a:cubicBezTo>
                      <a:cubicBezTo>
                        <a:pt x="194" y="201"/>
                        <a:pt x="194" y="201"/>
                        <a:pt x="194" y="201"/>
                      </a:cubicBezTo>
                      <a:cubicBezTo>
                        <a:pt x="194" y="201"/>
                        <a:pt x="192" y="202"/>
                        <a:pt x="192" y="202"/>
                      </a:cubicBezTo>
                      <a:cubicBezTo>
                        <a:pt x="191" y="203"/>
                        <a:pt x="187" y="202"/>
                        <a:pt x="187" y="202"/>
                      </a:cubicBezTo>
                      <a:cubicBezTo>
                        <a:pt x="184" y="203"/>
                        <a:pt x="184" y="203"/>
                        <a:pt x="184" y="203"/>
                      </a:cubicBezTo>
                      <a:cubicBezTo>
                        <a:pt x="184" y="205"/>
                        <a:pt x="184" y="205"/>
                        <a:pt x="184" y="205"/>
                      </a:cubicBezTo>
                      <a:cubicBezTo>
                        <a:pt x="189" y="205"/>
                        <a:pt x="189" y="205"/>
                        <a:pt x="189" y="205"/>
                      </a:cubicBezTo>
                      <a:cubicBezTo>
                        <a:pt x="193" y="206"/>
                        <a:pt x="193" y="206"/>
                        <a:pt x="193" y="206"/>
                      </a:cubicBezTo>
                      <a:cubicBezTo>
                        <a:pt x="199" y="207"/>
                        <a:pt x="199" y="207"/>
                        <a:pt x="199" y="207"/>
                      </a:cubicBezTo>
                      <a:cubicBezTo>
                        <a:pt x="199" y="211"/>
                        <a:pt x="199" y="211"/>
                        <a:pt x="199" y="211"/>
                      </a:cubicBezTo>
                      <a:cubicBezTo>
                        <a:pt x="199" y="211"/>
                        <a:pt x="200" y="213"/>
                        <a:pt x="200" y="214"/>
                      </a:cubicBezTo>
                      <a:cubicBezTo>
                        <a:pt x="200" y="215"/>
                        <a:pt x="202" y="219"/>
                        <a:pt x="202" y="219"/>
                      </a:cubicBezTo>
                      <a:cubicBezTo>
                        <a:pt x="204" y="225"/>
                        <a:pt x="204" y="225"/>
                        <a:pt x="204" y="225"/>
                      </a:cubicBezTo>
                      <a:cubicBezTo>
                        <a:pt x="206" y="229"/>
                        <a:pt x="206" y="229"/>
                        <a:pt x="206" y="229"/>
                      </a:cubicBezTo>
                      <a:cubicBezTo>
                        <a:pt x="208" y="230"/>
                        <a:pt x="208" y="230"/>
                        <a:pt x="208" y="230"/>
                      </a:cubicBezTo>
                      <a:cubicBezTo>
                        <a:pt x="208" y="234"/>
                        <a:pt x="208" y="234"/>
                        <a:pt x="208" y="234"/>
                      </a:cubicBezTo>
                      <a:cubicBezTo>
                        <a:pt x="210" y="235"/>
                        <a:pt x="210" y="235"/>
                        <a:pt x="210" y="235"/>
                      </a:cubicBezTo>
                      <a:cubicBezTo>
                        <a:pt x="210" y="235"/>
                        <a:pt x="209" y="236"/>
                        <a:pt x="209" y="237"/>
                      </a:cubicBezTo>
                      <a:cubicBezTo>
                        <a:pt x="209" y="237"/>
                        <a:pt x="207" y="240"/>
                        <a:pt x="207" y="240"/>
                      </a:cubicBezTo>
                      <a:cubicBezTo>
                        <a:pt x="207" y="240"/>
                        <a:pt x="205" y="240"/>
                        <a:pt x="204" y="240"/>
                      </a:cubicBezTo>
                      <a:cubicBezTo>
                        <a:pt x="204" y="239"/>
                        <a:pt x="203" y="237"/>
                        <a:pt x="202" y="237"/>
                      </a:cubicBezTo>
                      <a:cubicBezTo>
                        <a:pt x="200" y="236"/>
                        <a:pt x="200" y="234"/>
                        <a:pt x="199" y="234"/>
                      </a:cubicBezTo>
                      <a:cubicBezTo>
                        <a:pt x="198" y="234"/>
                        <a:pt x="195" y="234"/>
                        <a:pt x="195" y="234"/>
                      </a:cubicBezTo>
                      <a:cubicBezTo>
                        <a:pt x="195" y="234"/>
                        <a:pt x="193" y="231"/>
                        <a:pt x="192" y="230"/>
                      </a:cubicBezTo>
                      <a:cubicBezTo>
                        <a:pt x="192" y="230"/>
                        <a:pt x="191" y="229"/>
                        <a:pt x="190" y="228"/>
                      </a:cubicBezTo>
                      <a:cubicBezTo>
                        <a:pt x="189" y="227"/>
                        <a:pt x="187" y="224"/>
                        <a:pt x="187" y="225"/>
                      </a:cubicBezTo>
                      <a:cubicBezTo>
                        <a:pt x="187" y="227"/>
                        <a:pt x="188" y="229"/>
                        <a:pt x="187" y="229"/>
                      </a:cubicBezTo>
                      <a:cubicBezTo>
                        <a:pt x="185" y="229"/>
                        <a:pt x="184" y="229"/>
                        <a:pt x="184" y="229"/>
                      </a:cubicBezTo>
                      <a:cubicBezTo>
                        <a:pt x="184" y="229"/>
                        <a:pt x="182" y="231"/>
                        <a:pt x="181" y="232"/>
                      </a:cubicBezTo>
                      <a:cubicBezTo>
                        <a:pt x="181" y="232"/>
                        <a:pt x="182" y="232"/>
                        <a:pt x="180" y="233"/>
                      </a:cubicBezTo>
                      <a:cubicBezTo>
                        <a:pt x="179" y="233"/>
                        <a:pt x="177" y="233"/>
                        <a:pt x="177" y="233"/>
                      </a:cubicBezTo>
                      <a:cubicBezTo>
                        <a:pt x="177" y="232"/>
                        <a:pt x="177" y="232"/>
                        <a:pt x="177" y="231"/>
                      </a:cubicBezTo>
                      <a:cubicBezTo>
                        <a:pt x="178" y="230"/>
                        <a:pt x="184" y="227"/>
                        <a:pt x="184" y="227"/>
                      </a:cubicBezTo>
                      <a:cubicBezTo>
                        <a:pt x="184" y="226"/>
                        <a:pt x="182" y="223"/>
                        <a:pt x="182" y="223"/>
                      </a:cubicBezTo>
                      <a:cubicBezTo>
                        <a:pt x="181" y="224"/>
                        <a:pt x="181" y="224"/>
                        <a:pt x="181" y="224"/>
                      </a:cubicBezTo>
                      <a:cubicBezTo>
                        <a:pt x="178" y="226"/>
                        <a:pt x="178" y="226"/>
                        <a:pt x="178" y="226"/>
                      </a:cubicBezTo>
                      <a:cubicBezTo>
                        <a:pt x="174" y="229"/>
                        <a:pt x="174" y="229"/>
                        <a:pt x="174" y="229"/>
                      </a:cubicBezTo>
                      <a:cubicBezTo>
                        <a:pt x="171" y="230"/>
                        <a:pt x="171" y="230"/>
                        <a:pt x="171" y="230"/>
                      </a:cubicBezTo>
                      <a:cubicBezTo>
                        <a:pt x="168" y="232"/>
                        <a:pt x="168" y="232"/>
                        <a:pt x="168" y="232"/>
                      </a:cubicBezTo>
                      <a:cubicBezTo>
                        <a:pt x="164" y="233"/>
                        <a:pt x="164" y="233"/>
                        <a:pt x="164" y="233"/>
                      </a:cubicBezTo>
                      <a:cubicBezTo>
                        <a:pt x="160" y="233"/>
                        <a:pt x="160" y="233"/>
                        <a:pt x="160" y="233"/>
                      </a:cubicBezTo>
                      <a:cubicBezTo>
                        <a:pt x="158" y="232"/>
                        <a:pt x="158" y="232"/>
                        <a:pt x="158" y="232"/>
                      </a:cubicBezTo>
                      <a:cubicBezTo>
                        <a:pt x="156" y="229"/>
                        <a:pt x="156" y="229"/>
                        <a:pt x="156" y="229"/>
                      </a:cubicBezTo>
                      <a:cubicBezTo>
                        <a:pt x="155" y="229"/>
                        <a:pt x="155" y="229"/>
                        <a:pt x="155" y="229"/>
                      </a:cubicBezTo>
                      <a:cubicBezTo>
                        <a:pt x="155" y="229"/>
                        <a:pt x="154" y="227"/>
                        <a:pt x="155" y="226"/>
                      </a:cubicBezTo>
                      <a:cubicBezTo>
                        <a:pt x="155" y="226"/>
                        <a:pt x="156" y="225"/>
                        <a:pt x="158" y="225"/>
                      </a:cubicBezTo>
                      <a:cubicBezTo>
                        <a:pt x="160" y="225"/>
                        <a:pt x="161" y="225"/>
                        <a:pt x="162" y="225"/>
                      </a:cubicBezTo>
                      <a:cubicBezTo>
                        <a:pt x="163" y="225"/>
                        <a:pt x="164" y="224"/>
                        <a:pt x="164" y="224"/>
                      </a:cubicBezTo>
                      <a:cubicBezTo>
                        <a:pt x="164" y="224"/>
                        <a:pt x="165" y="224"/>
                        <a:pt x="165" y="223"/>
                      </a:cubicBezTo>
                      <a:cubicBezTo>
                        <a:pt x="165" y="222"/>
                        <a:pt x="162" y="218"/>
                        <a:pt x="162" y="218"/>
                      </a:cubicBezTo>
                      <a:cubicBezTo>
                        <a:pt x="162" y="218"/>
                        <a:pt x="158" y="218"/>
                        <a:pt x="157" y="219"/>
                      </a:cubicBezTo>
                      <a:cubicBezTo>
                        <a:pt x="155" y="219"/>
                        <a:pt x="155" y="221"/>
                        <a:pt x="153" y="220"/>
                      </a:cubicBezTo>
                      <a:cubicBezTo>
                        <a:pt x="151" y="219"/>
                        <a:pt x="146" y="217"/>
                        <a:pt x="146" y="217"/>
                      </a:cubicBezTo>
                      <a:cubicBezTo>
                        <a:pt x="142" y="213"/>
                        <a:pt x="142" y="213"/>
                        <a:pt x="142" y="213"/>
                      </a:cubicBezTo>
                      <a:cubicBezTo>
                        <a:pt x="140" y="215"/>
                        <a:pt x="140" y="215"/>
                        <a:pt x="140" y="215"/>
                      </a:cubicBezTo>
                      <a:cubicBezTo>
                        <a:pt x="137" y="217"/>
                        <a:pt x="137" y="217"/>
                        <a:pt x="137" y="217"/>
                      </a:cubicBezTo>
                      <a:cubicBezTo>
                        <a:pt x="137" y="217"/>
                        <a:pt x="137" y="219"/>
                        <a:pt x="135" y="217"/>
                      </a:cubicBezTo>
                      <a:cubicBezTo>
                        <a:pt x="133" y="214"/>
                        <a:pt x="133" y="212"/>
                        <a:pt x="133" y="212"/>
                      </a:cubicBezTo>
                      <a:cubicBezTo>
                        <a:pt x="130" y="212"/>
                        <a:pt x="130" y="212"/>
                        <a:pt x="130" y="212"/>
                      </a:cubicBezTo>
                      <a:cubicBezTo>
                        <a:pt x="129" y="215"/>
                        <a:pt x="129" y="215"/>
                        <a:pt x="129" y="215"/>
                      </a:cubicBezTo>
                      <a:cubicBezTo>
                        <a:pt x="129" y="215"/>
                        <a:pt x="127" y="218"/>
                        <a:pt x="127" y="218"/>
                      </a:cubicBezTo>
                      <a:cubicBezTo>
                        <a:pt x="126" y="218"/>
                        <a:pt x="123" y="218"/>
                        <a:pt x="122" y="219"/>
                      </a:cubicBezTo>
                      <a:cubicBezTo>
                        <a:pt x="122" y="219"/>
                        <a:pt x="117" y="219"/>
                        <a:pt x="117" y="219"/>
                      </a:cubicBezTo>
                      <a:cubicBezTo>
                        <a:pt x="110" y="217"/>
                        <a:pt x="110" y="217"/>
                        <a:pt x="110" y="217"/>
                      </a:cubicBezTo>
                      <a:cubicBezTo>
                        <a:pt x="110" y="217"/>
                        <a:pt x="108" y="218"/>
                        <a:pt x="108" y="218"/>
                      </a:cubicBezTo>
                      <a:cubicBezTo>
                        <a:pt x="107" y="219"/>
                        <a:pt x="97" y="221"/>
                        <a:pt x="97" y="221"/>
                      </a:cubicBezTo>
                      <a:cubicBezTo>
                        <a:pt x="92" y="224"/>
                        <a:pt x="92" y="224"/>
                        <a:pt x="92" y="224"/>
                      </a:cubicBezTo>
                      <a:cubicBezTo>
                        <a:pt x="89" y="224"/>
                        <a:pt x="89" y="224"/>
                        <a:pt x="89" y="224"/>
                      </a:cubicBezTo>
                      <a:cubicBezTo>
                        <a:pt x="86" y="220"/>
                        <a:pt x="86" y="220"/>
                        <a:pt x="86" y="220"/>
                      </a:cubicBezTo>
                      <a:cubicBezTo>
                        <a:pt x="84" y="217"/>
                        <a:pt x="84" y="217"/>
                        <a:pt x="84" y="217"/>
                      </a:cubicBezTo>
                      <a:cubicBezTo>
                        <a:pt x="84" y="221"/>
                        <a:pt x="84" y="221"/>
                        <a:pt x="84" y="221"/>
                      </a:cubicBezTo>
                      <a:cubicBezTo>
                        <a:pt x="83" y="223"/>
                        <a:pt x="83" y="223"/>
                        <a:pt x="83" y="223"/>
                      </a:cubicBezTo>
                      <a:cubicBezTo>
                        <a:pt x="83" y="223"/>
                        <a:pt x="79" y="227"/>
                        <a:pt x="78" y="228"/>
                      </a:cubicBezTo>
                      <a:cubicBezTo>
                        <a:pt x="78" y="228"/>
                        <a:pt x="73" y="223"/>
                        <a:pt x="73" y="223"/>
                      </a:cubicBezTo>
                      <a:cubicBezTo>
                        <a:pt x="72" y="216"/>
                        <a:pt x="72" y="216"/>
                        <a:pt x="72" y="216"/>
                      </a:cubicBezTo>
                      <a:cubicBezTo>
                        <a:pt x="67" y="211"/>
                        <a:pt x="67" y="211"/>
                        <a:pt x="67" y="211"/>
                      </a:cubicBezTo>
                      <a:cubicBezTo>
                        <a:pt x="64" y="212"/>
                        <a:pt x="64" y="212"/>
                        <a:pt x="64" y="212"/>
                      </a:cubicBezTo>
                      <a:cubicBezTo>
                        <a:pt x="63" y="207"/>
                        <a:pt x="63" y="207"/>
                        <a:pt x="63" y="207"/>
                      </a:cubicBezTo>
                      <a:cubicBezTo>
                        <a:pt x="61" y="204"/>
                        <a:pt x="61" y="204"/>
                        <a:pt x="61" y="204"/>
                      </a:cubicBezTo>
                      <a:cubicBezTo>
                        <a:pt x="57" y="204"/>
                        <a:pt x="57" y="204"/>
                        <a:pt x="57" y="204"/>
                      </a:cubicBezTo>
                      <a:cubicBezTo>
                        <a:pt x="56" y="206"/>
                        <a:pt x="56" y="206"/>
                        <a:pt x="56" y="206"/>
                      </a:cubicBezTo>
                      <a:cubicBezTo>
                        <a:pt x="55" y="209"/>
                        <a:pt x="55" y="209"/>
                        <a:pt x="55" y="209"/>
                      </a:cubicBezTo>
                      <a:cubicBezTo>
                        <a:pt x="55" y="209"/>
                        <a:pt x="56" y="212"/>
                        <a:pt x="56" y="212"/>
                      </a:cubicBezTo>
                      <a:cubicBezTo>
                        <a:pt x="56" y="213"/>
                        <a:pt x="55" y="214"/>
                        <a:pt x="54" y="214"/>
                      </a:cubicBezTo>
                      <a:cubicBezTo>
                        <a:pt x="54" y="214"/>
                        <a:pt x="49" y="216"/>
                        <a:pt x="49" y="216"/>
                      </a:cubicBezTo>
                      <a:cubicBezTo>
                        <a:pt x="49" y="216"/>
                        <a:pt x="48" y="213"/>
                        <a:pt x="48" y="212"/>
                      </a:cubicBezTo>
                      <a:cubicBezTo>
                        <a:pt x="48" y="210"/>
                        <a:pt x="48" y="207"/>
                        <a:pt x="48" y="207"/>
                      </a:cubicBezTo>
                      <a:cubicBezTo>
                        <a:pt x="48" y="207"/>
                        <a:pt x="52" y="205"/>
                        <a:pt x="52" y="205"/>
                      </a:cubicBezTo>
                      <a:cubicBezTo>
                        <a:pt x="52" y="204"/>
                        <a:pt x="55" y="199"/>
                        <a:pt x="55" y="199"/>
                      </a:cubicBezTo>
                      <a:cubicBezTo>
                        <a:pt x="55" y="196"/>
                        <a:pt x="55" y="196"/>
                        <a:pt x="55" y="196"/>
                      </a:cubicBezTo>
                      <a:cubicBezTo>
                        <a:pt x="55" y="196"/>
                        <a:pt x="59" y="195"/>
                        <a:pt x="60" y="195"/>
                      </a:cubicBezTo>
                      <a:cubicBezTo>
                        <a:pt x="61" y="195"/>
                        <a:pt x="63" y="195"/>
                        <a:pt x="64" y="196"/>
                      </a:cubicBezTo>
                      <a:cubicBezTo>
                        <a:pt x="66" y="197"/>
                        <a:pt x="65" y="197"/>
                        <a:pt x="67" y="197"/>
                      </a:cubicBezTo>
                      <a:cubicBezTo>
                        <a:pt x="69" y="196"/>
                        <a:pt x="71" y="195"/>
                        <a:pt x="71" y="194"/>
                      </a:cubicBezTo>
                      <a:cubicBezTo>
                        <a:pt x="71" y="193"/>
                        <a:pt x="72" y="189"/>
                        <a:pt x="69" y="189"/>
                      </a:cubicBezTo>
                      <a:cubicBezTo>
                        <a:pt x="67" y="189"/>
                        <a:pt x="64" y="191"/>
                        <a:pt x="63" y="191"/>
                      </a:cubicBezTo>
                      <a:cubicBezTo>
                        <a:pt x="62" y="192"/>
                        <a:pt x="61" y="191"/>
                        <a:pt x="59" y="190"/>
                      </a:cubicBezTo>
                      <a:cubicBezTo>
                        <a:pt x="58" y="190"/>
                        <a:pt x="56" y="189"/>
                        <a:pt x="56" y="189"/>
                      </a:cubicBezTo>
                      <a:cubicBezTo>
                        <a:pt x="53" y="192"/>
                        <a:pt x="53" y="192"/>
                        <a:pt x="53" y="192"/>
                      </a:cubicBezTo>
                      <a:cubicBezTo>
                        <a:pt x="53" y="192"/>
                        <a:pt x="55" y="196"/>
                        <a:pt x="51" y="193"/>
                      </a:cubicBezTo>
                      <a:cubicBezTo>
                        <a:pt x="47" y="191"/>
                        <a:pt x="47" y="190"/>
                        <a:pt x="47" y="190"/>
                      </a:cubicBezTo>
                      <a:cubicBezTo>
                        <a:pt x="43" y="186"/>
                        <a:pt x="43" y="186"/>
                        <a:pt x="43" y="186"/>
                      </a:cubicBezTo>
                      <a:cubicBezTo>
                        <a:pt x="41" y="179"/>
                        <a:pt x="41" y="179"/>
                        <a:pt x="41" y="179"/>
                      </a:cubicBezTo>
                      <a:cubicBezTo>
                        <a:pt x="38" y="175"/>
                        <a:pt x="38" y="175"/>
                        <a:pt x="38" y="175"/>
                      </a:cubicBezTo>
                      <a:cubicBezTo>
                        <a:pt x="38" y="175"/>
                        <a:pt x="37" y="177"/>
                        <a:pt x="36" y="179"/>
                      </a:cubicBezTo>
                      <a:cubicBezTo>
                        <a:pt x="35" y="180"/>
                        <a:pt x="33" y="180"/>
                        <a:pt x="32" y="179"/>
                      </a:cubicBezTo>
                      <a:cubicBezTo>
                        <a:pt x="32" y="177"/>
                        <a:pt x="29" y="173"/>
                        <a:pt x="29" y="173"/>
                      </a:cubicBezTo>
                      <a:cubicBezTo>
                        <a:pt x="30" y="169"/>
                        <a:pt x="30" y="169"/>
                        <a:pt x="30" y="169"/>
                      </a:cubicBezTo>
                      <a:cubicBezTo>
                        <a:pt x="26" y="168"/>
                        <a:pt x="26" y="168"/>
                        <a:pt x="26" y="168"/>
                      </a:cubicBezTo>
                      <a:cubicBezTo>
                        <a:pt x="26" y="168"/>
                        <a:pt x="24" y="167"/>
                        <a:pt x="24" y="166"/>
                      </a:cubicBezTo>
                      <a:cubicBezTo>
                        <a:pt x="25" y="164"/>
                        <a:pt x="27" y="161"/>
                        <a:pt x="27" y="161"/>
                      </a:cubicBezTo>
                      <a:cubicBezTo>
                        <a:pt x="29" y="157"/>
                        <a:pt x="29" y="157"/>
                        <a:pt x="29" y="157"/>
                      </a:cubicBezTo>
                      <a:cubicBezTo>
                        <a:pt x="29" y="157"/>
                        <a:pt x="29" y="154"/>
                        <a:pt x="28" y="153"/>
                      </a:cubicBezTo>
                      <a:cubicBezTo>
                        <a:pt x="28" y="152"/>
                        <a:pt x="27" y="139"/>
                        <a:pt x="27" y="139"/>
                      </a:cubicBezTo>
                      <a:cubicBezTo>
                        <a:pt x="35" y="134"/>
                        <a:pt x="35" y="134"/>
                        <a:pt x="35" y="134"/>
                      </a:cubicBezTo>
                      <a:cubicBezTo>
                        <a:pt x="40" y="126"/>
                        <a:pt x="40" y="126"/>
                        <a:pt x="40" y="126"/>
                      </a:cubicBezTo>
                      <a:cubicBezTo>
                        <a:pt x="42" y="117"/>
                        <a:pt x="42" y="117"/>
                        <a:pt x="42" y="117"/>
                      </a:cubicBezTo>
                      <a:cubicBezTo>
                        <a:pt x="45" y="109"/>
                        <a:pt x="45" y="109"/>
                        <a:pt x="45" y="109"/>
                      </a:cubicBezTo>
                      <a:cubicBezTo>
                        <a:pt x="45" y="109"/>
                        <a:pt x="49" y="105"/>
                        <a:pt x="49" y="106"/>
                      </a:cubicBezTo>
                      <a:cubicBezTo>
                        <a:pt x="50" y="107"/>
                        <a:pt x="49" y="98"/>
                        <a:pt x="49" y="98"/>
                      </a:cubicBezTo>
                      <a:cubicBezTo>
                        <a:pt x="46" y="95"/>
                        <a:pt x="46" y="95"/>
                        <a:pt x="46" y="95"/>
                      </a:cubicBezTo>
                      <a:cubicBezTo>
                        <a:pt x="46" y="90"/>
                        <a:pt x="46" y="90"/>
                        <a:pt x="46" y="90"/>
                      </a:cubicBezTo>
                      <a:cubicBezTo>
                        <a:pt x="46" y="90"/>
                        <a:pt x="51" y="89"/>
                        <a:pt x="52" y="89"/>
                      </a:cubicBezTo>
                      <a:cubicBezTo>
                        <a:pt x="53" y="89"/>
                        <a:pt x="55" y="88"/>
                        <a:pt x="58" y="87"/>
                      </a:cubicBezTo>
                      <a:cubicBezTo>
                        <a:pt x="60" y="87"/>
                        <a:pt x="62" y="85"/>
                        <a:pt x="64" y="85"/>
                      </a:cubicBezTo>
                      <a:cubicBezTo>
                        <a:pt x="65" y="85"/>
                        <a:pt x="70" y="85"/>
                        <a:pt x="70" y="85"/>
                      </a:cubicBezTo>
                      <a:cubicBezTo>
                        <a:pt x="70" y="85"/>
                        <a:pt x="75" y="82"/>
                        <a:pt x="76" y="81"/>
                      </a:cubicBezTo>
                      <a:cubicBezTo>
                        <a:pt x="77" y="80"/>
                        <a:pt x="80" y="76"/>
                        <a:pt x="80" y="76"/>
                      </a:cubicBezTo>
                      <a:cubicBezTo>
                        <a:pt x="80" y="76"/>
                        <a:pt x="81" y="71"/>
                        <a:pt x="83" y="70"/>
                      </a:cubicBezTo>
                      <a:cubicBezTo>
                        <a:pt x="84" y="70"/>
                        <a:pt x="87" y="68"/>
                        <a:pt x="89" y="68"/>
                      </a:cubicBezTo>
                      <a:cubicBezTo>
                        <a:pt x="91" y="67"/>
                        <a:pt x="96" y="66"/>
                        <a:pt x="97" y="66"/>
                      </a:cubicBezTo>
                      <a:cubicBezTo>
                        <a:pt x="98" y="66"/>
                        <a:pt x="110" y="64"/>
                        <a:pt x="110" y="64"/>
                      </a:cubicBezTo>
                      <a:cubicBezTo>
                        <a:pt x="115" y="60"/>
                        <a:pt x="115" y="60"/>
                        <a:pt x="115" y="60"/>
                      </a:cubicBezTo>
                      <a:cubicBezTo>
                        <a:pt x="114" y="51"/>
                        <a:pt x="114" y="51"/>
                        <a:pt x="114" y="51"/>
                      </a:cubicBezTo>
                      <a:cubicBezTo>
                        <a:pt x="129" y="49"/>
                        <a:pt x="129" y="49"/>
                        <a:pt x="129" y="49"/>
                      </a:cubicBezTo>
                      <a:cubicBezTo>
                        <a:pt x="135" y="45"/>
                        <a:pt x="135" y="45"/>
                        <a:pt x="135" y="45"/>
                      </a:cubicBezTo>
                      <a:cubicBezTo>
                        <a:pt x="135" y="45"/>
                        <a:pt x="138" y="42"/>
                        <a:pt x="139" y="42"/>
                      </a:cubicBezTo>
                      <a:cubicBezTo>
                        <a:pt x="140" y="43"/>
                        <a:pt x="142" y="42"/>
                        <a:pt x="142" y="42"/>
                      </a:cubicBezTo>
                      <a:cubicBezTo>
                        <a:pt x="149" y="40"/>
                        <a:pt x="149" y="40"/>
                        <a:pt x="149" y="40"/>
                      </a:cubicBezTo>
                      <a:cubicBezTo>
                        <a:pt x="149" y="40"/>
                        <a:pt x="158" y="37"/>
                        <a:pt x="159" y="36"/>
                      </a:cubicBezTo>
                      <a:cubicBezTo>
                        <a:pt x="159" y="36"/>
                        <a:pt x="164" y="34"/>
                        <a:pt x="164" y="34"/>
                      </a:cubicBezTo>
                      <a:cubicBezTo>
                        <a:pt x="166" y="30"/>
                        <a:pt x="166" y="30"/>
                        <a:pt x="166" y="30"/>
                      </a:cubicBezTo>
                      <a:cubicBezTo>
                        <a:pt x="166" y="30"/>
                        <a:pt x="168" y="28"/>
                        <a:pt x="171" y="28"/>
                      </a:cubicBezTo>
                      <a:cubicBezTo>
                        <a:pt x="173" y="28"/>
                        <a:pt x="175" y="28"/>
                        <a:pt x="176" y="28"/>
                      </a:cubicBezTo>
                      <a:cubicBezTo>
                        <a:pt x="176" y="27"/>
                        <a:pt x="177" y="25"/>
                        <a:pt x="178" y="25"/>
                      </a:cubicBezTo>
                      <a:cubicBezTo>
                        <a:pt x="179" y="25"/>
                        <a:pt x="185" y="24"/>
                        <a:pt x="185" y="24"/>
                      </a:cubicBezTo>
                      <a:cubicBezTo>
                        <a:pt x="188" y="29"/>
                        <a:pt x="188" y="29"/>
                        <a:pt x="188" y="29"/>
                      </a:cubicBezTo>
                      <a:cubicBezTo>
                        <a:pt x="188" y="29"/>
                        <a:pt x="194" y="33"/>
                        <a:pt x="195" y="33"/>
                      </a:cubicBezTo>
                      <a:cubicBezTo>
                        <a:pt x="196" y="33"/>
                        <a:pt x="201" y="29"/>
                        <a:pt x="201" y="29"/>
                      </a:cubicBezTo>
                      <a:cubicBezTo>
                        <a:pt x="211" y="32"/>
                        <a:pt x="211" y="32"/>
                        <a:pt x="211" y="32"/>
                      </a:cubicBezTo>
                      <a:cubicBezTo>
                        <a:pt x="219" y="34"/>
                        <a:pt x="219" y="34"/>
                        <a:pt x="219" y="34"/>
                      </a:cubicBezTo>
                      <a:cubicBezTo>
                        <a:pt x="222" y="32"/>
                        <a:pt x="222" y="32"/>
                        <a:pt x="222" y="32"/>
                      </a:cubicBezTo>
                      <a:close/>
                      <a:moveTo>
                        <a:pt x="188" y="149"/>
                      </a:moveTo>
                      <a:cubicBezTo>
                        <a:pt x="188" y="149"/>
                        <a:pt x="188" y="149"/>
                        <a:pt x="188" y="149"/>
                      </a:cubicBezTo>
                      <a:cubicBezTo>
                        <a:pt x="189" y="150"/>
                        <a:pt x="189" y="150"/>
                        <a:pt x="189" y="150"/>
                      </a:cubicBezTo>
                      <a:cubicBezTo>
                        <a:pt x="189" y="150"/>
                        <a:pt x="191" y="150"/>
                        <a:pt x="192" y="149"/>
                      </a:cubicBezTo>
                      <a:cubicBezTo>
                        <a:pt x="193" y="149"/>
                        <a:pt x="191" y="148"/>
                        <a:pt x="191" y="148"/>
                      </a:cubicBezTo>
                      <a:cubicBezTo>
                        <a:pt x="189" y="148"/>
                        <a:pt x="189" y="148"/>
                        <a:pt x="189" y="148"/>
                      </a:cubicBezTo>
                      <a:cubicBezTo>
                        <a:pt x="189" y="148"/>
                        <a:pt x="188" y="149"/>
                        <a:pt x="188" y="149"/>
                      </a:cubicBezTo>
                      <a:close/>
                      <a:moveTo>
                        <a:pt x="184" y="157"/>
                      </a:moveTo>
                      <a:cubicBezTo>
                        <a:pt x="184" y="157"/>
                        <a:pt x="184" y="157"/>
                        <a:pt x="184" y="157"/>
                      </a:cubicBezTo>
                      <a:cubicBezTo>
                        <a:pt x="185" y="158"/>
                        <a:pt x="185" y="158"/>
                        <a:pt x="185" y="158"/>
                      </a:cubicBezTo>
                      <a:cubicBezTo>
                        <a:pt x="185" y="158"/>
                        <a:pt x="186" y="155"/>
                        <a:pt x="187" y="154"/>
                      </a:cubicBezTo>
                      <a:cubicBezTo>
                        <a:pt x="188" y="152"/>
                        <a:pt x="186" y="153"/>
                        <a:pt x="186" y="153"/>
                      </a:cubicBezTo>
                      <a:cubicBezTo>
                        <a:pt x="185" y="154"/>
                        <a:pt x="185" y="154"/>
                        <a:pt x="185" y="154"/>
                      </a:cubicBezTo>
                      <a:cubicBezTo>
                        <a:pt x="185" y="154"/>
                        <a:pt x="184" y="157"/>
                        <a:pt x="184" y="157"/>
                      </a:cubicBezTo>
                      <a:close/>
                      <a:moveTo>
                        <a:pt x="318" y="231"/>
                      </a:moveTo>
                      <a:cubicBezTo>
                        <a:pt x="318" y="231"/>
                        <a:pt x="318" y="231"/>
                        <a:pt x="318" y="231"/>
                      </a:cubicBezTo>
                      <a:cubicBezTo>
                        <a:pt x="318" y="231"/>
                        <a:pt x="321" y="233"/>
                        <a:pt x="321" y="233"/>
                      </a:cubicBezTo>
                      <a:cubicBezTo>
                        <a:pt x="319" y="237"/>
                        <a:pt x="319" y="237"/>
                        <a:pt x="319" y="237"/>
                      </a:cubicBezTo>
                      <a:cubicBezTo>
                        <a:pt x="316" y="235"/>
                        <a:pt x="316" y="235"/>
                        <a:pt x="316" y="235"/>
                      </a:cubicBezTo>
                      <a:cubicBezTo>
                        <a:pt x="318" y="231"/>
                        <a:pt x="318" y="231"/>
                        <a:pt x="318" y="231"/>
                      </a:cubicBezTo>
                      <a:close/>
                      <a:moveTo>
                        <a:pt x="342" y="250"/>
                      </a:moveTo>
                      <a:cubicBezTo>
                        <a:pt x="342" y="250"/>
                        <a:pt x="342" y="250"/>
                        <a:pt x="342" y="250"/>
                      </a:cubicBezTo>
                      <a:cubicBezTo>
                        <a:pt x="342" y="250"/>
                        <a:pt x="347" y="251"/>
                        <a:pt x="347" y="250"/>
                      </a:cubicBezTo>
                      <a:cubicBezTo>
                        <a:pt x="347" y="249"/>
                        <a:pt x="348" y="247"/>
                        <a:pt x="348" y="247"/>
                      </a:cubicBezTo>
                      <a:cubicBezTo>
                        <a:pt x="347" y="246"/>
                        <a:pt x="344" y="245"/>
                        <a:pt x="344" y="245"/>
                      </a:cubicBezTo>
                      <a:cubicBezTo>
                        <a:pt x="343" y="245"/>
                        <a:pt x="342" y="245"/>
                        <a:pt x="341" y="244"/>
                      </a:cubicBezTo>
                      <a:cubicBezTo>
                        <a:pt x="335" y="237"/>
                        <a:pt x="339" y="246"/>
                        <a:pt x="342" y="247"/>
                      </a:cubicBezTo>
                      <a:cubicBezTo>
                        <a:pt x="342" y="248"/>
                        <a:pt x="342" y="248"/>
                        <a:pt x="342" y="248"/>
                      </a:cubicBezTo>
                      <a:cubicBezTo>
                        <a:pt x="342" y="250"/>
                        <a:pt x="342" y="250"/>
                        <a:pt x="342" y="250"/>
                      </a:cubicBezTo>
                      <a:close/>
                      <a:moveTo>
                        <a:pt x="349" y="257"/>
                      </a:moveTo>
                      <a:cubicBezTo>
                        <a:pt x="349" y="257"/>
                        <a:pt x="349" y="257"/>
                        <a:pt x="349" y="257"/>
                      </a:cubicBezTo>
                      <a:cubicBezTo>
                        <a:pt x="353" y="252"/>
                        <a:pt x="353" y="252"/>
                        <a:pt x="353" y="252"/>
                      </a:cubicBezTo>
                      <a:cubicBezTo>
                        <a:pt x="353" y="252"/>
                        <a:pt x="355" y="250"/>
                        <a:pt x="356" y="250"/>
                      </a:cubicBezTo>
                      <a:cubicBezTo>
                        <a:pt x="357" y="250"/>
                        <a:pt x="361" y="249"/>
                        <a:pt x="361" y="249"/>
                      </a:cubicBezTo>
                      <a:cubicBezTo>
                        <a:pt x="361" y="249"/>
                        <a:pt x="364" y="250"/>
                        <a:pt x="362" y="251"/>
                      </a:cubicBezTo>
                      <a:cubicBezTo>
                        <a:pt x="361" y="252"/>
                        <a:pt x="358" y="254"/>
                        <a:pt x="357" y="254"/>
                      </a:cubicBezTo>
                      <a:cubicBezTo>
                        <a:pt x="356" y="255"/>
                        <a:pt x="354" y="258"/>
                        <a:pt x="354" y="258"/>
                      </a:cubicBezTo>
                      <a:cubicBezTo>
                        <a:pt x="350" y="259"/>
                        <a:pt x="350" y="259"/>
                        <a:pt x="350" y="259"/>
                      </a:cubicBezTo>
                      <a:cubicBezTo>
                        <a:pt x="346" y="261"/>
                        <a:pt x="346" y="261"/>
                        <a:pt x="346" y="261"/>
                      </a:cubicBezTo>
                      <a:cubicBezTo>
                        <a:pt x="347" y="265"/>
                        <a:pt x="347" y="265"/>
                        <a:pt x="347" y="265"/>
                      </a:cubicBezTo>
                      <a:cubicBezTo>
                        <a:pt x="347" y="265"/>
                        <a:pt x="346" y="266"/>
                        <a:pt x="345" y="266"/>
                      </a:cubicBezTo>
                      <a:cubicBezTo>
                        <a:pt x="345" y="265"/>
                        <a:pt x="342" y="263"/>
                        <a:pt x="342" y="263"/>
                      </a:cubicBezTo>
                      <a:cubicBezTo>
                        <a:pt x="343" y="258"/>
                        <a:pt x="343" y="258"/>
                        <a:pt x="343" y="258"/>
                      </a:cubicBezTo>
                      <a:cubicBezTo>
                        <a:pt x="347" y="258"/>
                        <a:pt x="347" y="258"/>
                        <a:pt x="347" y="258"/>
                      </a:cubicBezTo>
                      <a:cubicBezTo>
                        <a:pt x="349" y="257"/>
                        <a:pt x="349" y="257"/>
                        <a:pt x="349" y="257"/>
                      </a:cubicBezTo>
                      <a:close/>
                      <a:moveTo>
                        <a:pt x="388" y="286"/>
                      </a:moveTo>
                      <a:cubicBezTo>
                        <a:pt x="388" y="286"/>
                        <a:pt x="388" y="286"/>
                        <a:pt x="388" y="286"/>
                      </a:cubicBezTo>
                      <a:cubicBezTo>
                        <a:pt x="388" y="286"/>
                        <a:pt x="392" y="290"/>
                        <a:pt x="392" y="290"/>
                      </a:cubicBezTo>
                      <a:cubicBezTo>
                        <a:pt x="391" y="295"/>
                        <a:pt x="391" y="295"/>
                        <a:pt x="391" y="295"/>
                      </a:cubicBezTo>
                      <a:cubicBezTo>
                        <a:pt x="391" y="295"/>
                        <a:pt x="391" y="297"/>
                        <a:pt x="393" y="297"/>
                      </a:cubicBezTo>
                      <a:cubicBezTo>
                        <a:pt x="395" y="298"/>
                        <a:pt x="398" y="298"/>
                        <a:pt x="398" y="296"/>
                      </a:cubicBezTo>
                      <a:cubicBezTo>
                        <a:pt x="398" y="294"/>
                        <a:pt x="399" y="292"/>
                        <a:pt x="400" y="291"/>
                      </a:cubicBezTo>
                      <a:cubicBezTo>
                        <a:pt x="401" y="289"/>
                        <a:pt x="403" y="286"/>
                        <a:pt x="403" y="286"/>
                      </a:cubicBezTo>
                      <a:cubicBezTo>
                        <a:pt x="403" y="286"/>
                        <a:pt x="404" y="286"/>
                        <a:pt x="405" y="285"/>
                      </a:cubicBezTo>
                      <a:cubicBezTo>
                        <a:pt x="406" y="285"/>
                        <a:pt x="404" y="282"/>
                        <a:pt x="404" y="282"/>
                      </a:cubicBezTo>
                      <a:cubicBezTo>
                        <a:pt x="404" y="282"/>
                        <a:pt x="403" y="282"/>
                        <a:pt x="405" y="278"/>
                      </a:cubicBezTo>
                      <a:cubicBezTo>
                        <a:pt x="407" y="275"/>
                        <a:pt x="407" y="275"/>
                        <a:pt x="407" y="275"/>
                      </a:cubicBezTo>
                      <a:cubicBezTo>
                        <a:pt x="407" y="274"/>
                        <a:pt x="408" y="271"/>
                        <a:pt x="408" y="270"/>
                      </a:cubicBezTo>
                      <a:cubicBezTo>
                        <a:pt x="407" y="268"/>
                        <a:pt x="406" y="263"/>
                        <a:pt x="406" y="263"/>
                      </a:cubicBezTo>
                      <a:cubicBezTo>
                        <a:pt x="404" y="265"/>
                        <a:pt x="404" y="265"/>
                        <a:pt x="404" y="265"/>
                      </a:cubicBezTo>
                      <a:cubicBezTo>
                        <a:pt x="404" y="265"/>
                        <a:pt x="402" y="267"/>
                        <a:pt x="400" y="267"/>
                      </a:cubicBezTo>
                      <a:cubicBezTo>
                        <a:pt x="398" y="268"/>
                        <a:pt x="396" y="269"/>
                        <a:pt x="396" y="270"/>
                      </a:cubicBezTo>
                      <a:cubicBezTo>
                        <a:pt x="396" y="270"/>
                        <a:pt x="396" y="273"/>
                        <a:pt x="395" y="274"/>
                      </a:cubicBezTo>
                      <a:cubicBezTo>
                        <a:pt x="394" y="275"/>
                        <a:pt x="391" y="278"/>
                        <a:pt x="391" y="278"/>
                      </a:cubicBezTo>
                      <a:cubicBezTo>
                        <a:pt x="389" y="283"/>
                        <a:pt x="389" y="283"/>
                        <a:pt x="389" y="283"/>
                      </a:cubicBezTo>
                      <a:cubicBezTo>
                        <a:pt x="389" y="283"/>
                        <a:pt x="388" y="286"/>
                        <a:pt x="388" y="286"/>
                      </a:cubicBezTo>
                      <a:close/>
                      <a:moveTo>
                        <a:pt x="373" y="331"/>
                      </a:moveTo>
                      <a:cubicBezTo>
                        <a:pt x="373" y="331"/>
                        <a:pt x="373" y="331"/>
                        <a:pt x="373" y="331"/>
                      </a:cubicBezTo>
                      <a:cubicBezTo>
                        <a:pt x="371" y="330"/>
                        <a:pt x="369" y="328"/>
                        <a:pt x="369" y="326"/>
                      </a:cubicBezTo>
                      <a:cubicBezTo>
                        <a:pt x="369" y="325"/>
                        <a:pt x="370" y="323"/>
                        <a:pt x="370" y="323"/>
                      </a:cubicBezTo>
                      <a:cubicBezTo>
                        <a:pt x="370" y="323"/>
                        <a:pt x="368" y="322"/>
                        <a:pt x="368" y="321"/>
                      </a:cubicBezTo>
                      <a:cubicBezTo>
                        <a:pt x="368" y="321"/>
                        <a:pt x="370" y="317"/>
                        <a:pt x="370" y="315"/>
                      </a:cubicBezTo>
                      <a:cubicBezTo>
                        <a:pt x="369" y="314"/>
                        <a:pt x="370" y="308"/>
                        <a:pt x="370" y="308"/>
                      </a:cubicBezTo>
                      <a:cubicBezTo>
                        <a:pt x="370" y="308"/>
                        <a:pt x="373" y="307"/>
                        <a:pt x="373" y="308"/>
                      </a:cubicBezTo>
                      <a:cubicBezTo>
                        <a:pt x="373" y="309"/>
                        <a:pt x="372" y="312"/>
                        <a:pt x="372" y="313"/>
                      </a:cubicBezTo>
                      <a:cubicBezTo>
                        <a:pt x="372" y="314"/>
                        <a:pt x="371" y="318"/>
                        <a:pt x="371" y="319"/>
                      </a:cubicBezTo>
                      <a:cubicBezTo>
                        <a:pt x="371" y="319"/>
                        <a:pt x="372" y="318"/>
                        <a:pt x="374" y="320"/>
                      </a:cubicBezTo>
                      <a:cubicBezTo>
                        <a:pt x="376" y="322"/>
                        <a:pt x="376" y="325"/>
                        <a:pt x="376" y="325"/>
                      </a:cubicBezTo>
                      <a:cubicBezTo>
                        <a:pt x="374" y="327"/>
                        <a:pt x="374" y="327"/>
                        <a:pt x="374" y="327"/>
                      </a:cubicBezTo>
                      <a:cubicBezTo>
                        <a:pt x="373" y="331"/>
                        <a:pt x="373" y="331"/>
                        <a:pt x="373" y="331"/>
                      </a:cubicBezTo>
                      <a:close/>
                      <a:moveTo>
                        <a:pt x="361" y="333"/>
                      </a:moveTo>
                      <a:cubicBezTo>
                        <a:pt x="361" y="333"/>
                        <a:pt x="361" y="333"/>
                        <a:pt x="361" y="333"/>
                      </a:cubicBezTo>
                      <a:cubicBezTo>
                        <a:pt x="361" y="333"/>
                        <a:pt x="360" y="337"/>
                        <a:pt x="360" y="338"/>
                      </a:cubicBezTo>
                      <a:cubicBezTo>
                        <a:pt x="360" y="338"/>
                        <a:pt x="361" y="338"/>
                        <a:pt x="362" y="338"/>
                      </a:cubicBezTo>
                      <a:cubicBezTo>
                        <a:pt x="363" y="337"/>
                        <a:pt x="364" y="337"/>
                        <a:pt x="365" y="336"/>
                      </a:cubicBezTo>
                      <a:cubicBezTo>
                        <a:pt x="366" y="335"/>
                        <a:pt x="369" y="333"/>
                        <a:pt x="370" y="333"/>
                      </a:cubicBezTo>
                      <a:cubicBezTo>
                        <a:pt x="371" y="332"/>
                        <a:pt x="366" y="330"/>
                        <a:pt x="366" y="330"/>
                      </a:cubicBezTo>
                      <a:cubicBezTo>
                        <a:pt x="361" y="333"/>
                        <a:pt x="361" y="333"/>
                        <a:pt x="361" y="333"/>
                      </a:cubicBezTo>
                      <a:close/>
                      <a:moveTo>
                        <a:pt x="225" y="132"/>
                      </a:moveTo>
                      <a:cubicBezTo>
                        <a:pt x="225" y="132"/>
                        <a:pt x="225" y="132"/>
                        <a:pt x="225" y="132"/>
                      </a:cubicBezTo>
                      <a:cubicBezTo>
                        <a:pt x="227" y="133"/>
                        <a:pt x="227" y="133"/>
                        <a:pt x="227" y="133"/>
                      </a:cubicBezTo>
                      <a:cubicBezTo>
                        <a:pt x="227" y="133"/>
                        <a:pt x="228" y="132"/>
                        <a:pt x="229" y="131"/>
                      </a:cubicBezTo>
                      <a:cubicBezTo>
                        <a:pt x="230" y="130"/>
                        <a:pt x="228" y="129"/>
                        <a:pt x="228" y="129"/>
                      </a:cubicBezTo>
                      <a:cubicBezTo>
                        <a:pt x="227" y="130"/>
                        <a:pt x="227" y="130"/>
                        <a:pt x="227" y="130"/>
                      </a:cubicBezTo>
                      <a:cubicBezTo>
                        <a:pt x="227" y="130"/>
                        <a:pt x="225" y="132"/>
                        <a:pt x="225" y="132"/>
                      </a:cubicBezTo>
                      <a:close/>
                      <a:moveTo>
                        <a:pt x="164" y="164"/>
                      </a:moveTo>
                      <a:cubicBezTo>
                        <a:pt x="164" y="164"/>
                        <a:pt x="164" y="164"/>
                        <a:pt x="164" y="164"/>
                      </a:cubicBezTo>
                      <a:cubicBezTo>
                        <a:pt x="165" y="165"/>
                        <a:pt x="165" y="165"/>
                        <a:pt x="165" y="165"/>
                      </a:cubicBezTo>
                      <a:cubicBezTo>
                        <a:pt x="165" y="165"/>
                        <a:pt x="166" y="163"/>
                        <a:pt x="168" y="162"/>
                      </a:cubicBezTo>
                      <a:cubicBezTo>
                        <a:pt x="169" y="161"/>
                        <a:pt x="167" y="161"/>
                        <a:pt x="167" y="161"/>
                      </a:cubicBezTo>
                      <a:cubicBezTo>
                        <a:pt x="165" y="162"/>
                        <a:pt x="165" y="162"/>
                        <a:pt x="165" y="162"/>
                      </a:cubicBezTo>
                      <a:cubicBezTo>
                        <a:pt x="165" y="162"/>
                        <a:pt x="164" y="163"/>
                        <a:pt x="164" y="164"/>
                      </a:cubicBezTo>
                      <a:close/>
                      <a:moveTo>
                        <a:pt x="174" y="162"/>
                      </a:moveTo>
                      <a:cubicBezTo>
                        <a:pt x="174" y="162"/>
                        <a:pt x="174" y="162"/>
                        <a:pt x="174" y="162"/>
                      </a:cubicBezTo>
                      <a:cubicBezTo>
                        <a:pt x="174" y="164"/>
                        <a:pt x="174" y="164"/>
                        <a:pt x="174" y="164"/>
                      </a:cubicBezTo>
                      <a:cubicBezTo>
                        <a:pt x="174" y="164"/>
                        <a:pt x="177" y="165"/>
                        <a:pt x="179" y="166"/>
                      </a:cubicBezTo>
                      <a:cubicBezTo>
                        <a:pt x="182" y="167"/>
                        <a:pt x="180" y="164"/>
                        <a:pt x="180" y="164"/>
                      </a:cubicBezTo>
                      <a:cubicBezTo>
                        <a:pt x="178" y="162"/>
                        <a:pt x="178" y="162"/>
                        <a:pt x="178" y="162"/>
                      </a:cubicBezTo>
                      <a:cubicBezTo>
                        <a:pt x="178" y="162"/>
                        <a:pt x="175" y="161"/>
                        <a:pt x="174" y="162"/>
                      </a:cubicBezTo>
                      <a:close/>
                      <a:moveTo>
                        <a:pt x="211" y="164"/>
                      </a:moveTo>
                      <a:cubicBezTo>
                        <a:pt x="211" y="164"/>
                        <a:pt x="211" y="164"/>
                        <a:pt x="211" y="164"/>
                      </a:cubicBezTo>
                      <a:cubicBezTo>
                        <a:pt x="210" y="166"/>
                        <a:pt x="210" y="166"/>
                        <a:pt x="210" y="166"/>
                      </a:cubicBezTo>
                      <a:cubicBezTo>
                        <a:pt x="210" y="166"/>
                        <a:pt x="212" y="168"/>
                        <a:pt x="213" y="170"/>
                      </a:cubicBezTo>
                      <a:cubicBezTo>
                        <a:pt x="214" y="170"/>
                        <a:pt x="218" y="174"/>
                        <a:pt x="220" y="174"/>
                      </a:cubicBezTo>
                      <a:cubicBezTo>
                        <a:pt x="228" y="177"/>
                        <a:pt x="215" y="167"/>
                        <a:pt x="214" y="166"/>
                      </a:cubicBezTo>
                      <a:cubicBezTo>
                        <a:pt x="214" y="166"/>
                        <a:pt x="211" y="163"/>
                        <a:pt x="211" y="164"/>
                      </a:cubicBezTo>
                      <a:close/>
                      <a:moveTo>
                        <a:pt x="258" y="178"/>
                      </a:moveTo>
                      <a:cubicBezTo>
                        <a:pt x="258" y="178"/>
                        <a:pt x="258" y="178"/>
                        <a:pt x="258" y="178"/>
                      </a:cubicBezTo>
                      <a:cubicBezTo>
                        <a:pt x="260" y="180"/>
                        <a:pt x="260" y="180"/>
                        <a:pt x="260" y="180"/>
                      </a:cubicBezTo>
                      <a:cubicBezTo>
                        <a:pt x="260" y="180"/>
                        <a:pt x="263" y="179"/>
                        <a:pt x="265" y="178"/>
                      </a:cubicBezTo>
                      <a:cubicBezTo>
                        <a:pt x="267" y="178"/>
                        <a:pt x="265" y="176"/>
                        <a:pt x="265" y="176"/>
                      </a:cubicBezTo>
                      <a:cubicBezTo>
                        <a:pt x="262" y="176"/>
                        <a:pt x="262" y="176"/>
                        <a:pt x="262" y="176"/>
                      </a:cubicBezTo>
                      <a:cubicBezTo>
                        <a:pt x="262" y="176"/>
                        <a:pt x="258" y="177"/>
                        <a:pt x="258" y="178"/>
                      </a:cubicBezTo>
                      <a:close/>
                      <a:moveTo>
                        <a:pt x="238" y="73"/>
                      </a:moveTo>
                      <a:cubicBezTo>
                        <a:pt x="238" y="73"/>
                        <a:pt x="238" y="73"/>
                        <a:pt x="238" y="73"/>
                      </a:cubicBezTo>
                      <a:cubicBezTo>
                        <a:pt x="238" y="73"/>
                        <a:pt x="234" y="75"/>
                        <a:pt x="234" y="75"/>
                      </a:cubicBezTo>
                      <a:cubicBezTo>
                        <a:pt x="233" y="75"/>
                        <a:pt x="234" y="77"/>
                        <a:pt x="235" y="77"/>
                      </a:cubicBezTo>
                      <a:cubicBezTo>
                        <a:pt x="236" y="78"/>
                        <a:pt x="239" y="79"/>
                        <a:pt x="239" y="79"/>
                      </a:cubicBezTo>
                      <a:cubicBezTo>
                        <a:pt x="240" y="79"/>
                        <a:pt x="243" y="77"/>
                        <a:pt x="245" y="75"/>
                      </a:cubicBezTo>
                      <a:cubicBezTo>
                        <a:pt x="247" y="74"/>
                        <a:pt x="243" y="73"/>
                        <a:pt x="243" y="73"/>
                      </a:cubicBezTo>
                      <a:cubicBezTo>
                        <a:pt x="238" y="73"/>
                        <a:pt x="238" y="73"/>
                        <a:pt x="238" y="73"/>
                      </a:cubicBezTo>
                      <a:close/>
                      <a:moveTo>
                        <a:pt x="202" y="66"/>
                      </a:moveTo>
                      <a:cubicBezTo>
                        <a:pt x="202" y="66"/>
                        <a:pt x="202" y="66"/>
                        <a:pt x="202" y="66"/>
                      </a:cubicBezTo>
                      <a:cubicBezTo>
                        <a:pt x="202" y="66"/>
                        <a:pt x="198" y="66"/>
                        <a:pt x="197" y="66"/>
                      </a:cubicBezTo>
                      <a:cubicBezTo>
                        <a:pt x="197" y="66"/>
                        <a:pt x="196" y="67"/>
                        <a:pt x="195" y="68"/>
                      </a:cubicBezTo>
                      <a:cubicBezTo>
                        <a:pt x="194" y="69"/>
                        <a:pt x="194" y="71"/>
                        <a:pt x="193" y="73"/>
                      </a:cubicBezTo>
                      <a:cubicBezTo>
                        <a:pt x="193" y="75"/>
                        <a:pt x="194" y="75"/>
                        <a:pt x="194" y="75"/>
                      </a:cubicBezTo>
                      <a:cubicBezTo>
                        <a:pt x="195" y="76"/>
                        <a:pt x="195" y="76"/>
                        <a:pt x="197" y="78"/>
                      </a:cubicBezTo>
                      <a:cubicBezTo>
                        <a:pt x="199" y="79"/>
                        <a:pt x="201" y="77"/>
                        <a:pt x="203" y="76"/>
                      </a:cubicBezTo>
                      <a:cubicBezTo>
                        <a:pt x="206" y="75"/>
                        <a:pt x="204" y="74"/>
                        <a:pt x="205" y="72"/>
                      </a:cubicBezTo>
                      <a:cubicBezTo>
                        <a:pt x="205" y="71"/>
                        <a:pt x="204" y="68"/>
                        <a:pt x="204" y="68"/>
                      </a:cubicBezTo>
                      <a:cubicBezTo>
                        <a:pt x="204" y="67"/>
                        <a:pt x="202" y="66"/>
                        <a:pt x="202" y="66"/>
                      </a:cubicBezTo>
                      <a:close/>
                      <a:moveTo>
                        <a:pt x="236" y="103"/>
                      </a:moveTo>
                      <a:cubicBezTo>
                        <a:pt x="236" y="103"/>
                        <a:pt x="236" y="103"/>
                        <a:pt x="236" y="103"/>
                      </a:cubicBezTo>
                      <a:cubicBezTo>
                        <a:pt x="236" y="103"/>
                        <a:pt x="235" y="105"/>
                        <a:pt x="235" y="105"/>
                      </a:cubicBezTo>
                      <a:cubicBezTo>
                        <a:pt x="235" y="105"/>
                        <a:pt x="235" y="107"/>
                        <a:pt x="235" y="107"/>
                      </a:cubicBezTo>
                      <a:cubicBezTo>
                        <a:pt x="235" y="107"/>
                        <a:pt x="234" y="108"/>
                        <a:pt x="233" y="109"/>
                      </a:cubicBezTo>
                      <a:cubicBezTo>
                        <a:pt x="231" y="111"/>
                        <a:pt x="233" y="111"/>
                        <a:pt x="234" y="112"/>
                      </a:cubicBezTo>
                      <a:cubicBezTo>
                        <a:pt x="235" y="114"/>
                        <a:pt x="234" y="113"/>
                        <a:pt x="235" y="113"/>
                      </a:cubicBezTo>
                      <a:cubicBezTo>
                        <a:pt x="235" y="114"/>
                        <a:pt x="236" y="113"/>
                        <a:pt x="238" y="112"/>
                      </a:cubicBezTo>
                      <a:cubicBezTo>
                        <a:pt x="240" y="111"/>
                        <a:pt x="239" y="111"/>
                        <a:pt x="239" y="111"/>
                      </a:cubicBezTo>
                      <a:cubicBezTo>
                        <a:pt x="239" y="111"/>
                        <a:pt x="237" y="108"/>
                        <a:pt x="237" y="108"/>
                      </a:cubicBezTo>
                      <a:cubicBezTo>
                        <a:pt x="237" y="108"/>
                        <a:pt x="237" y="107"/>
                        <a:pt x="237" y="107"/>
                      </a:cubicBezTo>
                      <a:cubicBezTo>
                        <a:pt x="237" y="106"/>
                        <a:pt x="238" y="106"/>
                        <a:pt x="239" y="105"/>
                      </a:cubicBezTo>
                      <a:cubicBezTo>
                        <a:pt x="240" y="103"/>
                        <a:pt x="240" y="102"/>
                        <a:pt x="240" y="102"/>
                      </a:cubicBezTo>
                      <a:cubicBezTo>
                        <a:pt x="240" y="101"/>
                        <a:pt x="238" y="101"/>
                        <a:pt x="238" y="101"/>
                      </a:cubicBezTo>
                      <a:cubicBezTo>
                        <a:pt x="238" y="101"/>
                        <a:pt x="236" y="102"/>
                        <a:pt x="236" y="103"/>
                      </a:cubicBezTo>
                      <a:close/>
                      <a:moveTo>
                        <a:pt x="233" y="105"/>
                      </a:moveTo>
                      <a:cubicBezTo>
                        <a:pt x="233" y="105"/>
                        <a:pt x="233" y="105"/>
                        <a:pt x="233" y="105"/>
                      </a:cubicBezTo>
                      <a:cubicBezTo>
                        <a:pt x="232" y="103"/>
                        <a:pt x="232" y="103"/>
                        <a:pt x="232" y="103"/>
                      </a:cubicBezTo>
                      <a:cubicBezTo>
                        <a:pt x="232" y="103"/>
                        <a:pt x="231" y="102"/>
                        <a:pt x="228" y="102"/>
                      </a:cubicBezTo>
                      <a:cubicBezTo>
                        <a:pt x="226" y="102"/>
                        <a:pt x="226" y="103"/>
                        <a:pt x="224" y="103"/>
                      </a:cubicBezTo>
                      <a:cubicBezTo>
                        <a:pt x="222" y="103"/>
                        <a:pt x="222" y="105"/>
                        <a:pt x="222" y="106"/>
                      </a:cubicBezTo>
                      <a:cubicBezTo>
                        <a:pt x="221" y="108"/>
                        <a:pt x="222" y="107"/>
                        <a:pt x="223" y="108"/>
                      </a:cubicBezTo>
                      <a:cubicBezTo>
                        <a:pt x="224" y="109"/>
                        <a:pt x="223" y="109"/>
                        <a:pt x="224" y="112"/>
                      </a:cubicBezTo>
                      <a:cubicBezTo>
                        <a:pt x="224" y="114"/>
                        <a:pt x="225" y="113"/>
                        <a:pt x="225" y="113"/>
                      </a:cubicBezTo>
                      <a:cubicBezTo>
                        <a:pt x="226" y="114"/>
                        <a:pt x="227" y="113"/>
                        <a:pt x="229" y="112"/>
                      </a:cubicBezTo>
                      <a:cubicBezTo>
                        <a:pt x="231" y="110"/>
                        <a:pt x="229" y="110"/>
                        <a:pt x="229" y="110"/>
                      </a:cubicBezTo>
                      <a:cubicBezTo>
                        <a:pt x="229" y="110"/>
                        <a:pt x="231" y="109"/>
                        <a:pt x="233" y="107"/>
                      </a:cubicBezTo>
                      <a:cubicBezTo>
                        <a:pt x="234" y="105"/>
                        <a:pt x="233" y="105"/>
                        <a:pt x="233" y="105"/>
                      </a:cubicBezTo>
                      <a:close/>
                      <a:moveTo>
                        <a:pt x="284" y="139"/>
                      </a:moveTo>
                      <a:cubicBezTo>
                        <a:pt x="284" y="139"/>
                        <a:pt x="284" y="139"/>
                        <a:pt x="284" y="139"/>
                      </a:cubicBezTo>
                      <a:cubicBezTo>
                        <a:pt x="283" y="139"/>
                        <a:pt x="282" y="141"/>
                        <a:pt x="282" y="141"/>
                      </a:cubicBezTo>
                      <a:cubicBezTo>
                        <a:pt x="282" y="141"/>
                        <a:pt x="281" y="142"/>
                        <a:pt x="281" y="143"/>
                      </a:cubicBezTo>
                      <a:cubicBezTo>
                        <a:pt x="280" y="143"/>
                        <a:pt x="279" y="145"/>
                        <a:pt x="279" y="145"/>
                      </a:cubicBezTo>
                      <a:cubicBezTo>
                        <a:pt x="279" y="145"/>
                        <a:pt x="280" y="146"/>
                        <a:pt x="281" y="146"/>
                      </a:cubicBezTo>
                      <a:cubicBezTo>
                        <a:pt x="282" y="147"/>
                        <a:pt x="282" y="147"/>
                        <a:pt x="283" y="147"/>
                      </a:cubicBezTo>
                      <a:cubicBezTo>
                        <a:pt x="284" y="147"/>
                        <a:pt x="284" y="147"/>
                        <a:pt x="287" y="147"/>
                      </a:cubicBezTo>
                      <a:cubicBezTo>
                        <a:pt x="291" y="147"/>
                        <a:pt x="294" y="147"/>
                        <a:pt x="295" y="147"/>
                      </a:cubicBezTo>
                      <a:cubicBezTo>
                        <a:pt x="295" y="147"/>
                        <a:pt x="297" y="146"/>
                        <a:pt x="297" y="146"/>
                      </a:cubicBezTo>
                      <a:cubicBezTo>
                        <a:pt x="297" y="145"/>
                        <a:pt x="297" y="145"/>
                        <a:pt x="296" y="144"/>
                      </a:cubicBezTo>
                      <a:cubicBezTo>
                        <a:pt x="295" y="142"/>
                        <a:pt x="293" y="141"/>
                        <a:pt x="293" y="141"/>
                      </a:cubicBezTo>
                      <a:cubicBezTo>
                        <a:pt x="292" y="141"/>
                        <a:pt x="293" y="139"/>
                        <a:pt x="294" y="140"/>
                      </a:cubicBezTo>
                      <a:cubicBezTo>
                        <a:pt x="294" y="140"/>
                        <a:pt x="297" y="143"/>
                        <a:pt x="297" y="143"/>
                      </a:cubicBezTo>
                      <a:cubicBezTo>
                        <a:pt x="298" y="143"/>
                        <a:pt x="300" y="143"/>
                        <a:pt x="300" y="141"/>
                      </a:cubicBezTo>
                      <a:cubicBezTo>
                        <a:pt x="299" y="140"/>
                        <a:pt x="301" y="138"/>
                        <a:pt x="298" y="137"/>
                      </a:cubicBezTo>
                      <a:cubicBezTo>
                        <a:pt x="296" y="136"/>
                        <a:pt x="295" y="135"/>
                        <a:pt x="294" y="135"/>
                      </a:cubicBezTo>
                      <a:cubicBezTo>
                        <a:pt x="292" y="135"/>
                        <a:pt x="295" y="136"/>
                        <a:pt x="291" y="133"/>
                      </a:cubicBezTo>
                      <a:cubicBezTo>
                        <a:pt x="287" y="130"/>
                        <a:pt x="287" y="131"/>
                        <a:pt x="287" y="131"/>
                      </a:cubicBezTo>
                      <a:cubicBezTo>
                        <a:pt x="287" y="131"/>
                        <a:pt x="289" y="128"/>
                        <a:pt x="288" y="127"/>
                      </a:cubicBezTo>
                      <a:cubicBezTo>
                        <a:pt x="288" y="127"/>
                        <a:pt x="284" y="126"/>
                        <a:pt x="284" y="126"/>
                      </a:cubicBezTo>
                      <a:cubicBezTo>
                        <a:pt x="284" y="126"/>
                        <a:pt x="279" y="127"/>
                        <a:pt x="279" y="127"/>
                      </a:cubicBezTo>
                      <a:cubicBezTo>
                        <a:pt x="278" y="128"/>
                        <a:pt x="277" y="129"/>
                        <a:pt x="277" y="129"/>
                      </a:cubicBezTo>
                      <a:cubicBezTo>
                        <a:pt x="277" y="131"/>
                        <a:pt x="277" y="131"/>
                        <a:pt x="277" y="131"/>
                      </a:cubicBezTo>
                      <a:cubicBezTo>
                        <a:pt x="275" y="132"/>
                        <a:pt x="275" y="132"/>
                        <a:pt x="275" y="132"/>
                      </a:cubicBezTo>
                      <a:cubicBezTo>
                        <a:pt x="275" y="132"/>
                        <a:pt x="274" y="134"/>
                        <a:pt x="274" y="134"/>
                      </a:cubicBezTo>
                      <a:cubicBezTo>
                        <a:pt x="273" y="134"/>
                        <a:pt x="271" y="135"/>
                        <a:pt x="271" y="135"/>
                      </a:cubicBezTo>
                      <a:cubicBezTo>
                        <a:pt x="270" y="135"/>
                        <a:pt x="268" y="135"/>
                        <a:pt x="268" y="136"/>
                      </a:cubicBezTo>
                      <a:cubicBezTo>
                        <a:pt x="267" y="137"/>
                        <a:pt x="264" y="138"/>
                        <a:pt x="264" y="138"/>
                      </a:cubicBezTo>
                      <a:cubicBezTo>
                        <a:pt x="264" y="138"/>
                        <a:pt x="263" y="139"/>
                        <a:pt x="265" y="141"/>
                      </a:cubicBezTo>
                      <a:cubicBezTo>
                        <a:pt x="267" y="142"/>
                        <a:pt x="269" y="142"/>
                        <a:pt x="269" y="143"/>
                      </a:cubicBezTo>
                      <a:cubicBezTo>
                        <a:pt x="270" y="143"/>
                        <a:pt x="270" y="143"/>
                        <a:pt x="271" y="143"/>
                      </a:cubicBezTo>
                      <a:cubicBezTo>
                        <a:pt x="272" y="144"/>
                        <a:pt x="272" y="144"/>
                        <a:pt x="274" y="144"/>
                      </a:cubicBezTo>
                      <a:cubicBezTo>
                        <a:pt x="275" y="143"/>
                        <a:pt x="277" y="143"/>
                        <a:pt x="277" y="142"/>
                      </a:cubicBezTo>
                      <a:cubicBezTo>
                        <a:pt x="278" y="141"/>
                        <a:pt x="278" y="140"/>
                        <a:pt x="279" y="139"/>
                      </a:cubicBezTo>
                      <a:cubicBezTo>
                        <a:pt x="279" y="138"/>
                        <a:pt x="279" y="137"/>
                        <a:pt x="281" y="137"/>
                      </a:cubicBezTo>
                      <a:cubicBezTo>
                        <a:pt x="282" y="137"/>
                        <a:pt x="284" y="136"/>
                        <a:pt x="284" y="136"/>
                      </a:cubicBezTo>
                      <a:cubicBezTo>
                        <a:pt x="284" y="136"/>
                        <a:pt x="284" y="139"/>
                        <a:pt x="284" y="139"/>
                      </a:cubicBezTo>
                      <a:close/>
                      <a:moveTo>
                        <a:pt x="289" y="182"/>
                      </a:moveTo>
                      <a:cubicBezTo>
                        <a:pt x="289" y="182"/>
                        <a:pt x="289" y="182"/>
                        <a:pt x="289" y="182"/>
                      </a:cubicBezTo>
                      <a:cubicBezTo>
                        <a:pt x="288" y="181"/>
                        <a:pt x="288" y="181"/>
                        <a:pt x="288" y="181"/>
                      </a:cubicBezTo>
                      <a:cubicBezTo>
                        <a:pt x="288" y="180"/>
                        <a:pt x="288" y="180"/>
                        <a:pt x="288" y="180"/>
                      </a:cubicBezTo>
                      <a:cubicBezTo>
                        <a:pt x="285" y="177"/>
                        <a:pt x="285" y="177"/>
                        <a:pt x="285" y="177"/>
                      </a:cubicBezTo>
                      <a:cubicBezTo>
                        <a:pt x="285" y="177"/>
                        <a:pt x="289" y="176"/>
                        <a:pt x="291" y="175"/>
                      </a:cubicBezTo>
                      <a:cubicBezTo>
                        <a:pt x="294" y="174"/>
                        <a:pt x="291" y="173"/>
                        <a:pt x="291" y="172"/>
                      </a:cubicBezTo>
                      <a:cubicBezTo>
                        <a:pt x="291" y="172"/>
                        <a:pt x="290" y="172"/>
                        <a:pt x="288" y="172"/>
                      </a:cubicBezTo>
                      <a:cubicBezTo>
                        <a:pt x="287" y="172"/>
                        <a:pt x="286" y="172"/>
                        <a:pt x="284" y="173"/>
                      </a:cubicBezTo>
                      <a:cubicBezTo>
                        <a:pt x="283" y="173"/>
                        <a:pt x="282" y="171"/>
                        <a:pt x="282" y="171"/>
                      </a:cubicBezTo>
                      <a:cubicBezTo>
                        <a:pt x="281" y="171"/>
                        <a:pt x="277" y="171"/>
                        <a:pt x="276" y="171"/>
                      </a:cubicBezTo>
                      <a:cubicBezTo>
                        <a:pt x="276" y="171"/>
                        <a:pt x="275" y="173"/>
                        <a:pt x="274" y="174"/>
                      </a:cubicBezTo>
                      <a:cubicBezTo>
                        <a:pt x="273" y="175"/>
                        <a:pt x="272" y="176"/>
                        <a:pt x="271" y="176"/>
                      </a:cubicBezTo>
                      <a:cubicBezTo>
                        <a:pt x="270" y="177"/>
                        <a:pt x="274" y="179"/>
                        <a:pt x="275" y="179"/>
                      </a:cubicBezTo>
                      <a:cubicBezTo>
                        <a:pt x="275" y="180"/>
                        <a:pt x="278" y="180"/>
                        <a:pt x="278" y="181"/>
                      </a:cubicBezTo>
                      <a:cubicBezTo>
                        <a:pt x="279" y="181"/>
                        <a:pt x="282" y="183"/>
                        <a:pt x="283" y="183"/>
                      </a:cubicBezTo>
                      <a:cubicBezTo>
                        <a:pt x="284" y="184"/>
                        <a:pt x="282" y="185"/>
                        <a:pt x="281" y="187"/>
                      </a:cubicBezTo>
                      <a:cubicBezTo>
                        <a:pt x="280" y="189"/>
                        <a:pt x="279" y="189"/>
                        <a:pt x="278" y="190"/>
                      </a:cubicBezTo>
                      <a:cubicBezTo>
                        <a:pt x="277" y="191"/>
                        <a:pt x="279" y="192"/>
                        <a:pt x="280" y="193"/>
                      </a:cubicBezTo>
                      <a:cubicBezTo>
                        <a:pt x="281" y="194"/>
                        <a:pt x="283" y="195"/>
                        <a:pt x="283" y="195"/>
                      </a:cubicBezTo>
                      <a:cubicBezTo>
                        <a:pt x="284" y="195"/>
                        <a:pt x="287" y="193"/>
                        <a:pt x="287" y="193"/>
                      </a:cubicBezTo>
                      <a:cubicBezTo>
                        <a:pt x="287" y="193"/>
                        <a:pt x="288" y="190"/>
                        <a:pt x="288" y="190"/>
                      </a:cubicBezTo>
                      <a:cubicBezTo>
                        <a:pt x="288" y="189"/>
                        <a:pt x="289" y="187"/>
                        <a:pt x="289" y="187"/>
                      </a:cubicBezTo>
                      <a:cubicBezTo>
                        <a:pt x="290" y="186"/>
                        <a:pt x="290" y="186"/>
                        <a:pt x="290" y="186"/>
                      </a:cubicBezTo>
                      <a:cubicBezTo>
                        <a:pt x="289" y="182"/>
                        <a:pt x="289" y="182"/>
                        <a:pt x="289" y="182"/>
                      </a:cubicBezTo>
                      <a:close/>
                      <a:moveTo>
                        <a:pt x="316" y="209"/>
                      </a:moveTo>
                      <a:cubicBezTo>
                        <a:pt x="316" y="209"/>
                        <a:pt x="316" y="209"/>
                        <a:pt x="316" y="209"/>
                      </a:cubicBezTo>
                      <a:cubicBezTo>
                        <a:pt x="317" y="208"/>
                        <a:pt x="319" y="206"/>
                        <a:pt x="319" y="205"/>
                      </a:cubicBezTo>
                      <a:cubicBezTo>
                        <a:pt x="319" y="205"/>
                        <a:pt x="321" y="205"/>
                        <a:pt x="322" y="205"/>
                      </a:cubicBezTo>
                      <a:cubicBezTo>
                        <a:pt x="322" y="205"/>
                        <a:pt x="326" y="206"/>
                        <a:pt x="326" y="206"/>
                      </a:cubicBezTo>
                      <a:cubicBezTo>
                        <a:pt x="326" y="206"/>
                        <a:pt x="329" y="206"/>
                        <a:pt x="329" y="206"/>
                      </a:cubicBezTo>
                      <a:cubicBezTo>
                        <a:pt x="329" y="206"/>
                        <a:pt x="332" y="204"/>
                        <a:pt x="332" y="204"/>
                      </a:cubicBezTo>
                      <a:cubicBezTo>
                        <a:pt x="333" y="204"/>
                        <a:pt x="336" y="207"/>
                        <a:pt x="336" y="207"/>
                      </a:cubicBezTo>
                      <a:cubicBezTo>
                        <a:pt x="336" y="207"/>
                        <a:pt x="334" y="210"/>
                        <a:pt x="333" y="210"/>
                      </a:cubicBezTo>
                      <a:cubicBezTo>
                        <a:pt x="332" y="211"/>
                        <a:pt x="331" y="211"/>
                        <a:pt x="330" y="212"/>
                      </a:cubicBezTo>
                      <a:cubicBezTo>
                        <a:pt x="329" y="214"/>
                        <a:pt x="329" y="214"/>
                        <a:pt x="329" y="215"/>
                      </a:cubicBezTo>
                      <a:cubicBezTo>
                        <a:pt x="328" y="215"/>
                        <a:pt x="327" y="217"/>
                        <a:pt x="325" y="215"/>
                      </a:cubicBezTo>
                      <a:cubicBezTo>
                        <a:pt x="323" y="214"/>
                        <a:pt x="321" y="212"/>
                        <a:pt x="321" y="212"/>
                      </a:cubicBezTo>
                      <a:cubicBezTo>
                        <a:pt x="321" y="212"/>
                        <a:pt x="319" y="213"/>
                        <a:pt x="318" y="213"/>
                      </a:cubicBezTo>
                      <a:cubicBezTo>
                        <a:pt x="317" y="214"/>
                        <a:pt x="315" y="213"/>
                        <a:pt x="315" y="213"/>
                      </a:cubicBezTo>
                      <a:cubicBezTo>
                        <a:pt x="316" y="212"/>
                        <a:pt x="315" y="210"/>
                        <a:pt x="316" y="209"/>
                      </a:cubicBezTo>
                      <a:close/>
                      <a:moveTo>
                        <a:pt x="295" y="229"/>
                      </a:moveTo>
                      <a:cubicBezTo>
                        <a:pt x="295" y="229"/>
                        <a:pt x="295" y="229"/>
                        <a:pt x="295" y="229"/>
                      </a:cubicBezTo>
                      <a:cubicBezTo>
                        <a:pt x="295" y="229"/>
                        <a:pt x="291" y="227"/>
                        <a:pt x="292" y="226"/>
                      </a:cubicBezTo>
                      <a:cubicBezTo>
                        <a:pt x="293" y="224"/>
                        <a:pt x="297" y="220"/>
                        <a:pt x="298" y="219"/>
                      </a:cubicBezTo>
                      <a:cubicBezTo>
                        <a:pt x="298" y="219"/>
                        <a:pt x="301" y="220"/>
                        <a:pt x="301" y="220"/>
                      </a:cubicBezTo>
                      <a:cubicBezTo>
                        <a:pt x="302" y="220"/>
                        <a:pt x="303" y="217"/>
                        <a:pt x="304" y="217"/>
                      </a:cubicBezTo>
                      <a:cubicBezTo>
                        <a:pt x="304" y="217"/>
                        <a:pt x="308" y="217"/>
                        <a:pt x="308" y="217"/>
                      </a:cubicBezTo>
                      <a:cubicBezTo>
                        <a:pt x="308" y="217"/>
                        <a:pt x="306" y="221"/>
                        <a:pt x="304" y="222"/>
                      </a:cubicBezTo>
                      <a:cubicBezTo>
                        <a:pt x="302" y="223"/>
                        <a:pt x="301" y="223"/>
                        <a:pt x="301" y="224"/>
                      </a:cubicBezTo>
                      <a:cubicBezTo>
                        <a:pt x="300" y="225"/>
                        <a:pt x="299" y="226"/>
                        <a:pt x="299" y="227"/>
                      </a:cubicBezTo>
                      <a:cubicBezTo>
                        <a:pt x="298" y="227"/>
                        <a:pt x="295" y="229"/>
                        <a:pt x="295" y="229"/>
                      </a:cubicBezTo>
                      <a:close/>
                      <a:moveTo>
                        <a:pt x="282" y="268"/>
                      </a:moveTo>
                      <a:cubicBezTo>
                        <a:pt x="282" y="268"/>
                        <a:pt x="282" y="268"/>
                        <a:pt x="282" y="268"/>
                      </a:cubicBezTo>
                      <a:cubicBezTo>
                        <a:pt x="283" y="269"/>
                        <a:pt x="281" y="273"/>
                        <a:pt x="278" y="271"/>
                      </a:cubicBezTo>
                      <a:cubicBezTo>
                        <a:pt x="278" y="271"/>
                        <a:pt x="277" y="269"/>
                        <a:pt x="279" y="268"/>
                      </a:cubicBezTo>
                      <a:cubicBezTo>
                        <a:pt x="280" y="268"/>
                        <a:pt x="282" y="268"/>
                        <a:pt x="282" y="268"/>
                      </a:cubicBezTo>
                      <a:close/>
                      <a:moveTo>
                        <a:pt x="279" y="292"/>
                      </a:moveTo>
                      <a:cubicBezTo>
                        <a:pt x="279" y="292"/>
                        <a:pt x="279" y="292"/>
                        <a:pt x="279" y="292"/>
                      </a:cubicBezTo>
                      <a:cubicBezTo>
                        <a:pt x="279" y="292"/>
                        <a:pt x="281" y="290"/>
                        <a:pt x="281" y="290"/>
                      </a:cubicBezTo>
                      <a:cubicBezTo>
                        <a:pt x="282" y="290"/>
                        <a:pt x="283" y="291"/>
                        <a:pt x="283" y="291"/>
                      </a:cubicBezTo>
                      <a:cubicBezTo>
                        <a:pt x="283" y="291"/>
                        <a:pt x="286" y="293"/>
                        <a:pt x="286" y="293"/>
                      </a:cubicBezTo>
                      <a:cubicBezTo>
                        <a:pt x="286" y="294"/>
                        <a:pt x="287" y="296"/>
                        <a:pt x="286" y="296"/>
                      </a:cubicBezTo>
                      <a:cubicBezTo>
                        <a:pt x="285" y="297"/>
                        <a:pt x="284" y="298"/>
                        <a:pt x="283" y="297"/>
                      </a:cubicBezTo>
                      <a:cubicBezTo>
                        <a:pt x="282" y="297"/>
                        <a:pt x="281" y="297"/>
                        <a:pt x="281" y="296"/>
                      </a:cubicBezTo>
                      <a:cubicBezTo>
                        <a:pt x="281" y="295"/>
                        <a:pt x="281" y="295"/>
                        <a:pt x="281" y="294"/>
                      </a:cubicBezTo>
                      <a:cubicBezTo>
                        <a:pt x="281" y="294"/>
                        <a:pt x="279" y="294"/>
                        <a:pt x="279" y="294"/>
                      </a:cubicBezTo>
                      <a:cubicBezTo>
                        <a:pt x="279" y="292"/>
                        <a:pt x="279" y="292"/>
                        <a:pt x="279" y="292"/>
                      </a:cubicBezTo>
                      <a:close/>
                      <a:moveTo>
                        <a:pt x="238" y="279"/>
                      </a:moveTo>
                      <a:cubicBezTo>
                        <a:pt x="238" y="279"/>
                        <a:pt x="238" y="279"/>
                        <a:pt x="238" y="279"/>
                      </a:cubicBezTo>
                      <a:cubicBezTo>
                        <a:pt x="239" y="279"/>
                        <a:pt x="241" y="278"/>
                        <a:pt x="241" y="279"/>
                      </a:cubicBezTo>
                      <a:cubicBezTo>
                        <a:pt x="242" y="280"/>
                        <a:pt x="243" y="280"/>
                        <a:pt x="243" y="281"/>
                      </a:cubicBezTo>
                      <a:cubicBezTo>
                        <a:pt x="243" y="281"/>
                        <a:pt x="244" y="282"/>
                        <a:pt x="242" y="283"/>
                      </a:cubicBezTo>
                      <a:cubicBezTo>
                        <a:pt x="240" y="283"/>
                        <a:pt x="239" y="283"/>
                        <a:pt x="239" y="283"/>
                      </a:cubicBezTo>
                      <a:cubicBezTo>
                        <a:pt x="240" y="286"/>
                        <a:pt x="240" y="286"/>
                        <a:pt x="240" y="286"/>
                      </a:cubicBezTo>
                      <a:cubicBezTo>
                        <a:pt x="240" y="286"/>
                        <a:pt x="242" y="286"/>
                        <a:pt x="239" y="288"/>
                      </a:cubicBezTo>
                      <a:cubicBezTo>
                        <a:pt x="237" y="290"/>
                        <a:pt x="235" y="290"/>
                        <a:pt x="235" y="290"/>
                      </a:cubicBezTo>
                      <a:cubicBezTo>
                        <a:pt x="235" y="289"/>
                        <a:pt x="235" y="289"/>
                        <a:pt x="235" y="289"/>
                      </a:cubicBezTo>
                      <a:cubicBezTo>
                        <a:pt x="232" y="290"/>
                        <a:pt x="232" y="290"/>
                        <a:pt x="232" y="290"/>
                      </a:cubicBezTo>
                      <a:cubicBezTo>
                        <a:pt x="232" y="290"/>
                        <a:pt x="231" y="291"/>
                        <a:pt x="231" y="290"/>
                      </a:cubicBezTo>
                      <a:cubicBezTo>
                        <a:pt x="230" y="288"/>
                        <a:pt x="229" y="286"/>
                        <a:pt x="231" y="286"/>
                      </a:cubicBezTo>
                      <a:cubicBezTo>
                        <a:pt x="233" y="285"/>
                        <a:pt x="233" y="284"/>
                        <a:pt x="234" y="285"/>
                      </a:cubicBezTo>
                      <a:cubicBezTo>
                        <a:pt x="235" y="286"/>
                        <a:pt x="235" y="287"/>
                        <a:pt x="235" y="287"/>
                      </a:cubicBezTo>
                      <a:cubicBezTo>
                        <a:pt x="236" y="284"/>
                        <a:pt x="236" y="284"/>
                        <a:pt x="236" y="284"/>
                      </a:cubicBezTo>
                      <a:cubicBezTo>
                        <a:pt x="236" y="284"/>
                        <a:pt x="235" y="284"/>
                        <a:pt x="235" y="283"/>
                      </a:cubicBezTo>
                      <a:cubicBezTo>
                        <a:pt x="236" y="282"/>
                        <a:pt x="236" y="282"/>
                        <a:pt x="237" y="281"/>
                      </a:cubicBezTo>
                      <a:cubicBezTo>
                        <a:pt x="238" y="281"/>
                        <a:pt x="239" y="282"/>
                        <a:pt x="239" y="282"/>
                      </a:cubicBezTo>
                      <a:cubicBezTo>
                        <a:pt x="238" y="279"/>
                        <a:pt x="238" y="279"/>
                        <a:pt x="238" y="279"/>
                      </a:cubicBezTo>
                      <a:close/>
                      <a:moveTo>
                        <a:pt x="258" y="286"/>
                      </a:moveTo>
                      <a:cubicBezTo>
                        <a:pt x="258" y="286"/>
                        <a:pt x="258" y="286"/>
                        <a:pt x="258" y="286"/>
                      </a:cubicBezTo>
                      <a:cubicBezTo>
                        <a:pt x="258" y="286"/>
                        <a:pt x="259" y="286"/>
                        <a:pt x="259" y="287"/>
                      </a:cubicBezTo>
                      <a:cubicBezTo>
                        <a:pt x="260" y="288"/>
                        <a:pt x="260" y="288"/>
                        <a:pt x="259" y="288"/>
                      </a:cubicBezTo>
                      <a:cubicBezTo>
                        <a:pt x="259" y="288"/>
                        <a:pt x="256" y="288"/>
                        <a:pt x="256" y="288"/>
                      </a:cubicBezTo>
                      <a:cubicBezTo>
                        <a:pt x="256" y="288"/>
                        <a:pt x="255" y="289"/>
                        <a:pt x="255" y="287"/>
                      </a:cubicBezTo>
                      <a:cubicBezTo>
                        <a:pt x="255" y="286"/>
                        <a:pt x="255" y="285"/>
                        <a:pt x="255" y="285"/>
                      </a:cubicBezTo>
                      <a:cubicBezTo>
                        <a:pt x="258" y="286"/>
                        <a:pt x="258" y="286"/>
                        <a:pt x="258" y="286"/>
                      </a:cubicBezTo>
                      <a:close/>
                      <a:moveTo>
                        <a:pt x="265" y="282"/>
                      </a:moveTo>
                      <a:cubicBezTo>
                        <a:pt x="265" y="282"/>
                        <a:pt x="265" y="282"/>
                        <a:pt x="265" y="282"/>
                      </a:cubicBezTo>
                      <a:cubicBezTo>
                        <a:pt x="269" y="279"/>
                        <a:pt x="269" y="279"/>
                        <a:pt x="269" y="279"/>
                      </a:cubicBezTo>
                      <a:cubicBezTo>
                        <a:pt x="269" y="279"/>
                        <a:pt x="270" y="282"/>
                        <a:pt x="268" y="283"/>
                      </a:cubicBezTo>
                      <a:cubicBezTo>
                        <a:pt x="267" y="284"/>
                        <a:pt x="266" y="284"/>
                        <a:pt x="266" y="284"/>
                      </a:cubicBezTo>
                      <a:cubicBezTo>
                        <a:pt x="264" y="283"/>
                        <a:pt x="264" y="283"/>
                        <a:pt x="264" y="283"/>
                      </a:cubicBezTo>
                      <a:cubicBezTo>
                        <a:pt x="265" y="282"/>
                        <a:pt x="265" y="282"/>
                        <a:pt x="265" y="282"/>
                      </a:cubicBezTo>
                      <a:close/>
                      <a:moveTo>
                        <a:pt x="273" y="275"/>
                      </a:moveTo>
                      <a:cubicBezTo>
                        <a:pt x="273" y="275"/>
                        <a:pt x="273" y="275"/>
                        <a:pt x="273" y="275"/>
                      </a:cubicBezTo>
                      <a:cubicBezTo>
                        <a:pt x="273" y="275"/>
                        <a:pt x="272" y="278"/>
                        <a:pt x="273" y="280"/>
                      </a:cubicBezTo>
                      <a:cubicBezTo>
                        <a:pt x="273" y="281"/>
                        <a:pt x="273" y="281"/>
                        <a:pt x="274" y="281"/>
                      </a:cubicBezTo>
                      <a:cubicBezTo>
                        <a:pt x="275" y="282"/>
                        <a:pt x="276" y="282"/>
                        <a:pt x="277" y="281"/>
                      </a:cubicBezTo>
                      <a:cubicBezTo>
                        <a:pt x="278" y="281"/>
                        <a:pt x="278" y="278"/>
                        <a:pt x="278" y="278"/>
                      </a:cubicBezTo>
                      <a:cubicBezTo>
                        <a:pt x="278" y="278"/>
                        <a:pt x="278" y="277"/>
                        <a:pt x="277" y="275"/>
                      </a:cubicBezTo>
                      <a:cubicBezTo>
                        <a:pt x="276" y="272"/>
                        <a:pt x="274" y="275"/>
                        <a:pt x="273" y="275"/>
                      </a:cubicBezTo>
                      <a:close/>
                      <a:moveTo>
                        <a:pt x="274" y="259"/>
                      </a:moveTo>
                      <a:cubicBezTo>
                        <a:pt x="274" y="259"/>
                        <a:pt x="274" y="259"/>
                        <a:pt x="274" y="259"/>
                      </a:cubicBezTo>
                      <a:cubicBezTo>
                        <a:pt x="274" y="258"/>
                        <a:pt x="274" y="255"/>
                        <a:pt x="275" y="254"/>
                      </a:cubicBezTo>
                      <a:cubicBezTo>
                        <a:pt x="276" y="254"/>
                        <a:pt x="276" y="253"/>
                        <a:pt x="277" y="252"/>
                      </a:cubicBezTo>
                      <a:cubicBezTo>
                        <a:pt x="277" y="251"/>
                        <a:pt x="281" y="251"/>
                        <a:pt x="281" y="251"/>
                      </a:cubicBezTo>
                      <a:cubicBezTo>
                        <a:pt x="282" y="253"/>
                        <a:pt x="282" y="253"/>
                        <a:pt x="282" y="253"/>
                      </a:cubicBezTo>
                      <a:cubicBezTo>
                        <a:pt x="282" y="253"/>
                        <a:pt x="282" y="255"/>
                        <a:pt x="282" y="256"/>
                      </a:cubicBezTo>
                      <a:cubicBezTo>
                        <a:pt x="282" y="257"/>
                        <a:pt x="282" y="257"/>
                        <a:pt x="283" y="259"/>
                      </a:cubicBezTo>
                      <a:cubicBezTo>
                        <a:pt x="283" y="260"/>
                        <a:pt x="282" y="262"/>
                        <a:pt x="282" y="263"/>
                      </a:cubicBezTo>
                      <a:cubicBezTo>
                        <a:pt x="281" y="264"/>
                        <a:pt x="281" y="265"/>
                        <a:pt x="280" y="265"/>
                      </a:cubicBezTo>
                      <a:cubicBezTo>
                        <a:pt x="279" y="266"/>
                        <a:pt x="279" y="267"/>
                        <a:pt x="278" y="266"/>
                      </a:cubicBezTo>
                      <a:cubicBezTo>
                        <a:pt x="277" y="265"/>
                        <a:pt x="274" y="264"/>
                        <a:pt x="274" y="263"/>
                      </a:cubicBezTo>
                      <a:cubicBezTo>
                        <a:pt x="274" y="263"/>
                        <a:pt x="274" y="261"/>
                        <a:pt x="274" y="261"/>
                      </a:cubicBezTo>
                      <a:cubicBezTo>
                        <a:pt x="274" y="259"/>
                        <a:pt x="274" y="259"/>
                        <a:pt x="274" y="259"/>
                      </a:cubicBezTo>
                      <a:close/>
                      <a:moveTo>
                        <a:pt x="262" y="264"/>
                      </a:moveTo>
                      <a:cubicBezTo>
                        <a:pt x="262" y="264"/>
                        <a:pt x="262" y="264"/>
                        <a:pt x="262" y="264"/>
                      </a:cubicBezTo>
                      <a:cubicBezTo>
                        <a:pt x="262" y="263"/>
                        <a:pt x="263" y="259"/>
                        <a:pt x="263" y="259"/>
                      </a:cubicBezTo>
                      <a:cubicBezTo>
                        <a:pt x="263" y="259"/>
                        <a:pt x="263" y="257"/>
                        <a:pt x="265" y="256"/>
                      </a:cubicBezTo>
                      <a:cubicBezTo>
                        <a:pt x="266" y="256"/>
                        <a:pt x="266" y="255"/>
                        <a:pt x="267" y="256"/>
                      </a:cubicBezTo>
                      <a:cubicBezTo>
                        <a:pt x="268" y="257"/>
                        <a:pt x="269" y="258"/>
                        <a:pt x="269" y="258"/>
                      </a:cubicBezTo>
                      <a:cubicBezTo>
                        <a:pt x="269" y="258"/>
                        <a:pt x="268" y="258"/>
                        <a:pt x="268" y="259"/>
                      </a:cubicBezTo>
                      <a:cubicBezTo>
                        <a:pt x="268" y="259"/>
                        <a:pt x="269" y="261"/>
                        <a:pt x="269" y="261"/>
                      </a:cubicBezTo>
                      <a:cubicBezTo>
                        <a:pt x="268" y="262"/>
                        <a:pt x="267" y="263"/>
                        <a:pt x="266" y="264"/>
                      </a:cubicBezTo>
                      <a:cubicBezTo>
                        <a:pt x="266" y="265"/>
                        <a:pt x="264" y="266"/>
                        <a:pt x="264" y="266"/>
                      </a:cubicBezTo>
                      <a:cubicBezTo>
                        <a:pt x="261" y="268"/>
                        <a:pt x="261" y="268"/>
                        <a:pt x="261" y="268"/>
                      </a:cubicBezTo>
                      <a:cubicBezTo>
                        <a:pt x="261" y="269"/>
                        <a:pt x="261" y="269"/>
                        <a:pt x="261" y="269"/>
                      </a:cubicBezTo>
                      <a:cubicBezTo>
                        <a:pt x="260" y="269"/>
                        <a:pt x="260" y="269"/>
                        <a:pt x="260" y="269"/>
                      </a:cubicBezTo>
                      <a:cubicBezTo>
                        <a:pt x="258" y="266"/>
                        <a:pt x="258" y="266"/>
                        <a:pt x="258" y="266"/>
                      </a:cubicBezTo>
                      <a:cubicBezTo>
                        <a:pt x="261" y="264"/>
                        <a:pt x="261" y="264"/>
                        <a:pt x="261" y="264"/>
                      </a:cubicBezTo>
                      <a:cubicBezTo>
                        <a:pt x="262" y="264"/>
                        <a:pt x="262" y="264"/>
                        <a:pt x="262" y="264"/>
                      </a:cubicBezTo>
                      <a:close/>
                      <a:moveTo>
                        <a:pt x="242" y="268"/>
                      </a:moveTo>
                      <a:cubicBezTo>
                        <a:pt x="242" y="268"/>
                        <a:pt x="242" y="268"/>
                        <a:pt x="242" y="268"/>
                      </a:cubicBezTo>
                      <a:cubicBezTo>
                        <a:pt x="245" y="267"/>
                        <a:pt x="245" y="267"/>
                        <a:pt x="245" y="267"/>
                      </a:cubicBezTo>
                      <a:cubicBezTo>
                        <a:pt x="248" y="269"/>
                        <a:pt x="248" y="269"/>
                        <a:pt x="248" y="269"/>
                      </a:cubicBezTo>
                      <a:cubicBezTo>
                        <a:pt x="248" y="272"/>
                        <a:pt x="248" y="272"/>
                        <a:pt x="248" y="272"/>
                      </a:cubicBezTo>
                      <a:cubicBezTo>
                        <a:pt x="248" y="272"/>
                        <a:pt x="246" y="276"/>
                        <a:pt x="245" y="275"/>
                      </a:cubicBezTo>
                      <a:cubicBezTo>
                        <a:pt x="244" y="273"/>
                        <a:pt x="244" y="271"/>
                        <a:pt x="244" y="271"/>
                      </a:cubicBezTo>
                      <a:cubicBezTo>
                        <a:pt x="242" y="268"/>
                        <a:pt x="242" y="268"/>
                        <a:pt x="242" y="268"/>
                      </a:cubicBezTo>
                      <a:close/>
                      <a:moveTo>
                        <a:pt x="229" y="260"/>
                      </a:moveTo>
                      <a:cubicBezTo>
                        <a:pt x="229" y="260"/>
                        <a:pt x="229" y="260"/>
                        <a:pt x="229" y="260"/>
                      </a:cubicBezTo>
                      <a:cubicBezTo>
                        <a:pt x="229" y="260"/>
                        <a:pt x="234" y="259"/>
                        <a:pt x="234" y="260"/>
                      </a:cubicBezTo>
                      <a:cubicBezTo>
                        <a:pt x="234" y="260"/>
                        <a:pt x="234" y="262"/>
                        <a:pt x="235" y="262"/>
                      </a:cubicBezTo>
                      <a:cubicBezTo>
                        <a:pt x="235" y="263"/>
                        <a:pt x="232" y="266"/>
                        <a:pt x="231" y="266"/>
                      </a:cubicBezTo>
                      <a:cubicBezTo>
                        <a:pt x="231" y="266"/>
                        <a:pt x="230" y="265"/>
                        <a:pt x="230" y="265"/>
                      </a:cubicBezTo>
                      <a:cubicBezTo>
                        <a:pt x="229" y="260"/>
                        <a:pt x="229" y="260"/>
                        <a:pt x="229" y="260"/>
                      </a:cubicBezTo>
                      <a:close/>
                      <a:moveTo>
                        <a:pt x="225" y="247"/>
                      </a:moveTo>
                      <a:cubicBezTo>
                        <a:pt x="225" y="247"/>
                        <a:pt x="225" y="247"/>
                        <a:pt x="225" y="247"/>
                      </a:cubicBezTo>
                      <a:cubicBezTo>
                        <a:pt x="225" y="247"/>
                        <a:pt x="226" y="246"/>
                        <a:pt x="227" y="246"/>
                      </a:cubicBezTo>
                      <a:cubicBezTo>
                        <a:pt x="228" y="247"/>
                        <a:pt x="228" y="250"/>
                        <a:pt x="228" y="250"/>
                      </a:cubicBezTo>
                      <a:cubicBezTo>
                        <a:pt x="227" y="253"/>
                        <a:pt x="227" y="253"/>
                        <a:pt x="227" y="253"/>
                      </a:cubicBezTo>
                      <a:cubicBezTo>
                        <a:pt x="227" y="253"/>
                        <a:pt x="225" y="256"/>
                        <a:pt x="225" y="256"/>
                      </a:cubicBezTo>
                      <a:cubicBezTo>
                        <a:pt x="225" y="255"/>
                        <a:pt x="224" y="250"/>
                        <a:pt x="224" y="250"/>
                      </a:cubicBezTo>
                      <a:cubicBezTo>
                        <a:pt x="225" y="247"/>
                        <a:pt x="225" y="247"/>
                        <a:pt x="225" y="247"/>
                      </a:cubicBezTo>
                      <a:close/>
                      <a:moveTo>
                        <a:pt x="219" y="239"/>
                      </a:moveTo>
                      <a:cubicBezTo>
                        <a:pt x="219" y="239"/>
                        <a:pt x="219" y="239"/>
                        <a:pt x="219" y="239"/>
                      </a:cubicBezTo>
                      <a:cubicBezTo>
                        <a:pt x="219" y="239"/>
                        <a:pt x="218" y="242"/>
                        <a:pt x="218" y="243"/>
                      </a:cubicBezTo>
                      <a:cubicBezTo>
                        <a:pt x="218" y="243"/>
                        <a:pt x="219" y="245"/>
                        <a:pt x="219" y="245"/>
                      </a:cubicBezTo>
                      <a:cubicBezTo>
                        <a:pt x="219" y="246"/>
                        <a:pt x="219" y="245"/>
                        <a:pt x="220" y="244"/>
                      </a:cubicBezTo>
                      <a:cubicBezTo>
                        <a:pt x="221" y="243"/>
                        <a:pt x="221" y="242"/>
                        <a:pt x="221" y="242"/>
                      </a:cubicBezTo>
                      <a:cubicBezTo>
                        <a:pt x="221" y="242"/>
                        <a:pt x="223" y="241"/>
                        <a:pt x="223" y="240"/>
                      </a:cubicBezTo>
                      <a:cubicBezTo>
                        <a:pt x="224" y="240"/>
                        <a:pt x="224" y="237"/>
                        <a:pt x="224" y="237"/>
                      </a:cubicBezTo>
                      <a:cubicBezTo>
                        <a:pt x="224" y="237"/>
                        <a:pt x="221" y="235"/>
                        <a:pt x="221" y="236"/>
                      </a:cubicBezTo>
                      <a:cubicBezTo>
                        <a:pt x="220" y="236"/>
                        <a:pt x="219" y="239"/>
                        <a:pt x="219" y="239"/>
                      </a:cubicBezTo>
                      <a:close/>
                      <a:moveTo>
                        <a:pt x="233" y="237"/>
                      </a:moveTo>
                      <a:cubicBezTo>
                        <a:pt x="233" y="237"/>
                        <a:pt x="233" y="237"/>
                        <a:pt x="233" y="237"/>
                      </a:cubicBezTo>
                      <a:cubicBezTo>
                        <a:pt x="234" y="237"/>
                        <a:pt x="234" y="237"/>
                        <a:pt x="234" y="237"/>
                      </a:cubicBezTo>
                      <a:cubicBezTo>
                        <a:pt x="234" y="238"/>
                        <a:pt x="234" y="238"/>
                        <a:pt x="234" y="238"/>
                      </a:cubicBezTo>
                      <a:cubicBezTo>
                        <a:pt x="234" y="238"/>
                        <a:pt x="237" y="237"/>
                        <a:pt x="238" y="237"/>
                      </a:cubicBezTo>
                      <a:cubicBezTo>
                        <a:pt x="239" y="236"/>
                        <a:pt x="238" y="235"/>
                        <a:pt x="238" y="234"/>
                      </a:cubicBezTo>
                      <a:cubicBezTo>
                        <a:pt x="237" y="233"/>
                        <a:pt x="233" y="237"/>
                        <a:pt x="233" y="237"/>
                      </a:cubicBezTo>
                      <a:close/>
                      <a:moveTo>
                        <a:pt x="247" y="241"/>
                      </a:moveTo>
                      <a:cubicBezTo>
                        <a:pt x="247" y="241"/>
                        <a:pt x="247" y="241"/>
                        <a:pt x="247" y="241"/>
                      </a:cubicBezTo>
                      <a:cubicBezTo>
                        <a:pt x="245" y="240"/>
                        <a:pt x="245" y="240"/>
                        <a:pt x="245" y="240"/>
                      </a:cubicBezTo>
                      <a:cubicBezTo>
                        <a:pt x="245" y="242"/>
                        <a:pt x="245" y="242"/>
                        <a:pt x="245" y="242"/>
                      </a:cubicBezTo>
                      <a:cubicBezTo>
                        <a:pt x="245" y="242"/>
                        <a:pt x="246" y="244"/>
                        <a:pt x="247" y="245"/>
                      </a:cubicBezTo>
                      <a:cubicBezTo>
                        <a:pt x="247" y="245"/>
                        <a:pt x="245" y="247"/>
                        <a:pt x="245" y="247"/>
                      </a:cubicBezTo>
                      <a:cubicBezTo>
                        <a:pt x="247" y="250"/>
                        <a:pt x="247" y="250"/>
                        <a:pt x="247" y="250"/>
                      </a:cubicBezTo>
                      <a:cubicBezTo>
                        <a:pt x="250" y="245"/>
                        <a:pt x="250" y="245"/>
                        <a:pt x="250" y="245"/>
                      </a:cubicBezTo>
                      <a:cubicBezTo>
                        <a:pt x="250" y="245"/>
                        <a:pt x="249" y="243"/>
                        <a:pt x="249" y="243"/>
                      </a:cubicBezTo>
                      <a:cubicBezTo>
                        <a:pt x="249" y="242"/>
                        <a:pt x="247" y="241"/>
                        <a:pt x="247" y="241"/>
                      </a:cubicBezTo>
                      <a:close/>
                      <a:moveTo>
                        <a:pt x="261" y="241"/>
                      </a:moveTo>
                      <a:cubicBezTo>
                        <a:pt x="261" y="241"/>
                        <a:pt x="261" y="241"/>
                        <a:pt x="261" y="241"/>
                      </a:cubicBezTo>
                      <a:cubicBezTo>
                        <a:pt x="262" y="243"/>
                        <a:pt x="262" y="243"/>
                        <a:pt x="262" y="243"/>
                      </a:cubicBezTo>
                      <a:cubicBezTo>
                        <a:pt x="262" y="243"/>
                        <a:pt x="261" y="245"/>
                        <a:pt x="260" y="245"/>
                      </a:cubicBezTo>
                      <a:cubicBezTo>
                        <a:pt x="260" y="245"/>
                        <a:pt x="259" y="244"/>
                        <a:pt x="259" y="244"/>
                      </a:cubicBezTo>
                      <a:cubicBezTo>
                        <a:pt x="261" y="241"/>
                        <a:pt x="261" y="241"/>
                        <a:pt x="261" y="241"/>
                      </a:cubicBezTo>
                      <a:close/>
                      <a:moveTo>
                        <a:pt x="264" y="238"/>
                      </a:moveTo>
                      <a:cubicBezTo>
                        <a:pt x="264" y="238"/>
                        <a:pt x="264" y="238"/>
                        <a:pt x="264" y="238"/>
                      </a:cubicBezTo>
                      <a:cubicBezTo>
                        <a:pt x="265" y="240"/>
                        <a:pt x="265" y="240"/>
                        <a:pt x="265" y="240"/>
                      </a:cubicBezTo>
                      <a:cubicBezTo>
                        <a:pt x="265" y="240"/>
                        <a:pt x="268" y="239"/>
                        <a:pt x="270" y="238"/>
                      </a:cubicBezTo>
                      <a:cubicBezTo>
                        <a:pt x="273" y="237"/>
                        <a:pt x="270" y="236"/>
                        <a:pt x="270" y="236"/>
                      </a:cubicBezTo>
                      <a:cubicBezTo>
                        <a:pt x="267" y="236"/>
                        <a:pt x="267" y="236"/>
                        <a:pt x="267" y="236"/>
                      </a:cubicBezTo>
                      <a:cubicBezTo>
                        <a:pt x="267" y="236"/>
                        <a:pt x="264" y="237"/>
                        <a:pt x="264" y="238"/>
                      </a:cubicBezTo>
                      <a:close/>
                      <a:moveTo>
                        <a:pt x="247" y="230"/>
                      </a:moveTo>
                      <a:cubicBezTo>
                        <a:pt x="247" y="230"/>
                        <a:pt x="247" y="230"/>
                        <a:pt x="247" y="230"/>
                      </a:cubicBezTo>
                      <a:cubicBezTo>
                        <a:pt x="250" y="233"/>
                        <a:pt x="250" y="233"/>
                        <a:pt x="250" y="233"/>
                      </a:cubicBezTo>
                      <a:cubicBezTo>
                        <a:pt x="250" y="233"/>
                        <a:pt x="254" y="235"/>
                        <a:pt x="255" y="235"/>
                      </a:cubicBezTo>
                      <a:cubicBezTo>
                        <a:pt x="255" y="236"/>
                        <a:pt x="257" y="235"/>
                        <a:pt x="259" y="235"/>
                      </a:cubicBezTo>
                      <a:cubicBezTo>
                        <a:pt x="260" y="234"/>
                        <a:pt x="260" y="234"/>
                        <a:pt x="260" y="233"/>
                      </a:cubicBezTo>
                      <a:cubicBezTo>
                        <a:pt x="260" y="233"/>
                        <a:pt x="259" y="232"/>
                        <a:pt x="259" y="232"/>
                      </a:cubicBezTo>
                      <a:cubicBezTo>
                        <a:pt x="259" y="232"/>
                        <a:pt x="258" y="230"/>
                        <a:pt x="255" y="230"/>
                      </a:cubicBezTo>
                      <a:cubicBezTo>
                        <a:pt x="253" y="231"/>
                        <a:pt x="253" y="230"/>
                        <a:pt x="253" y="230"/>
                      </a:cubicBezTo>
                      <a:cubicBezTo>
                        <a:pt x="253" y="230"/>
                        <a:pt x="252" y="230"/>
                        <a:pt x="249" y="229"/>
                      </a:cubicBezTo>
                      <a:cubicBezTo>
                        <a:pt x="247" y="229"/>
                        <a:pt x="248" y="230"/>
                        <a:pt x="247" y="230"/>
                      </a:cubicBezTo>
                      <a:close/>
                      <a:moveTo>
                        <a:pt x="245" y="229"/>
                      </a:moveTo>
                      <a:cubicBezTo>
                        <a:pt x="245" y="229"/>
                        <a:pt x="245" y="229"/>
                        <a:pt x="245" y="229"/>
                      </a:cubicBezTo>
                      <a:cubicBezTo>
                        <a:pt x="246" y="228"/>
                        <a:pt x="246" y="228"/>
                        <a:pt x="246" y="228"/>
                      </a:cubicBezTo>
                      <a:cubicBezTo>
                        <a:pt x="246" y="228"/>
                        <a:pt x="246" y="226"/>
                        <a:pt x="246" y="223"/>
                      </a:cubicBezTo>
                      <a:cubicBezTo>
                        <a:pt x="246" y="221"/>
                        <a:pt x="245" y="222"/>
                        <a:pt x="245" y="222"/>
                      </a:cubicBezTo>
                      <a:cubicBezTo>
                        <a:pt x="245" y="221"/>
                        <a:pt x="245" y="220"/>
                        <a:pt x="244" y="218"/>
                      </a:cubicBezTo>
                      <a:cubicBezTo>
                        <a:pt x="243" y="217"/>
                        <a:pt x="243" y="218"/>
                        <a:pt x="242" y="218"/>
                      </a:cubicBezTo>
                      <a:cubicBezTo>
                        <a:pt x="242" y="218"/>
                        <a:pt x="241" y="219"/>
                        <a:pt x="239" y="219"/>
                      </a:cubicBezTo>
                      <a:cubicBezTo>
                        <a:pt x="237" y="219"/>
                        <a:pt x="238" y="217"/>
                        <a:pt x="237" y="216"/>
                      </a:cubicBezTo>
                      <a:cubicBezTo>
                        <a:pt x="236" y="215"/>
                        <a:pt x="234" y="215"/>
                        <a:pt x="234" y="215"/>
                      </a:cubicBezTo>
                      <a:cubicBezTo>
                        <a:pt x="233" y="215"/>
                        <a:pt x="231" y="218"/>
                        <a:pt x="231" y="219"/>
                      </a:cubicBezTo>
                      <a:cubicBezTo>
                        <a:pt x="231" y="220"/>
                        <a:pt x="232" y="220"/>
                        <a:pt x="235" y="223"/>
                      </a:cubicBezTo>
                      <a:cubicBezTo>
                        <a:pt x="238" y="225"/>
                        <a:pt x="239" y="225"/>
                        <a:pt x="240" y="225"/>
                      </a:cubicBezTo>
                      <a:cubicBezTo>
                        <a:pt x="241" y="226"/>
                        <a:pt x="244" y="228"/>
                        <a:pt x="245" y="229"/>
                      </a:cubicBezTo>
                      <a:close/>
                      <a:moveTo>
                        <a:pt x="216" y="360"/>
                      </a:moveTo>
                      <a:cubicBezTo>
                        <a:pt x="216" y="360"/>
                        <a:pt x="216" y="360"/>
                        <a:pt x="216" y="360"/>
                      </a:cubicBezTo>
                      <a:cubicBezTo>
                        <a:pt x="217" y="357"/>
                        <a:pt x="217" y="357"/>
                        <a:pt x="217" y="357"/>
                      </a:cubicBezTo>
                      <a:cubicBezTo>
                        <a:pt x="215" y="354"/>
                        <a:pt x="215" y="354"/>
                        <a:pt x="215" y="354"/>
                      </a:cubicBezTo>
                      <a:cubicBezTo>
                        <a:pt x="215" y="350"/>
                        <a:pt x="215" y="350"/>
                        <a:pt x="215" y="350"/>
                      </a:cubicBezTo>
                      <a:cubicBezTo>
                        <a:pt x="216" y="349"/>
                        <a:pt x="216" y="349"/>
                        <a:pt x="216" y="349"/>
                      </a:cubicBezTo>
                      <a:cubicBezTo>
                        <a:pt x="216" y="349"/>
                        <a:pt x="218" y="351"/>
                        <a:pt x="218" y="352"/>
                      </a:cubicBezTo>
                      <a:cubicBezTo>
                        <a:pt x="218" y="353"/>
                        <a:pt x="218" y="355"/>
                        <a:pt x="218" y="355"/>
                      </a:cubicBezTo>
                      <a:cubicBezTo>
                        <a:pt x="218" y="355"/>
                        <a:pt x="221" y="357"/>
                        <a:pt x="221" y="357"/>
                      </a:cubicBezTo>
                      <a:cubicBezTo>
                        <a:pt x="222" y="357"/>
                        <a:pt x="228" y="356"/>
                        <a:pt x="228" y="356"/>
                      </a:cubicBezTo>
                      <a:cubicBezTo>
                        <a:pt x="228" y="356"/>
                        <a:pt x="230" y="353"/>
                        <a:pt x="230" y="353"/>
                      </a:cubicBezTo>
                      <a:cubicBezTo>
                        <a:pt x="231" y="352"/>
                        <a:pt x="234" y="350"/>
                        <a:pt x="234" y="350"/>
                      </a:cubicBezTo>
                      <a:cubicBezTo>
                        <a:pt x="234" y="350"/>
                        <a:pt x="234" y="349"/>
                        <a:pt x="236" y="351"/>
                      </a:cubicBezTo>
                      <a:cubicBezTo>
                        <a:pt x="238" y="352"/>
                        <a:pt x="236" y="355"/>
                        <a:pt x="236" y="355"/>
                      </a:cubicBezTo>
                      <a:cubicBezTo>
                        <a:pt x="235" y="355"/>
                        <a:pt x="235" y="356"/>
                        <a:pt x="235" y="356"/>
                      </a:cubicBezTo>
                      <a:cubicBezTo>
                        <a:pt x="237" y="358"/>
                        <a:pt x="237" y="358"/>
                        <a:pt x="237" y="358"/>
                      </a:cubicBezTo>
                      <a:cubicBezTo>
                        <a:pt x="237" y="358"/>
                        <a:pt x="237" y="356"/>
                        <a:pt x="238" y="356"/>
                      </a:cubicBezTo>
                      <a:cubicBezTo>
                        <a:pt x="239" y="356"/>
                        <a:pt x="239" y="355"/>
                        <a:pt x="240" y="355"/>
                      </a:cubicBezTo>
                      <a:cubicBezTo>
                        <a:pt x="240" y="356"/>
                        <a:pt x="242" y="358"/>
                        <a:pt x="242" y="358"/>
                      </a:cubicBezTo>
                      <a:cubicBezTo>
                        <a:pt x="242" y="358"/>
                        <a:pt x="242" y="361"/>
                        <a:pt x="243" y="361"/>
                      </a:cubicBezTo>
                      <a:cubicBezTo>
                        <a:pt x="244" y="360"/>
                        <a:pt x="246" y="361"/>
                        <a:pt x="247" y="360"/>
                      </a:cubicBezTo>
                      <a:cubicBezTo>
                        <a:pt x="248" y="360"/>
                        <a:pt x="258" y="357"/>
                        <a:pt x="258" y="357"/>
                      </a:cubicBezTo>
                      <a:cubicBezTo>
                        <a:pt x="261" y="355"/>
                        <a:pt x="261" y="355"/>
                        <a:pt x="261" y="355"/>
                      </a:cubicBezTo>
                      <a:cubicBezTo>
                        <a:pt x="261" y="355"/>
                        <a:pt x="263" y="354"/>
                        <a:pt x="265" y="354"/>
                      </a:cubicBezTo>
                      <a:cubicBezTo>
                        <a:pt x="266" y="354"/>
                        <a:pt x="272" y="352"/>
                        <a:pt x="272" y="352"/>
                      </a:cubicBezTo>
                      <a:cubicBezTo>
                        <a:pt x="272" y="352"/>
                        <a:pt x="275" y="350"/>
                        <a:pt x="277" y="351"/>
                      </a:cubicBezTo>
                      <a:cubicBezTo>
                        <a:pt x="278" y="353"/>
                        <a:pt x="282" y="356"/>
                        <a:pt x="282" y="356"/>
                      </a:cubicBezTo>
                      <a:cubicBezTo>
                        <a:pt x="288" y="355"/>
                        <a:pt x="288" y="355"/>
                        <a:pt x="288" y="355"/>
                      </a:cubicBezTo>
                      <a:cubicBezTo>
                        <a:pt x="288" y="355"/>
                        <a:pt x="290" y="354"/>
                        <a:pt x="290" y="354"/>
                      </a:cubicBezTo>
                      <a:cubicBezTo>
                        <a:pt x="291" y="355"/>
                        <a:pt x="297" y="354"/>
                        <a:pt x="297" y="354"/>
                      </a:cubicBezTo>
                      <a:cubicBezTo>
                        <a:pt x="297" y="354"/>
                        <a:pt x="300" y="351"/>
                        <a:pt x="301" y="351"/>
                      </a:cubicBezTo>
                      <a:cubicBezTo>
                        <a:pt x="301" y="351"/>
                        <a:pt x="308" y="349"/>
                        <a:pt x="308" y="349"/>
                      </a:cubicBezTo>
                      <a:cubicBezTo>
                        <a:pt x="308" y="349"/>
                        <a:pt x="309" y="349"/>
                        <a:pt x="309" y="351"/>
                      </a:cubicBezTo>
                      <a:cubicBezTo>
                        <a:pt x="309" y="353"/>
                        <a:pt x="309" y="356"/>
                        <a:pt x="309" y="357"/>
                      </a:cubicBezTo>
                      <a:cubicBezTo>
                        <a:pt x="310" y="358"/>
                        <a:pt x="309" y="360"/>
                        <a:pt x="311" y="360"/>
                      </a:cubicBezTo>
                      <a:cubicBezTo>
                        <a:pt x="313" y="359"/>
                        <a:pt x="315" y="358"/>
                        <a:pt x="315" y="358"/>
                      </a:cubicBezTo>
                      <a:cubicBezTo>
                        <a:pt x="315" y="358"/>
                        <a:pt x="313" y="358"/>
                        <a:pt x="317" y="356"/>
                      </a:cubicBezTo>
                      <a:cubicBezTo>
                        <a:pt x="320" y="354"/>
                        <a:pt x="321" y="353"/>
                        <a:pt x="322" y="353"/>
                      </a:cubicBezTo>
                      <a:cubicBezTo>
                        <a:pt x="323" y="353"/>
                        <a:pt x="323" y="352"/>
                        <a:pt x="324" y="352"/>
                      </a:cubicBezTo>
                      <a:cubicBezTo>
                        <a:pt x="326" y="352"/>
                        <a:pt x="326" y="352"/>
                        <a:pt x="327" y="352"/>
                      </a:cubicBezTo>
                      <a:cubicBezTo>
                        <a:pt x="328" y="351"/>
                        <a:pt x="330" y="348"/>
                        <a:pt x="330" y="348"/>
                      </a:cubicBezTo>
                      <a:cubicBezTo>
                        <a:pt x="330" y="348"/>
                        <a:pt x="331" y="346"/>
                        <a:pt x="332" y="346"/>
                      </a:cubicBezTo>
                      <a:cubicBezTo>
                        <a:pt x="332" y="346"/>
                        <a:pt x="334" y="345"/>
                        <a:pt x="334" y="345"/>
                      </a:cubicBezTo>
                      <a:cubicBezTo>
                        <a:pt x="333" y="348"/>
                        <a:pt x="333" y="348"/>
                        <a:pt x="333" y="348"/>
                      </a:cubicBezTo>
                      <a:cubicBezTo>
                        <a:pt x="333" y="348"/>
                        <a:pt x="335" y="352"/>
                        <a:pt x="335" y="353"/>
                      </a:cubicBezTo>
                      <a:cubicBezTo>
                        <a:pt x="335" y="353"/>
                        <a:pt x="335" y="354"/>
                        <a:pt x="334" y="355"/>
                      </a:cubicBezTo>
                      <a:cubicBezTo>
                        <a:pt x="334" y="357"/>
                        <a:pt x="334" y="358"/>
                        <a:pt x="334" y="358"/>
                      </a:cubicBezTo>
                      <a:cubicBezTo>
                        <a:pt x="333" y="359"/>
                        <a:pt x="333" y="360"/>
                        <a:pt x="333" y="361"/>
                      </a:cubicBezTo>
                      <a:cubicBezTo>
                        <a:pt x="332" y="361"/>
                        <a:pt x="329" y="363"/>
                        <a:pt x="329" y="363"/>
                      </a:cubicBezTo>
                      <a:cubicBezTo>
                        <a:pt x="324" y="362"/>
                        <a:pt x="324" y="362"/>
                        <a:pt x="324" y="362"/>
                      </a:cubicBezTo>
                      <a:cubicBezTo>
                        <a:pt x="324" y="362"/>
                        <a:pt x="322" y="363"/>
                        <a:pt x="321" y="364"/>
                      </a:cubicBezTo>
                      <a:cubicBezTo>
                        <a:pt x="319" y="364"/>
                        <a:pt x="316" y="367"/>
                        <a:pt x="315" y="367"/>
                      </a:cubicBezTo>
                      <a:cubicBezTo>
                        <a:pt x="314" y="367"/>
                        <a:pt x="311" y="367"/>
                        <a:pt x="308" y="367"/>
                      </a:cubicBezTo>
                      <a:cubicBezTo>
                        <a:pt x="305" y="368"/>
                        <a:pt x="297" y="370"/>
                        <a:pt x="297" y="370"/>
                      </a:cubicBezTo>
                      <a:cubicBezTo>
                        <a:pt x="297" y="370"/>
                        <a:pt x="296" y="371"/>
                        <a:pt x="295" y="372"/>
                      </a:cubicBezTo>
                      <a:cubicBezTo>
                        <a:pt x="293" y="372"/>
                        <a:pt x="289" y="374"/>
                        <a:pt x="288" y="374"/>
                      </a:cubicBezTo>
                      <a:cubicBezTo>
                        <a:pt x="287" y="375"/>
                        <a:pt x="284" y="377"/>
                        <a:pt x="283" y="377"/>
                      </a:cubicBezTo>
                      <a:cubicBezTo>
                        <a:pt x="282" y="377"/>
                        <a:pt x="281" y="378"/>
                        <a:pt x="277" y="378"/>
                      </a:cubicBezTo>
                      <a:cubicBezTo>
                        <a:pt x="272" y="379"/>
                        <a:pt x="271" y="380"/>
                        <a:pt x="271" y="380"/>
                      </a:cubicBezTo>
                      <a:cubicBezTo>
                        <a:pt x="268" y="380"/>
                        <a:pt x="268" y="380"/>
                        <a:pt x="268" y="380"/>
                      </a:cubicBezTo>
                      <a:cubicBezTo>
                        <a:pt x="268" y="373"/>
                        <a:pt x="268" y="373"/>
                        <a:pt x="268" y="373"/>
                      </a:cubicBezTo>
                      <a:cubicBezTo>
                        <a:pt x="268" y="373"/>
                        <a:pt x="268" y="370"/>
                        <a:pt x="265" y="371"/>
                      </a:cubicBezTo>
                      <a:cubicBezTo>
                        <a:pt x="262" y="372"/>
                        <a:pt x="266" y="371"/>
                        <a:pt x="260" y="372"/>
                      </a:cubicBezTo>
                      <a:cubicBezTo>
                        <a:pt x="255" y="373"/>
                        <a:pt x="252" y="370"/>
                        <a:pt x="252" y="370"/>
                      </a:cubicBezTo>
                      <a:cubicBezTo>
                        <a:pt x="252" y="370"/>
                        <a:pt x="247" y="370"/>
                        <a:pt x="245" y="371"/>
                      </a:cubicBezTo>
                      <a:cubicBezTo>
                        <a:pt x="243" y="371"/>
                        <a:pt x="240" y="371"/>
                        <a:pt x="239" y="371"/>
                      </a:cubicBezTo>
                      <a:cubicBezTo>
                        <a:pt x="238" y="372"/>
                        <a:pt x="238" y="371"/>
                        <a:pt x="235" y="372"/>
                      </a:cubicBezTo>
                      <a:cubicBezTo>
                        <a:pt x="232" y="372"/>
                        <a:pt x="229" y="373"/>
                        <a:pt x="229" y="373"/>
                      </a:cubicBezTo>
                      <a:cubicBezTo>
                        <a:pt x="226" y="371"/>
                        <a:pt x="226" y="371"/>
                        <a:pt x="226" y="371"/>
                      </a:cubicBezTo>
                      <a:cubicBezTo>
                        <a:pt x="226" y="371"/>
                        <a:pt x="223" y="371"/>
                        <a:pt x="222" y="372"/>
                      </a:cubicBezTo>
                      <a:cubicBezTo>
                        <a:pt x="220" y="373"/>
                        <a:pt x="221" y="374"/>
                        <a:pt x="219" y="374"/>
                      </a:cubicBezTo>
                      <a:cubicBezTo>
                        <a:pt x="217" y="374"/>
                        <a:pt x="218" y="375"/>
                        <a:pt x="216" y="374"/>
                      </a:cubicBezTo>
                      <a:cubicBezTo>
                        <a:pt x="213" y="373"/>
                        <a:pt x="211" y="372"/>
                        <a:pt x="211" y="372"/>
                      </a:cubicBezTo>
                      <a:cubicBezTo>
                        <a:pt x="210" y="366"/>
                        <a:pt x="210" y="366"/>
                        <a:pt x="210" y="366"/>
                      </a:cubicBezTo>
                      <a:cubicBezTo>
                        <a:pt x="210" y="366"/>
                        <a:pt x="210" y="366"/>
                        <a:pt x="210" y="363"/>
                      </a:cubicBezTo>
                      <a:cubicBezTo>
                        <a:pt x="209" y="361"/>
                        <a:pt x="208" y="357"/>
                        <a:pt x="208" y="357"/>
                      </a:cubicBezTo>
                      <a:cubicBezTo>
                        <a:pt x="210" y="354"/>
                        <a:pt x="210" y="354"/>
                        <a:pt x="210" y="354"/>
                      </a:cubicBezTo>
                      <a:cubicBezTo>
                        <a:pt x="210" y="354"/>
                        <a:pt x="211" y="356"/>
                        <a:pt x="211" y="357"/>
                      </a:cubicBezTo>
                      <a:cubicBezTo>
                        <a:pt x="211" y="357"/>
                        <a:pt x="211" y="360"/>
                        <a:pt x="212" y="360"/>
                      </a:cubicBezTo>
                      <a:cubicBezTo>
                        <a:pt x="214" y="360"/>
                        <a:pt x="216" y="360"/>
                        <a:pt x="216" y="360"/>
                      </a:cubicBezTo>
                      <a:close/>
                      <a:moveTo>
                        <a:pt x="172" y="319"/>
                      </a:moveTo>
                      <a:cubicBezTo>
                        <a:pt x="172" y="319"/>
                        <a:pt x="172" y="319"/>
                        <a:pt x="172" y="319"/>
                      </a:cubicBezTo>
                      <a:cubicBezTo>
                        <a:pt x="175" y="318"/>
                        <a:pt x="175" y="318"/>
                        <a:pt x="175" y="318"/>
                      </a:cubicBezTo>
                      <a:cubicBezTo>
                        <a:pt x="176" y="321"/>
                        <a:pt x="176" y="321"/>
                        <a:pt x="176" y="321"/>
                      </a:cubicBezTo>
                      <a:cubicBezTo>
                        <a:pt x="179" y="322"/>
                        <a:pt x="179" y="322"/>
                        <a:pt x="179" y="322"/>
                      </a:cubicBezTo>
                      <a:cubicBezTo>
                        <a:pt x="179" y="322"/>
                        <a:pt x="183" y="324"/>
                        <a:pt x="183" y="325"/>
                      </a:cubicBezTo>
                      <a:cubicBezTo>
                        <a:pt x="183" y="325"/>
                        <a:pt x="181" y="328"/>
                        <a:pt x="181" y="328"/>
                      </a:cubicBezTo>
                      <a:cubicBezTo>
                        <a:pt x="181" y="328"/>
                        <a:pt x="181" y="330"/>
                        <a:pt x="181" y="331"/>
                      </a:cubicBezTo>
                      <a:cubicBezTo>
                        <a:pt x="181" y="331"/>
                        <a:pt x="179" y="331"/>
                        <a:pt x="178" y="331"/>
                      </a:cubicBezTo>
                      <a:cubicBezTo>
                        <a:pt x="177" y="330"/>
                        <a:pt x="174" y="329"/>
                        <a:pt x="174" y="329"/>
                      </a:cubicBezTo>
                      <a:cubicBezTo>
                        <a:pt x="174" y="325"/>
                        <a:pt x="174" y="325"/>
                        <a:pt x="174" y="325"/>
                      </a:cubicBezTo>
                      <a:cubicBezTo>
                        <a:pt x="171" y="322"/>
                        <a:pt x="171" y="322"/>
                        <a:pt x="171" y="322"/>
                      </a:cubicBezTo>
                      <a:cubicBezTo>
                        <a:pt x="172" y="319"/>
                        <a:pt x="172" y="319"/>
                        <a:pt x="172" y="319"/>
                      </a:cubicBezTo>
                      <a:close/>
                      <a:moveTo>
                        <a:pt x="92" y="232"/>
                      </a:moveTo>
                      <a:cubicBezTo>
                        <a:pt x="92" y="232"/>
                        <a:pt x="92" y="232"/>
                        <a:pt x="92" y="232"/>
                      </a:cubicBezTo>
                      <a:cubicBezTo>
                        <a:pt x="92" y="232"/>
                        <a:pt x="90" y="232"/>
                        <a:pt x="90" y="232"/>
                      </a:cubicBezTo>
                      <a:cubicBezTo>
                        <a:pt x="89" y="232"/>
                        <a:pt x="88" y="232"/>
                        <a:pt x="87" y="232"/>
                      </a:cubicBezTo>
                      <a:cubicBezTo>
                        <a:pt x="86" y="232"/>
                        <a:pt x="87" y="234"/>
                        <a:pt x="87" y="235"/>
                      </a:cubicBezTo>
                      <a:cubicBezTo>
                        <a:pt x="87" y="235"/>
                        <a:pt x="87" y="237"/>
                        <a:pt x="87" y="238"/>
                      </a:cubicBezTo>
                      <a:cubicBezTo>
                        <a:pt x="86" y="239"/>
                        <a:pt x="85" y="240"/>
                        <a:pt x="85" y="241"/>
                      </a:cubicBezTo>
                      <a:cubicBezTo>
                        <a:pt x="85" y="241"/>
                        <a:pt x="85" y="243"/>
                        <a:pt x="85" y="244"/>
                      </a:cubicBezTo>
                      <a:cubicBezTo>
                        <a:pt x="84" y="244"/>
                        <a:pt x="82" y="246"/>
                        <a:pt x="81" y="246"/>
                      </a:cubicBezTo>
                      <a:cubicBezTo>
                        <a:pt x="80" y="247"/>
                        <a:pt x="78" y="248"/>
                        <a:pt x="78" y="248"/>
                      </a:cubicBezTo>
                      <a:cubicBezTo>
                        <a:pt x="80" y="253"/>
                        <a:pt x="80" y="253"/>
                        <a:pt x="80" y="253"/>
                      </a:cubicBezTo>
                      <a:cubicBezTo>
                        <a:pt x="80" y="253"/>
                        <a:pt x="82" y="252"/>
                        <a:pt x="83" y="253"/>
                      </a:cubicBezTo>
                      <a:cubicBezTo>
                        <a:pt x="84" y="254"/>
                        <a:pt x="87" y="256"/>
                        <a:pt x="88" y="256"/>
                      </a:cubicBezTo>
                      <a:cubicBezTo>
                        <a:pt x="88" y="256"/>
                        <a:pt x="90" y="262"/>
                        <a:pt x="90" y="262"/>
                      </a:cubicBezTo>
                      <a:cubicBezTo>
                        <a:pt x="91" y="263"/>
                        <a:pt x="92" y="262"/>
                        <a:pt x="92" y="262"/>
                      </a:cubicBezTo>
                      <a:cubicBezTo>
                        <a:pt x="92" y="262"/>
                        <a:pt x="94" y="263"/>
                        <a:pt x="95" y="264"/>
                      </a:cubicBezTo>
                      <a:cubicBezTo>
                        <a:pt x="96" y="264"/>
                        <a:pt x="98" y="265"/>
                        <a:pt x="99" y="266"/>
                      </a:cubicBezTo>
                      <a:cubicBezTo>
                        <a:pt x="100" y="266"/>
                        <a:pt x="102" y="269"/>
                        <a:pt x="103" y="269"/>
                      </a:cubicBezTo>
                      <a:cubicBezTo>
                        <a:pt x="104" y="270"/>
                        <a:pt x="106" y="272"/>
                        <a:pt x="106" y="272"/>
                      </a:cubicBezTo>
                      <a:cubicBezTo>
                        <a:pt x="106" y="272"/>
                        <a:pt x="108" y="275"/>
                        <a:pt x="109" y="277"/>
                      </a:cubicBezTo>
                      <a:cubicBezTo>
                        <a:pt x="109" y="278"/>
                        <a:pt x="109" y="278"/>
                        <a:pt x="108" y="279"/>
                      </a:cubicBezTo>
                      <a:cubicBezTo>
                        <a:pt x="107" y="280"/>
                        <a:pt x="107" y="281"/>
                        <a:pt x="106" y="283"/>
                      </a:cubicBezTo>
                      <a:cubicBezTo>
                        <a:pt x="105" y="285"/>
                        <a:pt x="107" y="287"/>
                        <a:pt x="107" y="287"/>
                      </a:cubicBezTo>
                      <a:cubicBezTo>
                        <a:pt x="107" y="292"/>
                        <a:pt x="107" y="292"/>
                        <a:pt x="107" y="292"/>
                      </a:cubicBezTo>
                      <a:cubicBezTo>
                        <a:pt x="108" y="294"/>
                        <a:pt x="108" y="294"/>
                        <a:pt x="108" y="294"/>
                      </a:cubicBezTo>
                      <a:cubicBezTo>
                        <a:pt x="108" y="294"/>
                        <a:pt x="109" y="295"/>
                        <a:pt x="110" y="295"/>
                      </a:cubicBezTo>
                      <a:cubicBezTo>
                        <a:pt x="111" y="296"/>
                        <a:pt x="111" y="296"/>
                        <a:pt x="111" y="296"/>
                      </a:cubicBezTo>
                      <a:cubicBezTo>
                        <a:pt x="111" y="296"/>
                        <a:pt x="113" y="298"/>
                        <a:pt x="114" y="299"/>
                      </a:cubicBezTo>
                      <a:cubicBezTo>
                        <a:pt x="114" y="300"/>
                        <a:pt x="113" y="301"/>
                        <a:pt x="113" y="302"/>
                      </a:cubicBezTo>
                      <a:cubicBezTo>
                        <a:pt x="113" y="303"/>
                        <a:pt x="114" y="307"/>
                        <a:pt x="114" y="307"/>
                      </a:cubicBezTo>
                      <a:cubicBezTo>
                        <a:pt x="114" y="307"/>
                        <a:pt x="116" y="306"/>
                        <a:pt x="118" y="305"/>
                      </a:cubicBezTo>
                      <a:cubicBezTo>
                        <a:pt x="119" y="305"/>
                        <a:pt x="120" y="306"/>
                        <a:pt x="121" y="306"/>
                      </a:cubicBezTo>
                      <a:cubicBezTo>
                        <a:pt x="122" y="307"/>
                        <a:pt x="122" y="308"/>
                        <a:pt x="122" y="308"/>
                      </a:cubicBezTo>
                      <a:cubicBezTo>
                        <a:pt x="122" y="308"/>
                        <a:pt x="125" y="306"/>
                        <a:pt x="125" y="305"/>
                      </a:cubicBezTo>
                      <a:cubicBezTo>
                        <a:pt x="125" y="305"/>
                        <a:pt x="125" y="303"/>
                        <a:pt x="125" y="303"/>
                      </a:cubicBezTo>
                      <a:cubicBezTo>
                        <a:pt x="125" y="303"/>
                        <a:pt x="125" y="299"/>
                        <a:pt x="125" y="298"/>
                      </a:cubicBezTo>
                      <a:cubicBezTo>
                        <a:pt x="125" y="297"/>
                        <a:pt x="124" y="294"/>
                        <a:pt x="124" y="293"/>
                      </a:cubicBezTo>
                      <a:cubicBezTo>
                        <a:pt x="124" y="293"/>
                        <a:pt x="125" y="291"/>
                        <a:pt x="125" y="291"/>
                      </a:cubicBezTo>
                      <a:cubicBezTo>
                        <a:pt x="125" y="291"/>
                        <a:pt x="128" y="290"/>
                        <a:pt x="129" y="290"/>
                      </a:cubicBezTo>
                      <a:cubicBezTo>
                        <a:pt x="130" y="290"/>
                        <a:pt x="131" y="291"/>
                        <a:pt x="132" y="292"/>
                      </a:cubicBezTo>
                      <a:cubicBezTo>
                        <a:pt x="132" y="293"/>
                        <a:pt x="132" y="297"/>
                        <a:pt x="132" y="297"/>
                      </a:cubicBezTo>
                      <a:cubicBezTo>
                        <a:pt x="138" y="298"/>
                        <a:pt x="138" y="298"/>
                        <a:pt x="138" y="298"/>
                      </a:cubicBezTo>
                      <a:cubicBezTo>
                        <a:pt x="138" y="298"/>
                        <a:pt x="140" y="299"/>
                        <a:pt x="140" y="299"/>
                      </a:cubicBezTo>
                      <a:cubicBezTo>
                        <a:pt x="140" y="300"/>
                        <a:pt x="141" y="302"/>
                        <a:pt x="142" y="303"/>
                      </a:cubicBezTo>
                      <a:cubicBezTo>
                        <a:pt x="143" y="304"/>
                        <a:pt x="144" y="305"/>
                        <a:pt x="144" y="305"/>
                      </a:cubicBezTo>
                      <a:cubicBezTo>
                        <a:pt x="144" y="305"/>
                        <a:pt x="146" y="310"/>
                        <a:pt x="147" y="311"/>
                      </a:cubicBezTo>
                      <a:cubicBezTo>
                        <a:pt x="147" y="312"/>
                        <a:pt x="147" y="314"/>
                        <a:pt x="147" y="316"/>
                      </a:cubicBezTo>
                      <a:cubicBezTo>
                        <a:pt x="147" y="318"/>
                        <a:pt x="147" y="318"/>
                        <a:pt x="147" y="318"/>
                      </a:cubicBezTo>
                      <a:cubicBezTo>
                        <a:pt x="147" y="318"/>
                        <a:pt x="150" y="319"/>
                        <a:pt x="151" y="320"/>
                      </a:cubicBezTo>
                      <a:cubicBezTo>
                        <a:pt x="153" y="321"/>
                        <a:pt x="152" y="320"/>
                        <a:pt x="153" y="319"/>
                      </a:cubicBezTo>
                      <a:cubicBezTo>
                        <a:pt x="154" y="318"/>
                        <a:pt x="153" y="317"/>
                        <a:pt x="153" y="316"/>
                      </a:cubicBezTo>
                      <a:cubicBezTo>
                        <a:pt x="153" y="315"/>
                        <a:pt x="153" y="313"/>
                        <a:pt x="152" y="311"/>
                      </a:cubicBezTo>
                      <a:cubicBezTo>
                        <a:pt x="152" y="310"/>
                        <a:pt x="152" y="309"/>
                        <a:pt x="152" y="309"/>
                      </a:cubicBezTo>
                      <a:cubicBezTo>
                        <a:pt x="152" y="309"/>
                        <a:pt x="153" y="307"/>
                        <a:pt x="153" y="306"/>
                      </a:cubicBezTo>
                      <a:cubicBezTo>
                        <a:pt x="153" y="306"/>
                        <a:pt x="153" y="304"/>
                        <a:pt x="153" y="303"/>
                      </a:cubicBezTo>
                      <a:cubicBezTo>
                        <a:pt x="153" y="302"/>
                        <a:pt x="155" y="301"/>
                        <a:pt x="155" y="301"/>
                      </a:cubicBezTo>
                      <a:cubicBezTo>
                        <a:pt x="155" y="301"/>
                        <a:pt x="155" y="300"/>
                        <a:pt x="156" y="298"/>
                      </a:cubicBezTo>
                      <a:cubicBezTo>
                        <a:pt x="157" y="297"/>
                        <a:pt x="156" y="298"/>
                        <a:pt x="157" y="298"/>
                      </a:cubicBezTo>
                      <a:cubicBezTo>
                        <a:pt x="158" y="297"/>
                        <a:pt x="159" y="297"/>
                        <a:pt x="161" y="297"/>
                      </a:cubicBezTo>
                      <a:cubicBezTo>
                        <a:pt x="162" y="297"/>
                        <a:pt x="163" y="298"/>
                        <a:pt x="163" y="298"/>
                      </a:cubicBezTo>
                      <a:cubicBezTo>
                        <a:pt x="165" y="301"/>
                        <a:pt x="165" y="301"/>
                        <a:pt x="165" y="301"/>
                      </a:cubicBezTo>
                      <a:cubicBezTo>
                        <a:pt x="165" y="301"/>
                        <a:pt x="165" y="301"/>
                        <a:pt x="165" y="302"/>
                      </a:cubicBezTo>
                      <a:cubicBezTo>
                        <a:pt x="165" y="303"/>
                        <a:pt x="167" y="305"/>
                        <a:pt x="167" y="305"/>
                      </a:cubicBezTo>
                      <a:cubicBezTo>
                        <a:pt x="171" y="308"/>
                        <a:pt x="171" y="308"/>
                        <a:pt x="171" y="308"/>
                      </a:cubicBezTo>
                      <a:cubicBezTo>
                        <a:pt x="171" y="308"/>
                        <a:pt x="171" y="309"/>
                        <a:pt x="171" y="309"/>
                      </a:cubicBezTo>
                      <a:cubicBezTo>
                        <a:pt x="171" y="310"/>
                        <a:pt x="172" y="312"/>
                        <a:pt x="173" y="313"/>
                      </a:cubicBezTo>
                      <a:cubicBezTo>
                        <a:pt x="174" y="315"/>
                        <a:pt x="173" y="312"/>
                        <a:pt x="174" y="312"/>
                      </a:cubicBezTo>
                      <a:cubicBezTo>
                        <a:pt x="174" y="311"/>
                        <a:pt x="175" y="310"/>
                        <a:pt x="175" y="310"/>
                      </a:cubicBezTo>
                      <a:cubicBezTo>
                        <a:pt x="177" y="313"/>
                        <a:pt x="177" y="313"/>
                        <a:pt x="177" y="313"/>
                      </a:cubicBezTo>
                      <a:cubicBezTo>
                        <a:pt x="177" y="313"/>
                        <a:pt x="181" y="314"/>
                        <a:pt x="182" y="314"/>
                      </a:cubicBezTo>
                      <a:cubicBezTo>
                        <a:pt x="183" y="313"/>
                        <a:pt x="184" y="312"/>
                        <a:pt x="184" y="312"/>
                      </a:cubicBezTo>
                      <a:cubicBezTo>
                        <a:pt x="182" y="310"/>
                        <a:pt x="182" y="310"/>
                        <a:pt x="182" y="310"/>
                      </a:cubicBezTo>
                      <a:cubicBezTo>
                        <a:pt x="180" y="307"/>
                        <a:pt x="180" y="307"/>
                        <a:pt x="180" y="307"/>
                      </a:cubicBezTo>
                      <a:cubicBezTo>
                        <a:pt x="180" y="307"/>
                        <a:pt x="177" y="304"/>
                        <a:pt x="176" y="304"/>
                      </a:cubicBezTo>
                      <a:cubicBezTo>
                        <a:pt x="175" y="303"/>
                        <a:pt x="174" y="302"/>
                        <a:pt x="174" y="301"/>
                      </a:cubicBezTo>
                      <a:cubicBezTo>
                        <a:pt x="173" y="300"/>
                        <a:pt x="173" y="298"/>
                        <a:pt x="173" y="298"/>
                      </a:cubicBezTo>
                      <a:cubicBezTo>
                        <a:pt x="174" y="297"/>
                        <a:pt x="174" y="295"/>
                        <a:pt x="175" y="293"/>
                      </a:cubicBezTo>
                      <a:cubicBezTo>
                        <a:pt x="176" y="291"/>
                        <a:pt x="174" y="293"/>
                        <a:pt x="174" y="293"/>
                      </a:cubicBezTo>
                      <a:cubicBezTo>
                        <a:pt x="174" y="293"/>
                        <a:pt x="172" y="290"/>
                        <a:pt x="173" y="289"/>
                      </a:cubicBezTo>
                      <a:cubicBezTo>
                        <a:pt x="173" y="289"/>
                        <a:pt x="169" y="283"/>
                        <a:pt x="169" y="283"/>
                      </a:cubicBezTo>
                      <a:cubicBezTo>
                        <a:pt x="169" y="283"/>
                        <a:pt x="168" y="281"/>
                        <a:pt x="168" y="281"/>
                      </a:cubicBezTo>
                      <a:cubicBezTo>
                        <a:pt x="168" y="281"/>
                        <a:pt x="165" y="279"/>
                        <a:pt x="164" y="279"/>
                      </a:cubicBezTo>
                      <a:cubicBezTo>
                        <a:pt x="163" y="278"/>
                        <a:pt x="162" y="277"/>
                        <a:pt x="162" y="277"/>
                      </a:cubicBezTo>
                      <a:cubicBezTo>
                        <a:pt x="162" y="276"/>
                        <a:pt x="162" y="274"/>
                        <a:pt x="162" y="273"/>
                      </a:cubicBezTo>
                      <a:cubicBezTo>
                        <a:pt x="161" y="272"/>
                        <a:pt x="160" y="270"/>
                        <a:pt x="159" y="269"/>
                      </a:cubicBezTo>
                      <a:cubicBezTo>
                        <a:pt x="158" y="268"/>
                        <a:pt x="157" y="266"/>
                        <a:pt x="156" y="264"/>
                      </a:cubicBezTo>
                      <a:cubicBezTo>
                        <a:pt x="155" y="263"/>
                        <a:pt x="154" y="261"/>
                        <a:pt x="154" y="261"/>
                      </a:cubicBezTo>
                      <a:cubicBezTo>
                        <a:pt x="153" y="257"/>
                        <a:pt x="153" y="257"/>
                        <a:pt x="153" y="257"/>
                      </a:cubicBezTo>
                      <a:cubicBezTo>
                        <a:pt x="153" y="255"/>
                        <a:pt x="153" y="255"/>
                        <a:pt x="153" y="255"/>
                      </a:cubicBezTo>
                      <a:cubicBezTo>
                        <a:pt x="156" y="257"/>
                        <a:pt x="156" y="257"/>
                        <a:pt x="156" y="257"/>
                      </a:cubicBezTo>
                      <a:cubicBezTo>
                        <a:pt x="156" y="257"/>
                        <a:pt x="158" y="256"/>
                        <a:pt x="159" y="256"/>
                      </a:cubicBezTo>
                      <a:cubicBezTo>
                        <a:pt x="160" y="256"/>
                        <a:pt x="163" y="257"/>
                        <a:pt x="163" y="257"/>
                      </a:cubicBezTo>
                      <a:cubicBezTo>
                        <a:pt x="163" y="257"/>
                        <a:pt x="165" y="258"/>
                        <a:pt x="166" y="258"/>
                      </a:cubicBezTo>
                      <a:cubicBezTo>
                        <a:pt x="166" y="258"/>
                        <a:pt x="167" y="259"/>
                        <a:pt x="168" y="258"/>
                      </a:cubicBezTo>
                      <a:cubicBezTo>
                        <a:pt x="169" y="258"/>
                        <a:pt x="170" y="260"/>
                        <a:pt x="170" y="261"/>
                      </a:cubicBezTo>
                      <a:cubicBezTo>
                        <a:pt x="170" y="262"/>
                        <a:pt x="169" y="263"/>
                        <a:pt x="169" y="263"/>
                      </a:cubicBezTo>
                      <a:cubicBezTo>
                        <a:pt x="169" y="264"/>
                        <a:pt x="169" y="265"/>
                        <a:pt x="169" y="265"/>
                      </a:cubicBezTo>
                      <a:cubicBezTo>
                        <a:pt x="169" y="265"/>
                        <a:pt x="171" y="266"/>
                        <a:pt x="172" y="266"/>
                      </a:cubicBezTo>
                      <a:cubicBezTo>
                        <a:pt x="172" y="267"/>
                        <a:pt x="171" y="268"/>
                        <a:pt x="171" y="268"/>
                      </a:cubicBezTo>
                      <a:cubicBezTo>
                        <a:pt x="171" y="268"/>
                        <a:pt x="171" y="270"/>
                        <a:pt x="171" y="271"/>
                      </a:cubicBezTo>
                      <a:cubicBezTo>
                        <a:pt x="172" y="271"/>
                        <a:pt x="173" y="269"/>
                        <a:pt x="173" y="269"/>
                      </a:cubicBezTo>
                      <a:cubicBezTo>
                        <a:pt x="173" y="269"/>
                        <a:pt x="174" y="267"/>
                        <a:pt x="174" y="266"/>
                      </a:cubicBezTo>
                      <a:cubicBezTo>
                        <a:pt x="174" y="265"/>
                        <a:pt x="176" y="264"/>
                        <a:pt x="176" y="264"/>
                      </a:cubicBezTo>
                      <a:cubicBezTo>
                        <a:pt x="178" y="260"/>
                        <a:pt x="178" y="260"/>
                        <a:pt x="178" y="260"/>
                      </a:cubicBezTo>
                      <a:cubicBezTo>
                        <a:pt x="180" y="258"/>
                        <a:pt x="180" y="258"/>
                        <a:pt x="180" y="258"/>
                      </a:cubicBezTo>
                      <a:cubicBezTo>
                        <a:pt x="180" y="258"/>
                        <a:pt x="184" y="257"/>
                        <a:pt x="185" y="256"/>
                      </a:cubicBezTo>
                      <a:cubicBezTo>
                        <a:pt x="186" y="255"/>
                        <a:pt x="186" y="256"/>
                        <a:pt x="186" y="255"/>
                      </a:cubicBezTo>
                      <a:cubicBezTo>
                        <a:pt x="187" y="255"/>
                        <a:pt x="187" y="253"/>
                        <a:pt x="187" y="253"/>
                      </a:cubicBezTo>
                      <a:cubicBezTo>
                        <a:pt x="185" y="251"/>
                        <a:pt x="185" y="251"/>
                        <a:pt x="185" y="251"/>
                      </a:cubicBezTo>
                      <a:cubicBezTo>
                        <a:pt x="181" y="252"/>
                        <a:pt x="181" y="252"/>
                        <a:pt x="181" y="252"/>
                      </a:cubicBezTo>
                      <a:cubicBezTo>
                        <a:pt x="180" y="250"/>
                        <a:pt x="180" y="250"/>
                        <a:pt x="180" y="250"/>
                      </a:cubicBezTo>
                      <a:cubicBezTo>
                        <a:pt x="180" y="250"/>
                        <a:pt x="180" y="250"/>
                        <a:pt x="181" y="250"/>
                      </a:cubicBezTo>
                      <a:cubicBezTo>
                        <a:pt x="181" y="250"/>
                        <a:pt x="181" y="246"/>
                        <a:pt x="181" y="246"/>
                      </a:cubicBezTo>
                      <a:cubicBezTo>
                        <a:pt x="181" y="246"/>
                        <a:pt x="179" y="247"/>
                        <a:pt x="178" y="247"/>
                      </a:cubicBezTo>
                      <a:cubicBezTo>
                        <a:pt x="177" y="247"/>
                        <a:pt x="178" y="250"/>
                        <a:pt x="178" y="250"/>
                      </a:cubicBezTo>
                      <a:cubicBezTo>
                        <a:pt x="178" y="250"/>
                        <a:pt x="173" y="249"/>
                        <a:pt x="172" y="249"/>
                      </a:cubicBezTo>
                      <a:cubicBezTo>
                        <a:pt x="171" y="248"/>
                        <a:pt x="171" y="247"/>
                        <a:pt x="171" y="247"/>
                      </a:cubicBezTo>
                      <a:cubicBezTo>
                        <a:pt x="170" y="246"/>
                        <a:pt x="172" y="243"/>
                        <a:pt x="172" y="243"/>
                      </a:cubicBezTo>
                      <a:cubicBezTo>
                        <a:pt x="173" y="239"/>
                        <a:pt x="173" y="239"/>
                        <a:pt x="173" y="239"/>
                      </a:cubicBezTo>
                      <a:cubicBezTo>
                        <a:pt x="173" y="239"/>
                        <a:pt x="168" y="238"/>
                        <a:pt x="168" y="237"/>
                      </a:cubicBezTo>
                      <a:cubicBezTo>
                        <a:pt x="168" y="236"/>
                        <a:pt x="163" y="239"/>
                        <a:pt x="161" y="237"/>
                      </a:cubicBezTo>
                      <a:cubicBezTo>
                        <a:pt x="160" y="235"/>
                        <a:pt x="160" y="235"/>
                        <a:pt x="160" y="235"/>
                      </a:cubicBezTo>
                      <a:cubicBezTo>
                        <a:pt x="158" y="233"/>
                        <a:pt x="158" y="233"/>
                        <a:pt x="158" y="233"/>
                      </a:cubicBezTo>
                      <a:cubicBezTo>
                        <a:pt x="156" y="233"/>
                        <a:pt x="156" y="233"/>
                        <a:pt x="156" y="233"/>
                      </a:cubicBezTo>
                      <a:cubicBezTo>
                        <a:pt x="156" y="233"/>
                        <a:pt x="153" y="234"/>
                        <a:pt x="152" y="234"/>
                      </a:cubicBezTo>
                      <a:cubicBezTo>
                        <a:pt x="151" y="234"/>
                        <a:pt x="151" y="232"/>
                        <a:pt x="151" y="232"/>
                      </a:cubicBezTo>
                      <a:cubicBezTo>
                        <a:pt x="146" y="230"/>
                        <a:pt x="146" y="230"/>
                        <a:pt x="146" y="230"/>
                      </a:cubicBezTo>
                      <a:cubicBezTo>
                        <a:pt x="141" y="229"/>
                        <a:pt x="141" y="229"/>
                        <a:pt x="141" y="229"/>
                      </a:cubicBezTo>
                      <a:cubicBezTo>
                        <a:pt x="141" y="229"/>
                        <a:pt x="135" y="228"/>
                        <a:pt x="133" y="227"/>
                      </a:cubicBezTo>
                      <a:cubicBezTo>
                        <a:pt x="132" y="227"/>
                        <a:pt x="127" y="226"/>
                        <a:pt x="125" y="226"/>
                      </a:cubicBezTo>
                      <a:cubicBezTo>
                        <a:pt x="123" y="226"/>
                        <a:pt x="121" y="226"/>
                        <a:pt x="119" y="225"/>
                      </a:cubicBezTo>
                      <a:cubicBezTo>
                        <a:pt x="118" y="224"/>
                        <a:pt x="115" y="223"/>
                        <a:pt x="115" y="223"/>
                      </a:cubicBezTo>
                      <a:cubicBezTo>
                        <a:pt x="115" y="223"/>
                        <a:pt x="109" y="221"/>
                        <a:pt x="109" y="221"/>
                      </a:cubicBezTo>
                      <a:cubicBezTo>
                        <a:pt x="108" y="221"/>
                        <a:pt x="107" y="221"/>
                        <a:pt x="107" y="221"/>
                      </a:cubicBezTo>
                      <a:cubicBezTo>
                        <a:pt x="106" y="221"/>
                        <a:pt x="104" y="224"/>
                        <a:pt x="102" y="225"/>
                      </a:cubicBezTo>
                      <a:cubicBezTo>
                        <a:pt x="101" y="225"/>
                        <a:pt x="101" y="228"/>
                        <a:pt x="100" y="229"/>
                      </a:cubicBezTo>
                      <a:cubicBezTo>
                        <a:pt x="100" y="231"/>
                        <a:pt x="99" y="232"/>
                        <a:pt x="98" y="232"/>
                      </a:cubicBezTo>
                      <a:cubicBezTo>
                        <a:pt x="98" y="233"/>
                        <a:pt x="92" y="231"/>
                        <a:pt x="92" y="232"/>
                      </a:cubicBezTo>
                      <a:close/>
                      <a:moveTo>
                        <a:pt x="60" y="252"/>
                      </a:moveTo>
                      <a:cubicBezTo>
                        <a:pt x="60" y="252"/>
                        <a:pt x="60" y="252"/>
                        <a:pt x="60" y="252"/>
                      </a:cubicBezTo>
                      <a:cubicBezTo>
                        <a:pt x="60" y="252"/>
                        <a:pt x="62" y="251"/>
                        <a:pt x="62" y="252"/>
                      </a:cubicBezTo>
                      <a:cubicBezTo>
                        <a:pt x="62" y="252"/>
                        <a:pt x="63" y="253"/>
                        <a:pt x="63" y="254"/>
                      </a:cubicBezTo>
                      <a:cubicBezTo>
                        <a:pt x="64" y="254"/>
                        <a:pt x="66" y="256"/>
                        <a:pt x="67" y="256"/>
                      </a:cubicBezTo>
                      <a:cubicBezTo>
                        <a:pt x="68" y="256"/>
                        <a:pt x="71" y="256"/>
                        <a:pt x="71" y="256"/>
                      </a:cubicBezTo>
                      <a:cubicBezTo>
                        <a:pt x="74" y="259"/>
                        <a:pt x="74" y="259"/>
                        <a:pt x="74" y="259"/>
                      </a:cubicBezTo>
                      <a:cubicBezTo>
                        <a:pt x="74" y="259"/>
                        <a:pt x="77" y="260"/>
                        <a:pt x="77" y="261"/>
                      </a:cubicBezTo>
                      <a:cubicBezTo>
                        <a:pt x="77" y="261"/>
                        <a:pt x="72" y="264"/>
                        <a:pt x="72" y="264"/>
                      </a:cubicBezTo>
                      <a:cubicBezTo>
                        <a:pt x="71" y="265"/>
                        <a:pt x="71" y="265"/>
                        <a:pt x="71" y="265"/>
                      </a:cubicBezTo>
                      <a:cubicBezTo>
                        <a:pt x="71" y="265"/>
                        <a:pt x="71" y="267"/>
                        <a:pt x="69" y="266"/>
                      </a:cubicBezTo>
                      <a:cubicBezTo>
                        <a:pt x="68" y="266"/>
                        <a:pt x="67" y="266"/>
                        <a:pt x="66" y="265"/>
                      </a:cubicBezTo>
                      <a:cubicBezTo>
                        <a:pt x="66" y="264"/>
                        <a:pt x="66" y="264"/>
                        <a:pt x="65" y="263"/>
                      </a:cubicBezTo>
                      <a:cubicBezTo>
                        <a:pt x="63" y="262"/>
                        <a:pt x="59" y="259"/>
                        <a:pt x="59" y="259"/>
                      </a:cubicBezTo>
                      <a:cubicBezTo>
                        <a:pt x="59" y="256"/>
                        <a:pt x="59" y="256"/>
                        <a:pt x="59" y="256"/>
                      </a:cubicBezTo>
                      <a:cubicBezTo>
                        <a:pt x="59" y="254"/>
                        <a:pt x="59" y="254"/>
                        <a:pt x="59" y="254"/>
                      </a:cubicBezTo>
                      <a:cubicBezTo>
                        <a:pt x="60" y="252"/>
                        <a:pt x="60" y="252"/>
                        <a:pt x="60" y="252"/>
                      </a:cubicBezTo>
                      <a:close/>
                      <a:moveTo>
                        <a:pt x="48" y="234"/>
                      </a:moveTo>
                      <a:cubicBezTo>
                        <a:pt x="48" y="234"/>
                        <a:pt x="48" y="234"/>
                        <a:pt x="48" y="234"/>
                      </a:cubicBezTo>
                      <a:cubicBezTo>
                        <a:pt x="45" y="230"/>
                        <a:pt x="45" y="230"/>
                        <a:pt x="45" y="230"/>
                      </a:cubicBezTo>
                      <a:cubicBezTo>
                        <a:pt x="43" y="234"/>
                        <a:pt x="43" y="234"/>
                        <a:pt x="43" y="234"/>
                      </a:cubicBezTo>
                      <a:cubicBezTo>
                        <a:pt x="42" y="238"/>
                        <a:pt x="42" y="238"/>
                        <a:pt x="42" y="238"/>
                      </a:cubicBezTo>
                      <a:cubicBezTo>
                        <a:pt x="45" y="240"/>
                        <a:pt x="45" y="240"/>
                        <a:pt x="45" y="240"/>
                      </a:cubicBezTo>
                      <a:cubicBezTo>
                        <a:pt x="46" y="240"/>
                        <a:pt x="46" y="240"/>
                        <a:pt x="46" y="240"/>
                      </a:cubicBezTo>
                      <a:cubicBezTo>
                        <a:pt x="48" y="237"/>
                        <a:pt x="48" y="237"/>
                        <a:pt x="48" y="237"/>
                      </a:cubicBezTo>
                      <a:cubicBezTo>
                        <a:pt x="50" y="240"/>
                        <a:pt x="50" y="240"/>
                        <a:pt x="50" y="240"/>
                      </a:cubicBezTo>
                      <a:cubicBezTo>
                        <a:pt x="52" y="244"/>
                        <a:pt x="52" y="244"/>
                        <a:pt x="52" y="244"/>
                      </a:cubicBezTo>
                      <a:cubicBezTo>
                        <a:pt x="52" y="244"/>
                        <a:pt x="54" y="242"/>
                        <a:pt x="55" y="241"/>
                      </a:cubicBezTo>
                      <a:cubicBezTo>
                        <a:pt x="56" y="241"/>
                        <a:pt x="60" y="244"/>
                        <a:pt x="60" y="244"/>
                      </a:cubicBezTo>
                      <a:cubicBezTo>
                        <a:pt x="60" y="244"/>
                        <a:pt x="64" y="242"/>
                        <a:pt x="65" y="242"/>
                      </a:cubicBezTo>
                      <a:cubicBezTo>
                        <a:pt x="66" y="242"/>
                        <a:pt x="63" y="239"/>
                        <a:pt x="63" y="239"/>
                      </a:cubicBezTo>
                      <a:cubicBezTo>
                        <a:pt x="60" y="236"/>
                        <a:pt x="60" y="236"/>
                        <a:pt x="60" y="236"/>
                      </a:cubicBezTo>
                      <a:cubicBezTo>
                        <a:pt x="58" y="234"/>
                        <a:pt x="58" y="234"/>
                        <a:pt x="58" y="234"/>
                      </a:cubicBezTo>
                      <a:cubicBezTo>
                        <a:pt x="54" y="232"/>
                        <a:pt x="54" y="232"/>
                        <a:pt x="54" y="232"/>
                      </a:cubicBezTo>
                      <a:cubicBezTo>
                        <a:pt x="54" y="231"/>
                        <a:pt x="54" y="231"/>
                        <a:pt x="54" y="231"/>
                      </a:cubicBezTo>
                      <a:cubicBezTo>
                        <a:pt x="55" y="229"/>
                        <a:pt x="55" y="229"/>
                        <a:pt x="55" y="229"/>
                      </a:cubicBezTo>
                      <a:cubicBezTo>
                        <a:pt x="55" y="229"/>
                        <a:pt x="55" y="231"/>
                        <a:pt x="57" y="230"/>
                      </a:cubicBezTo>
                      <a:cubicBezTo>
                        <a:pt x="59" y="230"/>
                        <a:pt x="59" y="230"/>
                        <a:pt x="59" y="229"/>
                      </a:cubicBezTo>
                      <a:cubicBezTo>
                        <a:pt x="60" y="229"/>
                        <a:pt x="59" y="228"/>
                        <a:pt x="59" y="228"/>
                      </a:cubicBezTo>
                      <a:cubicBezTo>
                        <a:pt x="56" y="226"/>
                        <a:pt x="56" y="226"/>
                        <a:pt x="56" y="226"/>
                      </a:cubicBezTo>
                      <a:cubicBezTo>
                        <a:pt x="57" y="223"/>
                        <a:pt x="57" y="223"/>
                        <a:pt x="57" y="223"/>
                      </a:cubicBezTo>
                      <a:cubicBezTo>
                        <a:pt x="54" y="221"/>
                        <a:pt x="54" y="221"/>
                        <a:pt x="54" y="221"/>
                      </a:cubicBezTo>
                      <a:cubicBezTo>
                        <a:pt x="53" y="224"/>
                        <a:pt x="53" y="224"/>
                        <a:pt x="53" y="224"/>
                      </a:cubicBezTo>
                      <a:cubicBezTo>
                        <a:pt x="50" y="223"/>
                        <a:pt x="50" y="223"/>
                        <a:pt x="50" y="223"/>
                      </a:cubicBezTo>
                      <a:cubicBezTo>
                        <a:pt x="50" y="223"/>
                        <a:pt x="49" y="225"/>
                        <a:pt x="49" y="225"/>
                      </a:cubicBezTo>
                      <a:cubicBezTo>
                        <a:pt x="49" y="226"/>
                        <a:pt x="50" y="229"/>
                        <a:pt x="50" y="229"/>
                      </a:cubicBezTo>
                      <a:cubicBezTo>
                        <a:pt x="48" y="234"/>
                        <a:pt x="48" y="234"/>
                        <a:pt x="48" y="234"/>
                      </a:cubicBezTo>
                      <a:close/>
                      <a:moveTo>
                        <a:pt x="11" y="161"/>
                      </a:moveTo>
                      <a:cubicBezTo>
                        <a:pt x="11" y="161"/>
                        <a:pt x="11" y="161"/>
                        <a:pt x="11" y="161"/>
                      </a:cubicBezTo>
                      <a:cubicBezTo>
                        <a:pt x="9" y="161"/>
                        <a:pt x="9" y="161"/>
                        <a:pt x="9" y="161"/>
                      </a:cubicBezTo>
                      <a:cubicBezTo>
                        <a:pt x="9" y="161"/>
                        <a:pt x="9" y="162"/>
                        <a:pt x="10" y="163"/>
                      </a:cubicBezTo>
                      <a:cubicBezTo>
                        <a:pt x="11" y="164"/>
                        <a:pt x="13" y="170"/>
                        <a:pt x="13" y="170"/>
                      </a:cubicBezTo>
                      <a:cubicBezTo>
                        <a:pt x="15" y="171"/>
                        <a:pt x="15" y="171"/>
                        <a:pt x="15" y="171"/>
                      </a:cubicBezTo>
                      <a:cubicBezTo>
                        <a:pt x="19" y="173"/>
                        <a:pt x="19" y="173"/>
                        <a:pt x="19" y="173"/>
                      </a:cubicBezTo>
                      <a:cubicBezTo>
                        <a:pt x="22" y="176"/>
                        <a:pt x="22" y="176"/>
                        <a:pt x="22" y="176"/>
                      </a:cubicBezTo>
                      <a:cubicBezTo>
                        <a:pt x="22" y="176"/>
                        <a:pt x="24" y="179"/>
                        <a:pt x="21" y="178"/>
                      </a:cubicBezTo>
                      <a:cubicBezTo>
                        <a:pt x="18" y="177"/>
                        <a:pt x="15" y="175"/>
                        <a:pt x="14" y="174"/>
                      </a:cubicBezTo>
                      <a:cubicBezTo>
                        <a:pt x="12" y="174"/>
                        <a:pt x="10" y="173"/>
                        <a:pt x="10" y="173"/>
                      </a:cubicBezTo>
                      <a:cubicBezTo>
                        <a:pt x="10" y="173"/>
                        <a:pt x="9" y="168"/>
                        <a:pt x="9" y="167"/>
                      </a:cubicBezTo>
                      <a:cubicBezTo>
                        <a:pt x="8" y="167"/>
                        <a:pt x="6" y="166"/>
                        <a:pt x="6" y="166"/>
                      </a:cubicBezTo>
                      <a:cubicBezTo>
                        <a:pt x="0" y="163"/>
                        <a:pt x="0" y="163"/>
                        <a:pt x="0" y="163"/>
                      </a:cubicBezTo>
                      <a:cubicBezTo>
                        <a:pt x="0" y="163"/>
                        <a:pt x="0" y="159"/>
                        <a:pt x="1" y="158"/>
                      </a:cubicBezTo>
                      <a:cubicBezTo>
                        <a:pt x="1" y="158"/>
                        <a:pt x="1" y="156"/>
                        <a:pt x="3" y="156"/>
                      </a:cubicBezTo>
                      <a:cubicBezTo>
                        <a:pt x="4" y="155"/>
                        <a:pt x="7" y="155"/>
                        <a:pt x="7" y="155"/>
                      </a:cubicBezTo>
                      <a:cubicBezTo>
                        <a:pt x="7" y="155"/>
                        <a:pt x="7" y="152"/>
                        <a:pt x="8" y="153"/>
                      </a:cubicBezTo>
                      <a:cubicBezTo>
                        <a:pt x="9" y="154"/>
                        <a:pt x="11" y="157"/>
                        <a:pt x="11" y="157"/>
                      </a:cubicBezTo>
                      <a:lnTo>
                        <a:pt x="11" y="161"/>
                      </a:lnTo>
                      <a:close/>
                    </a:path>
                  </a:pathLst>
                </a:custGeom>
                <a:solidFill>
                  <a:srgbClr val="E6EFF1"/>
                </a:solidFill>
                <a:ln w="12700" cap="rnd" cmpd="sng">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Lato Light"/>
                  </a:endParaRPr>
                </a:p>
              </p:txBody>
            </p:sp>
            <p:sp>
              <p:nvSpPr>
                <p:cNvPr id="242" name="Freeform 223">
                  <a:extLst>
                    <a:ext uri="{FF2B5EF4-FFF2-40B4-BE49-F238E27FC236}">
                      <a16:creationId xmlns:a16="http://schemas.microsoft.com/office/drawing/2014/main" id="{8BAC60BD-F907-5E09-D337-5A720F7EC01D}"/>
                    </a:ext>
                  </a:extLst>
                </p:cNvPr>
                <p:cNvSpPr>
                  <a:spLocks noEditPoints="1"/>
                </p:cNvSpPr>
                <p:nvPr/>
              </p:nvSpPr>
              <p:spPr bwMode="auto">
                <a:xfrm>
                  <a:off x="4501699" y="923589"/>
                  <a:ext cx="912709" cy="1615897"/>
                </a:xfrm>
                <a:custGeom>
                  <a:avLst/>
                  <a:gdLst>
                    <a:gd name="T0" fmla="*/ 7 w 317"/>
                    <a:gd name="T1" fmla="*/ 80 h 578"/>
                    <a:gd name="T2" fmla="*/ 20 w 317"/>
                    <a:gd name="T3" fmla="*/ 69 h 578"/>
                    <a:gd name="T4" fmla="*/ 69 w 317"/>
                    <a:gd name="T5" fmla="*/ 84 h 578"/>
                    <a:gd name="T6" fmla="*/ 91 w 317"/>
                    <a:gd name="T7" fmla="*/ 90 h 578"/>
                    <a:gd name="T8" fmla="*/ 100 w 317"/>
                    <a:gd name="T9" fmla="*/ 68 h 578"/>
                    <a:gd name="T10" fmla="*/ 102 w 317"/>
                    <a:gd name="T11" fmla="*/ 13 h 578"/>
                    <a:gd name="T12" fmla="*/ 154 w 317"/>
                    <a:gd name="T13" fmla="*/ 12 h 578"/>
                    <a:gd name="T14" fmla="*/ 158 w 317"/>
                    <a:gd name="T15" fmla="*/ 43 h 578"/>
                    <a:gd name="T16" fmla="*/ 157 w 317"/>
                    <a:gd name="T17" fmla="*/ 78 h 578"/>
                    <a:gd name="T18" fmla="*/ 203 w 317"/>
                    <a:gd name="T19" fmla="*/ 116 h 578"/>
                    <a:gd name="T20" fmla="*/ 216 w 317"/>
                    <a:gd name="T21" fmla="*/ 184 h 578"/>
                    <a:gd name="T22" fmla="*/ 233 w 317"/>
                    <a:gd name="T23" fmla="*/ 227 h 578"/>
                    <a:gd name="T24" fmla="*/ 248 w 317"/>
                    <a:gd name="T25" fmla="*/ 263 h 578"/>
                    <a:gd name="T26" fmla="*/ 270 w 317"/>
                    <a:gd name="T27" fmla="*/ 292 h 578"/>
                    <a:gd name="T28" fmla="*/ 295 w 317"/>
                    <a:gd name="T29" fmla="*/ 333 h 578"/>
                    <a:gd name="T30" fmla="*/ 303 w 317"/>
                    <a:gd name="T31" fmla="*/ 407 h 578"/>
                    <a:gd name="T32" fmla="*/ 266 w 317"/>
                    <a:gd name="T33" fmla="*/ 493 h 578"/>
                    <a:gd name="T34" fmla="*/ 242 w 317"/>
                    <a:gd name="T35" fmla="*/ 508 h 578"/>
                    <a:gd name="T36" fmla="*/ 224 w 317"/>
                    <a:gd name="T37" fmla="*/ 519 h 578"/>
                    <a:gd name="T38" fmla="*/ 210 w 317"/>
                    <a:gd name="T39" fmla="*/ 527 h 578"/>
                    <a:gd name="T40" fmla="*/ 191 w 317"/>
                    <a:gd name="T41" fmla="*/ 544 h 578"/>
                    <a:gd name="T42" fmla="*/ 173 w 317"/>
                    <a:gd name="T43" fmla="*/ 551 h 578"/>
                    <a:gd name="T44" fmla="*/ 155 w 317"/>
                    <a:gd name="T45" fmla="*/ 561 h 578"/>
                    <a:gd name="T46" fmla="*/ 147 w 317"/>
                    <a:gd name="T47" fmla="*/ 567 h 578"/>
                    <a:gd name="T48" fmla="*/ 143 w 317"/>
                    <a:gd name="T49" fmla="*/ 560 h 578"/>
                    <a:gd name="T50" fmla="*/ 132 w 317"/>
                    <a:gd name="T51" fmla="*/ 561 h 578"/>
                    <a:gd name="T52" fmla="*/ 126 w 317"/>
                    <a:gd name="T53" fmla="*/ 559 h 578"/>
                    <a:gd name="T54" fmla="*/ 120 w 317"/>
                    <a:gd name="T55" fmla="*/ 552 h 578"/>
                    <a:gd name="T56" fmla="*/ 118 w 317"/>
                    <a:gd name="T57" fmla="*/ 542 h 578"/>
                    <a:gd name="T58" fmla="*/ 110 w 317"/>
                    <a:gd name="T59" fmla="*/ 541 h 578"/>
                    <a:gd name="T60" fmla="*/ 98 w 317"/>
                    <a:gd name="T61" fmla="*/ 540 h 578"/>
                    <a:gd name="T62" fmla="*/ 94 w 317"/>
                    <a:gd name="T63" fmla="*/ 529 h 578"/>
                    <a:gd name="T64" fmla="*/ 87 w 317"/>
                    <a:gd name="T65" fmla="*/ 521 h 578"/>
                    <a:gd name="T66" fmla="*/ 89 w 317"/>
                    <a:gd name="T67" fmla="*/ 502 h 578"/>
                    <a:gd name="T68" fmla="*/ 89 w 317"/>
                    <a:gd name="T69" fmla="*/ 485 h 578"/>
                    <a:gd name="T70" fmla="*/ 81 w 317"/>
                    <a:gd name="T71" fmla="*/ 459 h 578"/>
                    <a:gd name="T72" fmla="*/ 72 w 317"/>
                    <a:gd name="T73" fmla="*/ 430 h 578"/>
                    <a:gd name="T74" fmla="*/ 75 w 317"/>
                    <a:gd name="T75" fmla="*/ 399 h 578"/>
                    <a:gd name="T76" fmla="*/ 73 w 317"/>
                    <a:gd name="T77" fmla="*/ 393 h 578"/>
                    <a:gd name="T78" fmla="*/ 89 w 317"/>
                    <a:gd name="T79" fmla="*/ 386 h 578"/>
                    <a:gd name="T80" fmla="*/ 95 w 317"/>
                    <a:gd name="T81" fmla="*/ 365 h 578"/>
                    <a:gd name="T82" fmla="*/ 106 w 317"/>
                    <a:gd name="T83" fmla="*/ 351 h 578"/>
                    <a:gd name="T84" fmla="*/ 126 w 317"/>
                    <a:gd name="T85" fmla="*/ 306 h 578"/>
                    <a:gd name="T86" fmla="*/ 143 w 317"/>
                    <a:gd name="T87" fmla="*/ 280 h 578"/>
                    <a:gd name="T88" fmla="*/ 123 w 317"/>
                    <a:gd name="T89" fmla="*/ 248 h 578"/>
                    <a:gd name="T90" fmla="*/ 91 w 317"/>
                    <a:gd name="T91" fmla="*/ 217 h 578"/>
                    <a:gd name="T92" fmla="*/ 80 w 317"/>
                    <a:gd name="T93" fmla="*/ 167 h 578"/>
                    <a:gd name="T94" fmla="*/ 73 w 317"/>
                    <a:gd name="T95" fmla="*/ 132 h 578"/>
                    <a:gd name="T96" fmla="*/ 35 w 317"/>
                    <a:gd name="T97" fmla="*/ 109 h 578"/>
                    <a:gd name="T98" fmla="*/ 142 w 317"/>
                    <a:gd name="T99" fmla="*/ 570 h 578"/>
                    <a:gd name="T100" fmla="*/ 129 w 317"/>
                    <a:gd name="T101" fmla="*/ 570 h 578"/>
                    <a:gd name="T102" fmla="*/ 104 w 317"/>
                    <a:gd name="T103" fmla="*/ 557 h 578"/>
                    <a:gd name="T104" fmla="*/ 114 w 317"/>
                    <a:gd name="T105" fmla="*/ 553 h 578"/>
                    <a:gd name="T106" fmla="*/ 97 w 317"/>
                    <a:gd name="T107" fmla="*/ 556 h 578"/>
                    <a:gd name="T108" fmla="*/ 92 w 317"/>
                    <a:gd name="T109" fmla="*/ 544 h 578"/>
                    <a:gd name="T110" fmla="*/ 83 w 317"/>
                    <a:gd name="T111" fmla="*/ 558 h 578"/>
                    <a:gd name="T112" fmla="*/ 80 w 317"/>
                    <a:gd name="T113" fmla="*/ 563 h 578"/>
                    <a:gd name="T114" fmla="*/ 79 w 317"/>
                    <a:gd name="T115" fmla="*/ 570 h 578"/>
                    <a:gd name="T116" fmla="*/ 48 w 317"/>
                    <a:gd name="T117" fmla="*/ 577 h 578"/>
                    <a:gd name="T118" fmla="*/ 53 w 317"/>
                    <a:gd name="T119" fmla="*/ 558 h 578"/>
                    <a:gd name="T120" fmla="*/ 65 w 317"/>
                    <a:gd name="T121" fmla="*/ 573 h 578"/>
                    <a:gd name="T122" fmla="*/ 68 w 317"/>
                    <a:gd name="T123" fmla="*/ 561 h 578"/>
                    <a:gd name="T124" fmla="*/ 57 w 317"/>
                    <a:gd name="T125" fmla="*/ 553 h 5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17" h="578">
                      <a:moveTo>
                        <a:pt x="20" y="100"/>
                      </a:moveTo>
                      <a:cubicBezTo>
                        <a:pt x="17" y="95"/>
                        <a:pt x="17" y="95"/>
                        <a:pt x="17" y="95"/>
                      </a:cubicBezTo>
                      <a:cubicBezTo>
                        <a:pt x="13" y="93"/>
                        <a:pt x="13" y="93"/>
                        <a:pt x="13" y="93"/>
                      </a:cubicBezTo>
                      <a:cubicBezTo>
                        <a:pt x="8" y="91"/>
                        <a:pt x="8" y="91"/>
                        <a:pt x="8" y="91"/>
                      </a:cubicBezTo>
                      <a:cubicBezTo>
                        <a:pt x="8" y="87"/>
                        <a:pt x="8" y="87"/>
                        <a:pt x="8" y="87"/>
                      </a:cubicBezTo>
                      <a:cubicBezTo>
                        <a:pt x="1" y="83"/>
                        <a:pt x="1" y="83"/>
                        <a:pt x="1" y="83"/>
                      </a:cubicBezTo>
                      <a:cubicBezTo>
                        <a:pt x="1" y="83"/>
                        <a:pt x="0" y="81"/>
                        <a:pt x="1" y="81"/>
                      </a:cubicBezTo>
                      <a:cubicBezTo>
                        <a:pt x="2" y="80"/>
                        <a:pt x="6" y="80"/>
                        <a:pt x="7" y="80"/>
                      </a:cubicBezTo>
                      <a:cubicBezTo>
                        <a:pt x="7" y="79"/>
                        <a:pt x="7" y="79"/>
                        <a:pt x="7" y="79"/>
                      </a:cubicBezTo>
                      <a:cubicBezTo>
                        <a:pt x="8" y="79"/>
                        <a:pt x="8" y="79"/>
                        <a:pt x="8" y="79"/>
                      </a:cubicBezTo>
                      <a:cubicBezTo>
                        <a:pt x="9" y="79"/>
                        <a:pt x="9" y="78"/>
                        <a:pt x="9" y="78"/>
                      </a:cubicBezTo>
                      <a:cubicBezTo>
                        <a:pt x="9" y="78"/>
                        <a:pt x="6" y="72"/>
                        <a:pt x="8" y="69"/>
                      </a:cubicBezTo>
                      <a:cubicBezTo>
                        <a:pt x="8" y="68"/>
                        <a:pt x="8" y="68"/>
                        <a:pt x="8" y="68"/>
                      </a:cubicBezTo>
                      <a:cubicBezTo>
                        <a:pt x="8" y="68"/>
                        <a:pt x="8" y="68"/>
                        <a:pt x="8" y="68"/>
                      </a:cubicBezTo>
                      <a:cubicBezTo>
                        <a:pt x="10" y="66"/>
                        <a:pt x="14" y="66"/>
                        <a:pt x="16" y="68"/>
                      </a:cubicBezTo>
                      <a:cubicBezTo>
                        <a:pt x="20" y="69"/>
                        <a:pt x="20" y="69"/>
                        <a:pt x="20" y="69"/>
                      </a:cubicBezTo>
                      <a:cubicBezTo>
                        <a:pt x="27" y="77"/>
                        <a:pt x="27" y="77"/>
                        <a:pt x="27" y="77"/>
                      </a:cubicBezTo>
                      <a:cubicBezTo>
                        <a:pt x="33" y="84"/>
                        <a:pt x="33" y="84"/>
                        <a:pt x="33" y="84"/>
                      </a:cubicBezTo>
                      <a:cubicBezTo>
                        <a:pt x="33" y="84"/>
                        <a:pt x="42" y="91"/>
                        <a:pt x="44" y="92"/>
                      </a:cubicBezTo>
                      <a:cubicBezTo>
                        <a:pt x="46" y="93"/>
                        <a:pt x="57" y="95"/>
                        <a:pt x="58" y="96"/>
                      </a:cubicBezTo>
                      <a:cubicBezTo>
                        <a:pt x="61" y="92"/>
                        <a:pt x="61" y="92"/>
                        <a:pt x="61" y="92"/>
                      </a:cubicBezTo>
                      <a:cubicBezTo>
                        <a:pt x="65" y="89"/>
                        <a:pt x="65" y="89"/>
                        <a:pt x="65" y="89"/>
                      </a:cubicBezTo>
                      <a:cubicBezTo>
                        <a:pt x="64" y="87"/>
                        <a:pt x="64" y="87"/>
                        <a:pt x="64" y="87"/>
                      </a:cubicBezTo>
                      <a:cubicBezTo>
                        <a:pt x="69" y="84"/>
                        <a:pt x="69" y="84"/>
                        <a:pt x="69" y="84"/>
                      </a:cubicBezTo>
                      <a:cubicBezTo>
                        <a:pt x="73" y="87"/>
                        <a:pt x="73" y="87"/>
                        <a:pt x="73" y="87"/>
                      </a:cubicBezTo>
                      <a:cubicBezTo>
                        <a:pt x="83" y="89"/>
                        <a:pt x="83" y="89"/>
                        <a:pt x="83" y="89"/>
                      </a:cubicBezTo>
                      <a:cubicBezTo>
                        <a:pt x="87" y="92"/>
                        <a:pt x="87" y="92"/>
                        <a:pt x="87" y="92"/>
                      </a:cubicBezTo>
                      <a:cubicBezTo>
                        <a:pt x="87" y="92"/>
                        <a:pt x="88" y="92"/>
                        <a:pt x="89" y="91"/>
                      </a:cubicBezTo>
                      <a:cubicBezTo>
                        <a:pt x="89" y="91"/>
                        <a:pt x="89" y="91"/>
                        <a:pt x="89" y="91"/>
                      </a:cubicBezTo>
                      <a:cubicBezTo>
                        <a:pt x="90" y="91"/>
                        <a:pt x="90" y="91"/>
                        <a:pt x="91" y="90"/>
                      </a:cubicBezTo>
                      <a:cubicBezTo>
                        <a:pt x="91" y="90"/>
                        <a:pt x="91" y="90"/>
                        <a:pt x="91" y="90"/>
                      </a:cubicBezTo>
                      <a:cubicBezTo>
                        <a:pt x="91" y="90"/>
                        <a:pt x="91" y="90"/>
                        <a:pt x="91" y="90"/>
                      </a:cubicBezTo>
                      <a:cubicBezTo>
                        <a:pt x="91" y="90"/>
                        <a:pt x="91" y="90"/>
                        <a:pt x="91" y="90"/>
                      </a:cubicBezTo>
                      <a:cubicBezTo>
                        <a:pt x="91" y="90"/>
                        <a:pt x="91" y="90"/>
                        <a:pt x="91" y="90"/>
                      </a:cubicBezTo>
                      <a:cubicBezTo>
                        <a:pt x="91" y="90"/>
                        <a:pt x="91" y="90"/>
                        <a:pt x="91" y="90"/>
                      </a:cubicBezTo>
                      <a:cubicBezTo>
                        <a:pt x="91" y="89"/>
                        <a:pt x="91" y="89"/>
                        <a:pt x="91" y="89"/>
                      </a:cubicBezTo>
                      <a:cubicBezTo>
                        <a:pt x="91" y="88"/>
                        <a:pt x="91" y="82"/>
                        <a:pt x="91" y="82"/>
                      </a:cubicBezTo>
                      <a:cubicBezTo>
                        <a:pt x="91" y="82"/>
                        <a:pt x="88" y="80"/>
                        <a:pt x="91" y="78"/>
                      </a:cubicBezTo>
                      <a:cubicBezTo>
                        <a:pt x="94" y="75"/>
                        <a:pt x="98" y="72"/>
                        <a:pt x="98" y="72"/>
                      </a:cubicBezTo>
                      <a:cubicBezTo>
                        <a:pt x="98" y="72"/>
                        <a:pt x="100" y="71"/>
                        <a:pt x="100" y="68"/>
                      </a:cubicBezTo>
                      <a:cubicBezTo>
                        <a:pt x="100" y="65"/>
                        <a:pt x="98" y="57"/>
                        <a:pt x="98" y="57"/>
                      </a:cubicBezTo>
                      <a:cubicBezTo>
                        <a:pt x="98" y="57"/>
                        <a:pt x="96" y="52"/>
                        <a:pt x="96" y="50"/>
                      </a:cubicBezTo>
                      <a:cubicBezTo>
                        <a:pt x="98" y="38"/>
                        <a:pt x="93" y="29"/>
                        <a:pt x="96" y="28"/>
                      </a:cubicBezTo>
                      <a:cubicBezTo>
                        <a:pt x="96" y="28"/>
                        <a:pt x="96" y="28"/>
                        <a:pt x="96" y="28"/>
                      </a:cubicBezTo>
                      <a:cubicBezTo>
                        <a:pt x="98" y="27"/>
                        <a:pt x="98" y="27"/>
                        <a:pt x="98" y="27"/>
                      </a:cubicBezTo>
                      <a:cubicBezTo>
                        <a:pt x="101" y="25"/>
                        <a:pt x="101" y="25"/>
                        <a:pt x="101" y="25"/>
                      </a:cubicBezTo>
                      <a:cubicBezTo>
                        <a:pt x="101" y="25"/>
                        <a:pt x="101" y="24"/>
                        <a:pt x="101" y="24"/>
                      </a:cubicBezTo>
                      <a:cubicBezTo>
                        <a:pt x="101" y="19"/>
                        <a:pt x="95" y="14"/>
                        <a:pt x="102" y="13"/>
                      </a:cubicBezTo>
                      <a:cubicBezTo>
                        <a:pt x="105" y="11"/>
                        <a:pt x="105" y="11"/>
                        <a:pt x="105" y="11"/>
                      </a:cubicBezTo>
                      <a:cubicBezTo>
                        <a:pt x="114" y="11"/>
                        <a:pt x="114" y="11"/>
                        <a:pt x="114" y="11"/>
                      </a:cubicBezTo>
                      <a:cubicBezTo>
                        <a:pt x="116" y="5"/>
                        <a:pt x="116" y="5"/>
                        <a:pt x="116" y="5"/>
                      </a:cubicBezTo>
                      <a:cubicBezTo>
                        <a:pt x="120" y="1"/>
                        <a:pt x="120" y="1"/>
                        <a:pt x="120" y="1"/>
                      </a:cubicBezTo>
                      <a:cubicBezTo>
                        <a:pt x="123" y="1"/>
                        <a:pt x="127" y="0"/>
                        <a:pt x="129" y="1"/>
                      </a:cubicBezTo>
                      <a:cubicBezTo>
                        <a:pt x="131" y="4"/>
                        <a:pt x="131" y="6"/>
                        <a:pt x="135" y="7"/>
                      </a:cubicBezTo>
                      <a:cubicBezTo>
                        <a:pt x="147" y="11"/>
                        <a:pt x="147" y="11"/>
                        <a:pt x="147" y="11"/>
                      </a:cubicBezTo>
                      <a:cubicBezTo>
                        <a:pt x="154" y="12"/>
                        <a:pt x="154" y="12"/>
                        <a:pt x="154" y="12"/>
                      </a:cubicBezTo>
                      <a:cubicBezTo>
                        <a:pt x="156" y="14"/>
                        <a:pt x="156" y="14"/>
                        <a:pt x="156" y="14"/>
                      </a:cubicBezTo>
                      <a:cubicBezTo>
                        <a:pt x="156" y="14"/>
                        <a:pt x="156" y="14"/>
                        <a:pt x="156" y="14"/>
                      </a:cubicBezTo>
                      <a:cubicBezTo>
                        <a:pt x="156" y="16"/>
                        <a:pt x="156" y="18"/>
                        <a:pt x="157" y="19"/>
                      </a:cubicBezTo>
                      <a:cubicBezTo>
                        <a:pt x="157" y="21"/>
                        <a:pt x="158" y="24"/>
                        <a:pt x="158" y="24"/>
                      </a:cubicBezTo>
                      <a:cubicBezTo>
                        <a:pt x="158" y="24"/>
                        <a:pt x="157" y="27"/>
                        <a:pt x="157" y="29"/>
                      </a:cubicBezTo>
                      <a:cubicBezTo>
                        <a:pt x="156" y="30"/>
                        <a:pt x="156" y="33"/>
                        <a:pt x="156" y="34"/>
                      </a:cubicBezTo>
                      <a:cubicBezTo>
                        <a:pt x="156" y="35"/>
                        <a:pt x="156" y="36"/>
                        <a:pt x="156" y="37"/>
                      </a:cubicBezTo>
                      <a:cubicBezTo>
                        <a:pt x="156" y="39"/>
                        <a:pt x="157" y="42"/>
                        <a:pt x="158" y="43"/>
                      </a:cubicBezTo>
                      <a:cubicBezTo>
                        <a:pt x="158" y="44"/>
                        <a:pt x="163" y="47"/>
                        <a:pt x="163" y="47"/>
                      </a:cubicBezTo>
                      <a:cubicBezTo>
                        <a:pt x="163" y="47"/>
                        <a:pt x="163" y="48"/>
                        <a:pt x="158" y="52"/>
                      </a:cubicBezTo>
                      <a:cubicBezTo>
                        <a:pt x="154" y="57"/>
                        <a:pt x="154" y="57"/>
                        <a:pt x="154" y="57"/>
                      </a:cubicBezTo>
                      <a:cubicBezTo>
                        <a:pt x="161" y="59"/>
                        <a:pt x="161" y="59"/>
                        <a:pt x="161" y="59"/>
                      </a:cubicBezTo>
                      <a:cubicBezTo>
                        <a:pt x="161" y="64"/>
                        <a:pt x="161" y="64"/>
                        <a:pt x="161" y="64"/>
                      </a:cubicBezTo>
                      <a:cubicBezTo>
                        <a:pt x="161" y="68"/>
                        <a:pt x="161" y="68"/>
                        <a:pt x="161" y="68"/>
                      </a:cubicBezTo>
                      <a:cubicBezTo>
                        <a:pt x="160" y="74"/>
                        <a:pt x="160" y="74"/>
                        <a:pt x="160" y="74"/>
                      </a:cubicBezTo>
                      <a:cubicBezTo>
                        <a:pt x="157" y="78"/>
                        <a:pt x="157" y="78"/>
                        <a:pt x="157" y="78"/>
                      </a:cubicBezTo>
                      <a:cubicBezTo>
                        <a:pt x="161" y="84"/>
                        <a:pt x="161" y="84"/>
                        <a:pt x="161" y="84"/>
                      </a:cubicBezTo>
                      <a:cubicBezTo>
                        <a:pt x="166" y="92"/>
                        <a:pt x="166" y="92"/>
                        <a:pt x="166" y="92"/>
                      </a:cubicBezTo>
                      <a:cubicBezTo>
                        <a:pt x="173" y="96"/>
                        <a:pt x="173" y="96"/>
                        <a:pt x="173" y="96"/>
                      </a:cubicBezTo>
                      <a:cubicBezTo>
                        <a:pt x="173" y="96"/>
                        <a:pt x="174" y="95"/>
                        <a:pt x="181" y="96"/>
                      </a:cubicBezTo>
                      <a:cubicBezTo>
                        <a:pt x="188" y="98"/>
                        <a:pt x="190" y="104"/>
                        <a:pt x="190" y="104"/>
                      </a:cubicBezTo>
                      <a:cubicBezTo>
                        <a:pt x="194" y="109"/>
                        <a:pt x="194" y="109"/>
                        <a:pt x="194" y="109"/>
                      </a:cubicBezTo>
                      <a:cubicBezTo>
                        <a:pt x="200" y="113"/>
                        <a:pt x="200" y="113"/>
                        <a:pt x="200" y="113"/>
                      </a:cubicBezTo>
                      <a:cubicBezTo>
                        <a:pt x="203" y="116"/>
                        <a:pt x="203" y="116"/>
                        <a:pt x="203" y="116"/>
                      </a:cubicBezTo>
                      <a:cubicBezTo>
                        <a:pt x="202" y="125"/>
                        <a:pt x="202" y="125"/>
                        <a:pt x="202" y="125"/>
                      </a:cubicBezTo>
                      <a:cubicBezTo>
                        <a:pt x="202" y="125"/>
                        <a:pt x="199" y="130"/>
                        <a:pt x="200" y="134"/>
                      </a:cubicBezTo>
                      <a:cubicBezTo>
                        <a:pt x="200" y="139"/>
                        <a:pt x="197" y="146"/>
                        <a:pt x="197" y="148"/>
                      </a:cubicBezTo>
                      <a:cubicBezTo>
                        <a:pt x="197" y="149"/>
                        <a:pt x="195" y="157"/>
                        <a:pt x="195" y="157"/>
                      </a:cubicBezTo>
                      <a:cubicBezTo>
                        <a:pt x="198" y="164"/>
                        <a:pt x="198" y="164"/>
                        <a:pt x="198" y="164"/>
                      </a:cubicBezTo>
                      <a:cubicBezTo>
                        <a:pt x="202" y="168"/>
                        <a:pt x="202" y="168"/>
                        <a:pt x="202" y="168"/>
                      </a:cubicBezTo>
                      <a:cubicBezTo>
                        <a:pt x="208" y="175"/>
                        <a:pt x="208" y="175"/>
                        <a:pt x="208" y="175"/>
                      </a:cubicBezTo>
                      <a:cubicBezTo>
                        <a:pt x="216" y="184"/>
                        <a:pt x="216" y="184"/>
                        <a:pt x="216" y="184"/>
                      </a:cubicBezTo>
                      <a:cubicBezTo>
                        <a:pt x="219" y="191"/>
                        <a:pt x="219" y="191"/>
                        <a:pt x="219" y="191"/>
                      </a:cubicBezTo>
                      <a:cubicBezTo>
                        <a:pt x="219" y="191"/>
                        <a:pt x="227" y="196"/>
                        <a:pt x="227" y="197"/>
                      </a:cubicBezTo>
                      <a:cubicBezTo>
                        <a:pt x="227" y="198"/>
                        <a:pt x="230" y="203"/>
                        <a:pt x="230" y="203"/>
                      </a:cubicBezTo>
                      <a:cubicBezTo>
                        <a:pt x="234" y="210"/>
                        <a:pt x="234" y="210"/>
                        <a:pt x="234" y="210"/>
                      </a:cubicBezTo>
                      <a:cubicBezTo>
                        <a:pt x="233" y="215"/>
                        <a:pt x="233" y="215"/>
                        <a:pt x="233" y="215"/>
                      </a:cubicBezTo>
                      <a:cubicBezTo>
                        <a:pt x="230" y="220"/>
                        <a:pt x="230" y="220"/>
                        <a:pt x="230" y="220"/>
                      </a:cubicBezTo>
                      <a:cubicBezTo>
                        <a:pt x="230" y="223"/>
                        <a:pt x="230" y="223"/>
                        <a:pt x="230" y="223"/>
                      </a:cubicBezTo>
                      <a:cubicBezTo>
                        <a:pt x="233" y="227"/>
                        <a:pt x="233" y="227"/>
                        <a:pt x="233" y="227"/>
                      </a:cubicBezTo>
                      <a:cubicBezTo>
                        <a:pt x="232" y="231"/>
                        <a:pt x="232" y="231"/>
                        <a:pt x="232" y="231"/>
                      </a:cubicBezTo>
                      <a:cubicBezTo>
                        <a:pt x="235" y="237"/>
                        <a:pt x="235" y="237"/>
                        <a:pt x="235" y="237"/>
                      </a:cubicBezTo>
                      <a:cubicBezTo>
                        <a:pt x="233" y="241"/>
                        <a:pt x="233" y="241"/>
                        <a:pt x="233" y="241"/>
                      </a:cubicBezTo>
                      <a:cubicBezTo>
                        <a:pt x="238" y="243"/>
                        <a:pt x="238" y="243"/>
                        <a:pt x="238" y="243"/>
                      </a:cubicBezTo>
                      <a:cubicBezTo>
                        <a:pt x="238" y="243"/>
                        <a:pt x="239" y="244"/>
                        <a:pt x="238" y="246"/>
                      </a:cubicBezTo>
                      <a:cubicBezTo>
                        <a:pt x="237" y="247"/>
                        <a:pt x="236" y="254"/>
                        <a:pt x="236" y="254"/>
                      </a:cubicBezTo>
                      <a:cubicBezTo>
                        <a:pt x="241" y="262"/>
                        <a:pt x="241" y="262"/>
                        <a:pt x="241" y="262"/>
                      </a:cubicBezTo>
                      <a:cubicBezTo>
                        <a:pt x="248" y="263"/>
                        <a:pt x="248" y="263"/>
                        <a:pt x="248" y="263"/>
                      </a:cubicBezTo>
                      <a:cubicBezTo>
                        <a:pt x="248" y="263"/>
                        <a:pt x="252" y="263"/>
                        <a:pt x="252" y="264"/>
                      </a:cubicBezTo>
                      <a:cubicBezTo>
                        <a:pt x="253" y="265"/>
                        <a:pt x="254" y="268"/>
                        <a:pt x="254" y="268"/>
                      </a:cubicBezTo>
                      <a:cubicBezTo>
                        <a:pt x="251" y="274"/>
                        <a:pt x="251" y="274"/>
                        <a:pt x="251" y="274"/>
                      </a:cubicBezTo>
                      <a:cubicBezTo>
                        <a:pt x="251" y="274"/>
                        <a:pt x="252" y="277"/>
                        <a:pt x="255" y="279"/>
                      </a:cubicBezTo>
                      <a:cubicBezTo>
                        <a:pt x="257" y="280"/>
                        <a:pt x="259" y="280"/>
                        <a:pt x="259" y="282"/>
                      </a:cubicBezTo>
                      <a:cubicBezTo>
                        <a:pt x="260" y="284"/>
                        <a:pt x="260" y="287"/>
                        <a:pt x="261" y="286"/>
                      </a:cubicBezTo>
                      <a:cubicBezTo>
                        <a:pt x="263" y="286"/>
                        <a:pt x="267" y="287"/>
                        <a:pt x="267" y="287"/>
                      </a:cubicBezTo>
                      <a:cubicBezTo>
                        <a:pt x="270" y="292"/>
                        <a:pt x="270" y="292"/>
                        <a:pt x="270" y="292"/>
                      </a:cubicBezTo>
                      <a:cubicBezTo>
                        <a:pt x="272" y="296"/>
                        <a:pt x="272" y="296"/>
                        <a:pt x="272" y="296"/>
                      </a:cubicBezTo>
                      <a:cubicBezTo>
                        <a:pt x="272" y="296"/>
                        <a:pt x="272" y="299"/>
                        <a:pt x="272" y="300"/>
                      </a:cubicBezTo>
                      <a:cubicBezTo>
                        <a:pt x="272" y="302"/>
                        <a:pt x="271" y="308"/>
                        <a:pt x="271" y="308"/>
                      </a:cubicBezTo>
                      <a:cubicBezTo>
                        <a:pt x="266" y="316"/>
                        <a:pt x="266" y="316"/>
                        <a:pt x="266" y="316"/>
                      </a:cubicBezTo>
                      <a:cubicBezTo>
                        <a:pt x="266" y="316"/>
                        <a:pt x="270" y="321"/>
                        <a:pt x="273" y="323"/>
                      </a:cubicBezTo>
                      <a:cubicBezTo>
                        <a:pt x="276" y="325"/>
                        <a:pt x="280" y="328"/>
                        <a:pt x="281" y="328"/>
                      </a:cubicBezTo>
                      <a:cubicBezTo>
                        <a:pt x="282" y="328"/>
                        <a:pt x="287" y="329"/>
                        <a:pt x="289" y="330"/>
                      </a:cubicBezTo>
                      <a:cubicBezTo>
                        <a:pt x="290" y="330"/>
                        <a:pt x="294" y="332"/>
                        <a:pt x="295" y="333"/>
                      </a:cubicBezTo>
                      <a:cubicBezTo>
                        <a:pt x="296" y="334"/>
                        <a:pt x="303" y="338"/>
                        <a:pt x="303" y="338"/>
                      </a:cubicBezTo>
                      <a:cubicBezTo>
                        <a:pt x="309" y="341"/>
                        <a:pt x="309" y="341"/>
                        <a:pt x="309" y="341"/>
                      </a:cubicBezTo>
                      <a:cubicBezTo>
                        <a:pt x="315" y="346"/>
                        <a:pt x="315" y="346"/>
                        <a:pt x="315" y="346"/>
                      </a:cubicBezTo>
                      <a:cubicBezTo>
                        <a:pt x="317" y="358"/>
                        <a:pt x="317" y="358"/>
                        <a:pt x="317" y="358"/>
                      </a:cubicBezTo>
                      <a:cubicBezTo>
                        <a:pt x="317" y="358"/>
                        <a:pt x="315" y="376"/>
                        <a:pt x="314" y="378"/>
                      </a:cubicBezTo>
                      <a:cubicBezTo>
                        <a:pt x="314" y="380"/>
                        <a:pt x="311" y="389"/>
                        <a:pt x="310" y="390"/>
                      </a:cubicBezTo>
                      <a:cubicBezTo>
                        <a:pt x="308" y="391"/>
                        <a:pt x="306" y="392"/>
                        <a:pt x="306" y="394"/>
                      </a:cubicBezTo>
                      <a:cubicBezTo>
                        <a:pt x="306" y="396"/>
                        <a:pt x="303" y="407"/>
                        <a:pt x="303" y="407"/>
                      </a:cubicBezTo>
                      <a:cubicBezTo>
                        <a:pt x="303" y="407"/>
                        <a:pt x="300" y="414"/>
                        <a:pt x="300" y="416"/>
                      </a:cubicBezTo>
                      <a:cubicBezTo>
                        <a:pt x="300" y="418"/>
                        <a:pt x="297" y="424"/>
                        <a:pt x="297" y="426"/>
                      </a:cubicBezTo>
                      <a:cubicBezTo>
                        <a:pt x="296" y="427"/>
                        <a:pt x="294" y="435"/>
                        <a:pt x="294" y="435"/>
                      </a:cubicBezTo>
                      <a:cubicBezTo>
                        <a:pt x="281" y="461"/>
                        <a:pt x="281" y="461"/>
                        <a:pt x="281" y="461"/>
                      </a:cubicBezTo>
                      <a:cubicBezTo>
                        <a:pt x="278" y="471"/>
                        <a:pt x="278" y="471"/>
                        <a:pt x="278" y="471"/>
                      </a:cubicBezTo>
                      <a:cubicBezTo>
                        <a:pt x="278" y="471"/>
                        <a:pt x="275" y="472"/>
                        <a:pt x="274" y="474"/>
                      </a:cubicBezTo>
                      <a:cubicBezTo>
                        <a:pt x="273" y="477"/>
                        <a:pt x="272" y="479"/>
                        <a:pt x="271" y="482"/>
                      </a:cubicBezTo>
                      <a:cubicBezTo>
                        <a:pt x="271" y="484"/>
                        <a:pt x="266" y="493"/>
                        <a:pt x="266" y="493"/>
                      </a:cubicBezTo>
                      <a:cubicBezTo>
                        <a:pt x="264" y="498"/>
                        <a:pt x="264" y="498"/>
                        <a:pt x="264" y="498"/>
                      </a:cubicBezTo>
                      <a:cubicBezTo>
                        <a:pt x="260" y="503"/>
                        <a:pt x="260" y="503"/>
                        <a:pt x="260" y="503"/>
                      </a:cubicBezTo>
                      <a:cubicBezTo>
                        <a:pt x="260" y="503"/>
                        <a:pt x="257" y="505"/>
                        <a:pt x="257" y="505"/>
                      </a:cubicBezTo>
                      <a:cubicBezTo>
                        <a:pt x="257" y="505"/>
                        <a:pt x="255" y="505"/>
                        <a:pt x="255" y="505"/>
                      </a:cubicBezTo>
                      <a:cubicBezTo>
                        <a:pt x="250" y="505"/>
                        <a:pt x="250" y="505"/>
                        <a:pt x="250" y="505"/>
                      </a:cubicBezTo>
                      <a:cubicBezTo>
                        <a:pt x="247" y="503"/>
                        <a:pt x="247" y="503"/>
                        <a:pt x="247" y="503"/>
                      </a:cubicBezTo>
                      <a:cubicBezTo>
                        <a:pt x="247" y="503"/>
                        <a:pt x="244" y="505"/>
                        <a:pt x="244" y="505"/>
                      </a:cubicBezTo>
                      <a:cubicBezTo>
                        <a:pt x="244" y="506"/>
                        <a:pt x="242" y="507"/>
                        <a:pt x="242" y="508"/>
                      </a:cubicBezTo>
                      <a:cubicBezTo>
                        <a:pt x="242" y="508"/>
                        <a:pt x="241" y="510"/>
                        <a:pt x="240" y="510"/>
                      </a:cubicBezTo>
                      <a:cubicBezTo>
                        <a:pt x="239" y="511"/>
                        <a:pt x="238" y="512"/>
                        <a:pt x="237" y="512"/>
                      </a:cubicBezTo>
                      <a:cubicBezTo>
                        <a:pt x="237" y="513"/>
                        <a:pt x="235" y="513"/>
                        <a:pt x="235" y="513"/>
                      </a:cubicBezTo>
                      <a:cubicBezTo>
                        <a:pt x="235" y="513"/>
                        <a:pt x="235" y="514"/>
                        <a:pt x="234" y="515"/>
                      </a:cubicBezTo>
                      <a:cubicBezTo>
                        <a:pt x="234" y="515"/>
                        <a:pt x="231" y="515"/>
                        <a:pt x="230" y="514"/>
                      </a:cubicBezTo>
                      <a:cubicBezTo>
                        <a:pt x="229" y="513"/>
                        <a:pt x="227" y="512"/>
                        <a:pt x="228" y="512"/>
                      </a:cubicBezTo>
                      <a:cubicBezTo>
                        <a:pt x="228" y="513"/>
                        <a:pt x="227" y="515"/>
                        <a:pt x="227" y="515"/>
                      </a:cubicBezTo>
                      <a:cubicBezTo>
                        <a:pt x="227" y="516"/>
                        <a:pt x="225" y="519"/>
                        <a:pt x="224" y="519"/>
                      </a:cubicBezTo>
                      <a:cubicBezTo>
                        <a:pt x="223" y="519"/>
                        <a:pt x="221" y="518"/>
                        <a:pt x="220" y="517"/>
                      </a:cubicBezTo>
                      <a:cubicBezTo>
                        <a:pt x="219" y="517"/>
                        <a:pt x="218" y="517"/>
                        <a:pt x="218" y="517"/>
                      </a:cubicBezTo>
                      <a:cubicBezTo>
                        <a:pt x="218" y="518"/>
                        <a:pt x="218" y="521"/>
                        <a:pt x="218" y="522"/>
                      </a:cubicBezTo>
                      <a:cubicBezTo>
                        <a:pt x="218" y="522"/>
                        <a:pt x="218" y="523"/>
                        <a:pt x="218" y="524"/>
                      </a:cubicBezTo>
                      <a:cubicBezTo>
                        <a:pt x="217" y="524"/>
                        <a:pt x="215" y="525"/>
                        <a:pt x="215" y="525"/>
                      </a:cubicBezTo>
                      <a:cubicBezTo>
                        <a:pt x="215" y="525"/>
                        <a:pt x="216" y="527"/>
                        <a:pt x="215" y="527"/>
                      </a:cubicBezTo>
                      <a:cubicBezTo>
                        <a:pt x="214" y="528"/>
                        <a:pt x="213" y="529"/>
                        <a:pt x="212" y="529"/>
                      </a:cubicBezTo>
                      <a:cubicBezTo>
                        <a:pt x="212" y="528"/>
                        <a:pt x="210" y="527"/>
                        <a:pt x="210" y="527"/>
                      </a:cubicBezTo>
                      <a:cubicBezTo>
                        <a:pt x="209" y="528"/>
                        <a:pt x="208" y="530"/>
                        <a:pt x="208" y="530"/>
                      </a:cubicBezTo>
                      <a:cubicBezTo>
                        <a:pt x="208" y="531"/>
                        <a:pt x="207" y="532"/>
                        <a:pt x="207" y="532"/>
                      </a:cubicBezTo>
                      <a:cubicBezTo>
                        <a:pt x="207" y="532"/>
                        <a:pt x="200" y="540"/>
                        <a:pt x="200" y="540"/>
                      </a:cubicBezTo>
                      <a:cubicBezTo>
                        <a:pt x="199" y="540"/>
                        <a:pt x="197" y="537"/>
                        <a:pt x="197" y="537"/>
                      </a:cubicBezTo>
                      <a:cubicBezTo>
                        <a:pt x="197" y="538"/>
                        <a:pt x="197" y="540"/>
                        <a:pt x="197" y="540"/>
                      </a:cubicBezTo>
                      <a:cubicBezTo>
                        <a:pt x="196" y="541"/>
                        <a:pt x="194" y="542"/>
                        <a:pt x="194" y="542"/>
                      </a:cubicBezTo>
                      <a:cubicBezTo>
                        <a:pt x="194" y="543"/>
                        <a:pt x="193" y="542"/>
                        <a:pt x="192" y="542"/>
                      </a:cubicBezTo>
                      <a:cubicBezTo>
                        <a:pt x="192" y="543"/>
                        <a:pt x="191" y="543"/>
                        <a:pt x="191" y="544"/>
                      </a:cubicBezTo>
                      <a:cubicBezTo>
                        <a:pt x="191" y="545"/>
                        <a:pt x="190" y="546"/>
                        <a:pt x="190" y="546"/>
                      </a:cubicBezTo>
                      <a:cubicBezTo>
                        <a:pt x="190" y="546"/>
                        <a:pt x="188" y="547"/>
                        <a:pt x="188" y="548"/>
                      </a:cubicBezTo>
                      <a:cubicBezTo>
                        <a:pt x="187" y="549"/>
                        <a:pt x="185" y="550"/>
                        <a:pt x="185" y="550"/>
                      </a:cubicBezTo>
                      <a:cubicBezTo>
                        <a:pt x="185" y="550"/>
                        <a:pt x="184" y="551"/>
                        <a:pt x="183" y="550"/>
                      </a:cubicBezTo>
                      <a:cubicBezTo>
                        <a:pt x="182" y="550"/>
                        <a:pt x="180" y="547"/>
                        <a:pt x="180" y="547"/>
                      </a:cubicBezTo>
                      <a:cubicBezTo>
                        <a:pt x="180" y="547"/>
                        <a:pt x="178" y="547"/>
                        <a:pt x="178" y="548"/>
                      </a:cubicBezTo>
                      <a:cubicBezTo>
                        <a:pt x="177" y="549"/>
                        <a:pt x="177" y="550"/>
                        <a:pt x="176" y="550"/>
                      </a:cubicBezTo>
                      <a:cubicBezTo>
                        <a:pt x="175" y="551"/>
                        <a:pt x="174" y="551"/>
                        <a:pt x="173" y="551"/>
                      </a:cubicBezTo>
                      <a:cubicBezTo>
                        <a:pt x="172" y="552"/>
                        <a:pt x="170" y="552"/>
                        <a:pt x="170" y="553"/>
                      </a:cubicBezTo>
                      <a:cubicBezTo>
                        <a:pt x="169" y="553"/>
                        <a:pt x="168" y="555"/>
                        <a:pt x="168" y="556"/>
                      </a:cubicBezTo>
                      <a:cubicBezTo>
                        <a:pt x="168" y="557"/>
                        <a:pt x="170" y="557"/>
                        <a:pt x="168" y="557"/>
                      </a:cubicBezTo>
                      <a:cubicBezTo>
                        <a:pt x="166" y="558"/>
                        <a:pt x="163" y="558"/>
                        <a:pt x="163" y="558"/>
                      </a:cubicBezTo>
                      <a:cubicBezTo>
                        <a:pt x="163" y="558"/>
                        <a:pt x="161" y="559"/>
                        <a:pt x="161" y="560"/>
                      </a:cubicBezTo>
                      <a:cubicBezTo>
                        <a:pt x="160" y="561"/>
                        <a:pt x="161" y="561"/>
                        <a:pt x="159" y="562"/>
                      </a:cubicBezTo>
                      <a:cubicBezTo>
                        <a:pt x="158" y="562"/>
                        <a:pt x="157" y="563"/>
                        <a:pt x="157" y="563"/>
                      </a:cubicBezTo>
                      <a:cubicBezTo>
                        <a:pt x="155" y="561"/>
                        <a:pt x="155" y="561"/>
                        <a:pt x="155" y="561"/>
                      </a:cubicBezTo>
                      <a:cubicBezTo>
                        <a:pt x="156" y="559"/>
                        <a:pt x="156" y="559"/>
                        <a:pt x="156" y="559"/>
                      </a:cubicBezTo>
                      <a:cubicBezTo>
                        <a:pt x="156" y="559"/>
                        <a:pt x="155" y="557"/>
                        <a:pt x="155" y="558"/>
                      </a:cubicBezTo>
                      <a:cubicBezTo>
                        <a:pt x="154" y="560"/>
                        <a:pt x="155" y="561"/>
                        <a:pt x="155" y="561"/>
                      </a:cubicBezTo>
                      <a:cubicBezTo>
                        <a:pt x="155" y="561"/>
                        <a:pt x="154" y="561"/>
                        <a:pt x="154" y="562"/>
                      </a:cubicBezTo>
                      <a:cubicBezTo>
                        <a:pt x="153" y="563"/>
                        <a:pt x="154" y="563"/>
                        <a:pt x="153" y="564"/>
                      </a:cubicBezTo>
                      <a:cubicBezTo>
                        <a:pt x="153" y="565"/>
                        <a:pt x="152" y="566"/>
                        <a:pt x="151" y="566"/>
                      </a:cubicBezTo>
                      <a:cubicBezTo>
                        <a:pt x="151" y="567"/>
                        <a:pt x="150" y="567"/>
                        <a:pt x="149" y="567"/>
                      </a:cubicBezTo>
                      <a:cubicBezTo>
                        <a:pt x="149" y="567"/>
                        <a:pt x="147" y="567"/>
                        <a:pt x="147" y="567"/>
                      </a:cubicBezTo>
                      <a:cubicBezTo>
                        <a:pt x="146" y="567"/>
                        <a:pt x="145" y="566"/>
                        <a:pt x="146" y="566"/>
                      </a:cubicBezTo>
                      <a:cubicBezTo>
                        <a:pt x="146" y="566"/>
                        <a:pt x="148" y="565"/>
                        <a:pt x="148" y="565"/>
                      </a:cubicBezTo>
                      <a:cubicBezTo>
                        <a:pt x="148" y="565"/>
                        <a:pt x="149" y="564"/>
                        <a:pt x="148" y="564"/>
                      </a:cubicBezTo>
                      <a:cubicBezTo>
                        <a:pt x="147" y="563"/>
                        <a:pt x="146" y="562"/>
                        <a:pt x="146" y="562"/>
                      </a:cubicBezTo>
                      <a:cubicBezTo>
                        <a:pt x="146" y="562"/>
                        <a:pt x="147" y="563"/>
                        <a:pt x="144" y="563"/>
                      </a:cubicBezTo>
                      <a:cubicBezTo>
                        <a:pt x="142" y="564"/>
                        <a:pt x="141" y="564"/>
                        <a:pt x="141" y="563"/>
                      </a:cubicBezTo>
                      <a:cubicBezTo>
                        <a:pt x="141" y="563"/>
                        <a:pt x="139" y="563"/>
                        <a:pt x="140" y="562"/>
                      </a:cubicBezTo>
                      <a:cubicBezTo>
                        <a:pt x="142" y="561"/>
                        <a:pt x="142" y="560"/>
                        <a:pt x="143" y="560"/>
                      </a:cubicBezTo>
                      <a:cubicBezTo>
                        <a:pt x="144" y="560"/>
                        <a:pt x="144" y="558"/>
                        <a:pt x="144" y="557"/>
                      </a:cubicBezTo>
                      <a:cubicBezTo>
                        <a:pt x="144" y="557"/>
                        <a:pt x="146" y="559"/>
                        <a:pt x="143" y="557"/>
                      </a:cubicBezTo>
                      <a:cubicBezTo>
                        <a:pt x="141" y="554"/>
                        <a:pt x="141" y="554"/>
                        <a:pt x="141" y="554"/>
                      </a:cubicBezTo>
                      <a:cubicBezTo>
                        <a:pt x="141" y="554"/>
                        <a:pt x="140" y="555"/>
                        <a:pt x="140" y="556"/>
                      </a:cubicBezTo>
                      <a:cubicBezTo>
                        <a:pt x="141" y="557"/>
                        <a:pt x="143" y="558"/>
                        <a:pt x="140" y="559"/>
                      </a:cubicBezTo>
                      <a:cubicBezTo>
                        <a:pt x="137" y="559"/>
                        <a:pt x="137" y="559"/>
                        <a:pt x="137" y="559"/>
                      </a:cubicBezTo>
                      <a:cubicBezTo>
                        <a:pt x="136" y="560"/>
                        <a:pt x="133" y="560"/>
                        <a:pt x="133" y="560"/>
                      </a:cubicBezTo>
                      <a:cubicBezTo>
                        <a:pt x="133" y="560"/>
                        <a:pt x="131" y="560"/>
                        <a:pt x="132" y="561"/>
                      </a:cubicBezTo>
                      <a:cubicBezTo>
                        <a:pt x="132" y="562"/>
                        <a:pt x="134" y="563"/>
                        <a:pt x="134" y="563"/>
                      </a:cubicBezTo>
                      <a:cubicBezTo>
                        <a:pt x="134" y="563"/>
                        <a:pt x="134" y="564"/>
                        <a:pt x="132" y="564"/>
                      </a:cubicBezTo>
                      <a:cubicBezTo>
                        <a:pt x="131" y="565"/>
                        <a:pt x="129" y="565"/>
                        <a:pt x="129" y="565"/>
                      </a:cubicBezTo>
                      <a:cubicBezTo>
                        <a:pt x="128" y="566"/>
                        <a:pt x="128" y="566"/>
                        <a:pt x="128" y="566"/>
                      </a:cubicBezTo>
                      <a:cubicBezTo>
                        <a:pt x="128" y="566"/>
                        <a:pt x="127" y="566"/>
                        <a:pt x="127" y="565"/>
                      </a:cubicBezTo>
                      <a:cubicBezTo>
                        <a:pt x="127" y="565"/>
                        <a:pt x="128" y="564"/>
                        <a:pt x="128" y="563"/>
                      </a:cubicBezTo>
                      <a:cubicBezTo>
                        <a:pt x="128" y="562"/>
                        <a:pt x="129" y="563"/>
                        <a:pt x="128" y="562"/>
                      </a:cubicBezTo>
                      <a:cubicBezTo>
                        <a:pt x="127" y="560"/>
                        <a:pt x="126" y="560"/>
                        <a:pt x="126" y="559"/>
                      </a:cubicBezTo>
                      <a:cubicBezTo>
                        <a:pt x="127" y="558"/>
                        <a:pt x="129" y="557"/>
                        <a:pt x="129" y="557"/>
                      </a:cubicBezTo>
                      <a:cubicBezTo>
                        <a:pt x="129" y="556"/>
                        <a:pt x="129" y="555"/>
                        <a:pt x="129" y="555"/>
                      </a:cubicBezTo>
                      <a:cubicBezTo>
                        <a:pt x="129" y="555"/>
                        <a:pt x="128" y="555"/>
                        <a:pt x="129" y="554"/>
                      </a:cubicBezTo>
                      <a:cubicBezTo>
                        <a:pt x="130" y="552"/>
                        <a:pt x="131" y="551"/>
                        <a:pt x="131" y="551"/>
                      </a:cubicBezTo>
                      <a:cubicBezTo>
                        <a:pt x="131" y="550"/>
                        <a:pt x="130" y="549"/>
                        <a:pt x="129" y="549"/>
                      </a:cubicBezTo>
                      <a:cubicBezTo>
                        <a:pt x="129" y="549"/>
                        <a:pt x="128" y="551"/>
                        <a:pt x="128" y="552"/>
                      </a:cubicBezTo>
                      <a:cubicBezTo>
                        <a:pt x="128" y="552"/>
                        <a:pt x="129" y="554"/>
                        <a:pt x="126" y="553"/>
                      </a:cubicBezTo>
                      <a:cubicBezTo>
                        <a:pt x="123" y="553"/>
                        <a:pt x="121" y="553"/>
                        <a:pt x="120" y="552"/>
                      </a:cubicBezTo>
                      <a:cubicBezTo>
                        <a:pt x="120" y="551"/>
                        <a:pt x="118" y="550"/>
                        <a:pt x="121" y="550"/>
                      </a:cubicBezTo>
                      <a:cubicBezTo>
                        <a:pt x="124" y="549"/>
                        <a:pt x="124" y="549"/>
                        <a:pt x="124" y="549"/>
                      </a:cubicBezTo>
                      <a:cubicBezTo>
                        <a:pt x="125" y="548"/>
                        <a:pt x="125" y="547"/>
                        <a:pt x="125" y="546"/>
                      </a:cubicBezTo>
                      <a:cubicBezTo>
                        <a:pt x="124" y="546"/>
                        <a:pt x="123" y="544"/>
                        <a:pt x="123" y="545"/>
                      </a:cubicBezTo>
                      <a:cubicBezTo>
                        <a:pt x="122" y="547"/>
                        <a:pt x="122" y="548"/>
                        <a:pt x="122" y="548"/>
                      </a:cubicBezTo>
                      <a:cubicBezTo>
                        <a:pt x="122" y="548"/>
                        <a:pt x="118" y="548"/>
                        <a:pt x="118" y="548"/>
                      </a:cubicBezTo>
                      <a:cubicBezTo>
                        <a:pt x="118" y="548"/>
                        <a:pt x="117" y="547"/>
                        <a:pt x="117" y="546"/>
                      </a:cubicBezTo>
                      <a:cubicBezTo>
                        <a:pt x="117" y="546"/>
                        <a:pt x="118" y="542"/>
                        <a:pt x="118" y="542"/>
                      </a:cubicBezTo>
                      <a:cubicBezTo>
                        <a:pt x="118" y="542"/>
                        <a:pt x="120" y="541"/>
                        <a:pt x="119" y="541"/>
                      </a:cubicBezTo>
                      <a:cubicBezTo>
                        <a:pt x="119" y="541"/>
                        <a:pt x="117" y="540"/>
                        <a:pt x="117" y="541"/>
                      </a:cubicBezTo>
                      <a:cubicBezTo>
                        <a:pt x="116" y="541"/>
                        <a:pt x="117" y="542"/>
                        <a:pt x="117" y="543"/>
                      </a:cubicBezTo>
                      <a:cubicBezTo>
                        <a:pt x="117" y="544"/>
                        <a:pt x="117" y="545"/>
                        <a:pt x="116" y="545"/>
                      </a:cubicBezTo>
                      <a:cubicBezTo>
                        <a:pt x="115" y="546"/>
                        <a:pt x="111" y="546"/>
                        <a:pt x="111" y="546"/>
                      </a:cubicBezTo>
                      <a:cubicBezTo>
                        <a:pt x="111" y="545"/>
                        <a:pt x="110" y="545"/>
                        <a:pt x="111" y="544"/>
                      </a:cubicBezTo>
                      <a:cubicBezTo>
                        <a:pt x="111" y="543"/>
                        <a:pt x="111" y="542"/>
                        <a:pt x="111" y="542"/>
                      </a:cubicBezTo>
                      <a:cubicBezTo>
                        <a:pt x="111" y="542"/>
                        <a:pt x="110" y="540"/>
                        <a:pt x="110" y="541"/>
                      </a:cubicBezTo>
                      <a:cubicBezTo>
                        <a:pt x="109" y="541"/>
                        <a:pt x="108" y="541"/>
                        <a:pt x="108" y="541"/>
                      </a:cubicBezTo>
                      <a:cubicBezTo>
                        <a:pt x="108" y="539"/>
                        <a:pt x="108" y="539"/>
                        <a:pt x="108" y="539"/>
                      </a:cubicBezTo>
                      <a:cubicBezTo>
                        <a:pt x="106" y="539"/>
                        <a:pt x="106" y="539"/>
                        <a:pt x="106" y="539"/>
                      </a:cubicBezTo>
                      <a:cubicBezTo>
                        <a:pt x="105" y="539"/>
                        <a:pt x="105" y="539"/>
                        <a:pt x="105" y="539"/>
                      </a:cubicBezTo>
                      <a:cubicBezTo>
                        <a:pt x="105" y="539"/>
                        <a:pt x="104" y="538"/>
                        <a:pt x="104" y="538"/>
                      </a:cubicBezTo>
                      <a:cubicBezTo>
                        <a:pt x="103" y="538"/>
                        <a:pt x="103" y="538"/>
                        <a:pt x="103" y="539"/>
                      </a:cubicBezTo>
                      <a:cubicBezTo>
                        <a:pt x="102" y="539"/>
                        <a:pt x="99" y="540"/>
                        <a:pt x="99" y="540"/>
                      </a:cubicBezTo>
                      <a:cubicBezTo>
                        <a:pt x="99" y="540"/>
                        <a:pt x="99" y="538"/>
                        <a:pt x="98" y="540"/>
                      </a:cubicBezTo>
                      <a:cubicBezTo>
                        <a:pt x="98" y="541"/>
                        <a:pt x="93" y="541"/>
                        <a:pt x="93" y="541"/>
                      </a:cubicBezTo>
                      <a:cubicBezTo>
                        <a:pt x="93" y="541"/>
                        <a:pt x="92" y="539"/>
                        <a:pt x="92" y="538"/>
                      </a:cubicBezTo>
                      <a:cubicBezTo>
                        <a:pt x="92" y="538"/>
                        <a:pt x="93" y="535"/>
                        <a:pt x="93" y="535"/>
                      </a:cubicBezTo>
                      <a:cubicBezTo>
                        <a:pt x="94" y="534"/>
                        <a:pt x="94" y="534"/>
                        <a:pt x="94" y="534"/>
                      </a:cubicBezTo>
                      <a:cubicBezTo>
                        <a:pt x="93" y="533"/>
                        <a:pt x="93" y="533"/>
                        <a:pt x="93" y="533"/>
                      </a:cubicBezTo>
                      <a:cubicBezTo>
                        <a:pt x="93" y="533"/>
                        <a:pt x="90" y="533"/>
                        <a:pt x="91" y="533"/>
                      </a:cubicBezTo>
                      <a:cubicBezTo>
                        <a:pt x="91" y="532"/>
                        <a:pt x="93" y="530"/>
                        <a:pt x="93" y="530"/>
                      </a:cubicBezTo>
                      <a:cubicBezTo>
                        <a:pt x="93" y="530"/>
                        <a:pt x="94" y="529"/>
                        <a:pt x="94" y="529"/>
                      </a:cubicBezTo>
                      <a:cubicBezTo>
                        <a:pt x="95" y="528"/>
                        <a:pt x="97" y="528"/>
                        <a:pt x="96" y="527"/>
                      </a:cubicBezTo>
                      <a:cubicBezTo>
                        <a:pt x="95" y="527"/>
                        <a:pt x="94" y="526"/>
                        <a:pt x="94" y="526"/>
                      </a:cubicBezTo>
                      <a:cubicBezTo>
                        <a:pt x="94" y="526"/>
                        <a:pt x="93" y="526"/>
                        <a:pt x="93" y="525"/>
                      </a:cubicBezTo>
                      <a:cubicBezTo>
                        <a:pt x="93" y="525"/>
                        <a:pt x="94" y="523"/>
                        <a:pt x="94" y="522"/>
                      </a:cubicBezTo>
                      <a:cubicBezTo>
                        <a:pt x="94" y="521"/>
                        <a:pt x="93" y="520"/>
                        <a:pt x="93" y="520"/>
                      </a:cubicBezTo>
                      <a:cubicBezTo>
                        <a:pt x="92" y="520"/>
                        <a:pt x="93" y="521"/>
                        <a:pt x="91" y="521"/>
                      </a:cubicBezTo>
                      <a:cubicBezTo>
                        <a:pt x="90" y="522"/>
                        <a:pt x="87" y="524"/>
                        <a:pt x="87" y="524"/>
                      </a:cubicBezTo>
                      <a:cubicBezTo>
                        <a:pt x="87" y="523"/>
                        <a:pt x="87" y="522"/>
                        <a:pt x="87" y="521"/>
                      </a:cubicBezTo>
                      <a:cubicBezTo>
                        <a:pt x="88" y="520"/>
                        <a:pt x="91" y="520"/>
                        <a:pt x="92" y="519"/>
                      </a:cubicBezTo>
                      <a:cubicBezTo>
                        <a:pt x="92" y="518"/>
                        <a:pt x="90" y="515"/>
                        <a:pt x="90" y="515"/>
                      </a:cubicBezTo>
                      <a:cubicBezTo>
                        <a:pt x="90" y="515"/>
                        <a:pt x="92" y="516"/>
                        <a:pt x="91" y="514"/>
                      </a:cubicBezTo>
                      <a:cubicBezTo>
                        <a:pt x="89" y="513"/>
                        <a:pt x="89" y="513"/>
                        <a:pt x="89" y="513"/>
                      </a:cubicBezTo>
                      <a:cubicBezTo>
                        <a:pt x="89" y="512"/>
                        <a:pt x="89" y="511"/>
                        <a:pt x="90" y="510"/>
                      </a:cubicBezTo>
                      <a:cubicBezTo>
                        <a:pt x="91" y="508"/>
                        <a:pt x="92" y="508"/>
                        <a:pt x="92" y="507"/>
                      </a:cubicBezTo>
                      <a:cubicBezTo>
                        <a:pt x="92" y="507"/>
                        <a:pt x="89" y="506"/>
                        <a:pt x="89" y="505"/>
                      </a:cubicBezTo>
                      <a:cubicBezTo>
                        <a:pt x="89" y="504"/>
                        <a:pt x="87" y="504"/>
                        <a:pt x="89" y="502"/>
                      </a:cubicBezTo>
                      <a:cubicBezTo>
                        <a:pt x="90" y="501"/>
                        <a:pt x="91" y="501"/>
                        <a:pt x="91" y="501"/>
                      </a:cubicBezTo>
                      <a:cubicBezTo>
                        <a:pt x="91" y="501"/>
                        <a:pt x="91" y="498"/>
                        <a:pt x="91" y="497"/>
                      </a:cubicBezTo>
                      <a:cubicBezTo>
                        <a:pt x="91" y="496"/>
                        <a:pt x="92" y="496"/>
                        <a:pt x="92" y="495"/>
                      </a:cubicBezTo>
                      <a:cubicBezTo>
                        <a:pt x="91" y="494"/>
                        <a:pt x="90" y="494"/>
                        <a:pt x="89" y="492"/>
                      </a:cubicBezTo>
                      <a:cubicBezTo>
                        <a:pt x="89" y="491"/>
                        <a:pt x="89" y="491"/>
                        <a:pt x="89" y="490"/>
                      </a:cubicBezTo>
                      <a:cubicBezTo>
                        <a:pt x="90" y="490"/>
                        <a:pt x="91" y="489"/>
                        <a:pt x="90" y="489"/>
                      </a:cubicBezTo>
                      <a:cubicBezTo>
                        <a:pt x="90" y="488"/>
                        <a:pt x="90" y="487"/>
                        <a:pt x="90" y="487"/>
                      </a:cubicBezTo>
                      <a:cubicBezTo>
                        <a:pt x="90" y="487"/>
                        <a:pt x="90" y="487"/>
                        <a:pt x="89" y="485"/>
                      </a:cubicBezTo>
                      <a:cubicBezTo>
                        <a:pt x="88" y="484"/>
                        <a:pt x="88" y="482"/>
                        <a:pt x="88" y="481"/>
                      </a:cubicBezTo>
                      <a:cubicBezTo>
                        <a:pt x="88" y="480"/>
                        <a:pt x="89" y="476"/>
                        <a:pt x="89" y="476"/>
                      </a:cubicBezTo>
                      <a:cubicBezTo>
                        <a:pt x="89" y="476"/>
                        <a:pt x="89" y="473"/>
                        <a:pt x="87" y="472"/>
                      </a:cubicBezTo>
                      <a:cubicBezTo>
                        <a:pt x="86" y="470"/>
                        <a:pt x="84" y="469"/>
                        <a:pt x="84" y="469"/>
                      </a:cubicBezTo>
                      <a:cubicBezTo>
                        <a:pt x="84" y="469"/>
                        <a:pt x="84" y="467"/>
                        <a:pt x="84" y="466"/>
                      </a:cubicBezTo>
                      <a:cubicBezTo>
                        <a:pt x="84" y="466"/>
                        <a:pt x="82" y="465"/>
                        <a:pt x="82" y="464"/>
                      </a:cubicBezTo>
                      <a:cubicBezTo>
                        <a:pt x="82" y="463"/>
                        <a:pt x="81" y="461"/>
                        <a:pt x="81" y="461"/>
                      </a:cubicBezTo>
                      <a:cubicBezTo>
                        <a:pt x="81" y="461"/>
                        <a:pt x="80" y="461"/>
                        <a:pt x="81" y="459"/>
                      </a:cubicBezTo>
                      <a:cubicBezTo>
                        <a:pt x="81" y="456"/>
                        <a:pt x="81" y="455"/>
                        <a:pt x="81" y="454"/>
                      </a:cubicBezTo>
                      <a:cubicBezTo>
                        <a:pt x="80" y="453"/>
                        <a:pt x="79" y="451"/>
                        <a:pt x="79" y="450"/>
                      </a:cubicBezTo>
                      <a:cubicBezTo>
                        <a:pt x="79" y="449"/>
                        <a:pt x="79" y="447"/>
                        <a:pt x="79" y="447"/>
                      </a:cubicBezTo>
                      <a:cubicBezTo>
                        <a:pt x="79" y="447"/>
                        <a:pt x="79" y="446"/>
                        <a:pt x="78" y="445"/>
                      </a:cubicBezTo>
                      <a:cubicBezTo>
                        <a:pt x="77" y="444"/>
                        <a:pt x="74" y="439"/>
                        <a:pt x="74" y="439"/>
                      </a:cubicBezTo>
                      <a:cubicBezTo>
                        <a:pt x="74" y="439"/>
                        <a:pt x="73" y="439"/>
                        <a:pt x="73" y="437"/>
                      </a:cubicBezTo>
                      <a:cubicBezTo>
                        <a:pt x="72" y="435"/>
                        <a:pt x="72" y="433"/>
                        <a:pt x="72" y="433"/>
                      </a:cubicBezTo>
                      <a:cubicBezTo>
                        <a:pt x="72" y="433"/>
                        <a:pt x="72" y="430"/>
                        <a:pt x="72" y="430"/>
                      </a:cubicBezTo>
                      <a:cubicBezTo>
                        <a:pt x="69" y="427"/>
                        <a:pt x="69" y="427"/>
                        <a:pt x="69" y="427"/>
                      </a:cubicBezTo>
                      <a:cubicBezTo>
                        <a:pt x="70" y="423"/>
                        <a:pt x="70" y="423"/>
                        <a:pt x="70" y="423"/>
                      </a:cubicBezTo>
                      <a:cubicBezTo>
                        <a:pt x="70" y="419"/>
                        <a:pt x="70" y="419"/>
                        <a:pt x="70" y="419"/>
                      </a:cubicBezTo>
                      <a:cubicBezTo>
                        <a:pt x="70" y="419"/>
                        <a:pt x="70" y="414"/>
                        <a:pt x="71" y="414"/>
                      </a:cubicBezTo>
                      <a:cubicBezTo>
                        <a:pt x="72" y="414"/>
                        <a:pt x="74" y="411"/>
                        <a:pt x="74" y="411"/>
                      </a:cubicBezTo>
                      <a:cubicBezTo>
                        <a:pt x="74" y="411"/>
                        <a:pt x="76" y="408"/>
                        <a:pt x="75" y="407"/>
                      </a:cubicBezTo>
                      <a:cubicBezTo>
                        <a:pt x="75" y="406"/>
                        <a:pt x="74" y="402"/>
                        <a:pt x="74" y="402"/>
                      </a:cubicBezTo>
                      <a:cubicBezTo>
                        <a:pt x="74" y="402"/>
                        <a:pt x="76" y="399"/>
                        <a:pt x="75" y="399"/>
                      </a:cubicBezTo>
                      <a:cubicBezTo>
                        <a:pt x="75" y="398"/>
                        <a:pt x="73" y="394"/>
                        <a:pt x="73" y="394"/>
                      </a:cubicBezTo>
                      <a:cubicBezTo>
                        <a:pt x="70" y="397"/>
                        <a:pt x="70" y="397"/>
                        <a:pt x="70" y="397"/>
                      </a:cubicBezTo>
                      <a:cubicBezTo>
                        <a:pt x="68" y="396"/>
                        <a:pt x="68" y="396"/>
                        <a:pt x="68" y="396"/>
                      </a:cubicBezTo>
                      <a:cubicBezTo>
                        <a:pt x="69" y="392"/>
                        <a:pt x="69" y="392"/>
                        <a:pt x="69" y="392"/>
                      </a:cubicBezTo>
                      <a:cubicBezTo>
                        <a:pt x="69" y="392"/>
                        <a:pt x="67" y="390"/>
                        <a:pt x="67" y="389"/>
                      </a:cubicBezTo>
                      <a:cubicBezTo>
                        <a:pt x="67" y="388"/>
                        <a:pt x="69" y="386"/>
                        <a:pt x="69" y="386"/>
                      </a:cubicBezTo>
                      <a:cubicBezTo>
                        <a:pt x="69" y="386"/>
                        <a:pt x="71" y="390"/>
                        <a:pt x="71" y="391"/>
                      </a:cubicBezTo>
                      <a:cubicBezTo>
                        <a:pt x="71" y="392"/>
                        <a:pt x="73" y="393"/>
                        <a:pt x="73" y="393"/>
                      </a:cubicBezTo>
                      <a:cubicBezTo>
                        <a:pt x="74" y="392"/>
                        <a:pt x="74" y="390"/>
                        <a:pt x="75" y="390"/>
                      </a:cubicBezTo>
                      <a:cubicBezTo>
                        <a:pt x="76" y="390"/>
                        <a:pt x="77" y="391"/>
                        <a:pt x="77" y="392"/>
                      </a:cubicBezTo>
                      <a:cubicBezTo>
                        <a:pt x="77" y="392"/>
                        <a:pt x="81" y="391"/>
                        <a:pt x="81" y="391"/>
                      </a:cubicBezTo>
                      <a:cubicBezTo>
                        <a:pt x="81" y="391"/>
                        <a:pt x="80" y="390"/>
                        <a:pt x="83" y="390"/>
                      </a:cubicBezTo>
                      <a:cubicBezTo>
                        <a:pt x="86" y="391"/>
                        <a:pt x="86" y="390"/>
                        <a:pt x="86" y="388"/>
                      </a:cubicBezTo>
                      <a:cubicBezTo>
                        <a:pt x="86" y="387"/>
                        <a:pt x="83" y="383"/>
                        <a:pt x="85" y="383"/>
                      </a:cubicBezTo>
                      <a:cubicBezTo>
                        <a:pt x="88" y="383"/>
                        <a:pt x="89" y="384"/>
                        <a:pt x="89" y="384"/>
                      </a:cubicBezTo>
                      <a:cubicBezTo>
                        <a:pt x="89" y="384"/>
                        <a:pt x="89" y="385"/>
                        <a:pt x="89" y="386"/>
                      </a:cubicBezTo>
                      <a:cubicBezTo>
                        <a:pt x="89" y="388"/>
                        <a:pt x="92" y="390"/>
                        <a:pt x="92" y="388"/>
                      </a:cubicBezTo>
                      <a:cubicBezTo>
                        <a:pt x="93" y="386"/>
                        <a:pt x="93" y="387"/>
                        <a:pt x="93" y="385"/>
                      </a:cubicBezTo>
                      <a:cubicBezTo>
                        <a:pt x="93" y="383"/>
                        <a:pt x="91" y="383"/>
                        <a:pt x="90" y="381"/>
                      </a:cubicBezTo>
                      <a:cubicBezTo>
                        <a:pt x="90" y="380"/>
                        <a:pt x="89" y="382"/>
                        <a:pt x="89" y="379"/>
                      </a:cubicBezTo>
                      <a:cubicBezTo>
                        <a:pt x="90" y="376"/>
                        <a:pt x="90" y="375"/>
                        <a:pt x="91" y="375"/>
                      </a:cubicBezTo>
                      <a:cubicBezTo>
                        <a:pt x="93" y="374"/>
                        <a:pt x="91" y="375"/>
                        <a:pt x="93" y="374"/>
                      </a:cubicBezTo>
                      <a:cubicBezTo>
                        <a:pt x="95" y="374"/>
                        <a:pt x="96" y="372"/>
                        <a:pt x="95" y="369"/>
                      </a:cubicBezTo>
                      <a:cubicBezTo>
                        <a:pt x="95" y="367"/>
                        <a:pt x="94" y="366"/>
                        <a:pt x="95" y="365"/>
                      </a:cubicBezTo>
                      <a:cubicBezTo>
                        <a:pt x="97" y="364"/>
                        <a:pt x="96" y="363"/>
                        <a:pt x="98" y="364"/>
                      </a:cubicBezTo>
                      <a:cubicBezTo>
                        <a:pt x="100" y="365"/>
                        <a:pt x="99" y="365"/>
                        <a:pt x="101" y="365"/>
                      </a:cubicBezTo>
                      <a:cubicBezTo>
                        <a:pt x="102" y="364"/>
                        <a:pt x="102" y="359"/>
                        <a:pt x="102" y="359"/>
                      </a:cubicBezTo>
                      <a:cubicBezTo>
                        <a:pt x="101" y="360"/>
                        <a:pt x="99" y="358"/>
                        <a:pt x="99" y="358"/>
                      </a:cubicBezTo>
                      <a:cubicBezTo>
                        <a:pt x="98" y="358"/>
                        <a:pt x="98" y="356"/>
                        <a:pt x="99" y="355"/>
                      </a:cubicBezTo>
                      <a:cubicBezTo>
                        <a:pt x="99" y="355"/>
                        <a:pt x="99" y="353"/>
                        <a:pt x="100" y="353"/>
                      </a:cubicBezTo>
                      <a:cubicBezTo>
                        <a:pt x="102" y="353"/>
                        <a:pt x="102" y="354"/>
                        <a:pt x="104" y="353"/>
                      </a:cubicBezTo>
                      <a:cubicBezTo>
                        <a:pt x="105" y="352"/>
                        <a:pt x="105" y="352"/>
                        <a:pt x="106" y="351"/>
                      </a:cubicBezTo>
                      <a:cubicBezTo>
                        <a:pt x="107" y="350"/>
                        <a:pt x="108" y="350"/>
                        <a:pt x="109" y="348"/>
                      </a:cubicBezTo>
                      <a:cubicBezTo>
                        <a:pt x="109" y="347"/>
                        <a:pt x="110" y="341"/>
                        <a:pt x="110" y="341"/>
                      </a:cubicBezTo>
                      <a:cubicBezTo>
                        <a:pt x="109" y="340"/>
                        <a:pt x="111" y="341"/>
                        <a:pt x="113" y="340"/>
                      </a:cubicBezTo>
                      <a:cubicBezTo>
                        <a:pt x="114" y="339"/>
                        <a:pt x="115" y="333"/>
                        <a:pt x="116" y="332"/>
                      </a:cubicBezTo>
                      <a:cubicBezTo>
                        <a:pt x="117" y="330"/>
                        <a:pt x="120" y="326"/>
                        <a:pt x="120" y="325"/>
                      </a:cubicBezTo>
                      <a:cubicBezTo>
                        <a:pt x="120" y="324"/>
                        <a:pt x="123" y="317"/>
                        <a:pt x="123" y="317"/>
                      </a:cubicBezTo>
                      <a:cubicBezTo>
                        <a:pt x="127" y="310"/>
                        <a:pt x="127" y="310"/>
                        <a:pt x="127" y="310"/>
                      </a:cubicBezTo>
                      <a:cubicBezTo>
                        <a:pt x="127" y="310"/>
                        <a:pt x="127" y="308"/>
                        <a:pt x="126" y="306"/>
                      </a:cubicBezTo>
                      <a:cubicBezTo>
                        <a:pt x="126" y="305"/>
                        <a:pt x="125" y="301"/>
                        <a:pt x="126" y="300"/>
                      </a:cubicBezTo>
                      <a:cubicBezTo>
                        <a:pt x="127" y="300"/>
                        <a:pt x="128" y="297"/>
                        <a:pt x="128" y="297"/>
                      </a:cubicBezTo>
                      <a:cubicBezTo>
                        <a:pt x="128" y="293"/>
                        <a:pt x="128" y="293"/>
                        <a:pt x="128" y="293"/>
                      </a:cubicBezTo>
                      <a:cubicBezTo>
                        <a:pt x="128" y="293"/>
                        <a:pt x="133" y="290"/>
                        <a:pt x="133" y="290"/>
                      </a:cubicBezTo>
                      <a:cubicBezTo>
                        <a:pt x="139" y="289"/>
                        <a:pt x="135" y="286"/>
                        <a:pt x="142" y="289"/>
                      </a:cubicBezTo>
                      <a:cubicBezTo>
                        <a:pt x="142" y="289"/>
                        <a:pt x="146" y="288"/>
                        <a:pt x="145" y="287"/>
                      </a:cubicBezTo>
                      <a:cubicBezTo>
                        <a:pt x="145" y="287"/>
                        <a:pt x="141" y="283"/>
                        <a:pt x="141" y="283"/>
                      </a:cubicBezTo>
                      <a:cubicBezTo>
                        <a:pt x="143" y="280"/>
                        <a:pt x="143" y="280"/>
                        <a:pt x="143" y="280"/>
                      </a:cubicBezTo>
                      <a:cubicBezTo>
                        <a:pt x="143" y="280"/>
                        <a:pt x="146" y="278"/>
                        <a:pt x="143" y="277"/>
                      </a:cubicBezTo>
                      <a:cubicBezTo>
                        <a:pt x="141" y="276"/>
                        <a:pt x="139" y="275"/>
                        <a:pt x="139" y="274"/>
                      </a:cubicBezTo>
                      <a:cubicBezTo>
                        <a:pt x="139" y="274"/>
                        <a:pt x="138" y="270"/>
                        <a:pt x="138" y="269"/>
                      </a:cubicBezTo>
                      <a:cubicBezTo>
                        <a:pt x="138" y="268"/>
                        <a:pt x="137" y="265"/>
                        <a:pt x="137" y="265"/>
                      </a:cubicBezTo>
                      <a:cubicBezTo>
                        <a:pt x="137" y="265"/>
                        <a:pt x="137" y="261"/>
                        <a:pt x="137" y="260"/>
                      </a:cubicBezTo>
                      <a:cubicBezTo>
                        <a:pt x="137" y="259"/>
                        <a:pt x="136" y="256"/>
                        <a:pt x="135" y="255"/>
                      </a:cubicBezTo>
                      <a:cubicBezTo>
                        <a:pt x="134" y="254"/>
                        <a:pt x="130" y="251"/>
                        <a:pt x="130" y="251"/>
                      </a:cubicBezTo>
                      <a:cubicBezTo>
                        <a:pt x="123" y="248"/>
                        <a:pt x="123" y="248"/>
                        <a:pt x="123" y="248"/>
                      </a:cubicBezTo>
                      <a:cubicBezTo>
                        <a:pt x="121" y="250"/>
                        <a:pt x="121" y="250"/>
                        <a:pt x="121" y="250"/>
                      </a:cubicBezTo>
                      <a:cubicBezTo>
                        <a:pt x="116" y="245"/>
                        <a:pt x="116" y="245"/>
                        <a:pt x="116" y="245"/>
                      </a:cubicBezTo>
                      <a:cubicBezTo>
                        <a:pt x="112" y="244"/>
                        <a:pt x="112" y="244"/>
                        <a:pt x="112" y="244"/>
                      </a:cubicBezTo>
                      <a:cubicBezTo>
                        <a:pt x="108" y="244"/>
                        <a:pt x="108" y="244"/>
                        <a:pt x="108" y="244"/>
                      </a:cubicBezTo>
                      <a:cubicBezTo>
                        <a:pt x="101" y="229"/>
                        <a:pt x="101" y="229"/>
                        <a:pt x="101" y="229"/>
                      </a:cubicBezTo>
                      <a:cubicBezTo>
                        <a:pt x="95" y="226"/>
                        <a:pt x="95" y="226"/>
                        <a:pt x="95" y="226"/>
                      </a:cubicBezTo>
                      <a:cubicBezTo>
                        <a:pt x="91" y="222"/>
                        <a:pt x="91" y="222"/>
                        <a:pt x="91" y="222"/>
                      </a:cubicBezTo>
                      <a:cubicBezTo>
                        <a:pt x="91" y="217"/>
                        <a:pt x="91" y="217"/>
                        <a:pt x="91" y="217"/>
                      </a:cubicBezTo>
                      <a:cubicBezTo>
                        <a:pt x="88" y="213"/>
                        <a:pt x="88" y="213"/>
                        <a:pt x="88" y="213"/>
                      </a:cubicBezTo>
                      <a:cubicBezTo>
                        <a:pt x="88" y="213"/>
                        <a:pt x="89" y="210"/>
                        <a:pt x="89" y="209"/>
                      </a:cubicBezTo>
                      <a:cubicBezTo>
                        <a:pt x="90" y="208"/>
                        <a:pt x="92" y="203"/>
                        <a:pt x="92" y="203"/>
                      </a:cubicBezTo>
                      <a:cubicBezTo>
                        <a:pt x="92" y="203"/>
                        <a:pt x="91" y="199"/>
                        <a:pt x="91" y="198"/>
                      </a:cubicBezTo>
                      <a:cubicBezTo>
                        <a:pt x="91" y="197"/>
                        <a:pt x="92" y="192"/>
                        <a:pt x="92" y="192"/>
                      </a:cubicBezTo>
                      <a:cubicBezTo>
                        <a:pt x="91" y="187"/>
                        <a:pt x="91" y="187"/>
                        <a:pt x="91" y="187"/>
                      </a:cubicBezTo>
                      <a:cubicBezTo>
                        <a:pt x="79" y="173"/>
                        <a:pt x="79" y="173"/>
                        <a:pt x="79" y="173"/>
                      </a:cubicBezTo>
                      <a:cubicBezTo>
                        <a:pt x="80" y="167"/>
                        <a:pt x="80" y="167"/>
                        <a:pt x="80" y="167"/>
                      </a:cubicBezTo>
                      <a:cubicBezTo>
                        <a:pt x="79" y="164"/>
                        <a:pt x="79" y="164"/>
                        <a:pt x="79" y="164"/>
                      </a:cubicBezTo>
                      <a:cubicBezTo>
                        <a:pt x="78" y="161"/>
                        <a:pt x="78" y="161"/>
                        <a:pt x="79" y="159"/>
                      </a:cubicBezTo>
                      <a:cubicBezTo>
                        <a:pt x="79" y="158"/>
                        <a:pt x="79" y="158"/>
                        <a:pt x="79" y="158"/>
                      </a:cubicBezTo>
                      <a:cubicBezTo>
                        <a:pt x="75" y="159"/>
                        <a:pt x="75" y="159"/>
                        <a:pt x="75" y="159"/>
                      </a:cubicBezTo>
                      <a:cubicBezTo>
                        <a:pt x="72" y="155"/>
                        <a:pt x="72" y="155"/>
                        <a:pt x="72" y="155"/>
                      </a:cubicBezTo>
                      <a:cubicBezTo>
                        <a:pt x="73" y="150"/>
                        <a:pt x="73" y="150"/>
                        <a:pt x="73" y="150"/>
                      </a:cubicBezTo>
                      <a:cubicBezTo>
                        <a:pt x="71" y="138"/>
                        <a:pt x="71" y="138"/>
                        <a:pt x="71" y="138"/>
                      </a:cubicBezTo>
                      <a:cubicBezTo>
                        <a:pt x="73" y="132"/>
                        <a:pt x="73" y="132"/>
                        <a:pt x="73" y="132"/>
                      </a:cubicBezTo>
                      <a:cubicBezTo>
                        <a:pt x="67" y="129"/>
                        <a:pt x="67" y="129"/>
                        <a:pt x="67" y="129"/>
                      </a:cubicBezTo>
                      <a:cubicBezTo>
                        <a:pt x="63" y="123"/>
                        <a:pt x="63" y="123"/>
                        <a:pt x="63" y="123"/>
                      </a:cubicBezTo>
                      <a:cubicBezTo>
                        <a:pt x="63" y="123"/>
                        <a:pt x="62" y="125"/>
                        <a:pt x="61" y="124"/>
                      </a:cubicBezTo>
                      <a:cubicBezTo>
                        <a:pt x="60" y="123"/>
                        <a:pt x="55" y="115"/>
                        <a:pt x="55" y="115"/>
                      </a:cubicBezTo>
                      <a:cubicBezTo>
                        <a:pt x="46" y="112"/>
                        <a:pt x="46" y="112"/>
                        <a:pt x="46" y="112"/>
                      </a:cubicBezTo>
                      <a:cubicBezTo>
                        <a:pt x="42" y="110"/>
                        <a:pt x="42" y="110"/>
                        <a:pt x="42" y="110"/>
                      </a:cubicBezTo>
                      <a:cubicBezTo>
                        <a:pt x="37" y="109"/>
                        <a:pt x="37" y="109"/>
                        <a:pt x="37" y="109"/>
                      </a:cubicBezTo>
                      <a:cubicBezTo>
                        <a:pt x="37" y="109"/>
                        <a:pt x="36" y="111"/>
                        <a:pt x="35" y="109"/>
                      </a:cubicBezTo>
                      <a:cubicBezTo>
                        <a:pt x="34" y="107"/>
                        <a:pt x="32" y="105"/>
                        <a:pt x="32" y="105"/>
                      </a:cubicBezTo>
                      <a:cubicBezTo>
                        <a:pt x="28" y="106"/>
                        <a:pt x="28" y="106"/>
                        <a:pt x="28" y="106"/>
                      </a:cubicBezTo>
                      <a:cubicBezTo>
                        <a:pt x="25" y="102"/>
                        <a:pt x="25" y="102"/>
                        <a:pt x="25" y="102"/>
                      </a:cubicBezTo>
                      <a:cubicBezTo>
                        <a:pt x="25" y="102"/>
                        <a:pt x="24" y="102"/>
                        <a:pt x="23" y="102"/>
                      </a:cubicBezTo>
                      <a:cubicBezTo>
                        <a:pt x="22" y="101"/>
                        <a:pt x="20" y="100"/>
                        <a:pt x="20" y="100"/>
                      </a:cubicBezTo>
                      <a:close/>
                      <a:moveTo>
                        <a:pt x="142" y="568"/>
                      </a:moveTo>
                      <a:cubicBezTo>
                        <a:pt x="142" y="568"/>
                        <a:pt x="142" y="568"/>
                        <a:pt x="142" y="568"/>
                      </a:cubicBezTo>
                      <a:cubicBezTo>
                        <a:pt x="142" y="568"/>
                        <a:pt x="142" y="569"/>
                        <a:pt x="142" y="570"/>
                      </a:cubicBezTo>
                      <a:cubicBezTo>
                        <a:pt x="142" y="570"/>
                        <a:pt x="143" y="571"/>
                        <a:pt x="144" y="571"/>
                      </a:cubicBezTo>
                      <a:cubicBezTo>
                        <a:pt x="144" y="571"/>
                        <a:pt x="146" y="570"/>
                        <a:pt x="147" y="569"/>
                      </a:cubicBezTo>
                      <a:cubicBezTo>
                        <a:pt x="149" y="568"/>
                        <a:pt x="147" y="569"/>
                        <a:pt x="147" y="569"/>
                      </a:cubicBezTo>
                      <a:cubicBezTo>
                        <a:pt x="145" y="567"/>
                        <a:pt x="145" y="567"/>
                        <a:pt x="145" y="567"/>
                      </a:cubicBezTo>
                      <a:cubicBezTo>
                        <a:pt x="145" y="567"/>
                        <a:pt x="143" y="568"/>
                        <a:pt x="142" y="568"/>
                      </a:cubicBezTo>
                      <a:close/>
                      <a:moveTo>
                        <a:pt x="129" y="568"/>
                      </a:moveTo>
                      <a:cubicBezTo>
                        <a:pt x="129" y="568"/>
                        <a:pt x="129" y="568"/>
                        <a:pt x="129" y="568"/>
                      </a:cubicBezTo>
                      <a:cubicBezTo>
                        <a:pt x="129" y="568"/>
                        <a:pt x="129" y="570"/>
                        <a:pt x="129" y="570"/>
                      </a:cubicBezTo>
                      <a:cubicBezTo>
                        <a:pt x="129" y="571"/>
                        <a:pt x="130" y="571"/>
                        <a:pt x="131" y="570"/>
                      </a:cubicBezTo>
                      <a:cubicBezTo>
                        <a:pt x="131" y="570"/>
                        <a:pt x="132" y="570"/>
                        <a:pt x="133" y="569"/>
                      </a:cubicBezTo>
                      <a:cubicBezTo>
                        <a:pt x="134" y="568"/>
                        <a:pt x="133" y="567"/>
                        <a:pt x="132" y="567"/>
                      </a:cubicBezTo>
                      <a:cubicBezTo>
                        <a:pt x="132" y="566"/>
                        <a:pt x="131" y="567"/>
                        <a:pt x="131" y="567"/>
                      </a:cubicBezTo>
                      <a:cubicBezTo>
                        <a:pt x="130" y="567"/>
                        <a:pt x="129" y="568"/>
                        <a:pt x="129" y="568"/>
                      </a:cubicBezTo>
                      <a:close/>
                      <a:moveTo>
                        <a:pt x="105" y="556"/>
                      </a:moveTo>
                      <a:cubicBezTo>
                        <a:pt x="105" y="556"/>
                        <a:pt x="105" y="556"/>
                        <a:pt x="105" y="556"/>
                      </a:cubicBezTo>
                      <a:cubicBezTo>
                        <a:pt x="104" y="557"/>
                        <a:pt x="104" y="557"/>
                        <a:pt x="104" y="557"/>
                      </a:cubicBezTo>
                      <a:cubicBezTo>
                        <a:pt x="104" y="557"/>
                        <a:pt x="103" y="558"/>
                        <a:pt x="104" y="559"/>
                      </a:cubicBezTo>
                      <a:cubicBezTo>
                        <a:pt x="104" y="561"/>
                        <a:pt x="105" y="561"/>
                        <a:pt x="105" y="561"/>
                      </a:cubicBezTo>
                      <a:cubicBezTo>
                        <a:pt x="105" y="561"/>
                        <a:pt x="106" y="560"/>
                        <a:pt x="108" y="560"/>
                      </a:cubicBezTo>
                      <a:cubicBezTo>
                        <a:pt x="109" y="560"/>
                        <a:pt x="111" y="558"/>
                        <a:pt x="111" y="557"/>
                      </a:cubicBezTo>
                      <a:cubicBezTo>
                        <a:pt x="112" y="557"/>
                        <a:pt x="112" y="555"/>
                        <a:pt x="113" y="555"/>
                      </a:cubicBezTo>
                      <a:cubicBezTo>
                        <a:pt x="114" y="555"/>
                        <a:pt x="117" y="556"/>
                        <a:pt x="118" y="556"/>
                      </a:cubicBezTo>
                      <a:cubicBezTo>
                        <a:pt x="119" y="556"/>
                        <a:pt x="117" y="553"/>
                        <a:pt x="117" y="553"/>
                      </a:cubicBezTo>
                      <a:cubicBezTo>
                        <a:pt x="117" y="552"/>
                        <a:pt x="114" y="553"/>
                        <a:pt x="114" y="553"/>
                      </a:cubicBezTo>
                      <a:cubicBezTo>
                        <a:pt x="114" y="553"/>
                        <a:pt x="112" y="553"/>
                        <a:pt x="111" y="552"/>
                      </a:cubicBezTo>
                      <a:cubicBezTo>
                        <a:pt x="110" y="552"/>
                        <a:pt x="110" y="552"/>
                        <a:pt x="110" y="552"/>
                      </a:cubicBezTo>
                      <a:cubicBezTo>
                        <a:pt x="109" y="553"/>
                        <a:pt x="109" y="554"/>
                        <a:pt x="108" y="555"/>
                      </a:cubicBezTo>
                      <a:cubicBezTo>
                        <a:pt x="107" y="556"/>
                        <a:pt x="107" y="555"/>
                        <a:pt x="107" y="554"/>
                      </a:cubicBezTo>
                      <a:cubicBezTo>
                        <a:pt x="107" y="554"/>
                        <a:pt x="105" y="553"/>
                        <a:pt x="104" y="554"/>
                      </a:cubicBezTo>
                      <a:cubicBezTo>
                        <a:pt x="104" y="554"/>
                        <a:pt x="105" y="555"/>
                        <a:pt x="105" y="556"/>
                      </a:cubicBezTo>
                      <a:close/>
                      <a:moveTo>
                        <a:pt x="97" y="556"/>
                      </a:moveTo>
                      <a:cubicBezTo>
                        <a:pt x="97" y="556"/>
                        <a:pt x="97" y="556"/>
                        <a:pt x="97" y="556"/>
                      </a:cubicBezTo>
                      <a:cubicBezTo>
                        <a:pt x="97" y="556"/>
                        <a:pt x="99" y="557"/>
                        <a:pt x="101" y="557"/>
                      </a:cubicBezTo>
                      <a:cubicBezTo>
                        <a:pt x="102" y="557"/>
                        <a:pt x="101" y="556"/>
                        <a:pt x="102" y="555"/>
                      </a:cubicBezTo>
                      <a:cubicBezTo>
                        <a:pt x="102" y="554"/>
                        <a:pt x="101" y="555"/>
                        <a:pt x="100" y="554"/>
                      </a:cubicBezTo>
                      <a:cubicBezTo>
                        <a:pt x="99" y="554"/>
                        <a:pt x="99" y="554"/>
                        <a:pt x="98" y="554"/>
                      </a:cubicBezTo>
                      <a:cubicBezTo>
                        <a:pt x="96" y="554"/>
                        <a:pt x="97" y="556"/>
                        <a:pt x="97" y="556"/>
                      </a:cubicBezTo>
                      <a:close/>
                      <a:moveTo>
                        <a:pt x="88" y="545"/>
                      </a:moveTo>
                      <a:cubicBezTo>
                        <a:pt x="88" y="545"/>
                        <a:pt x="88" y="545"/>
                        <a:pt x="88" y="545"/>
                      </a:cubicBezTo>
                      <a:cubicBezTo>
                        <a:pt x="87" y="550"/>
                        <a:pt x="92" y="547"/>
                        <a:pt x="92" y="544"/>
                      </a:cubicBezTo>
                      <a:cubicBezTo>
                        <a:pt x="91" y="542"/>
                        <a:pt x="92" y="542"/>
                        <a:pt x="90" y="540"/>
                      </a:cubicBezTo>
                      <a:cubicBezTo>
                        <a:pt x="89" y="537"/>
                        <a:pt x="89" y="540"/>
                        <a:pt x="88" y="541"/>
                      </a:cubicBezTo>
                      <a:cubicBezTo>
                        <a:pt x="87" y="543"/>
                        <a:pt x="89" y="543"/>
                        <a:pt x="89" y="544"/>
                      </a:cubicBezTo>
                      <a:cubicBezTo>
                        <a:pt x="89" y="545"/>
                        <a:pt x="88" y="544"/>
                        <a:pt x="88" y="545"/>
                      </a:cubicBezTo>
                      <a:close/>
                      <a:moveTo>
                        <a:pt x="80" y="557"/>
                      </a:moveTo>
                      <a:cubicBezTo>
                        <a:pt x="80" y="557"/>
                        <a:pt x="80" y="557"/>
                        <a:pt x="80" y="557"/>
                      </a:cubicBezTo>
                      <a:cubicBezTo>
                        <a:pt x="80" y="557"/>
                        <a:pt x="79" y="558"/>
                        <a:pt x="80" y="560"/>
                      </a:cubicBezTo>
                      <a:cubicBezTo>
                        <a:pt x="80" y="561"/>
                        <a:pt x="80" y="560"/>
                        <a:pt x="83" y="558"/>
                      </a:cubicBezTo>
                      <a:cubicBezTo>
                        <a:pt x="85" y="556"/>
                        <a:pt x="82" y="557"/>
                        <a:pt x="82" y="557"/>
                      </a:cubicBezTo>
                      <a:cubicBezTo>
                        <a:pt x="82" y="556"/>
                        <a:pt x="81" y="557"/>
                        <a:pt x="80" y="557"/>
                      </a:cubicBezTo>
                      <a:close/>
                      <a:moveTo>
                        <a:pt x="80" y="563"/>
                      </a:moveTo>
                      <a:cubicBezTo>
                        <a:pt x="80" y="563"/>
                        <a:pt x="80" y="563"/>
                        <a:pt x="80" y="563"/>
                      </a:cubicBezTo>
                      <a:cubicBezTo>
                        <a:pt x="80" y="563"/>
                        <a:pt x="80" y="565"/>
                        <a:pt x="81" y="565"/>
                      </a:cubicBezTo>
                      <a:cubicBezTo>
                        <a:pt x="82" y="565"/>
                        <a:pt x="82" y="564"/>
                        <a:pt x="83" y="563"/>
                      </a:cubicBezTo>
                      <a:cubicBezTo>
                        <a:pt x="83" y="562"/>
                        <a:pt x="82" y="562"/>
                        <a:pt x="82" y="561"/>
                      </a:cubicBezTo>
                      <a:cubicBezTo>
                        <a:pt x="81" y="561"/>
                        <a:pt x="80" y="562"/>
                        <a:pt x="80" y="563"/>
                      </a:cubicBezTo>
                      <a:close/>
                      <a:moveTo>
                        <a:pt x="77" y="568"/>
                      </a:moveTo>
                      <a:cubicBezTo>
                        <a:pt x="77" y="568"/>
                        <a:pt x="77" y="568"/>
                        <a:pt x="77" y="568"/>
                      </a:cubicBezTo>
                      <a:cubicBezTo>
                        <a:pt x="75" y="568"/>
                        <a:pt x="75" y="568"/>
                        <a:pt x="75" y="568"/>
                      </a:cubicBezTo>
                      <a:cubicBezTo>
                        <a:pt x="75" y="568"/>
                        <a:pt x="75" y="568"/>
                        <a:pt x="72" y="570"/>
                      </a:cubicBezTo>
                      <a:cubicBezTo>
                        <a:pt x="69" y="571"/>
                        <a:pt x="71" y="572"/>
                        <a:pt x="71" y="573"/>
                      </a:cubicBezTo>
                      <a:cubicBezTo>
                        <a:pt x="71" y="575"/>
                        <a:pt x="74" y="573"/>
                        <a:pt x="76" y="572"/>
                      </a:cubicBezTo>
                      <a:cubicBezTo>
                        <a:pt x="77" y="572"/>
                        <a:pt x="76" y="571"/>
                        <a:pt x="77" y="571"/>
                      </a:cubicBezTo>
                      <a:cubicBezTo>
                        <a:pt x="77" y="571"/>
                        <a:pt x="77" y="571"/>
                        <a:pt x="79" y="570"/>
                      </a:cubicBezTo>
                      <a:cubicBezTo>
                        <a:pt x="81" y="569"/>
                        <a:pt x="80" y="569"/>
                        <a:pt x="80" y="568"/>
                      </a:cubicBezTo>
                      <a:cubicBezTo>
                        <a:pt x="80" y="568"/>
                        <a:pt x="78" y="567"/>
                        <a:pt x="77" y="568"/>
                      </a:cubicBezTo>
                      <a:close/>
                      <a:moveTo>
                        <a:pt x="51" y="573"/>
                      </a:moveTo>
                      <a:cubicBezTo>
                        <a:pt x="51" y="573"/>
                        <a:pt x="51" y="573"/>
                        <a:pt x="51" y="573"/>
                      </a:cubicBezTo>
                      <a:cubicBezTo>
                        <a:pt x="52" y="573"/>
                        <a:pt x="53" y="572"/>
                        <a:pt x="54" y="573"/>
                      </a:cubicBezTo>
                      <a:cubicBezTo>
                        <a:pt x="55" y="574"/>
                        <a:pt x="54" y="576"/>
                        <a:pt x="54" y="576"/>
                      </a:cubicBezTo>
                      <a:cubicBezTo>
                        <a:pt x="53" y="577"/>
                        <a:pt x="52" y="578"/>
                        <a:pt x="51" y="578"/>
                      </a:cubicBezTo>
                      <a:cubicBezTo>
                        <a:pt x="50" y="578"/>
                        <a:pt x="49" y="578"/>
                        <a:pt x="48" y="577"/>
                      </a:cubicBezTo>
                      <a:cubicBezTo>
                        <a:pt x="48" y="576"/>
                        <a:pt x="48" y="573"/>
                        <a:pt x="48" y="573"/>
                      </a:cubicBezTo>
                      <a:cubicBezTo>
                        <a:pt x="49" y="573"/>
                        <a:pt x="51" y="573"/>
                        <a:pt x="51" y="573"/>
                      </a:cubicBezTo>
                      <a:close/>
                      <a:moveTo>
                        <a:pt x="59" y="558"/>
                      </a:moveTo>
                      <a:cubicBezTo>
                        <a:pt x="59" y="558"/>
                        <a:pt x="59" y="558"/>
                        <a:pt x="59" y="558"/>
                      </a:cubicBezTo>
                      <a:cubicBezTo>
                        <a:pt x="59" y="558"/>
                        <a:pt x="59" y="558"/>
                        <a:pt x="59" y="558"/>
                      </a:cubicBezTo>
                      <a:cubicBezTo>
                        <a:pt x="59" y="558"/>
                        <a:pt x="59" y="560"/>
                        <a:pt x="58" y="560"/>
                      </a:cubicBezTo>
                      <a:cubicBezTo>
                        <a:pt x="56" y="561"/>
                        <a:pt x="57" y="558"/>
                        <a:pt x="57" y="557"/>
                      </a:cubicBezTo>
                      <a:cubicBezTo>
                        <a:pt x="57" y="556"/>
                        <a:pt x="53" y="558"/>
                        <a:pt x="53" y="558"/>
                      </a:cubicBezTo>
                      <a:cubicBezTo>
                        <a:pt x="53" y="558"/>
                        <a:pt x="53" y="561"/>
                        <a:pt x="52" y="562"/>
                      </a:cubicBezTo>
                      <a:cubicBezTo>
                        <a:pt x="51" y="562"/>
                        <a:pt x="51" y="562"/>
                        <a:pt x="50" y="563"/>
                      </a:cubicBezTo>
                      <a:cubicBezTo>
                        <a:pt x="49" y="564"/>
                        <a:pt x="49" y="566"/>
                        <a:pt x="49" y="566"/>
                      </a:cubicBezTo>
                      <a:cubicBezTo>
                        <a:pt x="50" y="567"/>
                        <a:pt x="52" y="567"/>
                        <a:pt x="52" y="567"/>
                      </a:cubicBezTo>
                      <a:cubicBezTo>
                        <a:pt x="53" y="567"/>
                        <a:pt x="53" y="567"/>
                        <a:pt x="56" y="569"/>
                      </a:cubicBezTo>
                      <a:cubicBezTo>
                        <a:pt x="60" y="570"/>
                        <a:pt x="57" y="569"/>
                        <a:pt x="60" y="569"/>
                      </a:cubicBezTo>
                      <a:cubicBezTo>
                        <a:pt x="62" y="569"/>
                        <a:pt x="61" y="570"/>
                        <a:pt x="62" y="570"/>
                      </a:cubicBezTo>
                      <a:cubicBezTo>
                        <a:pt x="63" y="570"/>
                        <a:pt x="64" y="572"/>
                        <a:pt x="65" y="573"/>
                      </a:cubicBezTo>
                      <a:cubicBezTo>
                        <a:pt x="67" y="574"/>
                        <a:pt x="68" y="572"/>
                        <a:pt x="69" y="572"/>
                      </a:cubicBezTo>
                      <a:cubicBezTo>
                        <a:pt x="69" y="571"/>
                        <a:pt x="71" y="568"/>
                        <a:pt x="71" y="568"/>
                      </a:cubicBezTo>
                      <a:cubicBezTo>
                        <a:pt x="71" y="568"/>
                        <a:pt x="65" y="566"/>
                        <a:pt x="65" y="566"/>
                      </a:cubicBezTo>
                      <a:cubicBezTo>
                        <a:pt x="64" y="566"/>
                        <a:pt x="63" y="563"/>
                        <a:pt x="65" y="563"/>
                      </a:cubicBezTo>
                      <a:cubicBezTo>
                        <a:pt x="66" y="563"/>
                        <a:pt x="66" y="564"/>
                        <a:pt x="67" y="565"/>
                      </a:cubicBezTo>
                      <a:cubicBezTo>
                        <a:pt x="67" y="566"/>
                        <a:pt x="68" y="566"/>
                        <a:pt x="69" y="566"/>
                      </a:cubicBezTo>
                      <a:cubicBezTo>
                        <a:pt x="70" y="566"/>
                        <a:pt x="71" y="565"/>
                        <a:pt x="71" y="564"/>
                      </a:cubicBezTo>
                      <a:cubicBezTo>
                        <a:pt x="71" y="563"/>
                        <a:pt x="70" y="564"/>
                        <a:pt x="68" y="561"/>
                      </a:cubicBezTo>
                      <a:cubicBezTo>
                        <a:pt x="65" y="558"/>
                        <a:pt x="68" y="559"/>
                        <a:pt x="69" y="559"/>
                      </a:cubicBezTo>
                      <a:cubicBezTo>
                        <a:pt x="69" y="558"/>
                        <a:pt x="71" y="556"/>
                        <a:pt x="71" y="556"/>
                      </a:cubicBezTo>
                      <a:cubicBezTo>
                        <a:pt x="72" y="555"/>
                        <a:pt x="69" y="555"/>
                        <a:pt x="68" y="554"/>
                      </a:cubicBezTo>
                      <a:cubicBezTo>
                        <a:pt x="67" y="554"/>
                        <a:pt x="67" y="554"/>
                        <a:pt x="67" y="554"/>
                      </a:cubicBezTo>
                      <a:cubicBezTo>
                        <a:pt x="67" y="555"/>
                        <a:pt x="64" y="554"/>
                        <a:pt x="63" y="553"/>
                      </a:cubicBezTo>
                      <a:cubicBezTo>
                        <a:pt x="63" y="553"/>
                        <a:pt x="63" y="551"/>
                        <a:pt x="62" y="550"/>
                      </a:cubicBezTo>
                      <a:cubicBezTo>
                        <a:pt x="62" y="550"/>
                        <a:pt x="60" y="550"/>
                        <a:pt x="58" y="550"/>
                      </a:cubicBezTo>
                      <a:cubicBezTo>
                        <a:pt x="56" y="550"/>
                        <a:pt x="57" y="553"/>
                        <a:pt x="57" y="553"/>
                      </a:cubicBezTo>
                      <a:cubicBezTo>
                        <a:pt x="57" y="553"/>
                        <a:pt x="58" y="555"/>
                        <a:pt x="59" y="556"/>
                      </a:cubicBezTo>
                      <a:cubicBezTo>
                        <a:pt x="59" y="556"/>
                        <a:pt x="59" y="558"/>
                        <a:pt x="59" y="558"/>
                      </a:cubicBezTo>
                      <a:close/>
                    </a:path>
                  </a:pathLst>
                </a:custGeom>
                <a:solidFill>
                  <a:srgbClr val="E6EFF1"/>
                </a:solidFill>
                <a:ln w="12700" cap="rnd" cmpd="sng">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Lato Light"/>
                  </a:endParaRPr>
                </a:p>
              </p:txBody>
            </p:sp>
          </p:grpSp>
          <p:sp>
            <p:nvSpPr>
              <p:cNvPr id="218" name="Speech Bubble: Rectangle with Corners Rounded 217">
                <a:extLst>
                  <a:ext uri="{FF2B5EF4-FFF2-40B4-BE49-F238E27FC236}">
                    <a16:creationId xmlns:a16="http://schemas.microsoft.com/office/drawing/2014/main" id="{69B19650-03B3-483C-97FE-A1D3B45E1B13}"/>
                  </a:ext>
                </a:extLst>
              </p:cNvPr>
              <p:cNvSpPr/>
              <p:nvPr/>
            </p:nvSpPr>
            <p:spPr>
              <a:xfrm>
                <a:off x="7234353" y="4157014"/>
                <a:ext cx="503999" cy="346184"/>
              </a:xfrm>
              <a:prstGeom prst="wedgeRoundRectCallout">
                <a:avLst>
                  <a:gd name="adj1" fmla="val -66375"/>
                  <a:gd name="adj2" fmla="val -90103"/>
                  <a:gd name="adj3" fmla="val 16667"/>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tIns="36000" bIns="36000" rtlCol="0" anchor="t" anchorCtr="0">
                <a:spAutoFit/>
              </a:bodyPr>
              <a:lstStyle/>
              <a:p>
                <a:pPr indent="-287993" algn="ctr">
                  <a:defRPr/>
                </a:pPr>
                <a:r>
                  <a:rPr lang="en-US" sz="1200">
                    <a:solidFill>
                      <a:prstClr val="white"/>
                    </a:solidFill>
                    <a:latin typeface="Rawline"/>
                  </a:rPr>
                  <a:t>FR</a:t>
                </a:r>
              </a:p>
            </p:txBody>
          </p:sp>
          <p:sp>
            <p:nvSpPr>
              <p:cNvPr id="219" name="Speech Bubble: Rectangle with Corners Rounded 217">
                <a:extLst>
                  <a:ext uri="{FF2B5EF4-FFF2-40B4-BE49-F238E27FC236}">
                    <a16:creationId xmlns:a16="http://schemas.microsoft.com/office/drawing/2014/main" id="{58F523A8-BD07-3744-A502-488DAB919A6F}"/>
                  </a:ext>
                </a:extLst>
              </p:cNvPr>
              <p:cNvSpPr/>
              <p:nvPr/>
            </p:nvSpPr>
            <p:spPr>
              <a:xfrm>
                <a:off x="7933204" y="3076589"/>
                <a:ext cx="483979" cy="346184"/>
              </a:xfrm>
              <a:prstGeom prst="wedgeRoundRectCallout">
                <a:avLst>
                  <a:gd name="adj1" fmla="val -88145"/>
                  <a:gd name="adj2" fmla="val -12943"/>
                  <a:gd name="adj3" fmla="val 16667"/>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tIns="36000" bIns="36000" rtlCol="0" anchor="t" anchorCtr="0">
                <a:spAutoFit/>
              </a:bodyPr>
              <a:lstStyle/>
              <a:p>
                <a:pPr indent="-287993" algn="ctr">
                  <a:defRPr/>
                </a:pPr>
                <a:r>
                  <a:rPr lang="en-US" sz="1200">
                    <a:solidFill>
                      <a:prstClr val="white"/>
                    </a:solidFill>
                    <a:latin typeface="Rawline"/>
                  </a:rPr>
                  <a:t>DE</a:t>
                </a:r>
              </a:p>
            </p:txBody>
          </p:sp>
          <p:sp>
            <p:nvSpPr>
              <p:cNvPr id="223" name="Speech Bubble: Rectangle with Corners Rounded 217">
                <a:extLst>
                  <a:ext uri="{FF2B5EF4-FFF2-40B4-BE49-F238E27FC236}">
                    <a16:creationId xmlns:a16="http://schemas.microsoft.com/office/drawing/2014/main" id="{8D1BCEF8-F154-0E48-86AC-0404F43D43A2}"/>
                  </a:ext>
                </a:extLst>
              </p:cNvPr>
              <p:cNvSpPr/>
              <p:nvPr/>
            </p:nvSpPr>
            <p:spPr>
              <a:xfrm>
                <a:off x="5779955" y="2278983"/>
                <a:ext cx="492261" cy="346184"/>
              </a:xfrm>
              <a:prstGeom prst="wedgeRoundRectCallout">
                <a:avLst>
                  <a:gd name="adj1" fmla="val 49083"/>
                  <a:gd name="adj2" fmla="val 83291"/>
                  <a:gd name="adj3" fmla="val 16667"/>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tIns="36000" bIns="36000" rtlCol="0" anchor="ctr" anchorCtr="0">
                <a:spAutoFit/>
              </a:bodyPr>
              <a:lstStyle/>
              <a:p>
                <a:pPr indent="-287993" algn="ctr">
                  <a:defRPr/>
                </a:pPr>
                <a:r>
                  <a:rPr lang="en-US" sz="1200">
                    <a:solidFill>
                      <a:prstClr val="white"/>
                    </a:solidFill>
                    <a:latin typeface="Rawline"/>
                  </a:rPr>
                  <a:t>UK</a:t>
                </a:r>
              </a:p>
            </p:txBody>
          </p:sp>
          <p:sp>
            <p:nvSpPr>
              <p:cNvPr id="220" name="Speech Bubble: Rectangle with Corners Rounded 217">
                <a:extLst>
                  <a:ext uri="{FF2B5EF4-FFF2-40B4-BE49-F238E27FC236}">
                    <a16:creationId xmlns:a16="http://schemas.microsoft.com/office/drawing/2014/main" id="{F5122F87-69E0-6C49-8857-4977A7FC2C5F}"/>
                  </a:ext>
                </a:extLst>
              </p:cNvPr>
              <p:cNvSpPr/>
              <p:nvPr/>
            </p:nvSpPr>
            <p:spPr>
              <a:xfrm>
                <a:off x="6517812" y="4602654"/>
                <a:ext cx="492261" cy="346184"/>
              </a:xfrm>
              <a:prstGeom prst="wedgeRoundRectCallout">
                <a:avLst>
                  <a:gd name="adj1" fmla="val -64363"/>
                  <a:gd name="adj2" fmla="val -97312"/>
                  <a:gd name="adj3" fmla="val 16667"/>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tIns="36000" bIns="36000" rtlCol="0" anchor="t" anchorCtr="0">
                <a:spAutoFit/>
              </a:bodyPr>
              <a:lstStyle/>
              <a:p>
                <a:pPr indent="-287993" algn="ctr">
                  <a:defRPr/>
                </a:pPr>
                <a:r>
                  <a:rPr lang="en-US" sz="1200">
                    <a:solidFill>
                      <a:prstClr val="white"/>
                    </a:solidFill>
                    <a:latin typeface="Rawline"/>
                  </a:rPr>
                  <a:t>ES</a:t>
                </a:r>
              </a:p>
            </p:txBody>
          </p:sp>
        </p:grpSp>
        <p:sp>
          <p:nvSpPr>
            <p:cNvPr id="246" name="Speech Bubble: Rectangle with Corners Rounded 217">
              <a:extLst>
                <a:ext uri="{FF2B5EF4-FFF2-40B4-BE49-F238E27FC236}">
                  <a16:creationId xmlns:a16="http://schemas.microsoft.com/office/drawing/2014/main" id="{8D002BCB-884F-7FCA-05E9-410AD7E2A288}"/>
                </a:ext>
              </a:extLst>
            </p:cNvPr>
            <p:cNvSpPr/>
            <p:nvPr/>
          </p:nvSpPr>
          <p:spPr>
            <a:xfrm>
              <a:off x="9021817" y="1576268"/>
              <a:ext cx="483405" cy="346184"/>
            </a:xfrm>
            <a:prstGeom prst="wedgeRoundRectCallout">
              <a:avLst>
                <a:gd name="adj1" fmla="val -88145"/>
                <a:gd name="adj2" fmla="val -12943"/>
                <a:gd name="adj3" fmla="val 16667"/>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tIns="36000" bIns="36000" rtlCol="0" anchor="t" anchorCtr="0">
              <a:spAutoFit/>
            </a:bodyPr>
            <a:lstStyle/>
            <a:p>
              <a:pPr indent="-287993" algn="ctr">
                <a:defRPr/>
              </a:pPr>
              <a:r>
                <a:rPr lang="en-US" sz="1200">
                  <a:solidFill>
                    <a:prstClr val="white"/>
                  </a:solidFill>
                  <a:latin typeface="Rawline"/>
                </a:rPr>
                <a:t>SE</a:t>
              </a:r>
            </a:p>
          </p:txBody>
        </p:sp>
      </p:grpSp>
      <p:grpSp>
        <p:nvGrpSpPr>
          <p:cNvPr id="254" name="Group 253">
            <a:extLst>
              <a:ext uri="{FF2B5EF4-FFF2-40B4-BE49-F238E27FC236}">
                <a16:creationId xmlns:a16="http://schemas.microsoft.com/office/drawing/2014/main" id="{9296CB1E-0379-5239-2AC5-495C53CB5B47}"/>
              </a:ext>
            </a:extLst>
          </p:cNvPr>
          <p:cNvGrpSpPr/>
          <p:nvPr/>
        </p:nvGrpSpPr>
        <p:grpSpPr>
          <a:xfrm>
            <a:off x="396258" y="4073209"/>
            <a:ext cx="3607164" cy="2452000"/>
            <a:chOff x="4206098" y="1683222"/>
            <a:chExt cx="3607164" cy="2452000"/>
          </a:xfrm>
        </p:grpSpPr>
        <p:sp>
          <p:nvSpPr>
            <p:cNvPr id="248" name="Text Placeholder 5">
              <a:extLst>
                <a:ext uri="{FF2B5EF4-FFF2-40B4-BE49-F238E27FC236}">
                  <a16:creationId xmlns:a16="http://schemas.microsoft.com/office/drawing/2014/main" id="{D73F1ACB-CB2C-FACE-40FF-F0548EEA80D9}"/>
                </a:ext>
              </a:extLst>
            </p:cNvPr>
            <p:cNvSpPr txBox="1">
              <a:spLocks/>
            </p:cNvSpPr>
            <p:nvPr/>
          </p:nvSpPr>
          <p:spPr>
            <a:xfrm>
              <a:off x="4206098" y="1683222"/>
              <a:ext cx="3492137" cy="2452000"/>
            </a:xfrm>
            <a:prstGeom prst="rect">
              <a:avLst/>
            </a:prstGeom>
          </p:spPr>
          <p:txBody>
            <a:bodyPr vert="horz" lIns="0" tIns="0" rIns="0" bIns="0" rtlCol="0">
              <a:noAutofit/>
            </a:bodyPr>
            <a:lstStyle>
              <a:lvl1pPr marL="288000" indent="-288000" algn="l" defTabSz="914400" rtl="0" eaLnBrk="1" latinLnBrk="0" hangingPunct="1">
                <a:lnSpc>
                  <a:spcPct val="120000"/>
                </a:lnSpc>
                <a:spcBef>
                  <a:spcPts val="0"/>
                </a:spcBef>
                <a:spcAft>
                  <a:spcPts val="1000"/>
                </a:spcAft>
                <a:buClr>
                  <a:schemeClr val="bg2"/>
                </a:buClr>
                <a:buFont typeface="Courier New" panose="02070309020205020404" pitchFamily="49" charset="0"/>
                <a:buChar char="o"/>
                <a:defRPr sz="1600" kern="1200">
                  <a:solidFill>
                    <a:schemeClr val="tx1"/>
                  </a:solidFill>
                  <a:latin typeface="+mn-lt"/>
                  <a:ea typeface="+mn-ea"/>
                  <a:cs typeface="+mn-cs"/>
                </a:defRPr>
              </a:lvl1pPr>
              <a:lvl2pPr marL="576000" indent="-288000" algn="l" defTabSz="914400" rtl="0" eaLnBrk="1" latinLnBrk="0" hangingPunct="1">
                <a:lnSpc>
                  <a:spcPct val="120000"/>
                </a:lnSpc>
                <a:spcBef>
                  <a:spcPts val="0"/>
                </a:spcBef>
                <a:spcAft>
                  <a:spcPts val="1000"/>
                </a:spcAft>
                <a:buClr>
                  <a:schemeClr val="bg2"/>
                </a:buClr>
                <a:buFont typeface="Wingdings" panose="05000000000000000000" pitchFamily="2" charset="2"/>
                <a:buChar char="§"/>
                <a:defRPr sz="1400" kern="1200">
                  <a:solidFill>
                    <a:schemeClr val="tx1"/>
                  </a:solidFill>
                  <a:latin typeface="+mn-lt"/>
                  <a:ea typeface="+mn-ea"/>
                  <a:cs typeface="+mn-cs"/>
                </a:defRPr>
              </a:lvl2pPr>
              <a:lvl3pPr marL="864000" indent="-288000" algn="l" defTabSz="914400" rtl="0" eaLnBrk="1" latinLnBrk="0" hangingPunct="1">
                <a:lnSpc>
                  <a:spcPct val="120000"/>
                </a:lnSpc>
                <a:spcBef>
                  <a:spcPts val="0"/>
                </a:spcBef>
                <a:spcAft>
                  <a:spcPts val="1000"/>
                </a:spcAft>
                <a:buClr>
                  <a:schemeClr val="bg2"/>
                </a:buClr>
                <a:buFont typeface="Wingdings" panose="05000000000000000000" pitchFamily="2" charset="2"/>
                <a:buChar char="§"/>
                <a:defRPr sz="1200" kern="1200">
                  <a:solidFill>
                    <a:schemeClr val="tx1"/>
                  </a:solidFill>
                  <a:latin typeface="+mn-lt"/>
                  <a:ea typeface="+mn-ea"/>
                  <a:cs typeface="+mn-cs"/>
                </a:defRPr>
              </a:lvl3pPr>
              <a:lvl4pPr marL="1152000" indent="-288000" algn="l" defTabSz="914400" rtl="0" eaLnBrk="1" latinLnBrk="0" hangingPunct="1">
                <a:lnSpc>
                  <a:spcPct val="120000"/>
                </a:lnSpc>
                <a:spcBef>
                  <a:spcPts val="0"/>
                </a:spcBef>
                <a:spcAft>
                  <a:spcPts val="1000"/>
                </a:spcAft>
                <a:buClr>
                  <a:schemeClr val="bg2"/>
                </a:buClr>
                <a:buSzPct val="100000"/>
                <a:buFont typeface="Wingdings" panose="05000000000000000000" pitchFamily="2" charset="2"/>
                <a:buChar char="§"/>
                <a:defRPr sz="1200" kern="1200">
                  <a:solidFill>
                    <a:schemeClr val="tx1"/>
                  </a:solidFill>
                  <a:latin typeface="+mn-lt"/>
                  <a:ea typeface="+mn-ea"/>
                  <a:cs typeface="+mn-cs"/>
                </a:defRPr>
              </a:lvl4pPr>
              <a:lvl5pPr marL="1152000" indent="-288000" algn="l" defTabSz="914400" rtl="0" eaLnBrk="1" latinLnBrk="0" hangingPunct="1">
                <a:lnSpc>
                  <a:spcPct val="120000"/>
                </a:lnSpc>
                <a:spcBef>
                  <a:spcPts val="0"/>
                </a:spcBef>
                <a:spcAft>
                  <a:spcPts val="1000"/>
                </a:spcAft>
                <a:buClr>
                  <a:schemeClr val="bg2"/>
                </a:buClr>
                <a:buFont typeface="Wingdings" panose="05000000000000000000" pitchFamily="2" charset="2"/>
                <a:buChar char="§"/>
                <a:defRPr sz="1200" kern="1200">
                  <a:solidFill>
                    <a:schemeClr val="tx1"/>
                  </a:solidFill>
                  <a:latin typeface="+mn-lt"/>
                  <a:ea typeface="+mn-ea"/>
                  <a:cs typeface="+mn-cs"/>
                </a:defRPr>
              </a:lvl5pPr>
              <a:lvl6pPr marL="1152000" indent="-288000" algn="l" defTabSz="914400" rtl="0" eaLnBrk="1" latinLnBrk="0" hangingPunct="1">
                <a:lnSpc>
                  <a:spcPct val="120000"/>
                </a:lnSpc>
                <a:spcBef>
                  <a:spcPts val="0"/>
                </a:spcBef>
                <a:spcAft>
                  <a:spcPts val="1000"/>
                </a:spcAft>
                <a:buClr>
                  <a:schemeClr val="bg2"/>
                </a:buClr>
                <a:buFont typeface="Wingdings" panose="05000000000000000000" pitchFamily="2" charset="2"/>
                <a:buChar char="§"/>
                <a:defRPr sz="1200" kern="1200">
                  <a:solidFill>
                    <a:schemeClr val="tx1"/>
                  </a:solidFill>
                  <a:latin typeface="+mn-lt"/>
                  <a:ea typeface="+mn-ea"/>
                  <a:cs typeface="+mn-cs"/>
                </a:defRPr>
              </a:lvl6pPr>
              <a:lvl7pPr marL="1728000" indent="-288000" algn="l" defTabSz="914400" rtl="0" eaLnBrk="1" latinLnBrk="0" hangingPunct="1">
                <a:lnSpc>
                  <a:spcPct val="120000"/>
                </a:lnSpc>
                <a:spcBef>
                  <a:spcPts val="0"/>
                </a:spcBef>
                <a:spcAft>
                  <a:spcPts val="1000"/>
                </a:spcAft>
                <a:buClr>
                  <a:schemeClr val="tx1"/>
                </a:buClr>
                <a:buFont typeface="Wingdings" panose="05000000000000000000" pitchFamily="2" charset="2"/>
                <a:buChar char="§"/>
                <a:defRPr sz="1200" kern="1200">
                  <a:solidFill>
                    <a:schemeClr val="tx1"/>
                  </a:solidFill>
                  <a:latin typeface="+mn-lt"/>
                  <a:ea typeface="+mn-ea"/>
                  <a:cs typeface="+mn-cs"/>
                </a:defRPr>
              </a:lvl7pPr>
              <a:lvl8pPr marL="2016000" indent="-288000" algn="l" defTabSz="914400" rtl="0" eaLnBrk="1" latinLnBrk="0" hangingPunct="1">
                <a:lnSpc>
                  <a:spcPct val="120000"/>
                </a:lnSpc>
                <a:spcBef>
                  <a:spcPts val="0"/>
                </a:spcBef>
                <a:spcAft>
                  <a:spcPts val="1000"/>
                </a:spcAft>
                <a:buClr>
                  <a:schemeClr val="tx1"/>
                </a:buClr>
                <a:buFont typeface="Wingdings" panose="05000000000000000000" pitchFamily="2" charset="2"/>
                <a:buChar char="§"/>
                <a:defRPr sz="1200" kern="1200">
                  <a:solidFill>
                    <a:schemeClr val="tx1"/>
                  </a:solidFill>
                  <a:latin typeface="+mn-lt"/>
                  <a:ea typeface="+mn-ea"/>
                  <a:cs typeface="+mn-cs"/>
                </a:defRPr>
              </a:lvl8pPr>
              <a:lvl9pPr marL="2304000" indent="-288000" algn="l" defTabSz="914400" rtl="0" eaLnBrk="1" latinLnBrk="0" hangingPunct="1">
                <a:lnSpc>
                  <a:spcPct val="120000"/>
                </a:lnSpc>
                <a:spcBef>
                  <a:spcPts val="0"/>
                </a:spcBef>
                <a:spcAft>
                  <a:spcPts val="1000"/>
                </a:spcAft>
                <a:buClr>
                  <a:schemeClr val="tx1"/>
                </a:buClr>
                <a:buFont typeface="Wingdings" panose="05000000000000000000" pitchFamily="2" charset="2"/>
                <a:buChar char="§"/>
                <a:defRPr sz="1200" kern="1200">
                  <a:solidFill>
                    <a:schemeClr val="tx1"/>
                  </a:solidFill>
                  <a:latin typeface="+mn-lt"/>
                  <a:ea typeface="+mn-ea"/>
                  <a:cs typeface="+mn-cs"/>
                </a:defRPr>
              </a:lvl9pPr>
            </a:lstStyle>
            <a:p>
              <a:pPr marL="0" indent="0">
                <a:buNone/>
              </a:pPr>
              <a:r>
                <a:rPr lang="en-GB" sz="1800" b="1">
                  <a:solidFill>
                    <a:schemeClr val="accent1"/>
                  </a:solidFill>
                  <a:ea typeface="Google Sans"/>
                  <a:cs typeface="MV Boli"/>
                  <a:sym typeface="Google Sans"/>
                </a:rPr>
                <a:t>Fieldwork specifications</a:t>
              </a:r>
            </a:p>
            <a:p>
              <a:endParaRPr lang="en-US"/>
            </a:p>
          </p:txBody>
        </p:sp>
        <p:pic>
          <p:nvPicPr>
            <p:cNvPr id="249" name="Graphic 248">
              <a:extLst>
                <a:ext uri="{FF2B5EF4-FFF2-40B4-BE49-F238E27FC236}">
                  <a16:creationId xmlns:a16="http://schemas.microsoft.com/office/drawing/2014/main" id="{F0C1D60B-617B-38E6-2EBC-617D93801467}"/>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4243856" y="2124432"/>
              <a:ext cx="375915" cy="375915"/>
            </a:xfrm>
            <a:prstGeom prst="rect">
              <a:avLst/>
            </a:prstGeom>
          </p:spPr>
        </p:pic>
        <p:pic>
          <p:nvPicPr>
            <p:cNvPr id="250" name="Graphic 249">
              <a:extLst>
                <a:ext uri="{FF2B5EF4-FFF2-40B4-BE49-F238E27FC236}">
                  <a16:creationId xmlns:a16="http://schemas.microsoft.com/office/drawing/2014/main" id="{153C85B5-E779-E3E3-4E41-7546E38519FA}"/>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4279677" y="3159655"/>
              <a:ext cx="304273" cy="304273"/>
            </a:xfrm>
            <a:prstGeom prst="rect">
              <a:avLst/>
            </a:prstGeom>
          </p:spPr>
        </p:pic>
        <p:pic>
          <p:nvPicPr>
            <p:cNvPr id="251" name="Graphic 250">
              <a:extLst>
                <a:ext uri="{FF2B5EF4-FFF2-40B4-BE49-F238E27FC236}">
                  <a16:creationId xmlns:a16="http://schemas.microsoft.com/office/drawing/2014/main" id="{0F9491B1-7732-4482-2592-417A97826BA2}"/>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4287813" y="2653130"/>
              <a:ext cx="288000" cy="288000"/>
            </a:xfrm>
            <a:prstGeom prst="rect">
              <a:avLst/>
            </a:prstGeom>
          </p:spPr>
        </p:pic>
        <p:sp>
          <p:nvSpPr>
            <p:cNvPr id="252" name="TextBox 251">
              <a:extLst>
                <a:ext uri="{FF2B5EF4-FFF2-40B4-BE49-F238E27FC236}">
                  <a16:creationId xmlns:a16="http://schemas.microsoft.com/office/drawing/2014/main" id="{4D73B6B2-7758-7693-40AA-6D43404C51B6}"/>
                </a:ext>
              </a:extLst>
            </p:cNvPr>
            <p:cNvSpPr txBox="1"/>
            <p:nvPr/>
          </p:nvSpPr>
          <p:spPr>
            <a:xfrm>
              <a:off x="4602070" y="2070098"/>
              <a:ext cx="3211192" cy="1994690"/>
            </a:xfrm>
            <a:prstGeom prst="rect">
              <a:avLst/>
            </a:prstGeom>
            <a:noFill/>
          </p:spPr>
          <p:txBody>
            <a:bodyPr wrap="square" lIns="108000" tIns="72000" rIns="108000" bIns="108000" rtlCol="0">
              <a:spAutoFit/>
            </a:bodyPr>
            <a:lstStyle/>
            <a:p>
              <a:pPr indent="0" algn="l">
                <a:spcAft>
                  <a:spcPts val="1000"/>
                </a:spcAft>
              </a:pPr>
              <a:r>
                <a:rPr lang="en-US">
                  <a:latin typeface="+mj-lt"/>
                </a:rPr>
                <a:t>N=500</a:t>
              </a:r>
            </a:p>
            <a:p>
              <a:pPr indent="0" algn="l">
                <a:spcAft>
                  <a:spcPts val="1000"/>
                </a:spcAft>
              </a:pPr>
              <a:r>
                <a:rPr lang="en-US">
                  <a:latin typeface="+mj-lt"/>
                </a:rPr>
                <a:t>Assumed Incidence Rate &gt; 20%</a:t>
              </a:r>
            </a:p>
            <a:p>
              <a:pPr indent="0" algn="l">
                <a:spcAft>
                  <a:spcPts val="1000"/>
                </a:spcAft>
              </a:pPr>
              <a:r>
                <a:rPr lang="en-US">
                  <a:latin typeface="+mj-lt"/>
                </a:rPr>
                <a:t>&lt; 15 min length</a:t>
              </a:r>
            </a:p>
            <a:p>
              <a:pPr indent="0" algn="l">
                <a:spcAft>
                  <a:spcPts val="1000"/>
                </a:spcAft>
              </a:pPr>
              <a:r>
                <a:rPr lang="en-US">
                  <a:latin typeface="+mj-lt"/>
                </a:rPr>
                <a:t>Device agnostic survey</a:t>
              </a:r>
            </a:p>
          </p:txBody>
        </p:sp>
        <p:pic>
          <p:nvPicPr>
            <p:cNvPr id="253" name="Graphic 252">
              <a:extLst>
                <a:ext uri="{FF2B5EF4-FFF2-40B4-BE49-F238E27FC236}">
                  <a16:creationId xmlns:a16="http://schemas.microsoft.com/office/drawing/2014/main" id="{668C0850-482F-2DF9-A6F9-908C34930B84}"/>
                </a:ext>
              </a:extLst>
            </p:cNvPr>
            <p:cNvPicPr>
              <a:picLocks noChangeAspect="1"/>
            </p:cNvPicPr>
            <p:nvPr/>
          </p:nvPicPr>
          <p:blipFill>
            <a:blip r:embed="rId9" cstate="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4259560" y="3682453"/>
              <a:ext cx="357318" cy="357318"/>
            </a:xfrm>
            <a:prstGeom prst="rect">
              <a:avLst/>
            </a:prstGeom>
          </p:spPr>
        </p:pic>
      </p:grpSp>
    </p:spTree>
    <p:extLst>
      <p:ext uri="{BB962C8B-B14F-4D97-AF65-F5344CB8AC3E}">
        <p14:creationId xmlns:p14="http://schemas.microsoft.com/office/powerpoint/2010/main" val="224208896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Placeholder 16" descr="A picture containing person, outdoor, people, group&#10;&#10;Description automatically generated">
            <a:extLst>
              <a:ext uri="{FF2B5EF4-FFF2-40B4-BE49-F238E27FC236}">
                <a16:creationId xmlns:a16="http://schemas.microsoft.com/office/drawing/2014/main" id="{D3904F4B-4069-4BA0-917C-91F54CC25628}"/>
              </a:ext>
            </a:extLst>
          </p:cNvPr>
          <p:cNvPicPr>
            <a:picLocks noChangeAspect="1"/>
          </p:cNvPicPr>
          <p:nvPr/>
        </p:nvPicPr>
        <p:blipFill>
          <a:blip r:embed="rId3">
            <a:extLst>
              <a:ext uri="{28A0092B-C50C-407E-A947-70E740481C1C}">
                <a14:useLocalDpi xmlns:a14="http://schemas.microsoft.com/office/drawing/2010/main" val="0"/>
              </a:ext>
            </a:extLst>
          </a:blip>
          <a:srcRect l="21" r="21"/>
          <a:stretch>
            <a:fillRect/>
          </a:stretch>
        </p:blipFill>
        <p:spPr>
          <a:xfrm>
            <a:off x="1588" y="0"/>
            <a:ext cx="6094412" cy="6865200"/>
          </a:xfrm>
          <a:prstGeom prst="rect">
            <a:avLst/>
          </a:prstGeom>
          <a:solidFill>
            <a:srgbClr val="E6EFF1"/>
          </a:solidFill>
        </p:spPr>
      </p:pic>
      <p:pic>
        <p:nvPicPr>
          <p:cNvPr id="16" name="Picture Placeholder 15" descr="A picture containing person, outdoor, sitting, people&#10;&#10;Description automatically generated">
            <a:extLst>
              <a:ext uri="{FF2B5EF4-FFF2-40B4-BE49-F238E27FC236}">
                <a16:creationId xmlns:a16="http://schemas.microsoft.com/office/drawing/2014/main" id="{CA39584F-C5F0-45B4-8DC1-78B003583671}"/>
              </a:ext>
            </a:extLst>
          </p:cNvPr>
          <p:cNvPicPr>
            <a:picLocks noGrp="1" noChangeAspect="1"/>
          </p:cNvPicPr>
          <p:nvPr>
            <p:ph type="pic" sz="quarter" idx="13"/>
          </p:nvPr>
        </p:nvPicPr>
        <p:blipFill rotWithShape="1">
          <a:blip r:embed="rId4">
            <a:extLst>
              <a:ext uri="{28A0092B-C50C-407E-A947-70E740481C1C}">
                <a14:useLocalDpi xmlns:a14="http://schemas.microsoft.com/office/drawing/2010/main" val="0"/>
              </a:ext>
            </a:extLst>
          </a:blip>
          <a:srcRect t="69" b="69"/>
          <a:stretch>
            <a:fillRect/>
          </a:stretch>
        </p:blipFill>
        <p:spPr/>
      </p:pic>
      <p:sp>
        <p:nvSpPr>
          <p:cNvPr id="17" name="doOverlay">
            <a:extLst>
              <a:ext uri="{FF2B5EF4-FFF2-40B4-BE49-F238E27FC236}">
                <a16:creationId xmlns:a16="http://schemas.microsoft.com/office/drawing/2014/main" id="{535008B2-1DC9-422B-A694-AC20A42752A1}"/>
              </a:ext>
            </a:extLst>
          </p:cNvPr>
          <p:cNvSpPr/>
          <p:nvPr/>
        </p:nvSpPr>
        <p:spPr>
          <a:xfrm>
            <a:off x="0" y="0"/>
            <a:ext cx="6096000" cy="6858000"/>
          </a:xfrm>
          <a:prstGeom prst="rect">
            <a:avLst/>
          </a:prstGeom>
          <a:solidFill>
            <a:schemeClr val="accent1">
              <a:alpha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72000" rIns="108000" bIns="108000" rtlCol="0" anchor="t" anchorCtr="0">
            <a:noAutofit/>
          </a:bodyPr>
          <a:lstStyle/>
          <a:p>
            <a:pPr indent="0" algn="l">
              <a:lnSpc>
                <a:spcPct val="120000"/>
              </a:lnSpc>
            </a:pPr>
            <a:endParaRPr lang="en-SG" sz="1400" err="1">
              <a:solidFill>
                <a:schemeClr val="bg2"/>
              </a:solidFill>
            </a:endParaRPr>
          </a:p>
        </p:txBody>
      </p:sp>
      <p:sp>
        <p:nvSpPr>
          <p:cNvPr id="7" name="Text Placeholder 6">
            <a:extLst>
              <a:ext uri="{FF2B5EF4-FFF2-40B4-BE49-F238E27FC236}">
                <a16:creationId xmlns:a16="http://schemas.microsoft.com/office/drawing/2014/main" id="{C75C635C-714A-4777-BFF6-733C32631294}"/>
              </a:ext>
            </a:extLst>
          </p:cNvPr>
          <p:cNvSpPr>
            <a:spLocks noGrp="1"/>
          </p:cNvSpPr>
          <p:nvPr>
            <p:ph type="body" sz="quarter" idx="14"/>
          </p:nvPr>
        </p:nvSpPr>
        <p:spPr>
          <a:noFill/>
          <a:ln>
            <a:noFill/>
          </a:ln>
        </p:spPr>
        <p:txBody>
          <a:bodyPr wrap="square" lIns="0" tIns="0" rIns="0" bIns="0" anchor="ctr">
            <a:noAutofit/>
          </a:bodyPr>
          <a:lstStyle/>
          <a:p>
            <a:pPr defTabSz="914377">
              <a:lnSpc>
                <a:spcPct val="200000"/>
              </a:lnSpc>
              <a:spcAft>
                <a:spcPts val="0"/>
              </a:spcAft>
              <a:buClrTx/>
              <a:buFontTx/>
            </a:pPr>
            <a:r>
              <a:rPr lang="en-US">
                <a:latin typeface="Rawline" panose="00000500000000000000" pitchFamily="2" charset="0"/>
              </a:rPr>
              <a:t>1 | The opportunity</a:t>
            </a:r>
          </a:p>
          <a:p>
            <a:pPr defTabSz="914377">
              <a:lnSpc>
                <a:spcPct val="200000"/>
              </a:lnSpc>
              <a:spcAft>
                <a:spcPts val="0"/>
              </a:spcAft>
              <a:buClrTx/>
              <a:buFontTx/>
            </a:pPr>
            <a:r>
              <a:rPr lang="en-US">
                <a:latin typeface="Rawline" panose="00000500000000000000" pitchFamily="2" charset="0"/>
              </a:rPr>
              <a:t>2 | Considerations</a:t>
            </a:r>
            <a:br>
              <a:rPr lang="en-US">
                <a:latin typeface="Rawline" panose="00000500000000000000" pitchFamily="2" charset="0"/>
              </a:rPr>
            </a:br>
            <a:r>
              <a:rPr lang="en-US">
                <a:latin typeface="Rawline" panose="00000500000000000000" pitchFamily="2" charset="0"/>
              </a:rPr>
              <a:t>3 | Our approach in detail</a:t>
            </a:r>
            <a:br>
              <a:rPr lang="en-US">
                <a:latin typeface="Rawline" panose="00000500000000000000" pitchFamily="2" charset="0"/>
              </a:rPr>
            </a:br>
            <a:r>
              <a:rPr lang="en-US">
                <a:latin typeface="Rawline" panose="00000500000000000000" pitchFamily="2" charset="0"/>
              </a:rPr>
              <a:t>4 | Timeline and investment</a:t>
            </a:r>
          </a:p>
        </p:txBody>
      </p:sp>
      <p:sp>
        <p:nvSpPr>
          <p:cNvPr id="2" name="Title 1">
            <a:extLst>
              <a:ext uri="{FF2B5EF4-FFF2-40B4-BE49-F238E27FC236}">
                <a16:creationId xmlns:a16="http://schemas.microsoft.com/office/drawing/2014/main" id="{AE5B5B26-6461-4FC5-934C-1B67488D0E7F}"/>
              </a:ext>
            </a:extLst>
          </p:cNvPr>
          <p:cNvSpPr>
            <a:spLocks noGrp="1"/>
          </p:cNvSpPr>
          <p:nvPr>
            <p:ph type="ctrTitle"/>
          </p:nvPr>
        </p:nvSpPr>
        <p:spPr/>
        <p:txBody>
          <a:bodyPr>
            <a:noAutofit/>
          </a:bodyPr>
          <a:lstStyle/>
          <a:p>
            <a:r>
              <a:rPr lang="en-US"/>
              <a:t>What we can</a:t>
            </a:r>
            <a:br>
              <a:rPr lang="en-US"/>
            </a:br>
            <a:r>
              <a:rPr lang="en-US"/>
              <a:t>do for you</a:t>
            </a:r>
          </a:p>
        </p:txBody>
      </p:sp>
    </p:spTree>
    <p:extLst>
      <p:ext uri="{BB962C8B-B14F-4D97-AF65-F5344CB8AC3E}">
        <p14:creationId xmlns:p14="http://schemas.microsoft.com/office/powerpoint/2010/main" val="3157786664"/>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3" name="Group 32">
            <a:extLst>
              <a:ext uri="{FF2B5EF4-FFF2-40B4-BE49-F238E27FC236}">
                <a16:creationId xmlns:a16="http://schemas.microsoft.com/office/drawing/2014/main" id="{7FEDEC69-5125-8FCC-C39C-C44E2ABA6068}"/>
              </a:ext>
            </a:extLst>
          </p:cNvPr>
          <p:cNvGrpSpPr/>
          <p:nvPr/>
        </p:nvGrpSpPr>
        <p:grpSpPr>
          <a:xfrm>
            <a:off x="6567073" y="4213499"/>
            <a:ext cx="2581113" cy="1783843"/>
            <a:chOff x="4211572" y="3313582"/>
            <a:chExt cx="3456041" cy="2304026"/>
          </a:xfrm>
        </p:grpSpPr>
        <p:pic>
          <p:nvPicPr>
            <p:cNvPr id="34" name="Picture Placeholder 15" descr="Interactive simulator">
              <a:extLst>
                <a:ext uri="{FF2B5EF4-FFF2-40B4-BE49-F238E27FC236}">
                  <a16:creationId xmlns:a16="http://schemas.microsoft.com/office/drawing/2014/main" id="{4B861D58-FFFD-D176-E19C-AFFC448C9172}"/>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l="19477" t="-776" r="17017"/>
            <a:stretch/>
          </p:blipFill>
          <p:spPr>
            <a:xfrm>
              <a:off x="4211572" y="3313582"/>
              <a:ext cx="3456041" cy="2304026"/>
            </a:xfrm>
            <a:prstGeom prst="rect">
              <a:avLst/>
            </a:prstGeom>
          </p:spPr>
        </p:pic>
        <p:pic>
          <p:nvPicPr>
            <p:cNvPr id="35" name="Picture 34" descr="SKIM simulator">
              <a:extLst>
                <a:ext uri="{FF2B5EF4-FFF2-40B4-BE49-F238E27FC236}">
                  <a16:creationId xmlns:a16="http://schemas.microsoft.com/office/drawing/2014/main" id="{9922084F-D4C0-0C57-C46C-24CD9CD06368}"/>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810371" y="3498137"/>
              <a:ext cx="2164924" cy="1302489"/>
            </a:xfrm>
            <a:prstGeom prst="rect">
              <a:avLst/>
            </a:prstGeom>
          </p:spPr>
        </p:pic>
      </p:grpSp>
      <p:pic>
        <p:nvPicPr>
          <p:cNvPr id="39" name="Picture Placeholder 15" descr="Interactive simulator">
            <a:extLst>
              <a:ext uri="{FF2B5EF4-FFF2-40B4-BE49-F238E27FC236}">
                <a16:creationId xmlns:a16="http://schemas.microsoft.com/office/drawing/2014/main" id="{5B8B2373-D306-5880-93C2-1003A0B54EA2}"/>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l="19477" t="-776" r="17017"/>
          <a:stretch/>
        </p:blipFill>
        <p:spPr>
          <a:xfrm>
            <a:off x="2811632" y="4213499"/>
            <a:ext cx="2581113" cy="1783843"/>
          </a:xfrm>
          <a:prstGeom prst="rect">
            <a:avLst/>
          </a:prstGeom>
        </p:spPr>
      </p:pic>
      <p:pic>
        <p:nvPicPr>
          <p:cNvPr id="4" name="Picture 3">
            <a:extLst>
              <a:ext uri="{FF2B5EF4-FFF2-40B4-BE49-F238E27FC236}">
                <a16:creationId xmlns:a16="http://schemas.microsoft.com/office/drawing/2014/main" id="{F31A0005-ECF3-8F2A-9C26-150D4DA259E2}"/>
              </a:ext>
            </a:extLst>
          </p:cNvPr>
          <p:cNvPicPr>
            <a:picLocks noChangeAspect="1"/>
          </p:cNvPicPr>
          <p:nvPr/>
        </p:nvPicPr>
        <p:blipFill>
          <a:blip r:embed="rId4"/>
          <a:stretch>
            <a:fillRect/>
          </a:stretch>
        </p:blipFill>
        <p:spPr>
          <a:xfrm>
            <a:off x="3233419" y="4356387"/>
            <a:ext cx="1671776" cy="1072690"/>
          </a:xfrm>
          <a:prstGeom prst="rect">
            <a:avLst/>
          </a:prstGeom>
        </p:spPr>
      </p:pic>
      <p:sp>
        <p:nvSpPr>
          <p:cNvPr id="41" name="TextBox 40">
            <a:extLst>
              <a:ext uri="{FF2B5EF4-FFF2-40B4-BE49-F238E27FC236}">
                <a16:creationId xmlns:a16="http://schemas.microsoft.com/office/drawing/2014/main" id="{3508294B-6F04-4D3B-E74C-F922AC2190DD}"/>
              </a:ext>
            </a:extLst>
          </p:cNvPr>
          <p:cNvSpPr txBox="1"/>
          <p:nvPr/>
        </p:nvSpPr>
        <p:spPr>
          <a:xfrm>
            <a:off x="2208735" y="1554477"/>
            <a:ext cx="7774528" cy="582595"/>
          </a:xfrm>
          <a:prstGeom prst="rect">
            <a:avLst/>
          </a:prstGeom>
          <a:noFill/>
        </p:spPr>
        <p:txBody>
          <a:bodyPr wrap="square">
            <a:spAutoFit/>
          </a:bodyPr>
          <a:lstStyle/>
          <a:p>
            <a:pPr algn="ctr">
              <a:lnSpc>
                <a:spcPct val="120000"/>
              </a:lnSpc>
            </a:pPr>
            <a:r>
              <a:rPr lang="en-US" sz="1400">
                <a:cs typeface="MV Boli" panose="02000500030200090000" pitchFamily="2" charset="0"/>
              </a:rPr>
              <a:t>The key deliverables will be a consultative report with key findings, conclusions and recommendations </a:t>
            </a:r>
            <a:r>
              <a:rPr lang="en-US" sz="1400">
                <a:solidFill>
                  <a:srgbClr val="263133"/>
                </a:solidFill>
                <a:latin typeface="Rawline"/>
              </a:rPr>
              <a:t>the best performing sustainability claims of Alpro.</a:t>
            </a:r>
            <a:endParaRPr lang="en-US" sz="1400">
              <a:cs typeface="MV Boli" panose="02000500030200090000" pitchFamily="2" charset="0"/>
            </a:endParaRPr>
          </a:p>
        </p:txBody>
      </p:sp>
      <p:sp>
        <p:nvSpPr>
          <p:cNvPr id="37" name="TextBox 36">
            <a:extLst>
              <a:ext uri="{FF2B5EF4-FFF2-40B4-BE49-F238E27FC236}">
                <a16:creationId xmlns:a16="http://schemas.microsoft.com/office/drawing/2014/main" id="{F88B35FD-B0EA-B723-A35E-FF8B265EFCA3}"/>
              </a:ext>
            </a:extLst>
          </p:cNvPr>
          <p:cNvSpPr txBox="1"/>
          <p:nvPr/>
        </p:nvSpPr>
        <p:spPr>
          <a:xfrm>
            <a:off x="6130779" y="2747531"/>
            <a:ext cx="3456041" cy="1362937"/>
          </a:xfrm>
          <a:prstGeom prst="rect">
            <a:avLst/>
          </a:prstGeom>
          <a:noFill/>
        </p:spPr>
        <p:txBody>
          <a:bodyPr wrap="square">
            <a:spAutoFit/>
          </a:bodyPr>
          <a:lstStyle/>
          <a:p>
            <a:pPr algn="ctr"/>
            <a:r>
              <a:rPr lang="en-US" sz="2000" b="1">
                <a:solidFill>
                  <a:schemeClr val="accent1"/>
                </a:solidFill>
              </a:rPr>
              <a:t>Debrief working session</a:t>
            </a:r>
          </a:p>
          <a:p>
            <a:pPr marL="0" marR="0" lvl="0" indent="-288000" algn="ctr" defTabSz="914400" rtl="0" eaLnBrk="1" fontAlgn="auto" latinLnBrk="0" hangingPunct="1">
              <a:lnSpc>
                <a:spcPct val="125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Rawline"/>
                <a:ea typeface="+mn-ea"/>
                <a:cs typeface="+mn-cs"/>
              </a:rPr>
              <a:t>A debrief of the final report and discussion on implications will be arranged between SKIM and Danone.</a:t>
            </a:r>
          </a:p>
        </p:txBody>
      </p:sp>
      <p:sp>
        <p:nvSpPr>
          <p:cNvPr id="36" name="TextBox 35">
            <a:extLst>
              <a:ext uri="{FF2B5EF4-FFF2-40B4-BE49-F238E27FC236}">
                <a16:creationId xmlns:a16="http://schemas.microsoft.com/office/drawing/2014/main" id="{C5DA576D-2CA6-9E91-2A67-F21801B4E7B6}"/>
              </a:ext>
            </a:extLst>
          </p:cNvPr>
          <p:cNvSpPr txBox="1"/>
          <p:nvPr/>
        </p:nvSpPr>
        <p:spPr>
          <a:xfrm>
            <a:off x="2341285" y="2747776"/>
            <a:ext cx="3456042" cy="802784"/>
          </a:xfrm>
          <a:prstGeom prst="rect">
            <a:avLst/>
          </a:prstGeom>
          <a:noFill/>
        </p:spPr>
        <p:txBody>
          <a:bodyPr wrap="square">
            <a:spAutoFit/>
          </a:bodyPr>
          <a:lstStyle/>
          <a:p>
            <a:pPr algn="ctr"/>
            <a:r>
              <a:rPr lang="en-US" sz="2000" b="1">
                <a:solidFill>
                  <a:schemeClr val="accent1"/>
                </a:solidFill>
              </a:rPr>
              <a:t>A consultative report</a:t>
            </a:r>
          </a:p>
          <a:p>
            <a:pPr algn="ctr">
              <a:lnSpc>
                <a:spcPct val="130000"/>
              </a:lnSpc>
            </a:pPr>
            <a:r>
              <a:rPr lang="en-US" sz="1400" b="0">
                <a:latin typeface="+mj-lt"/>
                <a:cs typeface="Segoe UI Semilight" panose="020B0402040204020203" pitchFamily="34" charset="0"/>
              </a:rPr>
              <a:t>We will deliver a PPT report.</a:t>
            </a:r>
            <a:r>
              <a:rPr lang="en-US" sz="1400" b="1">
                <a:solidFill>
                  <a:schemeClr val="accent1"/>
                </a:solidFill>
              </a:rPr>
              <a:t> </a:t>
            </a:r>
          </a:p>
        </p:txBody>
      </p:sp>
      <p:sp>
        <p:nvSpPr>
          <p:cNvPr id="5" name="Title 4">
            <a:extLst>
              <a:ext uri="{FF2B5EF4-FFF2-40B4-BE49-F238E27FC236}">
                <a16:creationId xmlns:a16="http://schemas.microsoft.com/office/drawing/2014/main" id="{B86C9FA4-960D-4D15-875F-2F2BE7D55B91}"/>
              </a:ext>
            </a:extLst>
          </p:cNvPr>
          <p:cNvSpPr>
            <a:spLocks noGrp="1"/>
          </p:cNvSpPr>
          <p:nvPr>
            <p:ph type="title"/>
          </p:nvPr>
        </p:nvSpPr>
        <p:spPr>
          <a:xfrm>
            <a:off x="504000" y="403200"/>
            <a:ext cx="7354800" cy="972000"/>
          </a:xfrm>
        </p:spPr>
        <p:txBody>
          <a:bodyPr/>
          <a:lstStyle/>
          <a:p>
            <a:r>
              <a:rPr lang="en-US"/>
              <a:t>Deliverables &amp; Insights</a:t>
            </a:r>
            <a:endParaRPr lang="en-US" sz="1600" b="0"/>
          </a:p>
        </p:txBody>
      </p:sp>
    </p:spTree>
    <p:extLst>
      <p:ext uri="{BB962C8B-B14F-4D97-AF65-F5344CB8AC3E}">
        <p14:creationId xmlns:p14="http://schemas.microsoft.com/office/powerpoint/2010/main" val="3957480222"/>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5C274C42-C1D7-4CAC-B6D8-5B3F10899FF7}"/>
              </a:ext>
            </a:extLst>
          </p:cNvPr>
          <p:cNvSpPr>
            <a:spLocks noGrp="1"/>
          </p:cNvSpPr>
          <p:nvPr>
            <p:ph type="body" idx="1"/>
          </p:nvPr>
        </p:nvSpPr>
        <p:spPr/>
        <p:txBody>
          <a:bodyPr wrap="square">
            <a:spAutoFit/>
          </a:bodyPr>
          <a:lstStyle/>
          <a:p>
            <a:pPr>
              <a:lnSpc>
                <a:spcPct val="100000"/>
              </a:lnSpc>
            </a:pPr>
            <a:r>
              <a:rPr lang="nl-NL">
                <a:solidFill>
                  <a:schemeClr val="accent3"/>
                </a:solidFill>
              </a:rPr>
              <a:t>The impact score gives us an absolute score from 0-100 reflecting the strength of the stimuli</a:t>
            </a:r>
            <a:endParaRPr lang="en-GB">
              <a:solidFill>
                <a:schemeClr val="accent3"/>
              </a:solidFill>
            </a:endParaRPr>
          </a:p>
        </p:txBody>
      </p:sp>
      <p:sp>
        <p:nvSpPr>
          <p:cNvPr id="2" name="Title 1">
            <a:extLst>
              <a:ext uri="{FF2B5EF4-FFF2-40B4-BE49-F238E27FC236}">
                <a16:creationId xmlns:a16="http://schemas.microsoft.com/office/drawing/2014/main" id="{A53A862C-103E-4788-97DC-74179DF79C1E}"/>
              </a:ext>
            </a:extLst>
          </p:cNvPr>
          <p:cNvSpPr>
            <a:spLocks noGrp="1"/>
          </p:cNvSpPr>
          <p:nvPr>
            <p:ph type="title"/>
          </p:nvPr>
        </p:nvSpPr>
        <p:spPr/>
        <p:txBody>
          <a:bodyPr/>
          <a:lstStyle/>
          <a:p>
            <a:r>
              <a:rPr lang="nl-NL"/>
              <a:t>Key output: Impact Score</a:t>
            </a:r>
            <a:endParaRPr lang="en-GB"/>
          </a:p>
        </p:txBody>
      </p:sp>
      <p:sp>
        <p:nvSpPr>
          <p:cNvPr id="4" name="TextBox 3">
            <a:extLst>
              <a:ext uri="{FF2B5EF4-FFF2-40B4-BE49-F238E27FC236}">
                <a16:creationId xmlns:a16="http://schemas.microsoft.com/office/drawing/2014/main" id="{13F85E34-FCCD-476F-9951-1BCB7A2EF922}"/>
              </a:ext>
            </a:extLst>
          </p:cNvPr>
          <p:cNvSpPr txBox="1"/>
          <p:nvPr/>
        </p:nvSpPr>
        <p:spPr>
          <a:xfrm>
            <a:off x="285848" y="4891215"/>
            <a:ext cx="3316994" cy="879984"/>
          </a:xfrm>
          <a:prstGeom prst="rect">
            <a:avLst/>
          </a:prstGeom>
          <a:noFill/>
        </p:spPr>
        <p:txBody>
          <a:bodyPr wrap="square">
            <a:spAutoFit/>
          </a:bodyPr>
          <a:lstStyle/>
          <a:p>
            <a:pPr indent="0" algn="ctr">
              <a:lnSpc>
                <a:spcPct val="120000"/>
              </a:lnSpc>
              <a:spcAft>
                <a:spcPts val="1000"/>
              </a:spcAft>
            </a:pPr>
            <a:r>
              <a:rPr lang="en-US" sz="1800" b="1">
                <a:solidFill>
                  <a:schemeClr val="accent1"/>
                </a:solidFill>
              </a:rPr>
              <a:t>Swiping</a:t>
            </a:r>
            <a:r>
              <a:rPr lang="en-US" sz="1400">
                <a:solidFill>
                  <a:schemeClr val="accent1"/>
                </a:solidFill>
              </a:rPr>
              <a:t> </a:t>
            </a:r>
            <a:br>
              <a:rPr lang="en-US" sz="1400">
                <a:solidFill>
                  <a:schemeClr val="accent1"/>
                </a:solidFill>
              </a:rPr>
            </a:br>
            <a:r>
              <a:rPr lang="en-US" sz="1300">
                <a:solidFill>
                  <a:schemeClr val="accent1"/>
                </a:solidFill>
              </a:rPr>
              <a:t>What claims break through the clutter and attract people to the point of sale?</a:t>
            </a:r>
            <a:endParaRPr lang="en-SG" sz="1300">
              <a:solidFill>
                <a:schemeClr val="accent1"/>
              </a:solidFill>
            </a:endParaRPr>
          </a:p>
        </p:txBody>
      </p:sp>
      <p:sp>
        <p:nvSpPr>
          <p:cNvPr id="5" name="TextBox 4">
            <a:extLst>
              <a:ext uri="{FF2B5EF4-FFF2-40B4-BE49-F238E27FC236}">
                <a16:creationId xmlns:a16="http://schemas.microsoft.com/office/drawing/2014/main" id="{9BD98896-3E42-4D73-AF8E-069F7A0B510E}"/>
              </a:ext>
            </a:extLst>
          </p:cNvPr>
          <p:cNvSpPr txBox="1"/>
          <p:nvPr/>
        </p:nvSpPr>
        <p:spPr>
          <a:xfrm>
            <a:off x="3718404" y="4926276"/>
            <a:ext cx="3316994" cy="879984"/>
          </a:xfrm>
          <a:prstGeom prst="rect">
            <a:avLst/>
          </a:prstGeom>
          <a:noFill/>
        </p:spPr>
        <p:txBody>
          <a:bodyPr wrap="square">
            <a:spAutoFit/>
          </a:bodyPr>
          <a:lstStyle/>
          <a:p>
            <a:pPr indent="0" algn="ctr">
              <a:lnSpc>
                <a:spcPct val="120000"/>
              </a:lnSpc>
              <a:spcAft>
                <a:spcPts val="1000"/>
              </a:spcAft>
            </a:pPr>
            <a:r>
              <a:rPr lang="en-US" sz="1800" b="1">
                <a:solidFill>
                  <a:schemeClr val="accent1"/>
                </a:solidFill>
              </a:rPr>
              <a:t>Trade off</a:t>
            </a:r>
            <a:r>
              <a:rPr lang="en-US" sz="1400">
                <a:solidFill>
                  <a:schemeClr val="accent1"/>
                </a:solidFill>
              </a:rPr>
              <a:t> </a:t>
            </a:r>
            <a:br>
              <a:rPr lang="en-US" sz="1400">
                <a:solidFill>
                  <a:schemeClr val="accent1"/>
                </a:solidFill>
              </a:rPr>
            </a:br>
            <a:r>
              <a:rPr lang="en-US" sz="1300">
                <a:solidFill>
                  <a:schemeClr val="accent1"/>
                </a:solidFill>
              </a:rPr>
              <a:t>What claims convert shoppers into buyers at the moment of truth? </a:t>
            </a:r>
            <a:endParaRPr lang="en-SG" sz="1300">
              <a:solidFill>
                <a:schemeClr val="accent1"/>
              </a:solidFill>
            </a:endParaRPr>
          </a:p>
        </p:txBody>
      </p:sp>
      <p:pic>
        <p:nvPicPr>
          <p:cNvPr id="6" name="Picture 5">
            <a:extLst>
              <a:ext uri="{FF2B5EF4-FFF2-40B4-BE49-F238E27FC236}">
                <a16:creationId xmlns:a16="http://schemas.microsoft.com/office/drawing/2014/main" id="{9FA6DD10-71F1-41B0-9C1F-BEB35330E50D}"/>
              </a:ext>
            </a:extLst>
          </p:cNvPr>
          <p:cNvPicPr>
            <a:picLocks noChangeAspect="1"/>
          </p:cNvPicPr>
          <p:nvPr/>
        </p:nvPicPr>
        <p:blipFill>
          <a:blip r:embed="rId3"/>
          <a:stretch>
            <a:fillRect/>
          </a:stretch>
        </p:blipFill>
        <p:spPr>
          <a:xfrm>
            <a:off x="1584345" y="5856375"/>
            <a:ext cx="720000" cy="720000"/>
          </a:xfrm>
          <a:prstGeom prst="rect">
            <a:avLst/>
          </a:prstGeom>
        </p:spPr>
      </p:pic>
      <p:pic>
        <p:nvPicPr>
          <p:cNvPr id="8" name="Picture 7">
            <a:extLst>
              <a:ext uri="{FF2B5EF4-FFF2-40B4-BE49-F238E27FC236}">
                <a16:creationId xmlns:a16="http://schemas.microsoft.com/office/drawing/2014/main" id="{B269ADF7-0EEA-4D12-A004-446797196AEF}"/>
              </a:ext>
            </a:extLst>
          </p:cNvPr>
          <p:cNvPicPr>
            <a:picLocks noChangeAspect="1"/>
          </p:cNvPicPr>
          <p:nvPr/>
        </p:nvPicPr>
        <p:blipFill>
          <a:blip r:embed="rId4"/>
          <a:stretch>
            <a:fillRect/>
          </a:stretch>
        </p:blipFill>
        <p:spPr>
          <a:xfrm>
            <a:off x="4574923" y="5856375"/>
            <a:ext cx="720000" cy="720000"/>
          </a:xfrm>
          <a:prstGeom prst="rect">
            <a:avLst/>
          </a:prstGeom>
        </p:spPr>
      </p:pic>
      <p:pic>
        <p:nvPicPr>
          <p:cNvPr id="9" name="Picture 8">
            <a:extLst>
              <a:ext uri="{FF2B5EF4-FFF2-40B4-BE49-F238E27FC236}">
                <a16:creationId xmlns:a16="http://schemas.microsoft.com/office/drawing/2014/main" id="{2074DFEF-07A6-46C6-92C2-A5E41DFA034D}"/>
              </a:ext>
            </a:extLst>
          </p:cNvPr>
          <p:cNvPicPr>
            <a:picLocks noChangeAspect="1"/>
          </p:cNvPicPr>
          <p:nvPr/>
        </p:nvPicPr>
        <p:blipFill>
          <a:blip r:embed="rId5"/>
          <a:stretch>
            <a:fillRect/>
          </a:stretch>
        </p:blipFill>
        <p:spPr>
          <a:xfrm>
            <a:off x="5569415" y="5856375"/>
            <a:ext cx="720000" cy="720000"/>
          </a:xfrm>
          <a:prstGeom prst="rect">
            <a:avLst/>
          </a:prstGeom>
        </p:spPr>
      </p:pic>
      <p:sp>
        <p:nvSpPr>
          <p:cNvPr id="36" name="Plus Sign 35">
            <a:extLst>
              <a:ext uri="{FF2B5EF4-FFF2-40B4-BE49-F238E27FC236}">
                <a16:creationId xmlns:a16="http://schemas.microsoft.com/office/drawing/2014/main" id="{58092AA8-287F-416E-89A2-F2043D089225}"/>
              </a:ext>
            </a:extLst>
          </p:cNvPr>
          <p:cNvSpPr/>
          <p:nvPr/>
        </p:nvSpPr>
        <p:spPr>
          <a:xfrm>
            <a:off x="3077626" y="2707451"/>
            <a:ext cx="905266" cy="879984"/>
          </a:xfrm>
          <a:prstGeom prst="mathPlus">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72000" rIns="108000" bIns="108000" rtlCol="0" anchor="t" anchorCtr="0">
            <a:noAutofit/>
          </a:bodyPr>
          <a:lstStyle/>
          <a:p>
            <a:pPr indent="0" algn="l">
              <a:lnSpc>
                <a:spcPct val="120000"/>
              </a:lnSpc>
            </a:pPr>
            <a:endParaRPr lang="en-US" sz="1400" err="1">
              <a:solidFill>
                <a:schemeClr val="bg2"/>
              </a:solidFill>
            </a:endParaRPr>
          </a:p>
        </p:txBody>
      </p:sp>
      <p:sp>
        <p:nvSpPr>
          <p:cNvPr id="37" name="Equals 36">
            <a:extLst>
              <a:ext uri="{FF2B5EF4-FFF2-40B4-BE49-F238E27FC236}">
                <a16:creationId xmlns:a16="http://schemas.microsoft.com/office/drawing/2014/main" id="{C55EF27F-EA26-414E-A97E-879EAC9749A6}"/>
              </a:ext>
            </a:extLst>
          </p:cNvPr>
          <p:cNvSpPr/>
          <p:nvPr/>
        </p:nvSpPr>
        <p:spPr>
          <a:xfrm>
            <a:off x="6436538" y="2657065"/>
            <a:ext cx="1063732" cy="1037257"/>
          </a:xfrm>
          <a:prstGeom prst="mathEqual">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72000" rIns="108000" bIns="108000" rtlCol="0" anchor="t" anchorCtr="0">
            <a:noAutofit/>
          </a:bodyPr>
          <a:lstStyle/>
          <a:p>
            <a:pPr indent="0" algn="l">
              <a:lnSpc>
                <a:spcPct val="120000"/>
              </a:lnSpc>
            </a:pPr>
            <a:endParaRPr lang="en-US" sz="1400" err="1">
              <a:solidFill>
                <a:schemeClr val="bg2"/>
              </a:solidFill>
            </a:endParaRPr>
          </a:p>
        </p:txBody>
      </p:sp>
      <p:graphicFrame>
        <p:nvGraphicFramePr>
          <p:cNvPr id="38" name="Table 37">
            <a:extLst>
              <a:ext uri="{FF2B5EF4-FFF2-40B4-BE49-F238E27FC236}">
                <a16:creationId xmlns:a16="http://schemas.microsoft.com/office/drawing/2014/main" id="{33373D41-34A0-4BFA-B87A-C2D973FC8E4B}"/>
              </a:ext>
            </a:extLst>
          </p:cNvPr>
          <p:cNvGraphicFramePr>
            <a:graphicFrameLocks noGrp="1"/>
          </p:cNvGraphicFramePr>
          <p:nvPr/>
        </p:nvGraphicFramePr>
        <p:xfrm>
          <a:off x="7781118" y="1666211"/>
          <a:ext cx="3266781" cy="3014019"/>
        </p:xfrm>
        <a:graphic>
          <a:graphicData uri="http://schemas.openxmlformats.org/drawingml/2006/table">
            <a:tbl>
              <a:tblPr firstRow="1" bandRow="1">
                <a:tableStyleId>{5C22544A-7EE6-4342-B048-85BDC9FD1C3A}</a:tableStyleId>
              </a:tblPr>
              <a:tblGrid>
                <a:gridCol w="548640">
                  <a:extLst>
                    <a:ext uri="{9D8B030D-6E8A-4147-A177-3AD203B41FA5}">
                      <a16:colId xmlns:a16="http://schemas.microsoft.com/office/drawing/2014/main" val="20000"/>
                    </a:ext>
                  </a:extLst>
                </a:gridCol>
                <a:gridCol w="822960">
                  <a:extLst>
                    <a:ext uri="{9D8B030D-6E8A-4147-A177-3AD203B41FA5}">
                      <a16:colId xmlns:a16="http://schemas.microsoft.com/office/drawing/2014/main" val="20001"/>
                    </a:ext>
                  </a:extLst>
                </a:gridCol>
                <a:gridCol w="1895181">
                  <a:extLst>
                    <a:ext uri="{9D8B030D-6E8A-4147-A177-3AD203B41FA5}">
                      <a16:colId xmlns:a16="http://schemas.microsoft.com/office/drawing/2014/main" val="3344784132"/>
                    </a:ext>
                  </a:extLst>
                </a:gridCol>
              </a:tblGrid>
              <a:tr h="334891">
                <a:tc>
                  <a:txBody>
                    <a:bodyPr/>
                    <a:lstStyle/>
                    <a:p>
                      <a:pPr algn="ctr" fontAlgn="b"/>
                      <a:r>
                        <a:rPr lang="en-US" sz="1000" b="1" i="0" u="none" strike="noStrike" kern="1200">
                          <a:solidFill>
                            <a:schemeClr val="tx1"/>
                          </a:solidFill>
                          <a:effectLst/>
                          <a:latin typeface="+mj-lt"/>
                          <a:ea typeface="+mn-ea"/>
                          <a:cs typeface="+mn-cs"/>
                        </a:rPr>
                        <a:t>Rank</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solidFill>
                        <a:srgbClr val="B1B4B4"/>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000" b="1" i="0" u="none" strike="noStrike" kern="1200">
                          <a:solidFill>
                            <a:schemeClr val="tx1"/>
                          </a:solidFill>
                          <a:effectLst/>
                          <a:latin typeface="+mj-lt"/>
                          <a:ea typeface="+mn-ea"/>
                          <a:cs typeface="+mn-cs"/>
                        </a:rPr>
                        <a:t>Claim</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solidFill>
                        <a:srgbClr val="B1B4B4"/>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000" b="1" i="0" u="none" strike="noStrike" kern="1200">
                          <a:solidFill>
                            <a:schemeClr val="tx1"/>
                          </a:solidFill>
                          <a:effectLst/>
                          <a:latin typeface="+mj-lt"/>
                          <a:ea typeface="+mn-ea"/>
                          <a:cs typeface="+mn-cs"/>
                        </a:rPr>
                        <a:t>Impact Score</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solidFill>
                        <a:srgbClr val="B1B4B4"/>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9091163"/>
                  </a:ext>
                </a:extLst>
              </a:tr>
              <a:tr h="334891">
                <a:tc>
                  <a:txBody>
                    <a:bodyPr/>
                    <a:lstStyle/>
                    <a:p>
                      <a:pPr algn="ctr" fontAlgn="b"/>
                      <a:r>
                        <a:rPr lang="en-US" sz="1000" b="1" i="0" u="none" strike="noStrike" kern="1200">
                          <a:solidFill>
                            <a:schemeClr val="tx1"/>
                          </a:solidFill>
                          <a:effectLst/>
                          <a:latin typeface="+mj-lt"/>
                          <a:ea typeface="+mn-ea"/>
                          <a:cs typeface="+mn-cs"/>
                        </a:rPr>
                        <a:t>1</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rgbClr val="B1B4B4"/>
                      </a:solidFill>
                      <a:prstDash val="solid"/>
                      <a:round/>
                      <a:headEnd type="none" w="med" len="med"/>
                      <a:tailEnd type="none" w="med" len="med"/>
                    </a:lnT>
                    <a:lnB w="3175" cap="flat" cmpd="sng" algn="ctr">
                      <a:solidFill>
                        <a:srgbClr val="B1B4B4"/>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000" b="0" i="0" u="none" strike="noStrike" kern="1200">
                          <a:solidFill>
                            <a:srgbClr val="1C6D7D"/>
                          </a:solidFill>
                          <a:effectLst/>
                          <a:latin typeface="+mj-lt"/>
                          <a:ea typeface="+mn-ea"/>
                          <a:cs typeface="+mn-cs"/>
                        </a:rPr>
                        <a:t>Claim 1</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rgbClr val="B1B4B4"/>
                      </a:solidFill>
                      <a:prstDash val="solid"/>
                      <a:round/>
                      <a:headEnd type="none" w="med" len="med"/>
                      <a:tailEnd type="none" w="med" len="med"/>
                    </a:lnT>
                    <a:lnB w="3175" cap="flat" cmpd="sng" algn="ctr">
                      <a:solidFill>
                        <a:srgbClr val="B1B4B4"/>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endParaRPr lang="en-US" sz="1000" b="0" i="0" u="none" strike="noStrike" kern="1200">
                        <a:solidFill>
                          <a:srgbClr val="1C6D7D"/>
                        </a:solidFill>
                        <a:effectLst/>
                        <a:latin typeface="+mj-lt"/>
                        <a:ea typeface="+mn-ea"/>
                        <a:cs typeface="+mn-cs"/>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rgbClr val="B1B4B4"/>
                      </a:solidFill>
                      <a:prstDash val="solid"/>
                      <a:round/>
                      <a:headEnd type="none" w="med" len="med"/>
                      <a:tailEnd type="none" w="med" len="med"/>
                    </a:lnT>
                    <a:lnB w="3175" cap="flat" cmpd="sng" algn="ctr">
                      <a:solidFill>
                        <a:srgbClr val="B1B4B4"/>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334891">
                <a:tc>
                  <a:txBody>
                    <a:bodyPr/>
                    <a:lstStyle/>
                    <a:p>
                      <a:pPr algn="ctr" fontAlgn="b"/>
                      <a:r>
                        <a:rPr lang="en-US" sz="1000" b="1" i="0" u="none" strike="noStrike" kern="1200">
                          <a:solidFill>
                            <a:schemeClr val="tx1"/>
                          </a:solidFill>
                          <a:effectLst/>
                          <a:latin typeface="+mj-lt"/>
                          <a:ea typeface="+mn-ea"/>
                          <a:cs typeface="+mn-cs"/>
                        </a:rPr>
                        <a:t>2</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rgbClr val="B1B4B4"/>
                      </a:solidFill>
                      <a:prstDash val="solid"/>
                      <a:round/>
                      <a:headEnd type="none" w="med" len="med"/>
                      <a:tailEnd type="none" w="med" len="med"/>
                    </a:lnT>
                    <a:lnB w="3175" cap="flat" cmpd="sng" algn="ctr">
                      <a:solidFill>
                        <a:srgbClr val="B1B4B4"/>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1C6D7D"/>
                          </a:solidFill>
                          <a:effectLst/>
                          <a:uLnTx/>
                          <a:uFillTx/>
                          <a:latin typeface="Rawline"/>
                          <a:ea typeface="+mn-ea"/>
                          <a:cs typeface="+mn-cs"/>
                        </a:rPr>
                        <a:t>Claim 2</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rgbClr val="B1B4B4"/>
                      </a:solidFill>
                      <a:prstDash val="solid"/>
                      <a:round/>
                      <a:headEnd type="none" w="med" len="med"/>
                      <a:tailEnd type="none" w="med" len="med"/>
                    </a:lnT>
                    <a:lnB w="3175" cap="flat" cmpd="sng" algn="ctr">
                      <a:solidFill>
                        <a:srgbClr val="B1B4B4"/>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endParaRPr lang="en-US" sz="1000" b="0" i="0" u="none" strike="noStrike" kern="1200">
                        <a:solidFill>
                          <a:srgbClr val="1C6D7D"/>
                        </a:solidFill>
                        <a:effectLst/>
                        <a:latin typeface="+mj-lt"/>
                        <a:ea typeface="+mn-ea"/>
                        <a:cs typeface="+mn-cs"/>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rgbClr val="B1B4B4"/>
                      </a:solidFill>
                      <a:prstDash val="solid"/>
                      <a:round/>
                      <a:headEnd type="none" w="med" len="med"/>
                      <a:tailEnd type="none" w="med" len="med"/>
                    </a:lnT>
                    <a:lnB w="3175" cap="flat" cmpd="sng" algn="ctr">
                      <a:solidFill>
                        <a:srgbClr val="B1B4B4"/>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11659508"/>
                  </a:ext>
                </a:extLst>
              </a:tr>
              <a:tr h="334891">
                <a:tc>
                  <a:txBody>
                    <a:bodyPr/>
                    <a:lstStyle/>
                    <a:p>
                      <a:pPr algn="ctr" fontAlgn="b"/>
                      <a:r>
                        <a:rPr lang="en-US" sz="1000" b="1" i="0" u="none" strike="noStrike" kern="1200">
                          <a:solidFill>
                            <a:schemeClr val="tx1"/>
                          </a:solidFill>
                          <a:effectLst/>
                          <a:latin typeface="+mj-lt"/>
                          <a:ea typeface="+mn-ea"/>
                          <a:cs typeface="+mn-cs"/>
                        </a:rPr>
                        <a:t>3</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rgbClr val="B1B4B4"/>
                      </a:solidFill>
                      <a:prstDash val="solid"/>
                      <a:round/>
                      <a:headEnd type="none" w="med" len="med"/>
                      <a:tailEnd type="none" w="med" len="med"/>
                    </a:lnT>
                    <a:lnB w="12700" cap="flat" cmpd="sng" algn="ctr">
                      <a:solidFill>
                        <a:srgbClr val="1C6D7D"/>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1C6D7D"/>
                          </a:solidFill>
                          <a:effectLst/>
                          <a:uLnTx/>
                          <a:uFillTx/>
                          <a:latin typeface="Rawline"/>
                          <a:ea typeface="+mn-ea"/>
                          <a:cs typeface="+mn-cs"/>
                        </a:rPr>
                        <a:t>Claim 3</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rgbClr val="B1B4B4"/>
                      </a:solidFill>
                      <a:prstDash val="solid"/>
                      <a:round/>
                      <a:headEnd type="none" w="med" len="med"/>
                      <a:tailEnd type="none" w="med" len="med"/>
                    </a:lnT>
                    <a:lnB w="3175" cap="flat" cmpd="sng" algn="ctr">
                      <a:solidFill>
                        <a:srgbClr val="B1B4B4"/>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endParaRPr lang="en-US" sz="1000" b="0" i="0" u="none" strike="noStrike" kern="1200">
                        <a:solidFill>
                          <a:srgbClr val="1C6D7D"/>
                        </a:solidFill>
                        <a:effectLst/>
                        <a:latin typeface="+mj-lt"/>
                        <a:ea typeface="+mn-ea"/>
                        <a:cs typeface="+mn-cs"/>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rgbClr val="B1B4B4"/>
                      </a:solidFill>
                      <a:prstDash val="solid"/>
                      <a:round/>
                      <a:headEnd type="none" w="med" len="med"/>
                      <a:tailEnd type="none" w="med" len="med"/>
                    </a:lnT>
                    <a:lnB w="3175" cap="flat" cmpd="sng" algn="ctr">
                      <a:solidFill>
                        <a:srgbClr val="B1B4B4"/>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27907142"/>
                  </a:ext>
                </a:extLst>
              </a:tr>
              <a:tr h="334891">
                <a:tc>
                  <a:txBody>
                    <a:bodyPr/>
                    <a:lstStyle/>
                    <a:p>
                      <a:pPr algn="ctr" fontAlgn="b"/>
                      <a:r>
                        <a:rPr lang="en-US" sz="1000" b="1" i="0" u="none" strike="noStrike" kern="1200">
                          <a:solidFill>
                            <a:schemeClr val="tx1"/>
                          </a:solidFill>
                          <a:effectLst/>
                          <a:latin typeface="+mj-lt"/>
                          <a:ea typeface="+mn-ea"/>
                          <a:cs typeface="+mn-cs"/>
                        </a:rPr>
                        <a:t>4</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1C6D7D"/>
                      </a:solidFill>
                      <a:prstDash val="dash"/>
                      <a:round/>
                      <a:headEnd type="none" w="med" len="med"/>
                      <a:tailEnd type="none" w="med" len="med"/>
                    </a:lnT>
                    <a:lnB w="3175" cap="flat" cmpd="sng" algn="ctr">
                      <a:solidFill>
                        <a:srgbClr val="B1B4B4"/>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1C6D7D"/>
                          </a:solidFill>
                          <a:effectLst/>
                          <a:uLnTx/>
                          <a:uFillTx/>
                          <a:latin typeface="Rawline"/>
                          <a:ea typeface="+mn-ea"/>
                          <a:cs typeface="+mn-cs"/>
                        </a:rPr>
                        <a:t>Claim 4</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rgbClr val="B1B4B4"/>
                      </a:solidFill>
                      <a:prstDash val="solid"/>
                      <a:round/>
                      <a:headEnd type="none" w="med" len="med"/>
                      <a:tailEnd type="none" w="med" len="med"/>
                    </a:lnT>
                    <a:lnB w="3175" cap="flat" cmpd="sng" algn="ctr">
                      <a:solidFill>
                        <a:srgbClr val="B1B4B4"/>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endParaRPr lang="en-US" sz="1000" b="0" i="0" u="none" strike="noStrike" kern="1200">
                        <a:solidFill>
                          <a:srgbClr val="1C6D7D"/>
                        </a:solidFill>
                        <a:effectLst/>
                        <a:latin typeface="+mj-lt"/>
                        <a:ea typeface="+mn-ea"/>
                        <a:cs typeface="+mn-cs"/>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rgbClr val="B1B4B4"/>
                      </a:solidFill>
                      <a:prstDash val="solid"/>
                      <a:round/>
                      <a:headEnd type="none" w="med" len="med"/>
                      <a:tailEnd type="none" w="med" len="med"/>
                    </a:lnT>
                    <a:lnB w="3175" cap="flat" cmpd="sng" algn="ctr">
                      <a:solidFill>
                        <a:srgbClr val="B1B4B4"/>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334891">
                <a:tc>
                  <a:txBody>
                    <a:bodyPr/>
                    <a:lstStyle/>
                    <a:p>
                      <a:pPr algn="ctr" fontAlgn="b"/>
                      <a:r>
                        <a:rPr lang="en-US" sz="1000" b="1" i="0" u="none" strike="noStrike" kern="1200">
                          <a:solidFill>
                            <a:schemeClr val="tx1"/>
                          </a:solidFill>
                          <a:effectLst/>
                          <a:latin typeface="+mj-lt"/>
                          <a:ea typeface="+mn-ea"/>
                          <a:cs typeface="+mn-cs"/>
                        </a:rPr>
                        <a:t>5</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rgbClr val="B1B4B4"/>
                      </a:solidFill>
                      <a:prstDash val="solid"/>
                      <a:round/>
                      <a:headEnd type="none" w="med" len="med"/>
                      <a:tailEnd type="none" w="med" len="med"/>
                    </a:lnT>
                    <a:lnB w="12700" cap="flat" cmpd="sng" algn="ctr">
                      <a:solidFill>
                        <a:srgbClr val="1C6D7D"/>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1C6D7D"/>
                          </a:solidFill>
                          <a:effectLst/>
                          <a:uLnTx/>
                          <a:uFillTx/>
                          <a:latin typeface="Rawline"/>
                          <a:ea typeface="+mn-ea"/>
                          <a:cs typeface="+mn-cs"/>
                        </a:rPr>
                        <a:t>Claim 5</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rgbClr val="B1B4B4"/>
                      </a:solidFill>
                      <a:prstDash val="solid"/>
                      <a:round/>
                      <a:headEnd type="none" w="med" len="med"/>
                      <a:tailEnd type="none" w="med" len="med"/>
                    </a:lnT>
                    <a:lnB w="3175" cap="flat" cmpd="sng" algn="ctr">
                      <a:solidFill>
                        <a:srgbClr val="B1B4B4"/>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endParaRPr lang="en-US" sz="1000" b="0" i="0" u="none" strike="noStrike" kern="1200">
                        <a:solidFill>
                          <a:srgbClr val="1C6D7D"/>
                        </a:solidFill>
                        <a:effectLst/>
                        <a:latin typeface="+mj-lt"/>
                        <a:ea typeface="+mn-ea"/>
                        <a:cs typeface="+mn-cs"/>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rgbClr val="B1B4B4"/>
                      </a:solidFill>
                      <a:prstDash val="solid"/>
                      <a:round/>
                      <a:headEnd type="none" w="med" len="med"/>
                      <a:tailEnd type="none" w="med" len="med"/>
                    </a:lnT>
                    <a:lnB w="3175" cap="flat" cmpd="sng" algn="ctr">
                      <a:solidFill>
                        <a:srgbClr val="B1B4B4"/>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334891">
                <a:tc>
                  <a:txBody>
                    <a:bodyPr/>
                    <a:lstStyle/>
                    <a:p>
                      <a:pPr algn="ctr" fontAlgn="b"/>
                      <a:r>
                        <a:rPr lang="en-US" sz="1000" b="1" i="0" u="none" strike="noStrike" kern="1200">
                          <a:solidFill>
                            <a:schemeClr val="tx1"/>
                          </a:solidFill>
                          <a:effectLst/>
                          <a:latin typeface="+mj-lt"/>
                          <a:ea typeface="+mn-ea"/>
                          <a:cs typeface="+mn-cs"/>
                        </a:rPr>
                        <a:t>6</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1C6D7D"/>
                      </a:solidFill>
                      <a:prstDash val="dash"/>
                      <a:round/>
                      <a:headEnd type="none" w="med" len="med"/>
                      <a:tailEnd type="none" w="med" len="med"/>
                    </a:lnT>
                    <a:lnB w="3175" cap="flat" cmpd="sng" algn="ctr">
                      <a:solidFill>
                        <a:srgbClr val="B1B4B4"/>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1C6D7D"/>
                          </a:solidFill>
                          <a:effectLst/>
                          <a:uLnTx/>
                          <a:uFillTx/>
                          <a:latin typeface="Rawline"/>
                          <a:ea typeface="+mn-ea"/>
                          <a:cs typeface="+mn-cs"/>
                        </a:rPr>
                        <a:t>Claim 6</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rgbClr val="B1B4B4"/>
                      </a:solidFill>
                      <a:prstDash val="solid"/>
                      <a:round/>
                      <a:headEnd type="none" w="med" len="med"/>
                      <a:tailEnd type="none" w="med" len="med"/>
                    </a:lnT>
                    <a:lnB w="3175" cap="flat" cmpd="sng" algn="ctr">
                      <a:solidFill>
                        <a:srgbClr val="B1B4B4"/>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endParaRPr lang="en-US" sz="1000" b="0" i="0" u="none" strike="noStrike" kern="1200">
                        <a:solidFill>
                          <a:srgbClr val="1C6D7D"/>
                        </a:solidFill>
                        <a:effectLst/>
                        <a:latin typeface="+mj-lt"/>
                        <a:ea typeface="+mn-ea"/>
                        <a:cs typeface="+mn-cs"/>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rgbClr val="B1B4B4"/>
                      </a:solidFill>
                      <a:prstDash val="solid"/>
                      <a:round/>
                      <a:headEnd type="none" w="med" len="med"/>
                      <a:tailEnd type="none" w="med" len="med"/>
                    </a:lnT>
                    <a:lnB w="3175" cap="flat" cmpd="sng" algn="ctr">
                      <a:solidFill>
                        <a:srgbClr val="B1B4B4"/>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334891">
                <a:tc>
                  <a:txBody>
                    <a:bodyPr/>
                    <a:lstStyle/>
                    <a:p>
                      <a:pPr algn="ctr" fontAlgn="b"/>
                      <a:r>
                        <a:rPr lang="en-US" sz="1000" b="1" i="0" u="none" strike="noStrike" kern="1200">
                          <a:solidFill>
                            <a:schemeClr val="tx1"/>
                          </a:solidFill>
                          <a:effectLst/>
                          <a:latin typeface="+mj-lt"/>
                          <a:ea typeface="+mn-ea"/>
                          <a:cs typeface="+mn-cs"/>
                        </a:rPr>
                        <a:t>7</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rgbClr val="B1B4B4"/>
                      </a:solidFill>
                      <a:prstDash val="solid"/>
                      <a:round/>
                      <a:headEnd type="none" w="med" len="med"/>
                      <a:tailEnd type="none" w="med" len="med"/>
                    </a:lnT>
                    <a:lnB w="3175" cap="flat" cmpd="sng" algn="ctr">
                      <a:solidFill>
                        <a:srgbClr val="B1B4B4"/>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1C6D7D"/>
                          </a:solidFill>
                          <a:effectLst/>
                          <a:uLnTx/>
                          <a:uFillTx/>
                          <a:latin typeface="Rawline"/>
                          <a:ea typeface="+mn-ea"/>
                          <a:cs typeface="+mn-cs"/>
                        </a:rPr>
                        <a:t>Claim 7</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rgbClr val="B1B4B4"/>
                      </a:solidFill>
                      <a:prstDash val="solid"/>
                      <a:round/>
                      <a:headEnd type="none" w="med" len="med"/>
                      <a:tailEnd type="none" w="med" len="med"/>
                    </a:lnT>
                    <a:lnB w="3175" cap="flat" cmpd="sng" algn="ctr">
                      <a:solidFill>
                        <a:srgbClr val="B1B4B4"/>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endParaRPr lang="en-US" sz="1000" b="0" i="0" u="none" strike="noStrike" kern="1200">
                        <a:solidFill>
                          <a:srgbClr val="1C6D7D"/>
                        </a:solidFill>
                        <a:effectLst/>
                        <a:latin typeface="+mj-lt"/>
                        <a:ea typeface="+mn-ea"/>
                        <a:cs typeface="+mn-cs"/>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rgbClr val="B1B4B4"/>
                      </a:solidFill>
                      <a:prstDash val="solid"/>
                      <a:round/>
                      <a:headEnd type="none" w="med" len="med"/>
                      <a:tailEnd type="none" w="med" len="med"/>
                    </a:lnT>
                    <a:lnB w="3175" cap="flat" cmpd="sng" algn="ctr">
                      <a:solidFill>
                        <a:srgbClr val="B1B4B4"/>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20651492"/>
                  </a:ext>
                </a:extLst>
              </a:tr>
              <a:tr h="334891">
                <a:tc>
                  <a:txBody>
                    <a:bodyPr/>
                    <a:lstStyle/>
                    <a:p>
                      <a:pPr algn="ctr" fontAlgn="b"/>
                      <a:r>
                        <a:rPr lang="en-US" sz="1000" b="1" i="0" u="none" strike="noStrike" kern="1200">
                          <a:solidFill>
                            <a:schemeClr val="tx1"/>
                          </a:solidFill>
                          <a:effectLst/>
                          <a:latin typeface="+mj-lt"/>
                          <a:ea typeface="+mn-ea"/>
                          <a:cs typeface="+mn-cs"/>
                        </a:rPr>
                        <a:t>8</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rgbClr val="B1B4B4"/>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1C6D7D"/>
                          </a:solidFill>
                          <a:effectLst/>
                          <a:uLnTx/>
                          <a:uFillTx/>
                          <a:latin typeface="Rawline"/>
                          <a:ea typeface="+mn-ea"/>
                          <a:cs typeface="+mn-cs"/>
                        </a:rPr>
                        <a:t>Claim 8</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rgbClr val="B1B4B4"/>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endParaRPr lang="en-US" sz="1000" b="0" i="0" u="none" strike="noStrike" kern="1200">
                        <a:solidFill>
                          <a:srgbClr val="1C6D7D"/>
                        </a:solidFill>
                        <a:effectLst/>
                        <a:latin typeface="+mj-lt"/>
                        <a:ea typeface="+mn-ea"/>
                        <a:cs typeface="+mn-cs"/>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rgbClr val="B1B4B4"/>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75701603"/>
                  </a:ext>
                </a:extLst>
              </a:tr>
            </a:tbl>
          </a:graphicData>
        </a:graphic>
      </p:graphicFrame>
      <p:graphicFrame>
        <p:nvGraphicFramePr>
          <p:cNvPr id="39" name="Chart 38">
            <a:extLst>
              <a:ext uri="{FF2B5EF4-FFF2-40B4-BE49-F238E27FC236}">
                <a16:creationId xmlns:a16="http://schemas.microsoft.com/office/drawing/2014/main" id="{F933806F-DA7D-4992-B553-BFA5F12A9414}"/>
              </a:ext>
            </a:extLst>
          </p:cNvPr>
          <p:cNvGraphicFramePr/>
          <p:nvPr/>
        </p:nvGraphicFramePr>
        <p:xfrm>
          <a:off x="8999866" y="2003401"/>
          <a:ext cx="2722947" cy="2672938"/>
        </p:xfrm>
        <a:graphic>
          <a:graphicData uri="http://schemas.openxmlformats.org/drawingml/2006/chart">
            <c:chart xmlns:c="http://schemas.openxmlformats.org/drawingml/2006/chart" xmlns:r="http://schemas.openxmlformats.org/officeDocument/2006/relationships" r:id="rId6"/>
          </a:graphicData>
        </a:graphic>
      </p:graphicFrame>
      <p:sp>
        <p:nvSpPr>
          <p:cNvPr id="40" name="Rectangle 39">
            <a:extLst>
              <a:ext uri="{FF2B5EF4-FFF2-40B4-BE49-F238E27FC236}">
                <a16:creationId xmlns:a16="http://schemas.microsoft.com/office/drawing/2014/main" id="{0C7F57D5-A5AE-4824-8A69-57994009520F}"/>
              </a:ext>
            </a:extLst>
          </p:cNvPr>
          <p:cNvSpPr/>
          <p:nvPr/>
        </p:nvSpPr>
        <p:spPr>
          <a:xfrm>
            <a:off x="7781118" y="5266238"/>
            <a:ext cx="3941695" cy="1009922"/>
          </a:xfrm>
          <a:prstGeom prst="rect">
            <a:avLst/>
          </a:prstGeom>
          <a:solidFill>
            <a:srgbClr val="E6EFF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72000" rIns="108000" bIns="108000" rtlCol="0" anchor="ctr" anchorCtr="0">
            <a:noAutofit/>
          </a:bodyPr>
          <a:lstStyle/>
          <a:p>
            <a:pPr indent="0" algn="l">
              <a:lnSpc>
                <a:spcPct val="120000"/>
              </a:lnSpc>
              <a:spcAft>
                <a:spcPts val="600"/>
              </a:spcAft>
            </a:pPr>
            <a:r>
              <a:rPr lang="en-US" sz="1100">
                <a:solidFill>
                  <a:schemeClr val="bg2"/>
                </a:solidFill>
              </a:rPr>
              <a:t>The Impact Score gives each stimuli a score between 0-100 reflecting the absolute performance of the stimuli, in terms of its ability to attract consumers to the shelf and convert them at point of sale. </a:t>
            </a:r>
          </a:p>
        </p:txBody>
      </p:sp>
      <p:grpSp>
        <p:nvGrpSpPr>
          <p:cNvPr id="52" name="Group 51">
            <a:extLst>
              <a:ext uri="{FF2B5EF4-FFF2-40B4-BE49-F238E27FC236}">
                <a16:creationId xmlns:a16="http://schemas.microsoft.com/office/drawing/2014/main" id="{3A0DC167-7413-CF25-383A-571DB0D92E73}"/>
              </a:ext>
            </a:extLst>
          </p:cNvPr>
          <p:cNvGrpSpPr/>
          <p:nvPr/>
        </p:nvGrpSpPr>
        <p:grpSpPr>
          <a:xfrm>
            <a:off x="4099724" y="1328798"/>
            <a:ext cx="2584211" cy="3637290"/>
            <a:chOff x="4099724" y="1328798"/>
            <a:chExt cx="2584211" cy="3637290"/>
          </a:xfrm>
        </p:grpSpPr>
        <p:sp>
          <p:nvSpPr>
            <p:cNvPr id="50" name="TextBox 49">
              <a:extLst>
                <a:ext uri="{FF2B5EF4-FFF2-40B4-BE49-F238E27FC236}">
                  <a16:creationId xmlns:a16="http://schemas.microsoft.com/office/drawing/2014/main" id="{B82B2B44-A186-8C1A-E60A-DBCD45A1B649}"/>
                </a:ext>
              </a:extLst>
            </p:cNvPr>
            <p:cNvSpPr txBox="1"/>
            <p:nvPr/>
          </p:nvSpPr>
          <p:spPr>
            <a:xfrm>
              <a:off x="5177778" y="3567353"/>
              <a:ext cx="617822" cy="502680"/>
            </a:xfrm>
            <a:prstGeom prst="rect">
              <a:avLst/>
            </a:prstGeom>
            <a:noFill/>
          </p:spPr>
          <p:txBody>
            <a:bodyPr wrap="square" lIns="108000" tIns="72000" rIns="108000" bIns="108000" rtlCol="0">
              <a:spAutoFit/>
            </a:bodyPr>
            <a:lstStyle/>
            <a:p>
              <a:pPr indent="0" algn="ctr">
                <a:lnSpc>
                  <a:spcPct val="120000"/>
                </a:lnSpc>
                <a:spcAft>
                  <a:spcPts val="1000"/>
                </a:spcAft>
              </a:pPr>
              <a:r>
                <a:rPr lang="en-US" sz="600">
                  <a:solidFill>
                    <a:schemeClr val="accent1"/>
                  </a:solidFill>
                </a:rPr>
                <a:t>Made from recyclable materials</a:t>
              </a:r>
            </a:p>
          </p:txBody>
        </p:sp>
        <p:sp>
          <p:nvSpPr>
            <p:cNvPr id="51" name="Rectangle 50">
              <a:extLst>
                <a:ext uri="{FF2B5EF4-FFF2-40B4-BE49-F238E27FC236}">
                  <a16:creationId xmlns:a16="http://schemas.microsoft.com/office/drawing/2014/main" id="{76C5E284-4540-AAF6-94E5-68114CF07854}"/>
                </a:ext>
              </a:extLst>
            </p:cNvPr>
            <p:cNvSpPr/>
            <p:nvPr/>
          </p:nvSpPr>
          <p:spPr>
            <a:xfrm>
              <a:off x="5249383" y="3293425"/>
              <a:ext cx="477197" cy="963421"/>
            </a:xfrm>
            <a:prstGeom prst="rect">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square" lIns="108000" tIns="72000" rIns="108000" bIns="108000" rtlCol="0" anchor="t" anchorCtr="0">
              <a:noAutofit/>
            </a:bodyPr>
            <a:lstStyle/>
            <a:p>
              <a:pPr indent="0" algn="l">
                <a:lnSpc>
                  <a:spcPct val="120000"/>
                </a:lnSpc>
              </a:pPr>
              <a:endParaRPr lang="en-US" sz="1400" err="1">
                <a:solidFill>
                  <a:schemeClr val="bg2"/>
                </a:solidFill>
              </a:endParaRPr>
            </a:p>
          </p:txBody>
        </p:sp>
        <p:pic>
          <p:nvPicPr>
            <p:cNvPr id="42" name="Picture 41">
              <a:extLst>
                <a:ext uri="{FF2B5EF4-FFF2-40B4-BE49-F238E27FC236}">
                  <a16:creationId xmlns:a16="http://schemas.microsoft.com/office/drawing/2014/main" id="{A101A3EE-5E3C-121C-DF50-806D688CAC41}"/>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4099724" y="1328798"/>
              <a:ext cx="2584211" cy="3637290"/>
            </a:xfrm>
            <a:prstGeom prst="rect">
              <a:avLst/>
            </a:prstGeom>
          </p:spPr>
        </p:pic>
        <p:sp>
          <p:nvSpPr>
            <p:cNvPr id="43" name="TextBox 42">
              <a:extLst>
                <a:ext uri="{FF2B5EF4-FFF2-40B4-BE49-F238E27FC236}">
                  <a16:creationId xmlns:a16="http://schemas.microsoft.com/office/drawing/2014/main" id="{F7F63C91-0A82-A148-D5E8-A6A842638775}"/>
                </a:ext>
              </a:extLst>
            </p:cNvPr>
            <p:cNvSpPr txBox="1"/>
            <p:nvPr/>
          </p:nvSpPr>
          <p:spPr>
            <a:xfrm>
              <a:off x="4500281" y="1677967"/>
              <a:ext cx="1315563" cy="556156"/>
            </a:xfrm>
            <a:prstGeom prst="rect">
              <a:avLst/>
            </a:prstGeom>
            <a:noFill/>
          </p:spPr>
          <p:txBody>
            <a:bodyPr wrap="square" lIns="108000" tIns="72000" rIns="108000" bIns="108000" rtlCol="0">
              <a:spAutoFit/>
            </a:bodyPr>
            <a:lstStyle/>
            <a:p>
              <a:pPr indent="0" algn="ctr">
                <a:lnSpc>
                  <a:spcPct val="120000"/>
                </a:lnSpc>
                <a:spcAft>
                  <a:spcPts val="1000"/>
                </a:spcAft>
              </a:pPr>
              <a:r>
                <a:rPr lang="en-US" sz="700">
                  <a:solidFill>
                    <a:schemeClr val="accent1"/>
                  </a:solidFill>
                </a:rPr>
                <a:t>Which message would motivate you most to purchase Alpro products?</a:t>
              </a:r>
            </a:p>
          </p:txBody>
        </p:sp>
        <p:sp>
          <p:nvSpPr>
            <p:cNvPr id="44" name="TextBox 43">
              <a:extLst>
                <a:ext uri="{FF2B5EF4-FFF2-40B4-BE49-F238E27FC236}">
                  <a16:creationId xmlns:a16="http://schemas.microsoft.com/office/drawing/2014/main" id="{BD96BD2A-6861-3E58-EF9C-FEF7F4761DAB}"/>
                </a:ext>
              </a:extLst>
            </p:cNvPr>
            <p:cNvSpPr txBox="1"/>
            <p:nvPr/>
          </p:nvSpPr>
          <p:spPr>
            <a:xfrm>
              <a:off x="4602858" y="3429120"/>
              <a:ext cx="516430" cy="685422"/>
            </a:xfrm>
            <a:prstGeom prst="rect">
              <a:avLst/>
            </a:prstGeom>
            <a:noFill/>
          </p:spPr>
          <p:txBody>
            <a:bodyPr wrap="square" lIns="108000" tIns="72000" rIns="108000" bIns="108000" rtlCol="0">
              <a:spAutoFit/>
            </a:bodyPr>
            <a:lstStyle/>
            <a:p>
              <a:pPr indent="0" algn="ctr">
                <a:lnSpc>
                  <a:spcPct val="120000"/>
                </a:lnSpc>
                <a:spcAft>
                  <a:spcPts val="1000"/>
                </a:spcAft>
              </a:pPr>
              <a:r>
                <a:rPr lang="en-US" sz="700">
                  <a:solidFill>
                    <a:schemeClr val="accent1"/>
                  </a:solidFill>
                </a:rPr>
                <a:t>#1 plant-based drink</a:t>
              </a:r>
            </a:p>
          </p:txBody>
        </p:sp>
        <p:sp>
          <p:nvSpPr>
            <p:cNvPr id="45" name="TextBox 44">
              <a:extLst>
                <a:ext uri="{FF2B5EF4-FFF2-40B4-BE49-F238E27FC236}">
                  <a16:creationId xmlns:a16="http://schemas.microsoft.com/office/drawing/2014/main" id="{0E800BA0-E46E-3987-6414-E329F3BF8AED}"/>
                </a:ext>
              </a:extLst>
            </p:cNvPr>
            <p:cNvSpPr txBox="1"/>
            <p:nvPr/>
          </p:nvSpPr>
          <p:spPr>
            <a:xfrm>
              <a:off x="4512954" y="2472371"/>
              <a:ext cx="701262" cy="556156"/>
            </a:xfrm>
            <a:prstGeom prst="rect">
              <a:avLst/>
            </a:prstGeom>
            <a:noFill/>
          </p:spPr>
          <p:txBody>
            <a:bodyPr wrap="square" lIns="108000" tIns="72000" rIns="108000" bIns="108000" rtlCol="0">
              <a:spAutoFit/>
            </a:bodyPr>
            <a:lstStyle/>
            <a:p>
              <a:pPr indent="0" algn="ctr">
                <a:lnSpc>
                  <a:spcPct val="120000"/>
                </a:lnSpc>
                <a:spcAft>
                  <a:spcPts val="1000"/>
                </a:spcAft>
              </a:pPr>
              <a:r>
                <a:rPr lang="en-US" sz="700">
                  <a:solidFill>
                    <a:schemeClr val="accent1"/>
                  </a:solidFill>
                </a:rPr>
                <a:t>100% recycled materials</a:t>
              </a:r>
            </a:p>
          </p:txBody>
        </p:sp>
        <p:sp>
          <p:nvSpPr>
            <p:cNvPr id="46" name="TextBox 45">
              <a:extLst>
                <a:ext uri="{FF2B5EF4-FFF2-40B4-BE49-F238E27FC236}">
                  <a16:creationId xmlns:a16="http://schemas.microsoft.com/office/drawing/2014/main" id="{DF1CA704-5152-643D-B734-83CB012D02CD}"/>
                </a:ext>
              </a:extLst>
            </p:cNvPr>
            <p:cNvSpPr txBox="1"/>
            <p:nvPr/>
          </p:nvSpPr>
          <p:spPr>
            <a:xfrm>
              <a:off x="5240051" y="2489701"/>
              <a:ext cx="493275" cy="556156"/>
            </a:xfrm>
            <a:prstGeom prst="rect">
              <a:avLst/>
            </a:prstGeom>
            <a:noFill/>
          </p:spPr>
          <p:txBody>
            <a:bodyPr wrap="square" lIns="108000" tIns="72000" rIns="108000" bIns="108000" rtlCol="0">
              <a:spAutoFit/>
            </a:bodyPr>
            <a:lstStyle/>
            <a:p>
              <a:pPr indent="0" algn="ctr">
                <a:lnSpc>
                  <a:spcPct val="120000"/>
                </a:lnSpc>
                <a:spcAft>
                  <a:spcPts val="1000"/>
                </a:spcAft>
              </a:pPr>
              <a:r>
                <a:rPr lang="en-US" sz="700">
                  <a:solidFill>
                    <a:schemeClr val="accent1"/>
                  </a:solidFill>
                </a:rPr>
                <a:t>100% plant based</a:t>
              </a:r>
            </a:p>
          </p:txBody>
        </p:sp>
        <p:sp>
          <p:nvSpPr>
            <p:cNvPr id="47" name="Rectangle 46">
              <a:extLst>
                <a:ext uri="{FF2B5EF4-FFF2-40B4-BE49-F238E27FC236}">
                  <a16:creationId xmlns:a16="http://schemas.microsoft.com/office/drawing/2014/main" id="{59FCE5D1-1F79-AA2A-13F2-C59A6712CDC5}"/>
                </a:ext>
              </a:extLst>
            </p:cNvPr>
            <p:cNvSpPr/>
            <p:nvPr/>
          </p:nvSpPr>
          <p:spPr>
            <a:xfrm>
              <a:off x="4617851" y="2248703"/>
              <a:ext cx="516430" cy="948418"/>
            </a:xfrm>
            <a:prstGeom prst="rect">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square" lIns="108000" tIns="72000" rIns="108000" bIns="108000" rtlCol="0" anchor="t" anchorCtr="0">
              <a:noAutofit/>
            </a:bodyPr>
            <a:lstStyle/>
            <a:p>
              <a:pPr indent="0" algn="l">
                <a:lnSpc>
                  <a:spcPct val="120000"/>
                </a:lnSpc>
              </a:pPr>
              <a:endParaRPr lang="en-US" sz="1400" err="1">
                <a:solidFill>
                  <a:schemeClr val="bg2"/>
                </a:solidFill>
              </a:endParaRPr>
            </a:p>
          </p:txBody>
        </p:sp>
        <p:sp>
          <p:nvSpPr>
            <p:cNvPr id="48" name="Rectangle 47">
              <a:extLst>
                <a:ext uri="{FF2B5EF4-FFF2-40B4-BE49-F238E27FC236}">
                  <a16:creationId xmlns:a16="http://schemas.microsoft.com/office/drawing/2014/main" id="{843C15AB-10C3-1BB4-1683-DEFDADF34DB0}"/>
                </a:ext>
              </a:extLst>
            </p:cNvPr>
            <p:cNvSpPr/>
            <p:nvPr/>
          </p:nvSpPr>
          <p:spPr>
            <a:xfrm>
              <a:off x="5246801" y="2248703"/>
              <a:ext cx="479779" cy="948418"/>
            </a:xfrm>
            <a:prstGeom prst="rect">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square" lIns="108000" tIns="72000" rIns="108000" bIns="108000" rtlCol="0" anchor="t" anchorCtr="0">
              <a:noAutofit/>
            </a:bodyPr>
            <a:lstStyle/>
            <a:p>
              <a:pPr indent="0" algn="l">
                <a:lnSpc>
                  <a:spcPct val="120000"/>
                </a:lnSpc>
              </a:pPr>
              <a:endParaRPr lang="en-US" sz="1400" err="1">
                <a:solidFill>
                  <a:schemeClr val="bg2"/>
                </a:solidFill>
              </a:endParaRPr>
            </a:p>
          </p:txBody>
        </p:sp>
        <p:sp>
          <p:nvSpPr>
            <p:cNvPr id="49" name="Rectangle 48">
              <a:extLst>
                <a:ext uri="{FF2B5EF4-FFF2-40B4-BE49-F238E27FC236}">
                  <a16:creationId xmlns:a16="http://schemas.microsoft.com/office/drawing/2014/main" id="{B8AB028B-B674-4A62-79D1-FD7EEB38E2E1}"/>
                </a:ext>
              </a:extLst>
            </p:cNvPr>
            <p:cNvSpPr/>
            <p:nvPr/>
          </p:nvSpPr>
          <p:spPr>
            <a:xfrm>
              <a:off x="4615972" y="3308429"/>
              <a:ext cx="516430" cy="948418"/>
            </a:xfrm>
            <a:prstGeom prst="rect">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square" lIns="108000" tIns="72000" rIns="108000" bIns="108000" rtlCol="0" anchor="t" anchorCtr="0">
              <a:noAutofit/>
            </a:bodyPr>
            <a:lstStyle/>
            <a:p>
              <a:pPr indent="0" algn="l">
                <a:lnSpc>
                  <a:spcPct val="120000"/>
                </a:lnSpc>
              </a:pPr>
              <a:endParaRPr lang="en-US" sz="1400" err="1">
                <a:solidFill>
                  <a:schemeClr val="bg2"/>
                </a:solidFill>
              </a:endParaRPr>
            </a:p>
          </p:txBody>
        </p:sp>
      </p:grpSp>
      <p:grpSp>
        <p:nvGrpSpPr>
          <p:cNvPr id="54" name="Group 53">
            <a:extLst>
              <a:ext uri="{FF2B5EF4-FFF2-40B4-BE49-F238E27FC236}">
                <a16:creationId xmlns:a16="http://schemas.microsoft.com/office/drawing/2014/main" id="{3BA68A38-18A4-F00E-7FBF-87284779647D}"/>
              </a:ext>
            </a:extLst>
          </p:cNvPr>
          <p:cNvGrpSpPr/>
          <p:nvPr/>
        </p:nvGrpSpPr>
        <p:grpSpPr>
          <a:xfrm>
            <a:off x="714039" y="1445879"/>
            <a:ext cx="2580167" cy="3545459"/>
            <a:chOff x="714039" y="1445879"/>
            <a:chExt cx="2580167" cy="3545459"/>
          </a:xfrm>
        </p:grpSpPr>
        <p:grpSp>
          <p:nvGrpSpPr>
            <p:cNvPr id="7" name="Group 6">
              <a:extLst>
                <a:ext uri="{FF2B5EF4-FFF2-40B4-BE49-F238E27FC236}">
                  <a16:creationId xmlns:a16="http://schemas.microsoft.com/office/drawing/2014/main" id="{61BFCD20-1A22-1F12-7823-CA3D75796586}"/>
                </a:ext>
              </a:extLst>
            </p:cNvPr>
            <p:cNvGrpSpPr/>
            <p:nvPr/>
          </p:nvGrpSpPr>
          <p:grpSpPr>
            <a:xfrm>
              <a:off x="714039" y="1445879"/>
              <a:ext cx="2580167" cy="3545459"/>
              <a:chOff x="8788183" y="1951574"/>
              <a:chExt cx="3536920" cy="4906425"/>
            </a:xfrm>
          </p:grpSpPr>
          <p:pic>
            <p:nvPicPr>
              <p:cNvPr id="10" name="Picture 9">
                <a:hlinkClick r:id="rId8"/>
                <a:extLst>
                  <a:ext uri="{FF2B5EF4-FFF2-40B4-BE49-F238E27FC236}">
                    <a16:creationId xmlns:a16="http://schemas.microsoft.com/office/drawing/2014/main" id="{C5DF2ACA-EAA6-9170-0626-04E1FF43C2E5}"/>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8839200" y="1951574"/>
                <a:ext cx="3485903" cy="4906425"/>
              </a:xfrm>
              <a:prstGeom prst="rect">
                <a:avLst/>
              </a:prstGeom>
            </p:spPr>
          </p:pic>
          <p:sp>
            <p:nvSpPr>
              <p:cNvPr id="11" name="TextBox 10">
                <a:extLst>
                  <a:ext uri="{FF2B5EF4-FFF2-40B4-BE49-F238E27FC236}">
                    <a16:creationId xmlns:a16="http://schemas.microsoft.com/office/drawing/2014/main" id="{DF65BD9C-7633-368A-8CAE-6A00F505369D}"/>
                  </a:ext>
                </a:extLst>
              </p:cNvPr>
              <p:cNvSpPr txBox="1"/>
              <p:nvPr/>
            </p:nvSpPr>
            <p:spPr>
              <a:xfrm>
                <a:off x="9414681" y="2358682"/>
                <a:ext cx="1725770" cy="602001"/>
              </a:xfrm>
              <a:prstGeom prst="rect">
                <a:avLst/>
              </a:prstGeom>
              <a:noFill/>
            </p:spPr>
            <p:txBody>
              <a:bodyPr wrap="square" lIns="108000" tIns="72000" rIns="108000" bIns="108000" rtlCol="0">
                <a:spAutoFit/>
              </a:bodyPr>
              <a:lstStyle/>
              <a:p>
                <a:pPr indent="0" algn="ctr">
                  <a:lnSpc>
                    <a:spcPct val="120000"/>
                  </a:lnSpc>
                  <a:spcAft>
                    <a:spcPts val="1000"/>
                  </a:spcAft>
                </a:pPr>
                <a:r>
                  <a:rPr lang="en-US" sz="1200">
                    <a:solidFill>
                      <a:schemeClr val="accent1"/>
                    </a:solidFill>
                  </a:rPr>
                  <a:t>Do you find this message appealing?</a:t>
                </a:r>
              </a:p>
            </p:txBody>
          </p:sp>
          <p:sp>
            <p:nvSpPr>
              <p:cNvPr id="13" name="Arrow: Right 12">
                <a:extLst>
                  <a:ext uri="{FF2B5EF4-FFF2-40B4-BE49-F238E27FC236}">
                    <a16:creationId xmlns:a16="http://schemas.microsoft.com/office/drawing/2014/main" id="{36FC2EB0-7838-62A1-47DB-AA1AC1EDB7BD}"/>
                  </a:ext>
                </a:extLst>
              </p:cNvPr>
              <p:cNvSpPr/>
              <p:nvPr/>
            </p:nvSpPr>
            <p:spPr>
              <a:xfrm>
                <a:off x="10996998" y="3810142"/>
                <a:ext cx="746749" cy="417175"/>
              </a:xfrm>
              <a:prstGeom prst="rightArrow">
                <a:avLst>
                  <a:gd name="adj1" fmla="val 51010"/>
                  <a:gd name="adj2" fmla="val 76083"/>
                </a:avLst>
              </a:prstGeom>
              <a:solidFill>
                <a:srgbClr val="E6EFF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square" lIns="108000" tIns="72000" rIns="108000" bIns="108000" rtlCol="0" anchor="ctr" anchorCtr="0">
                <a:noAutofit/>
              </a:bodyPr>
              <a:lstStyle/>
              <a:p>
                <a:pPr indent="0" algn="l">
                  <a:lnSpc>
                    <a:spcPct val="120000"/>
                  </a:lnSpc>
                </a:pPr>
                <a:r>
                  <a:rPr lang="en-US" sz="800" b="1">
                    <a:solidFill>
                      <a:schemeClr val="bg2"/>
                    </a:solidFill>
                  </a:rPr>
                  <a:t>YES</a:t>
                </a:r>
              </a:p>
            </p:txBody>
          </p:sp>
          <p:sp>
            <p:nvSpPr>
              <p:cNvPr id="14" name="Arrow: Left 13">
                <a:extLst>
                  <a:ext uri="{FF2B5EF4-FFF2-40B4-BE49-F238E27FC236}">
                    <a16:creationId xmlns:a16="http://schemas.microsoft.com/office/drawing/2014/main" id="{E51DBAEC-99C7-DAAB-6D93-63E78D1905A0}"/>
                  </a:ext>
                </a:extLst>
              </p:cNvPr>
              <p:cNvSpPr/>
              <p:nvPr/>
            </p:nvSpPr>
            <p:spPr>
              <a:xfrm>
                <a:off x="8788183" y="3801884"/>
                <a:ext cx="746749" cy="433689"/>
              </a:xfrm>
              <a:prstGeom prst="leftArrow">
                <a:avLst>
                  <a:gd name="adj1" fmla="val 50000"/>
                  <a:gd name="adj2" fmla="val 67389"/>
                </a:avLst>
              </a:prstGeom>
              <a:solidFill>
                <a:schemeClr val="accent4">
                  <a:lumMod val="20000"/>
                  <a:lumOff val="80000"/>
                </a:schemeClr>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wrap="square" lIns="108000" tIns="72000" rIns="108000" bIns="108000" rtlCol="0" anchor="ctr" anchorCtr="0">
                <a:noAutofit/>
              </a:bodyPr>
              <a:lstStyle/>
              <a:p>
                <a:pPr indent="0" algn="r">
                  <a:lnSpc>
                    <a:spcPct val="120000"/>
                  </a:lnSpc>
                </a:pPr>
                <a:r>
                  <a:rPr lang="en-US" sz="1050" b="1">
                    <a:solidFill>
                      <a:schemeClr val="accent4"/>
                    </a:solidFill>
                  </a:rPr>
                  <a:t>No</a:t>
                </a:r>
              </a:p>
            </p:txBody>
          </p:sp>
          <p:sp>
            <p:nvSpPr>
              <p:cNvPr id="15" name="Rectangle 14">
                <a:extLst>
                  <a:ext uri="{FF2B5EF4-FFF2-40B4-BE49-F238E27FC236}">
                    <a16:creationId xmlns:a16="http://schemas.microsoft.com/office/drawing/2014/main" id="{B9CF2D7F-2835-F39D-0DAF-D900374F0334}"/>
                  </a:ext>
                </a:extLst>
              </p:cNvPr>
              <p:cNvSpPr/>
              <p:nvPr/>
            </p:nvSpPr>
            <p:spPr>
              <a:xfrm rot="805451">
                <a:off x="9798465" y="3489544"/>
                <a:ext cx="1152516" cy="879295"/>
              </a:xfrm>
              <a:prstGeom prst="rect">
                <a:avLst/>
              </a:prstGeom>
              <a:solidFill>
                <a:srgbClr val="E7EC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72000" rIns="108000" bIns="108000" rtlCol="0" anchor="t" anchorCtr="0">
                <a:noAutofit/>
              </a:bodyPr>
              <a:lstStyle/>
              <a:p>
                <a:pPr indent="0" algn="l">
                  <a:lnSpc>
                    <a:spcPct val="120000"/>
                  </a:lnSpc>
                </a:pPr>
                <a:endParaRPr lang="en-US" sz="1400" err="1">
                  <a:solidFill>
                    <a:schemeClr val="bg2"/>
                  </a:solidFill>
                </a:endParaRPr>
              </a:p>
            </p:txBody>
          </p:sp>
        </p:grpSp>
        <p:sp>
          <p:nvSpPr>
            <p:cNvPr id="16" name="TextBox 15">
              <a:extLst>
                <a:ext uri="{FF2B5EF4-FFF2-40B4-BE49-F238E27FC236}">
                  <a16:creationId xmlns:a16="http://schemas.microsoft.com/office/drawing/2014/main" id="{9EBF4E61-2E03-013D-3546-9047A6700882}"/>
                </a:ext>
              </a:extLst>
            </p:cNvPr>
            <p:cNvSpPr txBox="1"/>
            <p:nvPr/>
          </p:nvSpPr>
          <p:spPr>
            <a:xfrm rot="745786">
              <a:off x="1341311" y="2630836"/>
              <a:ext cx="1054475" cy="569573"/>
            </a:xfrm>
            <a:prstGeom prst="rect">
              <a:avLst/>
            </a:prstGeom>
            <a:noFill/>
          </p:spPr>
          <p:txBody>
            <a:bodyPr wrap="square" lIns="108000" tIns="72000" rIns="108000" bIns="108000" rtlCol="0">
              <a:spAutoFit/>
            </a:bodyPr>
            <a:lstStyle/>
            <a:p>
              <a:pPr indent="0" algn="ctr">
                <a:lnSpc>
                  <a:spcPct val="120000"/>
                </a:lnSpc>
                <a:spcAft>
                  <a:spcPts val="1000"/>
                </a:spcAft>
              </a:pPr>
              <a:r>
                <a:rPr lang="en-US" sz="1100">
                  <a:solidFill>
                    <a:schemeClr val="accent1"/>
                  </a:solidFill>
                </a:rPr>
                <a:t>100% Plant- Based</a:t>
              </a:r>
            </a:p>
          </p:txBody>
        </p:sp>
        <p:sp>
          <p:nvSpPr>
            <p:cNvPr id="53" name="Rectangle 52">
              <a:extLst>
                <a:ext uri="{FF2B5EF4-FFF2-40B4-BE49-F238E27FC236}">
                  <a16:creationId xmlns:a16="http://schemas.microsoft.com/office/drawing/2014/main" id="{581D2664-A415-165B-D8B5-578BF80FD584}"/>
                </a:ext>
              </a:extLst>
            </p:cNvPr>
            <p:cNvSpPr/>
            <p:nvPr/>
          </p:nvSpPr>
          <p:spPr>
            <a:xfrm rot="841981">
              <a:off x="1431182" y="2568640"/>
              <a:ext cx="849876" cy="629169"/>
            </a:xfrm>
            <a:prstGeom prst="rect">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square" lIns="108000" tIns="72000" rIns="108000" bIns="108000" rtlCol="0" anchor="t" anchorCtr="0">
              <a:noAutofit/>
            </a:bodyPr>
            <a:lstStyle/>
            <a:p>
              <a:pPr indent="0" algn="l">
                <a:lnSpc>
                  <a:spcPct val="120000"/>
                </a:lnSpc>
              </a:pPr>
              <a:endParaRPr lang="en-US" sz="1400">
                <a:solidFill>
                  <a:schemeClr val="bg2"/>
                </a:solidFill>
              </a:endParaRPr>
            </a:p>
          </p:txBody>
        </p:sp>
      </p:grpSp>
    </p:spTree>
    <p:extLst>
      <p:ext uri="{BB962C8B-B14F-4D97-AF65-F5344CB8AC3E}">
        <p14:creationId xmlns:p14="http://schemas.microsoft.com/office/powerpoint/2010/main" val="2681126509"/>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Rectangle 28">
            <a:extLst>
              <a:ext uri="{FF2B5EF4-FFF2-40B4-BE49-F238E27FC236}">
                <a16:creationId xmlns:a16="http://schemas.microsoft.com/office/drawing/2014/main" id="{B28EA73D-93B7-4148-9189-8D7C7B0DFA81}"/>
              </a:ext>
            </a:extLst>
          </p:cNvPr>
          <p:cNvSpPr/>
          <p:nvPr/>
        </p:nvSpPr>
        <p:spPr>
          <a:xfrm>
            <a:off x="403200" y="1579046"/>
            <a:ext cx="7314502" cy="4236060"/>
          </a:xfrm>
          <a:prstGeom prst="rect">
            <a:avLst/>
          </a:prstGeom>
          <a:solidFill>
            <a:schemeClr val="bg1"/>
          </a:solidFill>
          <a:ln w="1905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US" err="1">
              <a:solidFill>
                <a:schemeClr val="tx1"/>
              </a:solidFill>
              <a:latin typeface="Segoe Print" panose="02000600000000000000" pitchFamily="2" charset="0"/>
              <a:cs typeface="MV Boli" panose="02000500030200090000" pitchFamily="2" charset="0"/>
            </a:endParaRPr>
          </a:p>
        </p:txBody>
      </p:sp>
      <p:sp>
        <p:nvSpPr>
          <p:cNvPr id="28" name="Afgeronde rechthoek 65">
            <a:extLst>
              <a:ext uri="{FF2B5EF4-FFF2-40B4-BE49-F238E27FC236}">
                <a16:creationId xmlns:a16="http://schemas.microsoft.com/office/drawing/2014/main" id="{377CE1A2-9DB1-49AA-BDC0-D69DCF01323F}"/>
              </a:ext>
            </a:extLst>
          </p:cNvPr>
          <p:cNvSpPr/>
          <p:nvPr/>
        </p:nvSpPr>
        <p:spPr>
          <a:xfrm>
            <a:off x="8132234" y="10886"/>
            <a:ext cx="4059767" cy="6864351"/>
          </a:xfrm>
          <a:prstGeom prst="roundRect">
            <a:avLst>
              <a:gd name="adj" fmla="val 0"/>
            </a:avLst>
          </a:prstGeom>
          <a:solidFill>
            <a:schemeClr val="tx2">
              <a:lumMod val="20000"/>
              <a:lumOff val="8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600">
              <a:solidFill>
                <a:schemeClr val="tx1"/>
              </a:solidFill>
              <a:latin typeface="Segoe Print" panose="02000600000000000000" pitchFamily="2" charset="0"/>
              <a:cs typeface="MV Boli" panose="02000500030200090000" pitchFamily="2" charset="0"/>
            </a:endParaRPr>
          </a:p>
        </p:txBody>
      </p:sp>
      <p:sp>
        <p:nvSpPr>
          <p:cNvPr id="4" name="Title 3"/>
          <p:cNvSpPr>
            <a:spLocks noGrp="1"/>
          </p:cNvSpPr>
          <p:nvPr>
            <p:ph type="title"/>
          </p:nvPr>
        </p:nvSpPr>
        <p:spPr/>
        <p:txBody>
          <a:bodyPr/>
          <a:lstStyle/>
          <a:p>
            <a:r>
              <a:rPr lang="en-US"/>
              <a:t>Example Output: KPIs &amp; Purchase Intent</a:t>
            </a:r>
          </a:p>
        </p:txBody>
      </p:sp>
      <p:sp>
        <p:nvSpPr>
          <p:cNvPr id="8" name="Content Placeholder 23">
            <a:extLst>
              <a:ext uri="{FF2B5EF4-FFF2-40B4-BE49-F238E27FC236}">
                <a16:creationId xmlns:a16="http://schemas.microsoft.com/office/drawing/2014/main" id="{55385C2E-0966-42AB-B9EF-908E4F5549E6}"/>
              </a:ext>
            </a:extLst>
          </p:cNvPr>
          <p:cNvSpPr txBox="1">
            <a:spLocks/>
          </p:cNvSpPr>
          <p:nvPr/>
        </p:nvSpPr>
        <p:spPr>
          <a:xfrm>
            <a:off x="8370098" y="1579046"/>
            <a:ext cx="3474000" cy="4236060"/>
          </a:xfrm>
          <a:prstGeom prst="roundRect">
            <a:avLst>
              <a:gd name="adj" fmla="val 4293"/>
            </a:avLst>
          </a:prstGeom>
          <a:noFill/>
        </p:spPr>
        <p:txBody>
          <a:bodyPr/>
          <a:lstStyle>
            <a:lvl1pPr marL="216000" indent="-216000" algn="l" defTabSz="685800" rtl="0" eaLnBrk="1" latinLnBrk="0" hangingPunct="1">
              <a:lnSpc>
                <a:spcPct val="120000"/>
              </a:lnSpc>
              <a:spcBef>
                <a:spcPts val="0"/>
              </a:spcBef>
              <a:spcAft>
                <a:spcPts val="0"/>
              </a:spcAft>
              <a:buClr>
                <a:srgbClr val="1C6D7D"/>
              </a:buClr>
              <a:buSzPct val="100000"/>
              <a:buFont typeface="Courier New" panose="02070309020205020404" pitchFamily="49" charset="0"/>
              <a:buChar char="o"/>
              <a:defRPr sz="1400" kern="1200" baseline="0">
                <a:solidFill>
                  <a:schemeClr val="tx1"/>
                </a:solidFill>
                <a:latin typeface="+mn-lt"/>
                <a:ea typeface="+mn-ea"/>
                <a:cs typeface="+mn-cs"/>
              </a:defRPr>
            </a:lvl1pPr>
            <a:lvl2pPr marL="432000" indent="-216000" algn="l" defTabSz="685800" rtl="0" eaLnBrk="1" latinLnBrk="0" hangingPunct="1">
              <a:lnSpc>
                <a:spcPct val="120000"/>
              </a:lnSpc>
              <a:spcBef>
                <a:spcPts val="0"/>
              </a:spcBef>
              <a:spcAft>
                <a:spcPts val="0"/>
              </a:spcAft>
              <a:buClr>
                <a:srgbClr val="1C6D7D"/>
              </a:buClr>
              <a:buSzPct val="100000"/>
              <a:buFont typeface="Courier New" panose="02070309020205020404" pitchFamily="49" charset="0"/>
              <a:buChar char="o"/>
              <a:defRPr sz="1200" kern="1200" baseline="0">
                <a:solidFill>
                  <a:schemeClr val="tx1"/>
                </a:solidFill>
                <a:latin typeface="+mn-lt"/>
                <a:ea typeface="+mn-ea"/>
                <a:cs typeface="+mn-cs"/>
              </a:defRPr>
            </a:lvl2pPr>
            <a:lvl3pPr marL="648000" indent="-216000" algn="l" defTabSz="685800" rtl="0" eaLnBrk="1" latinLnBrk="0" hangingPunct="1">
              <a:lnSpc>
                <a:spcPct val="120000"/>
              </a:lnSpc>
              <a:spcBef>
                <a:spcPts val="0"/>
              </a:spcBef>
              <a:spcAft>
                <a:spcPts val="0"/>
              </a:spcAft>
              <a:buClr>
                <a:srgbClr val="1C6D7D"/>
              </a:buClr>
              <a:buSzPct val="140000"/>
              <a:buFont typeface="Arial" panose="020B0604020202020204" pitchFamily="34" charset="0"/>
              <a:buChar char="•"/>
              <a:defRPr lang="en-US" sz="1200" kern="1200" noProof="0" dirty="0" smtClean="0">
                <a:solidFill>
                  <a:schemeClr val="tx1"/>
                </a:solidFill>
                <a:latin typeface="+mn-lt"/>
                <a:ea typeface="+mn-ea"/>
                <a:cs typeface="+mn-cs"/>
              </a:defRPr>
            </a:lvl3pPr>
            <a:lvl4pPr marL="648000" indent="-216000" algn="l" defTabSz="685800" rtl="0" eaLnBrk="1" latinLnBrk="0" hangingPunct="1">
              <a:lnSpc>
                <a:spcPct val="120000"/>
              </a:lnSpc>
              <a:spcBef>
                <a:spcPts val="0"/>
              </a:spcBef>
              <a:spcAft>
                <a:spcPts val="0"/>
              </a:spcAft>
              <a:buClr>
                <a:srgbClr val="1C6D7D"/>
              </a:buClr>
              <a:buSzPct val="140000"/>
              <a:buFont typeface="Arial" panose="020B0604020202020204" pitchFamily="34" charset="0"/>
              <a:buChar char="•"/>
              <a:defRPr sz="1200" kern="1200" baseline="0">
                <a:solidFill>
                  <a:schemeClr val="tx1"/>
                </a:solidFill>
                <a:latin typeface="+mn-lt"/>
                <a:ea typeface="+mn-ea"/>
                <a:cs typeface="+mn-cs"/>
              </a:defRPr>
            </a:lvl4pPr>
            <a:lvl5pPr marL="648000" indent="-216000" algn="l" defTabSz="685800" rtl="0" eaLnBrk="1" latinLnBrk="0" hangingPunct="1">
              <a:lnSpc>
                <a:spcPct val="120000"/>
              </a:lnSpc>
              <a:spcBef>
                <a:spcPts val="0"/>
              </a:spcBef>
              <a:spcAft>
                <a:spcPts val="0"/>
              </a:spcAft>
              <a:buClr>
                <a:srgbClr val="1C6D7D"/>
              </a:buClr>
              <a:buSzPct val="140000"/>
              <a:buFont typeface="Arial" panose="020B0604020202020204" pitchFamily="34" charset="0"/>
              <a:buChar char="•"/>
              <a:defRPr sz="1200" kern="1200">
                <a:solidFill>
                  <a:schemeClr val="tx1"/>
                </a:solidFill>
                <a:latin typeface="+mn-lt"/>
                <a:ea typeface="+mn-ea"/>
                <a:cs typeface="+mn-cs"/>
              </a:defRPr>
            </a:lvl5pPr>
            <a:lvl6pPr marL="648000" indent="-216000" algn="l" defTabSz="685800" rtl="0" eaLnBrk="1" latinLnBrk="0" hangingPunct="1">
              <a:lnSpc>
                <a:spcPct val="120000"/>
              </a:lnSpc>
              <a:spcBef>
                <a:spcPts val="0"/>
              </a:spcBef>
              <a:spcAft>
                <a:spcPts val="0"/>
              </a:spcAft>
              <a:buClr>
                <a:srgbClr val="1C6D7D"/>
              </a:buClr>
              <a:buSzPct val="140000"/>
              <a:buFont typeface="Arial" panose="020B0604020202020204" pitchFamily="34" charset="0"/>
              <a:buChar char="•"/>
              <a:defRPr sz="1200" kern="1200">
                <a:solidFill>
                  <a:schemeClr val="tx1"/>
                </a:solidFill>
                <a:latin typeface="+mn-lt"/>
                <a:ea typeface="+mn-ea"/>
                <a:cs typeface="+mn-cs"/>
              </a:defRPr>
            </a:lvl6pPr>
            <a:lvl7pPr marL="648000" indent="-216000" algn="l" defTabSz="685800" rtl="0" eaLnBrk="1" latinLnBrk="0" hangingPunct="1">
              <a:lnSpc>
                <a:spcPct val="120000"/>
              </a:lnSpc>
              <a:spcBef>
                <a:spcPts val="0"/>
              </a:spcBef>
              <a:spcAft>
                <a:spcPts val="0"/>
              </a:spcAft>
              <a:buClr>
                <a:srgbClr val="1C6D7D"/>
              </a:buClr>
              <a:buSzPct val="140000"/>
              <a:buFont typeface="Arial" panose="020B0604020202020204" pitchFamily="34" charset="0"/>
              <a:buChar char="•"/>
              <a:defRPr sz="1200" kern="1200">
                <a:solidFill>
                  <a:schemeClr val="tx1"/>
                </a:solidFill>
                <a:latin typeface="+mn-lt"/>
                <a:ea typeface="+mn-ea"/>
                <a:cs typeface="+mn-cs"/>
              </a:defRPr>
            </a:lvl7pPr>
            <a:lvl8pPr marL="648000" indent="-216000" algn="l" defTabSz="685800" rtl="0" eaLnBrk="1" latinLnBrk="0" hangingPunct="1">
              <a:lnSpc>
                <a:spcPct val="120000"/>
              </a:lnSpc>
              <a:spcBef>
                <a:spcPts val="0"/>
              </a:spcBef>
              <a:spcAft>
                <a:spcPts val="0"/>
              </a:spcAft>
              <a:buClr>
                <a:srgbClr val="1C6D7D"/>
              </a:buClr>
              <a:buSzPct val="140000"/>
              <a:buFont typeface="Arial" panose="020B0604020202020204" pitchFamily="34" charset="0"/>
              <a:buChar char="•"/>
              <a:defRPr sz="1200" kern="1200">
                <a:solidFill>
                  <a:schemeClr val="tx1"/>
                </a:solidFill>
                <a:latin typeface="+mn-lt"/>
                <a:ea typeface="+mn-ea"/>
                <a:cs typeface="+mn-cs"/>
              </a:defRPr>
            </a:lvl8pPr>
            <a:lvl9pPr marL="648000" indent="-216000" algn="l" defTabSz="685800" rtl="0" eaLnBrk="1" latinLnBrk="0" hangingPunct="1">
              <a:lnSpc>
                <a:spcPct val="120000"/>
              </a:lnSpc>
              <a:spcBef>
                <a:spcPts val="0"/>
              </a:spcBef>
              <a:spcAft>
                <a:spcPts val="0"/>
              </a:spcAft>
              <a:buClr>
                <a:srgbClr val="1C6D7D"/>
              </a:buClr>
              <a:buSzPct val="140000"/>
              <a:buFont typeface="Arial" panose="020B0604020202020204" pitchFamily="34" charset="0"/>
              <a:buChar char="•"/>
              <a:defRPr sz="1200" kern="1200">
                <a:solidFill>
                  <a:schemeClr val="tx1"/>
                </a:solidFill>
                <a:latin typeface="+mn-lt"/>
                <a:ea typeface="+mn-ea"/>
                <a:cs typeface="+mn-cs"/>
              </a:defRPr>
            </a:lvl9pPr>
          </a:lstStyle>
          <a:p>
            <a:pPr marL="285750" indent="-285750"/>
            <a:r>
              <a:rPr lang="en-US">
                <a:latin typeface="+mj-lt"/>
                <a:cs typeface="MV Boli" panose="02000500030200090000" pitchFamily="2" charset="0"/>
              </a:rPr>
              <a:t>This table shows data from the deep dive module, with the KPIs, as well as the Purchase Intent.</a:t>
            </a:r>
          </a:p>
          <a:p>
            <a:pPr marL="285750" indent="-285750"/>
            <a:endParaRPr lang="en-US">
              <a:latin typeface="+mj-lt"/>
              <a:cs typeface="MV Boli" panose="02000500030200090000" pitchFamily="2" charset="0"/>
            </a:endParaRPr>
          </a:p>
          <a:p>
            <a:pPr marL="285750" indent="-285750"/>
            <a:r>
              <a:rPr lang="en-US">
                <a:latin typeface="+mj-lt"/>
                <a:cs typeface="MV Boli" panose="02000500030200090000" pitchFamily="2" charset="0"/>
              </a:rPr>
              <a:t>This scorecard shows how the </a:t>
            </a:r>
            <a:r>
              <a:rPr lang="en-GB" altLang="en-US">
                <a:latin typeface="+mj-lt"/>
                <a:cs typeface="MV Boli" panose="02000500030200090000" pitchFamily="2" charset="0"/>
              </a:rPr>
              <a:t>claims score on the KPIs and PI.</a:t>
            </a:r>
          </a:p>
          <a:p>
            <a:pPr marL="285750" indent="-285750"/>
            <a:endParaRPr lang="en-US">
              <a:latin typeface="+mj-lt"/>
              <a:cs typeface="MV Boli" panose="02000500030200090000" pitchFamily="2" charset="0"/>
            </a:endParaRPr>
          </a:p>
          <a:p>
            <a:pPr marL="285750" indent="-285750"/>
            <a:r>
              <a:rPr lang="en-US">
                <a:latin typeface="+mj-lt"/>
                <a:cs typeface="MV Boli" panose="02000500030200090000" pitchFamily="2" charset="0"/>
              </a:rPr>
              <a:t>Analysis will be done across all topics and within topic.</a:t>
            </a:r>
          </a:p>
          <a:p>
            <a:pPr marL="285750" indent="-285750"/>
            <a:endParaRPr lang="en-US">
              <a:latin typeface="+mj-lt"/>
              <a:cs typeface="MV Boli" panose="02000500030200090000" pitchFamily="2" charset="0"/>
            </a:endParaRPr>
          </a:p>
          <a:p>
            <a:pPr marL="285750" indent="-285750"/>
            <a:r>
              <a:rPr lang="en-US">
                <a:latin typeface="+mj-lt"/>
                <a:cs typeface="MV Boli" panose="02000500030200090000" pitchFamily="2" charset="0"/>
              </a:rPr>
              <a:t>Based on the analysis of this and the previous slide we will be able to determine which are the recommended claims for the Alpro brand. </a:t>
            </a:r>
          </a:p>
          <a:p>
            <a:endParaRPr lang="en-US">
              <a:latin typeface="+mj-lt"/>
              <a:cs typeface="MV Boli" panose="02000500030200090000" pitchFamily="2" charset="0"/>
            </a:endParaRPr>
          </a:p>
        </p:txBody>
      </p:sp>
      <p:graphicFrame>
        <p:nvGraphicFramePr>
          <p:cNvPr id="31" name="Table 4">
            <a:extLst>
              <a:ext uri="{FF2B5EF4-FFF2-40B4-BE49-F238E27FC236}">
                <a16:creationId xmlns:a16="http://schemas.microsoft.com/office/drawing/2014/main" id="{CE8696F9-64DD-4CE4-A78E-81547D877B80}"/>
              </a:ext>
            </a:extLst>
          </p:cNvPr>
          <p:cNvGraphicFramePr>
            <a:graphicFrameLocks noGrp="1"/>
          </p:cNvGraphicFramePr>
          <p:nvPr/>
        </p:nvGraphicFramePr>
        <p:xfrm>
          <a:off x="1863559" y="2512096"/>
          <a:ext cx="4167259" cy="2957192"/>
        </p:xfrm>
        <a:graphic>
          <a:graphicData uri="http://schemas.openxmlformats.org/drawingml/2006/table">
            <a:tbl>
              <a:tblPr firstRow="1" bandRow="1">
                <a:tableStyleId>{68D230F3-CF80-4859-8CE7-A43EE81993B5}</a:tableStyleId>
              </a:tblPr>
              <a:tblGrid>
                <a:gridCol w="871711">
                  <a:extLst>
                    <a:ext uri="{9D8B030D-6E8A-4147-A177-3AD203B41FA5}">
                      <a16:colId xmlns:a16="http://schemas.microsoft.com/office/drawing/2014/main" val="3473476835"/>
                    </a:ext>
                  </a:extLst>
                </a:gridCol>
                <a:gridCol w="823887">
                  <a:extLst>
                    <a:ext uri="{9D8B030D-6E8A-4147-A177-3AD203B41FA5}">
                      <a16:colId xmlns:a16="http://schemas.microsoft.com/office/drawing/2014/main" val="3705523806"/>
                    </a:ext>
                  </a:extLst>
                </a:gridCol>
                <a:gridCol w="823887">
                  <a:extLst>
                    <a:ext uri="{9D8B030D-6E8A-4147-A177-3AD203B41FA5}">
                      <a16:colId xmlns:a16="http://schemas.microsoft.com/office/drawing/2014/main" val="2292439975"/>
                    </a:ext>
                  </a:extLst>
                </a:gridCol>
                <a:gridCol w="823887">
                  <a:extLst>
                    <a:ext uri="{9D8B030D-6E8A-4147-A177-3AD203B41FA5}">
                      <a16:colId xmlns:a16="http://schemas.microsoft.com/office/drawing/2014/main" val="3664996163"/>
                    </a:ext>
                  </a:extLst>
                </a:gridCol>
                <a:gridCol w="823887">
                  <a:extLst>
                    <a:ext uri="{9D8B030D-6E8A-4147-A177-3AD203B41FA5}">
                      <a16:colId xmlns:a16="http://schemas.microsoft.com/office/drawing/2014/main" val="437046593"/>
                    </a:ext>
                  </a:extLst>
                </a:gridCol>
              </a:tblGrid>
              <a:tr h="273360">
                <a:tc>
                  <a:txBody>
                    <a:bodyPr/>
                    <a:lstStyle/>
                    <a:p>
                      <a:pPr algn="ctr"/>
                      <a:endParaRPr lang="en-US" sz="900" b="1"/>
                    </a:p>
                  </a:txBody>
                  <a:tcPr marL="0" marR="0" marT="0" marB="0" anchor="ctr">
                    <a:lnL>
                      <a:noFill/>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gridSpan="3">
                  <a:txBody>
                    <a:bodyPr/>
                    <a:lstStyle/>
                    <a:p>
                      <a:pPr algn="ctr"/>
                      <a:r>
                        <a:rPr lang="en-US" sz="1050" b="1"/>
                        <a:t>KPIs (T2B)</a:t>
                      </a:r>
                    </a:p>
                  </a:txBody>
                  <a:tcPr marL="0" marR="0" marT="0"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hMerge="1">
                  <a:txBody>
                    <a:bodyPr/>
                    <a:lstStyle/>
                    <a:p>
                      <a:pPr algn="ctr"/>
                      <a:endParaRPr lang="en-US" sz="1050" b="1"/>
                    </a:p>
                  </a:txBody>
                  <a:tcPr marL="0" marR="0" marT="0" marB="0" anchor="ctr">
                    <a:lnL w="12700" cap="flat" cmpd="sng" algn="ctr">
                      <a:noFill/>
                      <a:prstDash val="solid"/>
                      <a:round/>
                      <a:headEnd type="none" w="med" len="med"/>
                      <a:tailEnd type="none" w="med" len="med"/>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hMerge="1">
                  <a:txBody>
                    <a:bodyPr/>
                    <a:lstStyle/>
                    <a:p>
                      <a:pPr algn="ctr"/>
                      <a:endParaRPr lang="en-US" sz="1050" b="1"/>
                    </a:p>
                  </a:txBody>
                  <a:tcPr marL="0" marR="0" marT="0" marB="0" anchor="ctr">
                    <a:lnL w="12700" cap="flat" cmpd="sng" algn="ctr">
                      <a:noFill/>
                      <a:prstDash val="solid"/>
                      <a:round/>
                      <a:headEnd type="none" w="med" len="med"/>
                      <a:tailEnd type="none" w="med" len="med"/>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lang="en-US" sz="1050" b="1"/>
                        <a:t>PI (T2B)</a:t>
                      </a:r>
                    </a:p>
                  </a:txBody>
                  <a:tcPr marL="0" marR="0" marT="0" marB="0" anchor="ctr">
                    <a:lnL w="12700" cap="flat" cmpd="sng" algn="ctr">
                      <a:solidFill>
                        <a:schemeClr val="bg2"/>
                      </a:solidFill>
                      <a:prstDash val="solid"/>
                      <a:round/>
                      <a:headEnd type="none" w="med" len="med"/>
                      <a:tailEnd type="none" w="med" len="med"/>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3679689086"/>
                  </a:ext>
                </a:extLst>
              </a:tr>
              <a:tr h="480272">
                <a:tc>
                  <a:txBody>
                    <a:bodyPr/>
                    <a:lstStyle/>
                    <a:p>
                      <a:pPr algn="ctr"/>
                      <a:endParaRPr lang="en-US" sz="900" b="1"/>
                    </a:p>
                  </a:txBody>
                  <a:tcPr marL="0" marR="0" marT="0" marB="0" anchor="ctr">
                    <a:lnL>
                      <a:noFill/>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lang="en-US" sz="1050" b="1"/>
                        <a:t>Unique</a:t>
                      </a:r>
                    </a:p>
                  </a:txBody>
                  <a:tcPr marL="0" marR="0" marT="0" marB="0" anchor="ctr">
                    <a:lnL w="12700" cap="flat" cmpd="sng" algn="ctr">
                      <a:solidFill>
                        <a:schemeClr val="bg2"/>
                      </a:solidFill>
                      <a:prstDash val="solid"/>
                      <a:round/>
                      <a:headEnd type="none" w="med" len="med"/>
                      <a:tailEnd type="none" w="med" len="med"/>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lang="en-US" sz="1050" b="1"/>
                        <a:t>Relevant</a:t>
                      </a:r>
                    </a:p>
                  </a:txBody>
                  <a:tcPr marL="0" marR="0" marT="0" marB="0" anchor="ctr">
                    <a:lnL w="12700" cap="flat" cmpd="sng" algn="ctr">
                      <a:noFill/>
                      <a:prstDash val="solid"/>
                      <a:round/>
                      <a:headEnd type="none" w="med" len="med"/>
                      <a:tailEnd type="none" w="med" len="med"/>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lang="en-US" sz="1050" b="1"/>
                        <a:t>Believable</a:t>
                      </a:r>
                    </a:p>
                  </a:txBody>
                  <a:tcPr marL="0" marR="0" marT="0"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lang="en-US" sz="1050" b="1"/>
                        <a:t>Purchase Intent</a:t>
                      </a:r>
                    </a:p>
                  </a:txBody>
                  <a:tcPr marL="0" marR="0" marT="0" marB="0" anchor="ctr">
                    <a:lnL w="12700" cap="flat" cmpd="sng" algn="ctr">
                      <a:solidFill>
                        <a:schemeClr val="bg2"/>
                      </a:solidFill>
                      <a:prstDash val="solid"/>
                      <a:round/>
                      <a:headEnd type="none" w="med" len="med"/>
                      <a:tailEnd type="none" w="med" len="med"/>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609625913"/>
                  </a:ext>
                </a:extLst>
              </a:tr>
              <a:tr h="44358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it-IT" sz="900" b="1" i="0" u="none" strike="noStrike" kern="1200" cap="none" spc="0" normalizeH="0" baseline="0" noProof="0">
                          <a:ln>
                            <a:noFill/>
                          </a:ln>
                          <a:solidFill>
                            <a:srgbClr val="263133"/>
                          </a:solidFill>
                          <a:effectLst/>
                          <a:uLnTx/>
                          <a:uFillTx/>
                          <a:latin typeface="Rawline"/>
                          <a:ea typeface="+mn-ea"/>
                          <a:cs typeface="+mn-cs"/>
                        </a:rPr>
                        <a:t>   Claim 21</a:t>
                      </a:r>
                    </a:p>
                  </a:txBody>
                  <a:tcPr marL="9525" marR="9525" marT="9525" marB="0" anchor="ctr">
                    <a:lnL>
                      <a:noFill/>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a:noFill/>
                    </a:lnB>
                    <a:lnTlToBr w="12700" cmpd="sng">
                      <a:noFill/>
                      <a:prstDash val="solid"/>
                    </a:lnTlToBr>
                    <a:lnBlToTr w="12700" cmpd="sng">
                      <a:noFill/>
                      <a:prstDash val="solid"/>
                    </a:lnBlToTr>
                    <a:solidFill>
                      <a:schemeClr val="tx2">
                        <a:lumMod val="20000"/>
                        <a:lumOff val="80000"/>
                      </a:schemeClr>
                    </a:solidFill>
                  </a:tcPr>
                </a:tc>
                <a:tc>
                  <a:txBody>
                    <a:bodyPr/>
                    <a:lstStyle/>
                    <a:p>
                      <a:pPr algn="ctr" fontAlgn="b"/>
                      <a:r>
                        <a:rPr lang="en-US" sz="1200" b="1" i="0" u="none" strike="noStrike">
                          <a:solidFill>
                            <a:schemeClr val="bg2"/>
                          </a:solidFill>
                          <a:effectLst/>
                          <a:latin typeface="+mj-lt"/>
                        </a:rPr>
                        <a:t>78%</a:t>
                      </a:r>
                    </a:p>
                  </a:txBody>
                  <a:tcPr marL="6350" marR="6350" marT="6350" marB="0" anchor="ctr">
                    <a:lnL w="12700" cap="flat" cmpd="sng" algn="ctr">
                      <a:solidFill>
                        <a:schemeClr val="bg2"/>
                      </a:solidFill>
                      <a:prstDash val="solid"/>
                      <a:round/>
                      <a:headEnd type="none" w="med" len="med"/>
                      <a:tailEnd type="none" w="med" len="med"/>
                    </a:lnL>
                    <a:lnR>
                      <a:noFill/>
                    </a:lnR>
                    <a:lnT w="12700" cap="flat" cmpd="sng" algn="ctr">
                      <a:solidFill>
                        <a:schemeClr val="bg2"/>
                      </a:solidFill>
                      <a:prstDash val="solid"/>
                      <a:round/>
                      <a:headEnd type="none" w="med" len="med"/>
                      <a:tailEnd type="none" w="med" len="med"/>
                    </a:lnT>
                    <a:lnB>
                      <a:noFill/>
                    </a:lnB>
                    <a:lnTlToBr w="12700" cmpd="sng">
                      <a:noFill/>
                      <a:prstDash val="solid"/>
                    </a:lnTlToBr>
                    <a:lnBlToTr w="12700" cmpd="sng">
                      <a:noFill/>
                      <a:prstDash val="solid"/>
                    </a:lnBlToTr>
                    <a:solidFill>
                      <a:schemeClr val="tx2">
                        <a:lumMod val="20000"/>
                        <a:lumOff val="80000"/>
                      </a:schemeClr>
                    </a:solidFill>
                  </a:tcPr>
                </a:tc>
                <a:tc>
                  <a:txBody>
                    <a:bodyPr/>
                    <a:lstStyle/>
                    <a:p>
                      <a:pPr algn="ctr" fontAlgn="b"/>
                      <a:r>
                        <a:rPr lang="en-US" sz="1200" b="1" i="0" u="none" strike="noStrike">
                          <a:solidFill>
                            <a:schemeClr val="bg2"/>
                          </a:solidFill>
                          <a:effectLst/>
                          <a:latin typeface="+mj-lt"/>
                        </a:rPr>
                        <a:t>74%</a:t>
                      </a:r>
                    </a:p>
                  </a:txBody>
                  <a:tcPr marL="6350" marR="6350" marT="6350" marB="0" anchor="ctr">
                    <a:lnL w="12700" cap="flat" cmpd="sng" algn="ctr">
                      <a:noFill/>
                      <a:prstDash val="solid"/>
                      <a:round/>
                      <a:headEnd type="none" w="med" len="med"/>
                      <a:tailEnd type="none" w="med" len="med"/>
                    </a:lnL>
                    <a:lnR>
                      <a:noFill/>
                    </a:lnR>
                    <a:lnT w="12700" cap="flat" cmpd="sng" algn="ctr">
                      <a:solidFill>
                        <a:schemeClr val="bg2"/>
                      </a:solidFill>
                      <a:prstDash val="solid"/>
                      <a:round/>
                      <a:headEnd type="none" w="med" len="med"/>
                      <a:tailEnd type="none" w="med" len="med"/>
                    </a:lnT>
                    <a:lnB>
                      <a:noFill/>
                    </a:lnB>
                    <a:lnTlToBr w="12700" cmpd="sng">
                      <a:noFill/>
                      <a:prstDash val="solid"/>
                    </a:lnTlToBr>
                    <a:lnBlToTr w="12700" cmpd="sng">
                      <a:noFill/>
                      <a:prstDash val="solid"/>
                    </a:lnBlToTr>
                    <a:solidFill>
                      <a:schemeClr val="tx2">
                        <a:lumMod val="20000"/>
                        <a:lumOff val="80000"/>
                      </a:schemeClr>
                    </a:solidFill>
                  </a:tcPr>
                </a:tc>
                <a:tc>
                  <a:txBody>
                    <a:bodyPr/>
                    <a:lstStyle/>
                    <a:p>
                      <a:pPr algn="ctr" fontAlgn="b"/>
                      <a:r>
                        <a:rPr lang="en-US" sz="1200" b="1" i="0" u="none" strike="noStrike">
                          <a:solidFill>
                            <a:schemeClr val="bg2"/>
                          </a:solidFill>
                          <a:effectLst/>
                          <a:latin typeface="+mj-lt"/>
                        </a:rPr>
                        <a:t>76%</a:t>
                      </a:r>
                    </a:p>
                  </a:txBody>
                  <a:tcPr marL="6350" marR="6350" marT="6350"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a:noFill/>
                    </a:lnB>
                    <a:lnTlToBr w="12700" cmpd="sng">
                      <a:noFill/>
                      <a:prstDash val="solid"/>
                    </a:lnTlToBr>
                    <a:lnBlToTr w="12700" cmpd="sng">
                      <a:noFill/>
                      <a:prstDash val="solid"/>
                    </a:lnBlToTr>
                    <a:solidFill>
                      <a:schemeClr val="tx2">
                        <a:lumMod val="20000"/>
                        <a:lumOff val="80000"/>
                      </a:schemeClr>
                    </a:solidFill>
                  </a:tcPr>
                </a:tc>
                <a:tc>
                  <a:txBody>
                    <a:bodyPr/>
                    <a:lstStyle/>
                    <a:p>
                      <a:pPr algn="ctr" fontAlgn="b"/>
                      <a:r>
                        <a:rPr lang="en-US" sz="1200" b="1" i="0" u="none" strike="noStrike">
                          <a:solidFill>
                            <a:schemeClr val="bg2"/>
                          </a:solidFill>
                          <a:effectLst/>
                          <a:latin typeface="+mj-lt"/>
                        </a:rPr>
                        <a:t>83%</a:t>
                      </a:r>
                    </a:p>
                  </a:txBody>
                  <a:tcPr marL="6350" marR="6350" marT="6350" marB="0" anchor="ctr">
                    <a:lnL w="12700" cap="flat" cmpd="sng" algn="ctr">
                      <a:solidFill>
                        <a:schemeClr val="bg2"/>
                      </a:solidFill>
                      <a:prstDash val="solid"/>
                      <a:round/>
                      <a:headEnd type="none" w="med" len="med"/>
                      <a:tailEnd type="none" w="med" len="med"/>
                    </a:lnL>
                    <a:lnR>
                      <a:noFill/>
                    </a:lnR>
                    <a:lnT w="12700" cap="flat" cmpd="sng" algn="ctr">
                      <a:solidFill>
                        <a:schemeClr val="bg2"/>
                      </a:solidFill>
                      <a:prstDash val="solid"/>
                      <a:round/>
                      <a:headEnd type="none" w="med" len="med"/>
                      <a:tailEnd type="none" w="med" len="med"/>
                    </a:lnT>
                    <a:lnB>
                      <a:noFill/>
                    </a:lnB>
                    <a:lnTlToBr w="12700" cmpd="sng">
                      <a:noFill/>
                      <a:prstDash val="solid"/>
                    </a:lnTlToBr>
                    <a:lnBlToTr w="12700" cmpd="sng">
                      <a:noFill/>
                      <a:prstDash val="solid"/>
                    </a:lnBlToTr>
                    <a:solidFill>
                      <a:schemeClr val="tx2">
                        <a:lumMod val="20000"/>
                        <a:lumOff val="80000"/>
                      </a:schemeClr>
                    </a:solidFill>
                  </a:tcPr>
                </a:tc>
                <a:extLst>
                  <a:ext uri="{0D108BD9-81ED-4DB2-BD59-A6C34878D82A}">
                    <a16:rowId xmlns:a16="http://schemas.microsoft.com/office/drawing/2014/main" val="2873213047"/>
                  </a:ext>
                </a:extLst>
              </a:tr>
              <a:tr h="44358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it-IT" sz="900" b="1" i="0" u="none" strike="noStrike" kern="1200" cap="none" spc="0" normalizeH="0" baseline="0" noProof="0">
                          <a:ln>
                            <a:noFill/>
                          </a:ln>
                          <a:solidFill>
                            <a:srgbClr val="263133"/>
                          </a:solidFill>
                          <a:effectLst/>
                          <a:uLnTx/>
                          <a:uFillTx/>
                          <a:latin typeface="Rawline"/>
                          <a:ea typeface="+mn-ea"/>
                          <a:cs typeface="+mn-cs"/>
                        </a:rPr>
                        <a:t>   Claim 32</a:t>
                      </a:r>
                    </a:p>
                  </a:txBody>
                  <a:tcPr marL="9525" marR="9525" marT="9525" marB="0" anchor="ctr">
                    <a:lnL>
                      <a:noFill/>
                    </a:lnL>
                    <a:lnR w="12700" cap="flat" cmpd="sng" algn="ctr">
                      <a:solidFill>
                        <a:schemeClr val="bg2"/>
                      </a:solidFill>
                      <a:prstDash val="solid"/>
                      <a:round/>
                      <a:headEnd type="none" w="med" len="med"/>
                      <a:tailEnd type="none" w="med" len="med"/>
                    </a:lnR>
                    <a:lnT>
                      <a:noFill/>
                    </a:lnT>
                    <a:lnB>
                      <a:noFill/>
                    </a:lnB>
                    <a:lnTlToBr w="12700" cmpd="sng">
                      <a:noFill/>
                      <a:prstDash val="solid"/>
                    </a:lnTlToBr>
                    <a:lnBlToTr w="12700" cmpd="sng">
                      <a:noFill/>
                      <a:prstDash val="solid"/>
                    </a:lnBlToTr>
                    <a:solidFill>
                      <a:schemeClr val="tx2">
                        <a:lumMod val="20000"/>
                        <a:lumOff val="80000"/>
                        <a:alpha val="20000"/>
                      </a:schemeClr>
                    </a:solidFill>
                  </a:tcPr>
                </a:tc>
                <a:tc>
                  <a:txBody>
                    <a:bodyPr/>
                    <a:lstStyle/>
                    <a:p>
                      <a:pPr algn="ctr" fontAlgn="b"/>
                      <a:r>
                        <a:rPr lang="en-US" sz="1200" b="1" i="0" u="none" strike="noStrike">
                          <a:solidFill>
                            <a:schemeClr val="bg2"/>
                          </a:solidFill>
                          <a:effectLst/>
                          <a:latin typeface="+mj-lt"/>
                        </a:rPr>
                        <a:t>82%</a:t>
                      </a:r>
                    </a:p>
                  </a:txBody>
                  <a:tcPr marL="6350" marR="6350" marT="6350" marB="0" anchor="ctr">
                    <a:lnL w="12700" cap="flat" cmpd="sng" algn="ctr">
                      <a:solidFill>
                        <a:schemeClr val="bg2"/>
                      </a:solid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chemeClr val="tx2">
                        <a:lumMod val="20000"/>
                        <a:lumOff val="80000"/>
                        <a:alpha val="20000"/>
                      </a:schemeClr>
                    </a:solidFill>
                  </a:tcPr>
                </a:tc>
                <a:tc>
                  <a:txBody>
                    <a:bodyPr/>
                    <a:lstStyle/>
                    <a:p>
                      <a:pPr algn="ctr" fontAlgn="b"/>
                      <a:r>
                        <a:rPr lang="en-US" sz="1200" b="1" i="0" u="none" strike="noStrike">
                          <a:solidFill>
                            <a:schemeClr val="bg2"/>
                          </a:solidFill>
                          <a:effectLst/>
                          <a:latin typeface="+mj-lt"/>
                        </a:rPr>
                        <a:t>66%</a:t>
                      </a:r>
                    </a:p>
                  </a:txBody>
                  <a:tcPr marL="6350" marR="6350" marT="6350" marB="0" anchor="ctr">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chemeClr val="tx2">
                        <a:lumMod val="20000"/>
                        <a:lumOff val="80000"/>
                        <a:alpha val="20000"/>
                      </a:schemeClr>
                    </a:solidFill>
                  </a:tcPr>
                </a:tc>
                <a:tc>
                  <a:txBody>
                    <a:bodyPr/>
                    <a:lstStyle/>
                    <a:p>
                      <a:pPr algn="ctr" fontAlgn="b"/>
                      <a:r>
                        <a:rPr lang="en-US" sz="1200" b="1" i="0" u="none" strike="noStrike">
                          <a:solidFill>
                            <a:schemeClr val="bg2"/>
                          </a:solidFill>
                          <a:effectLst/>
                          <a:latin typeface="+mj-lt"/>
                        </a:rPr>
                        <a:t>69%</a:t>
                      </a:r>
                    </a:p>
                  </a:txBody>
                  <a:tcPr marL="6350" marR="6350" marT="6350"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a:noFill/>
                    </a:lnT>
                    <a:lnB>
                      <a:noFill/>
                    </a:lnB>
                    <a:lnTlToBr w="12700" cmpd="sng">
                      <a:noFill/>
                      <a:prstDash val="solid"/>
                    </a:lnTlToBr>
                    <a:lnBlToTr w="12700" cmpd="sng">
                      <a:noFill/>
                      <a:prstDash val="solid"/>
                    </a:lnBlToTr>
                    <a:solidFill>
                      <a:schemeClr val="tx2">
                        <a:lumMod val="20000"/>
                        <a:lumOff val="80000"/>
                        <a:alpha val="20000"/>
                      </a:schemeClr>
                    </a:solidFill>
                  </a:tcPr>
                </a:tc>
                <a:tc>
                  <a:txBody>
                    <a:bodyPr/>
                    <a:lstStyle/>
                    <a:p>
                      <a:pPr algn="ctr" fontAlgn="b"/>
                      <a:r>
                        <a:rPr lang="en-US" sz="1200" b="1" i="0" u="none" strike="noStrike">
                          <a:solidFill>
                            <a:schemeClr val="bg2"/>
                          </a:solidFill>
                          <a:effectLst/>
                          <a:latin typeface="+mj-lt"/>
                        </a:rPr>
                        <a:t>79%</a:t>
                      </a:r>
                    </a:p>
                  </a:txBody>
                  <a:tcPr marL="6350" marR="6350" marT="6350" marB="0" anchor="ctr">
                    <a:lnL w="12700" cap="flat" cmpd="sng" algn="ctr">
                      <a:solidFill>
                        <a:schemeClr val="bg2"/>
                      </a:solid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chemeClr val="tx2">
                        <a:lumMod val="20000"/>
                        <a:lumOff val="80000"/>
                        <a:alpha val="20000"/>
                      </a:schemeClr>
                    </a:solidFill>
                  </a:tcPr>
                </a:tc>
                <a:extLst>
                  <a:ext uri="{0D108BD9-81ED-4DB2-BD59-A6C34878D82A}">
                    <a16:rowId xmlns:a16="http://schemas.microsoft.com/office/drawing/2014/main" val="166684033"/>
                  </a:ext>
                </a:extLst>
              </a:tr>
              <a:tr h="4292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it-IT" sz="800" b="0" i="0" u="none" strike="noStrike" kern="1200" cap="none" spc="0" normalizeH="0" baseline="0" noProof="0">
                          <a:ln>
                            <a:noFill/>
                          </a:ln>
                          <a:solidFill>
                            <a:srgbClr val="263133"/>
                          </a:solidFill>
                          <a:effectLst/>
                          <a:uLnTx/>
                          <a:uFillTx/>
                          <a:latin typeface="Rawline"/>
                          <a:ea typeface="+mn-ea"/>
                          <a:cs typeface="+mn-cs"/>
                        </a:rPr>
                        <a:t>   </a:t>
                      </a:r>
                      <a:r>
                        <a:rPr kumimoji="0" lang="it-IT" sz="900" b="1" i="0" u="none" strike="noStrike" kern="1200" cap="none" spc="0" normalizeH="0" baseline="0" noProof="0">
                          <a:ln>
                            <a:noFill/>
                          </a:ln>
                          <a:solidFill>
                            <a:srgbClr val="263133"/>
                          </a:solidFill>
                          <a:effectLst/>
                          <a:uLnTx/>
                          <a:uFillTx/>
                          <a:latin typeface="Rawline"/>
                          <a:ea typeface="+mn-ea"/>
                          <a:cs typeface="+mn-cs"/>
                        </a:rPr>
                        <a:t>Claim 4</a:t>
                      </a:r>
                      <a:endParaRPr kumimoji="0" lang="it-IT" sz="800" b="1" i="0" u="none" strike="noStrike" kern="1200" cap="none" spc="0" normalizeH="0" baseline="0" noProof="0">
                        <a:ln>
                          <a:noFill/>
                        </a:ln>
                        <a:solidFill>
                          <a:srgbClr val="263133"/>
                        </a:solidFill>
                        <a:effectLst/>
                        <a:uLnTx/>
                        <a:uFillTx/>
                        <a:latin typeface="Rawline"/>
                        <a:ea typeface="+mn-ea"/>
                        <a:cs typeface="+mn-cs"/>
                      </a:endParaRPr>
                    </a:p>
                  </a:txBody>
                  <a:tcPr marL="9525" marR="9525" marT="9525" marB="0" anchor="ctr">
                    <a:lnL>
                      <a:noFill/>
                    </a:lnL>
                    <a:lnR w="12700" cap="flat" cmpd="sng" algn="ctr">
                      <a:solidFill>
                        <a:schemeClr val="bg2"/>
                      </a:solidFill>
                      <a:prstDash val="solid"/>
                      <a:round/>
                      <a:headEnd type="none" w="med" len="med"/>
                      <a:tailEnd type="none" w="med" len="med"/>
                    </a:lnR>
                    <a:lnT>
                      <a:noFill/>
                    </a:lnT>
                    <a:lnB>
                      <a:noFill/>
                    </a:lnB>
                    <a:lnTlToBr w="12700" cmpd="sng">
                      <a:noFill/>
                      <a:prstDash val="solid"/>
                    </a:lnTlToBr>
                    <a:lnBlToTr w="12700" cmpd="sng">
                      <a:noFill/>
                      <a:prstDash val="solid"/>
                    </a:lnBlToTr>
                    <a:solidFill>
                      <a:schemeClr val="tx2">
                        <a:lumMod val="20000"/>
                        <a:lumOff val="80000"/>
                      </a:schemeClr>
                    </a:solidFill>
                  </a:tcPr>
                </a:tc>
                <a:tc>
                  <a:txBody>
                    <a:bodyPr/>
                    <a:lstStyle/>
                    <a:p>
                      <a:pPr algn="ctr" fontAlgn="b"/>
                      <a:r>
                        <a:rPr lang="en-US" sz="1200" b="1" i="0" u="none" strike="noStrike">
                          <a:solidFill>
                            <a:schemeClr val="bg2"/>
                          </a:solidFill>
                          <a:effectLst/>
                          <a:latin typeface="+mj-lt"/>
                        </a:rPr>
                        <a:t>67%</a:t>
                      </a:r>
                    </a:p>
                  </a:txBody>
                  <a:tcPr marL="6350" marR="6350" marT="6350" marB="0" anchor="ctr">
                    <a:lnL w="12700" cap="flat" cmpd="sng" algn="ctr">
                      <a:solidFill>
                        <a:schemeClr val="bg2"/>
                      </a:solid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chemeClr val="tx2">
                        <a:lumMod val="20000"/>
                        <a:lumOff val="80000"/>
                      </a:schemeClr>
                    </a:solidFill>
                  </a:tcPr>
                </a:tc>
                <a:tc>
                  <a:txBody>
                    <a:bodyPr/>
                    <a:lstStyle/>
                    <a:p>
                      <a:pPr algn="ctr" fontAlgn="b"/>
                      <a:r>
                        <a:rPr lang="en-US" sz="1200" b="1" i="0" u="none" strike="noStrike">
                          <a:solidFill>
                            <a:schemeClr val="bg2"/>
                          </a:solidFill>
                          <a:effectLst/>
                          <a:latin typeface="+mj-lt"/>
                        </a:rPr>
                        <a:t>81%</a:t>
                      </a:r>
                    </a:p>
                  </a:txBody>
                  <a:tcPr marL="6350" marR="6350" marT="6350" marB="0" anchor="ctr">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chemeClr val="tx2">
                        <a:lumMod val="20000"/>
                        <a:lumOff val="80000"/>
                      </a:schemeClr>
                    </a:solidFill>
                  </a:tcPr>
                </a:tc>
                <a:tc>
                  <a:txBody>
                    <a:bodyPr/>
                    <a:lstStyle/>
                    <a:p>
                      <a:pPr algn="ctr" fontAlgn="b"/>
                      <a:r>
                        <a:rPr lang="en-US" sz="1200" b="1" i="0" u="none" strike="noStrike">
                          <a:solidFill>
                            <a:schemeClr val="bg2"/>
                          </a:solidFill>
                          <a:effectLst/>
                          <a:latin typeface="+mj-lt"/>
                        </a:rPr>
                        <a:t>70%</a:t>
                      </a:r>
                    </a:p>
                  </a:txBody>
                  <a:tcPr marL="6350" marR="6350" marT="6350"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a:noFill/>
                    </a:lnT>
                    <a:lnB>
                      <a:noFill/>
                    </a:lnB>
                    <a:lnTlToBr w="12700" cmpd="sng">
                      <a:noFill/>
                      <a:prstDash val="solid"/>
                    </a:lnTlToBr>
                    <a:lnBlToTr w="12700" cmpd="sng">
                      <a:noFill/>
                      <a:prstDash val="solid"/>
                    </a:lnBlToTr>
                    <a:solidFill>
                      <a:schemeClr val="tx2">
                        <a:lumMod val="20000"/>
                        <a:lumOff val="80000"/>
                      </a:schemeClr>
                    </a:solidFill>
                  </a:tcPr>
                </a:tc>
                <a:tc>
                  <a:txBody>
                    <a:bodyPr/>
                    <a:lstStyle/>
                    <a:p>
                      <a:pPr algn="ctr" fontAlgn="b"/>
                      <a:r>
                        <a:rPr lang="en-US" sz="1200" b="1" i="0" u="none" strike="noStrike">
                          <a:solidFill>
                            <a:schemeClr val="bg2"/>
                          </a:solidFill>
                          <a:effectLst/>
                          <a:latin typeface="+mj-lt"/>
                        </a:rPr>
                        <a:t>82%</a:t>
                      </a:r>
                    </a:p>
                  </a:txBody>
                  <a:tcPr marL="6350" marR="6350" marT="6350" marB="0" anchor="ctr">
                    <a:lnL w="12700" cap="flat" cmpd="sng" algn="ctr">
                      <a:solidFill>
                        <a:schemeClr val="bg2"/>
                      </a:solid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chemeClr val="tx2">
                        <a:lumMod val="20000"/>
                        <a:lumOff val="80000"/>
                      </a:schemeClr>
                    </a:solidFill>
                  </a:tcPr>
                </a:tc>
                <a:extLst>
                  <a:ext uri="{0D108BD9-81ED-4DB2-BD59-A6C34878D82A}">
                    <a16:rowId xmlns:a16="http://schemas.microsoft.com/office/drawing/2014/main" val="3129890119"/>
                  </a:ext>
                </a:extLst>
              </a:tr>
              <a:tr h="44358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it-IT" sz="800" b="0" i="0" u="none" strike="noStrike" kern="1200" cap="none" spc="0" normalizeH="0" baseline="0" noProof="0">
                          <a:ln>
                            <a:noFill/>
                          </a:ln>
                          <a:solidFill>
                            <a:srgbClr val="263133"/>
                          </a:solidFill>
                          <a:effectLst/>
                          <a:uLnTx/>
                          <a:uFillTx/>
                          <a:latin typeface="Rawline"/>
                          <a:ea typeface="+mn-ea"/>
                          <a:cs typeface="+mn-cs"/>
                        </a:rPr>
                        <a:t>   </a:t>
                      </a:r>
                      <a:r>
                        <a:rPr kumimoji="0" lang="it-IT" sz="900" b="1" i="0" u="none" strike="noStrike" kern="1200" cap="none" spc="0" normalizeH="0" baseline="0" noProof="0">
                          <a:ln>
                            <a:noFill/>
                          </a:ln>
                          <a:solidFill>
                            <a:srgbClr val="263133"/>
                          </a:solidFill>
                          <a:effectLst/>
                          <a:uLnTx/>
                          <a:uFillTx/>
                          <a:latin typeface="Rawline"/>
                          <a:ea typeface="+mn-ea"/>
                          <a:cs typeface="+mn-cs"/>
                        </a:rPr>
                        <a:t>Claim 17</a:t>
                      </a:r>
                      <a:endParaRPr kumimoji="0" lang="it-IT" sz="800" b="1" i="0" u="none" strike="noStrike" kern="1200" cap="none" spc="0" normalizeH="0" baseline="0" noProof="0">
                        <a:ln>
                          <a:noFill/>
                        </a:ln>
                        <a:solidFill>
                          <a:srgbClr val="263133"/>
                        </a:solidFill>
                        <a:effectLst/>
                        <a:uLnTx/>
                        <a:uFillTx/>
                        <a:latin typeface="Rawline"/>
                        <a:ea typeface="+mn-ea"/>
                        <a:cs typeface="+mn-cs"/>
                      </a:endParaRPr>
                    </a:p>
                  </a:txBody>
                  <a:tcPr marL="9525" marR="9525" marT="9525" marB="0" anchor="ctr">
                    <a:lnL>
                      <a:noFill/>
                    </a:lnL>
                    <a:lnR w="12700" cap="flat" cmpd="sng" algn="ctr">
                      <a:solidFill>
                        <a:schemeClr val="bg2"/>
                      </a:solidFill>
                      <a:prstDash val="solid"/>
                      <a:round/>
                      <a:headEnd type="none" w="med" len="med"/>
                      <a:tailEnd type="none" w="med" len="med"/>
                    </a:lnR>
                    <a:lnT>
                      <a:noFill/>
                    </a:lnT>
                    <a:lnB>
                      <a:noFill/>
                    </a:lnB>
                    <a:lnTlToBr w="12700" cmpd="sng">
                      <a:noFill/>
                      <a:prstDash val="solid"/>
                    </a:lnTlToBr>
                    <a:lnBlToTr w="12700" cmpd="sng">
                      <a:noFill/>
                      <a:prstDash val="solid"/>
                    </a:lnBlToTr>
                    <a:solidFill>
                      <a:schemeClr val="tx2">
                        <a:lumMod val="20000"/>
                        <a:lumOff val="80000"/>
                        <a:alpha val="20000"/>
                      </a:schemeClr>
                    </a:solidFill>
                  </a:tcPr>
                </a:tc>
                <a:tc>
                  <a:txBody>
                    <a:bodyPr/>
                    <a:lstStyle/>
                    <a:p>
                      <a:pPr algn="ctr" fontAlgn="b"/>
                      <a:r>
                        <a:rPr lang="en-US" sz="1200" b="1" i="0" u="none" strike="noStrike">
                          <a:solidFill>
                            <a:schemeClr val="bg2"/>
                          </a:solidFill>
                          <a:effectLst/>
                          <a:latin typeface="+mj-lt"/>
                        </a:rPr>
                        <a:t>71%</a:t>
                      </a:r>
                    </a:p>
                  </a:txBody>
                  <a:tcPr marL="6350" marR="6350" marT="6350" marB="0" anchor="ctr">
                    <a:lnL w="12700" cap="flat" cmpd="sng" algn="ctr">
                      <a:solidFill>
                        <a:schemeClr val="bg2"/>
                      </a:solid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chemeClr val="tx2">
                        <a:lumMod val="20000"/>
                        <a:lumOff val="80000"/>
                        <a:alpha val="20000"/>
                      </a:schemeClr>
                    </a:solidFill>
                  </a:tcPr>
                </a:tc>
                <a:tc>
                  <a:txBody>
                    <a:bodyPr/>
                    <a:lstStyle/>
                    <a:p>
                      <a:pPr algn="ctr" fontAlgn="b"/>
                      <a:r>
                        <a:rPr lang="en-US" sz="1200" b="1" i="0" u="none" strike="noStrike">
                          <a:solidFill>
                            <a:schemeClr val="bg2"/>
                          </a:solidFill>
                          <a:effectLst/>
                          <a:latin typeface="+mj-lt"/>
                        </a:rPr>
                        <a:t>59%</a:t>
                      </a:r>
                    </a:p>
                  </a:txBody>
                  <a:tcPr marL="6350" marR="6350" marT="6350" marB="0" anchor="ctr">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chemeClr val="tx2">
                        <a:lumMod val="20000"/>
                        <a:lumOff val="80000"/>
                        <a:alpha val="20000"/>
                      </a:schemeClr>
                    </a:solidFill>
                  </a:tcPr>
                </a:tc>
                <a:tc>
                  <a:txBody>
                    <a:bodyPr/>
                    <a:lstStyle/>
                    <a:p>
                      <a:pPr algn="ctr" fontAlgn="b"/>
                      <a:r>
                        <a:rPr lang="en-US" sz="1200" b="1" i="0" u="none" strike="noStrike">
                          <a:solidFill>
                            <a:schemeClr val="bg2"/>
                          </a:solidFill>
                          <a:effectLst/>
                          <a:latin typeface="+mj-lt"/>
                        </a:rPr>
                        <a:t>65%</a:t>
                      </a:r>
                    </a:p>
                  </a:txBody>
                  <a:tcPr marL="6350" marR="6350" marT="6350"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a:noFill/>
                    </a:lnT>
                    <a:lnB>
                      <a:noFill/>
                    </a:lnB>
                    <a:lnTlToBr w="12700" cmpd="sng">
                      <a:noFill/>
                      <a:prstDash val="solid"/>
                    </a:lnTlToBr>
                    <a:lnBlToTr w="12700" cmpd="sng">
                      <a:noFill/>
                      <a:prstDash val="solid"/>
                    </a:lnBlToTr>
                    <a:solidFill>
                      <a:schemeClr val="tx2">
                        <a:lumMod val="20000"/>
                        <a:lumOff val="80000"/>
                        <a:alpha val="20000"/>
                      </a:schemeClr>
                    </a:solidFill>
                  </a:tcPr>
                </a:tc>
                <a:tc>
                  <a:txBody>
                    <a:bodyPr/>
                    <a:lstStyle/>
                    <a:p>
                      <a:pPr algn="ctr" fontAlgn="b"/>
                      <a:r>
                        <a:rPr lang="en-US" sz="1200" b="1" i="0" u="none" strike="noStrike">
                          <a:solidFill>
                            <a:schemeClr val="bg2"/>
                          </a:solidFill>
                          <a:effectLst/>
                          <a:latin typeface="+mj-lt"/>
                        </a:rPr>
                        <a:t>74%</a:t>
                      </a:r>
                    </a:p>
                  </a:txBody>
                  <a:tcPr marL="6350" marR="6350" marT="6350" marB="0" anchor="ctr">
                    <a:lnL w="12700" cap="flat" cmpd="sng" algn="ctr">
                      <a:solidFill>
                        <a:schemeClr val="bg2"/>
                      </a:solid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chemeClr val="tx2">
                        <a:lumMod val="20000"/>
                        <a:lumOff val="80000"/>
                        <a:alpha val="20000"/>
                      </a:schemeClr>
                    </a:solidFill>
                  </a:tcPr>
                </a:tc>
                <a:extLst>
                  <a:ext uri="{0D108BD9-81ED-4DB2-BD59-A6C34878D82A}">
                    <a16:rowId xmlns:a16="http://schemas.microsoft.com/office/drawing/2014/main" val="1121449269"/>
                  </a:ext>
                </a:extLst>
              </a:tr>
              <a:tr h="44358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it-IT" sz="800" b="0" i="0" u="none" strike="noStrike" kern="1200" cap="none" spc="0" normalizeH="0" baseline="0" noProof="0">
                          <a:ln>
                            <a:noFill/>
                          </a:ln>
                          <a:solidFill>
                            <a:srgbClr val="263133"/>
                          </a:solidFill>
                          <a:effectLst/>
                          <a:uLnTx/>
                          <a:uFillTx/>
                          <a:latin typeface="Rawline"/>
                          <a:ea typeface="+mn-ea"/>
                          <a:cs typeface="+mn-cs"/>
                        </a:rPr>
                        <a:t>   </a:t>
                      </a:r>
                      <a:r>
                        <a:rPr kumimoji="0" lang="it-IT" sz="900" b="1" i="0" u="none" strike="noStrike" kern="1200" cap="none" spc="0" normalizeH="0" baseline="0" noProof="0">
                          <a:ln>
                            <a:noFill/>
                          </a:ln>
                          <a:solidFill>
                            <a:srgbClr val="263133"/>
                          </a:solidFill>
                          <a:effectLst/>
                          <a:uLnTx/>
                          <a:uFillTx/>
                          <a:latin typeface="Rawline"/>
                          <a:ea typeface="+mn-ea"/>
                          <a:cs typeface="+mn-cs"/>
                        </a:rPr>
                        <a:t>Claim 28</a:t>
                      </a:r>
                      <a:endParaRPr kumimoji="0" lang="it-IT" sz="800" b="1" i="0" u="none" strike="noStrike" kern="1200" cap="none" spc="0" normalizeH="0" baseline="0" noProof="0">
                        <a:ln>
                          <a:noFill/>
                        </a:ln>
                        <a:solidFill>
                          <a:srgbClr val="263133"/>
                        </a:solidFill>
                        <a:effectLst/>
                        <a:uLnTx/>
                        <a:uFillTx/>
                        <a:latin typeface="Rawline"/>
                        <a:ea typeface="+mn-ea"/>
                        <a:cs typeface="+mn-cs"/>
                      </a:endParaRPr>
                    </a:p>
                  </a:txBody>
                  <a:tcPr marL="9525" marR="9525" marT="9525" marB="0" anchor="ctr">
                    <a:lnL>
                      <a:noFill/>
                    </a:lnL>
                    <a:lnR w="12700" cap="flat" cmpd="sng" algn="ctr">
                      <a:solidFill>
                        <a:schemeClr val="bg2"/>
                      </a:solidFill>
                      <a:prstDash val="solid"/>
                      <a:round/>
                      <a:headEnd type="none" w="med" len="med"/>
                      <a:tailEnd type="none" w="med" len="med"/>
                    </a:lnR>
                    <a:lnT>
                      <a:noFill/>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tc>
                  <a:txBody>
                    <a:bodyPr/>
                    <a:lstStyle/>
                    <a:p>
                      <a:pPr algn="ctr" fontAlgn="b"/>
                      <a:r>
                        <a:rPr lang="en-US" sz="1200" b="1" i="0" u="none" strike="noStrike">
                          <a:solidFill>
                            <a:schemeClr val="bg2"/>
                          </a:solidFill>
                          <a:effectLst/>
                          <a:latin typeface="+mj-lt"/>
                        </a:rPr>
                        <a:t>88%</a:t>
                      </a:r>
                    </a:p>
                  </a:txBody>
                  <a:tcPr marL="6350" marR="6350" marT="6350" marB="0" anchor="ctr">
                    <a:lnL w="12700" cap="flat" cmpd="sng" algn="ctr">
                      <a:solidFill>
                        <a:schemeClr val="bg2"/>
                      </a:solidFill>
                      <a:prstDash val="solid"/>
                      <a:round/>
                      <a:headEnd type="none" w="med" len="med"/>
                      <a:tailEnd type="none" w="med" len="med"/>
                    </a:lnL>
                    <a:lnR>
                      <a:noFill/>
                    </a:lnR>
                    <a:lnT>
                      <a:noFill/>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tc>
                  <a:txBody>
                    <a:bodyPr/>
                    <a:lstStyle/>
                    <a:p>
                      <a:pPr algn="ctr" fontAlgn="b"/>
                      <a:r>
                        <a:rPr lang="en-US" sz="1200" b="1" i="0" u="none" strike="noStrike">
                          <a:solidFill>
                            <a:schemeClr val="bg2"/>
                          </a:solidFill>
                          <a:effectLst/>
                          <a:latin typeface="+mj-lt"/>
                        </a:rPr>
                        <a:t>77%</a:t>
                      </a:r>
                    </a:p>
                  </a:txBody>
                  <a:tcPr marL="6350" marR="6350" marT="6350" marB="0" anchor="ctr">
                    <a:lnL w="12700" cap="flat" cmpd="sng" algn="ctr">
                      <a:noFill/>
                      <a:prstDash val="solid"/>
                      <a:round/>
                      <a:headEnd type="none" w="med" len="med"/>
                      <a:tailEnd type="none" w="med" len="med"/>
                    </a:lnL>
                    <a:lnR>
                      <a:noFill/>
                    </a:lnR>
                    <a:lnT>
                      <a:noFill/>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tc>
                  <a:txBody>
                    <a:bodyPr/>
                    <a:lstStyle/>
                    <a:p>
                      <a:pPr algn="ctr" fontAlgn="b"/>
                      <a:r>
                        <a:rPr lang="en-US" sz="1200" b="1" i="0" u="none" strike="noStrike">
                          <a:solidFill>
                            <a:schemeClr val="bg2"/>
                          </a:solidFill>
                          <a:effectLst/>
                          <a:latin typeface="+mj-lt"/>
                        </a:rPr>
                        <a:t>79%</a:t>
                      </a:r>
                    </a:p>
                  </a:txBody>
                  <a:tcPr marL="6350" marR="6350" marT="6350"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a:noFill/>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tc>
                  <a:txBody>
                    <a:bodyPr/>
                    <a:lstStyle/>
                    <a:p>
                      <a:pPr algn="ctr" fontAlgn="b"/>
                      <a:r>
                        <a:rPr lang="en-US" sz="1200" b="1" i="0" u="none" strike="noStrike">
                          <a:solidFill>
                            <a:schemeClr val="bg2"/>
                          </a:solidFill>
                          <a:effectLst/>
                          <a:latin typeface="+mj-lt"/>
                        </a:rPr>
                        <a:t>69%</a:t>
                      </a:r>
                    </a:p>
                  </a:txBody>
                  <a:tcPr marL="6350" marR="6350" marT="6350" marB="0" anchor="ctr">
                    <a:lnL w="12700" cap="flat" cmpd="sng" algn="ctr">
                      <a:solidFill>
                        <a:schemeClr val="bg2"/>
                      </a:solidFill>
                      <a:prstDash val="solid"/>
                      <a:round/>
                      <a:headEnd type="none" w="med" len="med"/>
                      <a:tailEnd type="none" w="med" len="med"/>
                    </a:lnL>
                    <a:lnR>
                      <a:noFill/>
                    </a:lnR>
                    <a:lnT>
                      <a:noFill/>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extLst>
                  <a:ext uri="{0D108BD9-81ED-4DB2-BD59-A6C34878D82A}">
                    <a16:rowId xmlns:a16="http://schemas.microsoft.com/office/drawing/2014/main" val="1117376756"/>
                  </a:ext>
                </a:extLst>
              </a:tr>
            </a:tbl>
          </a:graphicData>
        </a:graphic>
      </p:graphicFrame>
      <p:sp>
        <p:nvSpPr>
          <p:cNvPr id="50" name="TextBox 49">
            <a:extLst>
              <a:ext uri="{FF2B5EF4-FFF2-40B4-BE49-F238E27FC236}">
                <a16:creationId xmlns:a16="http://schemas.microsoft.com/office/drawing/2014/main" id="{26C9B046-C18A-4519-A927-F83EF56201EF}"/>
              </a:ext>
            </a:extLst>
          </p:cNvPr>
          <p:cNvSpPr txBox="1"/>
          <p:nvPr/>
        </p:nvSpPr>
        <p:spPr>
          <a:xfrm>
            <a:off x="2316846" y="1890272"/>
            <a:ext cx="3487209" cy="343304"/>
          </a:xfrm>
          <a:prstGeom prst="rect">
            <a:avLst/>
          </a:prstGeom>
          <a:noFill/>
          <a:ln>
            <a:noFill/>
          </a:ln>
        </p:spPr>
        <p:txBody>
          <a:bodyPr wrap="square" lIns="0" tIns="0" rIns="0" bIns="0" rtlCol="0">
            <a:noAutofit/>
          </a:bodyPr>
          <a:lstStyle/>
          <a:p>
            <a:pPr algn="ctr"/>
            <a:r>
              <a:rPr lang="en-GB" sz="1400" b="1">
                <a:solidFill>
                  <a:schemeClr val="bg2"/>
                </a:solidFill>
                <a:cs typeface="MV Boli" panose="02000500030200090000" pitchFamily="2" charset="0"/>
              </a:rPr>
              <a:t>Scorecard</a:t>
            </a:r>
          </a:p>
        </p:txBody>
      </p:sp>
    </p:spTree>
    <p:extLst>
      <p:ext uri="{BB962C8B-B14F-4D97-AF65-F5344CB8AC3E}">
        <p14:creationId xmlns:p14="http://schemas.microsoft.com/office/powerpoint/2010/main" val="2814569741"/>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2D9E8280-9D88-4E21-8C81-1260B32D54B5}"/>
              </a:ext>
            </a:extLst>
          </p:cNvPr>
          <p:cNvSpPr/>
          <p:nvPr/>
        </p:nvSpPr>
        <p:spPr>
          <a:xfrm>
            <a:off x="403200" y="1579046"/>
            <a:ext cx="7314502" cy="4236060"/>
          </a:xfrm>
          <a:prstGeom prst="rect">
            <a:avLst/>
          </a:prstGeom>
          <a:solidFill>
            <a:schemeClr val="bg1"/>
          </a:solidFill>
          <a:ln w="1905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US" err="1">
              <a:solidFill>
                <a:schemeClr val="tx1"/>
              </a:solidFill>
              <a:latin typeface="Segoe Print" panose="02000600000000000000" pitchFamily="2" charset="0"/>
              <a:cs typeface="MV Boli" panose="02000500030200090000" pitchFamily="2" charset="0"/>
            </a:endParaRPr>
          </a:p>
        </p:txBody>
      </p:sp>
      <p:sp>
        <p:nvSpPr>
          <p:cNvPr id="17" name="Afgeronde rechthoek 65">
            <a:extLst>
              <a:ext uri="{FF2B5EF4-FFF2-40B4-BE49-F238E27FC236}">
                <a16:creationId xmlns:a16="http://schemas.microsoft.com/office/drawing/2014/main" id="{6833DEC2-75EF-4639-A097-D5683500D574}"/>
              </a:ext>
            </a:extLst>
          </p:cNvPr>
          <p:cNvSpPr/>
          <p:nvPr/>
        </p:nvSpPr>
        <p:spPr>
          <a:xfrm>
            <a:off x="8132234" y="0"/>
            <a:ext cx="4059767" cy="6864351"/>
          </a:xfrm>
          <a:prstGeom prst="roundRect">
            <a:avLst>
              <a:gd name="adj" fmla="val 0"/>
            </a:avLst>
          </a:prstGeom>
          <a:solidFill>
            <a:schemeClr val="tx2">
              <a:lumMod val="20000"/>
              <a:lumOff val="8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600">
              <a:solidFill>
                <a:schemeClr val="tx1"/>
              </a:solidFill>
              <a:latin typeface="Segoe Print" panose="02000600000000000000" pitchFamily="2" charset="0"/>
              <a:cs typeface="MV Boli" panose="02000500030200090000" pitchFamily="2" charset="0"/>
            </a:endParaRPr>
          </a:p>
        </p:txBody>
      </p:sp>
      <p:sp>
        <p:nvSpPr>
          <p:cNvPr id="3" name="Title 2"/>
          <p:cNvSpPr>
            <a:spLocks noGrp="1"/>
          </p:cNvSpPr>
          <p:nvPr>
            <p:ph type="title"/>
          </p:nvPr>
        </p:nvSpPr>
        <p:spPr/>
        <p:txBody>
          <a:bodyPr/>
          <a:lstStyle/>
          <a:p>
            <a:r>
              <a:rPr lang="en-US"/>
              <a:t>Example </a:t>
            </a:r>
            <a:r>
              <a:rPr lang="en-US" err="1"/>
              <a:t>Output</a:t>
            </a:r>
            <a:r>
              <a:rPr lang="en-US"/>
              <a:t>: Open ends –</a:t>
            </a:r>
            <a:br>
              <a:rPr lang="en-US"/>
            </a:br>
            <a:r>
              <a:rPr lang="en-US"/>
              <a:t>Why are the claims motivating to buy?</a:t>
            </a:r>
          </a:p>
        </p:txBody>
      </p:sp>
      <p:sp>
        <p:nvSpPr>
          <p:cNvPr id="16" name="Rectangle 15">
            <a:extLst>
              <a:ext uri="{FF2B5EF4-FFF2-40B4-BE49-F238E27FC236}">
                <a16:creationId xmlns:a16="http://schemas.microsoft.com/office/drawing/2014/main" id="{1FA1DA3E-C28F-4ABD-9703-15C49E6DD921}"/>
              </a:ext>
            </a:extLst>
          </p:cNvPr>
          <p:cNvSpPr/>
          <p:nvPr/>
        </p:nvSpPr>
        <p:spPr>
          <a:xfrm>
            <a:off x="2373441" y="6197835"/>
            <a:ext cx="752936" cy="62535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54000" bIns="54000" rtlCol="0" anchor="t" anchorCtr="0">
            <a:spAutoFit/>
          </a:bodyPr>
          <a:lstStyle/>
          <a:p>
            <a:pPr algn="l">
              <a:lnSpc>
                <a:spcPct val="110000"/>
              </a:lnSpc>
            </a:pPr>
            <a:endParaRPr lang="en-US" sz="1400">
              <a:solidFill>
                <a:schemeClr val="tx1"/>
              </a:solidFill>
            </a:endParaRPr>
          </a:p>
        </p:txBody>
      </p:sp>
      <p:sp>
        <p:nvSpPr>
          <p:cNvPr id="26" name="TextBox 25">
            <a:extLst>
              <a:ext uri="{FF2B5EF4-FFF2-40B4-BE49-F238E27FC236}">
                <a16:creationId xmlns:a16="http://schemas.microsoft.com/office/drawing/2014/main" id="{0E468771-EBF2-4AF7-A9C3-A25CE97F4BEE}"/>
              </a:ext>
            </a:extLst>
          </p:cNvPr>
          <p:cNvSpPr txBox="1"/>
          <p:nvPr/>
        </p:nvSpPr>
        <p:spPr>
          <a:xfrm>
            <a:off x="874818" y="1710357"/>
            <a:ext cx="6668382" cy="423449"/>
          </a:xfrm>
          <a:prstGeom prst="rect">
            <a:avLst/>
          </a:prstGeom>
          <a:noFill/>
        </p:spPr>
        <p:txBody>
          <a:bodyPr wrap="square">
            <a:spAutoFit/>
          </a:bodyPr>
          <a:lstStyle/>
          <a:p>
            <a:pPr algn="ctr"/>
            <a:r>
              <a:rPr lang="en-US" sz="1600" b="1"/>
              <a:t>Claim</a:t>
            </a:r>
            <a:r>
              <a:rPr lang="en-US" b="1"/>
              <a:t>s about Alpro products</a:t>
            </a:r>
          </a:p>
        </p:txBody>
      </p:sp>
      <p:sp>
        <p:nvSpPr>
          <p:cNvPr id="33" name="Content Placeholder 23">
            <a:extLst>
              <a:ext uri="{FF2B5EF4-FFF2-40B4-BE49-F238E27FC236}">
                <a16:creationId xmlns:a16="http://schemas.microsoft.com/office/drawing/2014/main" id="{4F2E662C-962D-47B6-81E1-98F5D6654DB6}"/>
              </a:ext>
            </a:extLst>
          </p:cNvPr>
          <p:cNvSpPr txBox="1">
            <a:spLocks/>
          </p:cNvSpPr>
          <p:nvPr/>
        </p:nvSpPr>
        <p:spPr>
          <a:xfrm>
            <a:off x="8370098" y="1579046"/>
            <a:ext cx="3474000" cy="4236060"/>
          </a:xfrm>
          <a:prstGeom prst="roundRect">
            <a:avLst>
              <a:gd name="adj" fmla="val 4293"/>
            </a:avLst>
          </a:prstGeom>
          <a:noFill/>
        </p:spPr>
        <p:txBody>
          <a:bodyPr/>
          <a:lstStyle>
            <a:lvl1pPr marL="216000" indent="-216000" algn="l" defTabSz="685800" rtl="0" eaLnBrk="1" latinLnBrk="0" hangingPunct="1">
              <a:lnSpc>
                <a:spcPct val="120000"/>
              </a:lnSpc>
              <a:spcBef>
                <a:spcPts val="0"/>
              </a:spcBef>
              <a:spcAft>
                <a:spcPts val="0"/>
              </a:spcAft>
              <a:buClr>
                <a:srgbClr val="1C6D7D"/>
              </a:buClr>
              <a:buSzPct val="100000"/>
              <a:buFont typeface="Courier New" panose="02070309020205020404" pitchFamily="49" charset="0"/>
              <a:buChar char="o"/>
              <a:defRPr sz="1400" kern="1200" baseline="0">
                <a:solidFill>
                  <a:schemeClr val="tx1"/>
                </a:solidFill>
                <a:latin typeface="+mn-lt"/>
                <a:ea typeface="+mn-ea"/>
                <a:cs typeface="+mn-cs"/>
              </a:defRPr>
            </a:lvl1pPr>
            <a:lvl2pPr marL="432000" indent="-216000" algn="l" defTabSz="685800" rtl="0" eaLnBrk="1" latinLnBrk="0" hangingPunct="1">
              <a:lnSpc>
                <a:spcPct val="120000"/>
              </a:lnSpc>
              <a:spcBef>
                <a:spcPts val="0"/>
              </a:spcBef>
              <a:spcAft>
                <a:spcPts val="0"/>
              </a:spcAft>
              <a:buClr>
                <a:srgbClr val="1C6D7D"/>
              </a:buClr>
              <a:buSzPct val="100000"/>
              <a:buFont typeface="Courier New" panose="02070309020205020404" pitchFamily="49" charset="0"/>
              <a:buChar char="o"/>
              <a:defRPr sz="1200" kern="1200" baseline="0">
                <a:solidFill>
                  <a:schemeClr val="tx1"/>
                </a:solidFill>
                <a:latin typeface="+mn-lt"/>
                <a:ea typeface="+mn-ea"/>
                <a:cs typeface="+mn-cs"/>
              </a:defRPr>
            </a:lvl2pPr>
            <a:lvl3pPr marL="648000" indent="-216000" algn="l" defTabSz="685800" rtl="0" eaLnBrk="1" latinLnBrk="0" hangingPunct="1">
              <a:lnSpc>
                <a:spcPct val="120000"/>
              </a:lnSpc>
              <a:spcBef>
                <a:spcPts val="0"/>
              </a:spcBef>
              <a:spcAft>
                <a:spcPts val="0"/>
              </a:spcAft>
              <a:buClr>
                <a:srgbClr val="1C6D7D"/>
              </a:buClr>
              <a:buSzPct val="140000"/>
              <a:buFont typeface="Arial" panose="020B0604020202020204" pitchFamily="34" charset="0"/>
              <a:buChar char="•"/>
              <a:defRPr lang="en-US" sz="1200" kern="1200" noProof="0" dirty="0" smtClean="0">
                <a:solidFill>
                  <a:schemeClr val="tx1"/>
                </a:solidFill>
                <a:latin typeface="+mn-lt"/>
                <a:ea typeface="+mn-ea"/>
                <a:cs typeface="+mn-cs"/>
              </a:defRPr>
            </a:lvl3pPr>
            <a:lvl4pPr marL="648000" indent="-216000" algn="l" defTabSz="685800" rtl="0" eaLnBrk="1" latinLnBrk="0" hangingPunct="1">
              <a:lnSpc>
                <a:spcPct val="120000"/>
              </a:lnSpc>
              <a:spcBef>
                <a:spcPts val="0"/>
              </a:spcBef>
              <a:spcAft>
                <a:spcPts val="0"/>
              </a:spcAft>
              <a:buClr>
                <a:srgbClr val="1C6D7D"/>
              </a:buClr>
              <a:buSzPct val="140000"/>
              <a:buFont typeface="Arial" panose="020B0604020202020204" pitchFamily="34" charset="0"/>
              <a:buChar char="•"/>
              <a:defRPr sz="1200" kern="1200" baseline="0">
                <a:solidFill>
                  <a:schemeClr val="tx1"/>
                </a:solidFill>
                <a:latin typeface="+mn-lt"/>
                <a:ea typeface="+mn-ea"/>
                <a:cs typeface="+mn-cs"/>
              </a:defRPr>
            </a:lvl4pPr>
            <a:lvl5pPr marL="648000" indent="-216000" algn="l" defTabSz="685800" rtl="0" eaLnBrk="1" latinLnBrk="0" hangingPunct="1">
              <a:lnSpc>
                <a:spcPct val="120000"/>
              </a:lnSpc>
              <a:spcBef>
                <a:spcPts val="0"/>
              </a:spcBef>
              <a:spcAft>
                <a:spcPts val="0"/>
              </a:spcAft>
              <a:buClr>
                <a:srgbClr val="1C6D7D"/>
              </a:buClr>
              <a:buSzPct val="140000"/>
              <a:buFont typeface="Arial" panose="020B0604020202020204" pitchFamily="34" charset="0"/>
              <a:buChar char="•"/>
              <a:defRPr sz="1200" kern="1200">
                <a:solidFill>
                  <a:schemeClr val="tx1"/>
                </a:solidFill>
                <a:latin typeface="+mn-lt"/>
                <a:ea typeface="+mn-ea"/>
                <a:cs typeface="+mn-cs"/>
              </a:defRPr>
            </a:lvl5pPr>
            <a:lvl6pPr marL="648000" indent="-216000" algn="l" defTabSz="685800" rtl="0" eaLnBrk="1" latinLnBrk="0" hangingPunct="1">
              <a:lnSpc>
                <a:spcPct val="120000"/>
              </a:lnSpc>
              <a:spcBef>
                <a:spcPts val="0"/>
              </a:spcBef>
              <a:spcAft>
                <a:spcPts val="0"/>
              </a:spcAft>
              <a:buClr>
                <a:srgbClr val="1C6D7D"/>
              </a:buClr>
              <a:buSzPct val="140000"/>
              <a:buFont typeface="Arial" panose="020B0604020202020204" pitchFamily="34" charset="0"/>
              <a:buChar char="•"/>
              <a:defRPr sz="1200" kern="1200">
                <a:solidFill>
                  <a:schemeClr val="tx1"/>
                </a:solidFill>
                <a:latin typeface="+mn-lt"/>
                <a:ea typeface="+mn-ea"/>
                <a:cs typeface="+mn-cs"/>
              </a:defRPr>
            </a:lvl6pPr>
            <a:lvl7pPr marL="648000" indent="-216000" algn="l" defTabSz="685800" rtl="0" eaLnBrk="1" latinLnBrk="0" hangingPunct="1">
              <a:lnSpc>
                <a:spcPct val="120000"/>
              </a:lnSpc>
              <a:spcBef>
                <a:spcPts val="0"/>
              </a:spcBef>
              <a:spcAft>
                <a:spcPts val="0"/>
              </a:spcAft>
              <a:buClr>
                <a:srgbClr val="1C6D7D"/>
              </a:buClr>
              <a:buSzPct val="140000"/>
              <a:buFont typeface="Arial" panose="020B0604020202020204" pitchFamily="34" charset="0"/>
              <a:buChar char="•"/>
              <a:defRPr sz="1200" kern="1200">
                <a:solidFill>
                  <a:schemeClr val="tx1"/>
                </a:solidFill>
                <a:latin typeface="+mn-lt"/>
                <a:ea typeface="+mn-ea"/>
                <a:cs typeface="+mn-cs"/>
              </a:defRPr>
            </a:lvl7pPr>
            <a:lvl8pPr marL="648000" indent="-216000" algn="l" defTabSz="685800" rtl="0" eaLnBrk="1" latinLnBrk="0" hangingPunct="1">
              <a:lnSpc>
                <a:spcPct val="120000"/>
              </a:lnSpc>
              <a:spcBef>
                <a:spcPts val="0"/>
              </a:spcBef>
              <a:spcAft>
                <a:spcPts val="0"/>
              </a:spcAft>
              <a:buClr>
                <a:srgbClr val="1C6D7D"/>
              </a:buClr>
              <a:buSzPct val="140000"/>
              <a:buFont typeface="Arial" panose="020B0604020202020204" pitchFamily="34" charset="0"/>
              <a:buChar char="•"/>
              <a:defRPr sz="1200" kern="1200">
                <a:solidFill>
                  <a:schemeClr val="tx1"/>
                </a:solidFill>
                <a:latin typeface="+mn-lt"/>
                <a:ea typeface="+mn-ea"/>
                <a:cs typeface="+mn-cs"/>
              </a:defRPr>
            </a:lvl8pPr>
            <a:lvl9pPr marL="648000" indent="-216000" algn="l" defTabSz="685800" rtl="0" eaLnBrk="1" latinLnBrk="0" hangingPunct="1">
              <a:lnSpc>
                <a:spcPct val="120000"/>
              </a:lnSpc>
              <a:spcBef>
                <a:spcPts val="0"/>
              </a:spcBef>
              <a:spcAft>
                <a:spcPts val="0"/>
              </a:spcAft>
              <a:buClr>
                <a:srgbClr val="1C6D7D"/>
              </a:buClr>
              <a:buSzPct val="140000"/>
              <a:buFont typeface="Arial" panose="020B0604020202020204" pitchFamily="34" charset="0"/>
              <a:buChar char="•"/>
              <a:defRPr sz="1200" kern="1200">
                <a:solidFill>
                  <a:schemeClr val="tx1"/>
                </a:solidFill>
                <a:latin typeface="+mn-lt"/>
                <a:ea typeface="+mn-ea"/>
                <a:cs typeface="+mn-cs"/>
              </a:defRPr>
            </a:lvl9pPr>
          </a:lstStyle>
          <a:p>
            <a:pPr marL="285750" indent="-285750"/>
            <a:r>
              <a:rPr lang="en-US">
                <a:latin typeface="+mj-lt"/>
                <a:cs typeface="MV Boli" panose="02000500030200090000" pitchFamily="2" charset="0"/>
              </a:rPr>
              <a:t>This shows a possible output for the qualitative part of the deep dive module. </a:t>
            </a:r>
          </a:p>
          <a:p>
            <a:pPr marL="285750" indent="-285750"/>
            <a:endParaRPr lang="en-US">
              <a:latin typeface="+mj-lt"/>
              <a:cs typeface="MV Boli" panose="02000500030200090000" pitchFamily="2" charset="0"/>
            </a:endParaRPr>
          </a:p>
          <a:p>
            <a:pPr marL="285750" indent="-285750"/>
            <a:r>
              <a:rPr lang="en-US">
                <a:latin typeface="+mj-lt"/>
                <a:cs typeface="MV Boli" panose="02000500030200090000" pitchFamily="2" charset="0"/>
              </a:rPr>
              <a:t>With this, we can understand </a:t>
            </a:r>
            <a:r>
              <a:rPr lang="en-US" b="1">
                <a:latin typeface="+mj-lt"/>
                <a:cs typeface="MV Boli" panose="02000500030200090000" pitchFamily="2" charset="0"/>
              </a:rPr>
              <a:t>why</a:t>
            </a:r>
            <a:r>
              <a:rPr lang="en-US">
                <a:latin typeface="+mj-lt"/>
                <a:cs typeface="MV Boli" panose="02000500030200090000" pitchFamily="2" charset="0"/>
              </a:rPr>
              <a:t> some claims are liked or disliked. </a:t>
            </a:r>
          </a:p>
          <a:p>
            <a:pPr marL="0" indent="0">
              <a:buNone/>
            </a:pPr>
            <a:endParaRPr lang="en-US">
              <a:latin typeface="+mj-lt"/>
              <a:cs typeface="MV Boli" panose="02000500030200090000" pitchFamily="2" charset="0"/>
            </a:endParaRPr>
          </a:p>
        </p:txBody>
      </p:sp>
      <p:graphicFrame>
        <p:nvGraphicFramePr>
          <p:cNvPr id="22" name="Table 21">
            <a:extLst>
              <a:ext uri="{FF2B5EF4-FFF2-40B4-BE49-F238E27FC236}">
                <a16:creationId xmlns:a16="http://schemas.microsoft.com/office/drawing/2014/main" id="{58A63AC5-8AE9-4FF7-BA2C-7ECF1646AB90}"/>
              </a:ext>
            </a:extLst>
          </p:cNvPr>
          <p:cNvGraphicFramePr>
            <a:graphicFrameLocks noGrp="1"/>
          </p:cNvGraphicFramePr>
          <p:nvPr/>
        </p:nvGraphicFramePr>
        <p:xfrm>
          <a:off x="2257445" y="2894521"/>
          <a:ext cx="3226403" cy="2233081"/>
        </p:xfrm>
        <a:graphic>
          <a:graphicData uri="http://schemas.openxmlformats.org/drawingml/2006/table">
            <a:tbl>
              <a:tblPr>
                <a:tableStyleId>{69012ECD-51FC-41F1-AA8D-1B2483CD663E}</a:tableStyleId>
              </a:tblPr>
              <a:tblGrid>
                <a:gridCol w="2051523">
                  <a:extLst>
                    <a:ext uri="{9D8B030D-6E8A-4147-A177-3AD203B41FA5}">
                      <a16:colId xmlns:a16="http://schemas.microsoft.com/office/drawing/2014/main" val="2188591684"/>
                    </a:ext>
                  </a:extLst>
                </a:gridCol>
                <a:gridCol w="1174880">
                  <a:extLst>
                    <a:ext uri="{9D8B030D-6E8A-4147-A177-3AD203B41FA5}">
                      <a16:colId xmlns:a16="http://schemas.microsoft.com/office/drawing/2014/main" val="1203467184"/>
                    </a:ext>
                  </a:extLst>
                </a:gridCol>
              </a:tblGrid>
              <a:tr h="361125">
                <a:tc>
                  <a:txBody>
                    <a:bodyPr/>
                    <a:lstStyle/>
                    <a:p>
                      <a:pPr marL="91440" algn="l" fontAlgn="b"/>
                      <a:r>
                        <a:rPr lang="en-US" sz="1050" b="1" i="0" u="none" strike="noStrike" kern="1200" noProof="0">
                          <a:solidFill>
                            <a:srgbClr val="1C6D7D"/>
                          </a:solidFill>
                          <a:effectLst/>
                          <a:latin typeface="+mn-lt"/>
                          <a:ea typeface="+mn-ea"/>
                          <a:cs typeface="+mn-cs"/>
                        </a:rPr>
                        <a:t>LIKE, n=300</a:t>
                      </a:r>
                    </a:p>
                  </a:txBody>
                  <a:tcPr marL="7620" marR="7620" marT="7620" marB="0" anchor="ctr">
                    <a:lnL w="6350" cap="flat" cmpd="sng" algn="ctr">
                      <a:noFill/>
                      <a:prstDash val="solid"/>
                      <a:miter lim="800000"/>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algn="ctr" defTabSz="685783" rtl="0" eaLnBrk="1" fontAlgn="b" latinLnBrk="0" hangingPunct="1"/>
                      <a:endParaRPr lang="en-US" sz="900" b="1" i="0" u="none" strike="noStrike" kern="1200" noProof="0">
                        <a:solidFill>
                          <a:schemeClr val="tx1"/>
                        </a:solidFill>
                        <a:effectLst/>
                        <a:latin typeface="+mj-lt"/>
                        <a:ea typeface="+mn-ea"/>
                        <a:cs typeface="+mn-cs"/>
                      </a:endParaRPr>
                    </a:p>
                  </a:txBody>
                  <a:tcPr marL="9525" marR="9525" marT="9525"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2581271562"/>
                  </a:ext>
                </a:extLst>
              </a:tr>
              <a:tr h="296869">
                <a:tc>
                  <a:txBody>
                    <a:bodyPr/>
                    <a:lstStyle/>
                    <a:p>
                      <a:pPr marL="91440" algn="l" fontAlgn="b"/>
                      <a:r>
                        <a:rPr lang="en-US" sz="800" b="0" i="0" u="none" strike="noStrike" kern="1200" noProof="0">
                          <a:solidFill>
                            <a:schemeClr val="tx1"/>
                          </a:solidFill>
                          <a:effectLst/>
                          <a:latin typeface="+mn-lt"/>
                          <a:ea typeface="+mn-ea"/>
                          <a:cs typeface="+mn-cs"/>
                        </a:rPr>
                        <a:t>Important for my health</a:t>
                      </a:r>
                    </a:p>
                  </a:txBody>
                  <a:tcPr marL="9525" marR="9525" marT="9525" marB="0" anchor="ctr">
                    <a:lnL w="6350" cap="flat" cmpd="sng" algn="ctr">
                      <a:noFill/>
                      <a:prstDash val="solid"/>
                      <a:miter lim="800000"/>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800" b="0" i="0" u="none" strike="noStrike" noProof="0">
                          <a:solidFill>
                            <a:srgbClr val="000000"/>
                          </a:solidFill>
                          <a:effectLst/>
                          <a:latin typeface="+mj-lt"/>
                          <a:cs typeface="Arabic Typesetting" panose="020B0604020202020204" pitchFamily="66" charset="-78"/>
                        </a:rPr>
                        <a:t>55%</a:t>
                      </a:r>
                    </a:p>
                  </a:txBody>
                  <a:tcPr marL="6350" marR="6350" marT="635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642593848"/>
                  </a:ext>
                </a:extLst>
              </a:tr>
              <a:tr h="296869">
                <a:tc>
                  <a:txBody>
                    <a:bodyPr/>
                    <a:lstStyle/>
                    <a:p>
                      <a:pPr marL="91440" marR="0" lvl="0" indent="0" algn="l" defTabSz="685800" rtl="0" eaLnBrk="1" fontAlgn="b" latinLnBrk="0" hangingPunct="1">
                        <a:lnSpc>
                          <a:spcPct val="100000"/>
                        </a:lnSpc>
                        <a:spcBef>
                          <a:spcPts val="0"/>
                        </a:spcBef>
                        <a:spcAft>
                          <a:spcPts val="0"/>
                        </a:spcAft>
                        <a:buClrTx/>
                        <a:buSzTx/>
                        <a:buFontTx/>
                        <a:buNone/>
                        <a:tabLst/>
                        <a:defRPr/>
                      </a:pPr>
                      <a:r>
                        <a:rPr lang="en-US" sz="800" b="0" i="0" u="none" strike="noStrike" kern="1200" noProof="0">
                          <a:solidFill>
                            <a:schemeClr val="tx1"/>
                          </a:solidFill>
                          <a:effectLst/>
                          <a:latin typeface="+mn-lt"/>
                          <a:ea typeface="+mn-ea"/>
                          <a:cs typeface="+mn-cs"/>
                        </a:rPr>
                        <a:t>Healthy snack </a:t>
                      </a:r>
                    </a:p>
                  </a:txBody>
                  <a:tcPr marL="9525" marR="9525" marT="9525" marB="0" anchor="ctr">
                    <a:lnL w="6350" cap="flat" cmpd="sng" algn="ctr">
                      <a:noFill/>
                      <a:prstDash val="solid"/>
                      <a:miter lim="800000"/>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800" b="0" i="0" u="none" strike="noStrike" noProof="0">
                          <a:solidFill>
                            <a:srgbClr val="000000"/>
                          </a:solidFill>
                          <a:effectLst/>
                          <a:latin typeface="+mj-lt"/>
                          <a:cs typeface="Arabic Typesetting" panose="020B0604020202020204" pitchFamily="66" charset="-78"/>
                        </a:rPr>
                        <a:t>22%</a:t>
                      </a:r>
                    </a:p>
                  </a:txBody>
                  <a:tcPr marL="6350" marR="6350" marT="635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506298348"/>
                  </a:ext>
                </a:extLst>
              </a:tr>
              <a:tr h="185944">
                <a:tc>
                  <a:txBody>
                    <a:bodyPr/>
                    <a:lstStyle/>
                    <a:p>
                      <a:pPr marL="91440" marR="0" lvl="0" indent="0" algn="l" defTabSz="685800" rtl="0" eaLnBrk="1" fontAlgn="b" latinLnBrk="0" hangingPunct="1">
                        <a:lnSpc>
                          <a:spcPct val="100000"/>
                        </a:lnSpc>
                        <a:spcBef>
                          <a:spcPts val="0"/>
                        </a:spcBef>
                        <a:spcAft>
                          <a:spcPts val="0"/>
                        </a:spcAft>
                        <a:buClrTx/>
                        <a:buSzTx/>
                        <a:buFontTx/>
                        <a:buNone/>
                        <a:tabLst/>
                        <a:defRPr/>
                      </a:pPr>
                      <a:endParaRPr lang="en-US" sz="800" b="0" i="0" u="none" strike="noStrike" kern="1200" noProof="0">
                        <a:solidFill>
                          <a:srgbClr val="EF7B26"/>
                        </a:solidFill>
                        <a:effectLst/>
                        <a:latin typeface="+mn-lt"/>
                        <a:ea typeface="+mn-ea"/>
                        <a:cs typeface="+mn-cs"/>
                      </a:endParaRPr>
                    </a:p>
                  </a:txBody>
                  <a:tcPr marL="9525" marR="9525" marT="9525" marB="0" anchor="ctr">
                    <a:lnL w="6350" cap="flat" cmpd="sng" algn="ctr">
                      <a:noFill/>
                      <a:prstDash val="solid"/>
                      <a:miter lim="800000"/>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500" b="0" i="0" u="none" strike="noStrike" noProof="0">
                        <a:solidFill>
                          <a:srgbClr val="000000"/>
                        </a:solidFill>
                        <a:effectLst/>
                        <a:latin typeface="+mj-lt"/>
                      </a:endParaRPr>
                    </a:p>
                  </a:txBody>
                  <a:tcPr marL="6350" marR="6350" marT="635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20192463"/>
                  </a:ext>
                </a:extLst>
              </a:tr>
              <a:tr h="375448">
                <a:tc>
                  <a:txBody>
                    <a:bodyPr/>
                    <a:lstStyle/>
                    <a:p>
                      <a:pPr marL="91440" marR="0" lvl="0" indent="0" algn="l" defTabSz="685800" rtl="0" eaLnBrk="1" fontAlgn="b" latinLnBrk="0" hangingPunct="1">
                        <a:lnSpc>
                          <a:spcPct val="100000"/>
                        </a:lnSpc>
                        <a:spcBef>
                          <a:spcPts val="0"/>
                        </a:spcBef>
                        <a:spcAft>
                          <a:spcPts val="0"/>
                        </a:spcAft>
                        <a:buClrTx/>
                        <a:buSzTx/>
                        <a:buFontTx/>
                        <a:buNone/>
                        <a:tabLst/>
                        <a:defRPr/>
                      </a:pPr>
                      <a:r>
                        <a:rPr lang="en-US" sz="1050" b="1" i="0" u="none" strike="noStrike" kern="1200" noProof="0">
                          <a:solidFill>
                            <a:srgbClr val="EF7B26"/>
                          </a:solidFill>
                          <a:effectLst/>
                          <a:latin typeface="+mn-lt"/>
                          <a:ea typeface="+mn-ea"/>
                          <a:cs typeface="+mn-cs"/>
                        </a:rPr>
                        <a:t>DISLIKE, n=100</a:t>
                      </a:r>
                    </a:p>
                  </a:txBody>
                  <a:tcPr marL="9525" marR="9525" marT="9525" marB="0" anchor="ctr">
                    <a:lnL w="6350" cap="flat" cmpd="sng" algn="ctr">
                      <a:noFill/>
                      <a:prstDash val="solid"/>
                      <a:miter lim="800000"/>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9D9D9"/>
                    </a:solidFill>
                  </a:tcPr>
                </a:tc>
                <a:tc>
                  <a:txBody>
                    <a:bodyPr/>
                    <a:lstStyle/>
                    <a:p>
                      <a:pPr algn="ctr" fontAlgn="b"/>
                      <a:endParaRPr lang="en-US" sz="800" b="0" i="0" u="none" strike="noStrike" noProof="0">
                        <a:solidFill>
                          <a:srgbClr val="000000"/>
                        </a:solidFill>
                        <a:effectLst/>
                        <a:latin typeface="+mj-lt"/>
                      </a:endParaRPr>
                    </a:p>
                  </a:txBody>
                  <a:tcPr marL="6350" marR="6350" marT="635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9D9D9"/>
                    </a:solidFill>
                  </a:tcPr>
                </a:tc>
                <a:extLst>
                  <a:ext uri="{0D108BD9-81ED-4DB2-BD59-A6C34878D82A}">
                    <a16:rowId xmlns:a16="http://schemas.microsoft.com/office/drawing/2014/main" val="1154444952"/>
                  </a:ext>
                </a:extLst>
              </a:tr>
              <a:tr h="358413">
                <a:tc>
                  <a:txBody>
                    <a:bodyPr/>
                    <a:lstStyle/>
                    <a:p>
                      <a:pPr marL="91440" marR="0" lvl="0" indent="0" algn="l" defTabSz="685800" rtl="0" eaLnBrk="1" fontAlgn="b" latinLnBrk="0" hangingPunct="1">
                        <a:lnSpc>
                          <a:spcPct val="100000"/>
                        </a:lnSpc>
                        <a:spcBef>
                          <a:spcPts val="0"/>
                        </a:spcBef>
                        <a:spcAft>
                          <a:spcPts val="0"/>
                        </a:spcAft>
                        <a:buClrTx/>
                        <a:buSzTx/>
                        <a:buFontTx/>
                        <a:buNone/>
                        <a:tabLst/>
                        <a:defRPr/>
                      </a:pPr>
                      <a:r>
                        <a:rPr lang="en-US" sz="800" b="0" i="0" u="none" strike="noStrike" kern="1200" noProof="0">
                          <a:solidFill>
                            <a:schemeClr val="tx1"/>
                          </a:solidFill>
                          <a:effectLst/>
                          <a:latin typeface="+mn-lt"/>
                          <a:ea typeface="+mn-ea"/>
                          <a:cs typeface="+mn-cs"/>
                        </a:rPr>
                        <a:t>Too vague, doesn’t say what is inside</a:t>
                      </a:r>
                    </a:p>
                  </a:txBody>
                  <a:tcPr marL="9525" marR="9525" marT="9525" marB="0" anchor="ctr">
                    <a:lnL w="6350" cap="flat" cmpd="sng" algn="ctr">
                      <a:noFill/>
                      <a:prstDash val="solid"/>
                      <a:miter lim="800000"/>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800" b="0" i="0" u="none" strike="noStrike" noProof="0">
                          <a:solidFill>
                            <a:srgbClr val="000000"/>
                          </a:solidFill>
                          <a:effectLst/>
                          <a:latin typeface="+mj-lt"/>
                        </a:rPr>
                        <a:t>28%</a:t>
                      </a:r>
                    </a:p>
                  </a:txBody>
                  <a:tcPr marL="6350" marR="6350" marT="635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25987386"/>
                  </a:ext>
                </a:extLst>
              </a:tr>
              <a:tr h="358413">
                <a:tc>
                  <a:txBody>
                    <a:bodyPr/>
                    <a:lstStyle/>
                    <a:p>
                      <a:pPr marL="91440" marR="0" lvl="0" indent="0" algn="l" defTabSz="685800" rtl="0" eaLnBrk="1" fontAlgn="b" latinLnBrk="0" hangingPunct="1">
                        <a:lnSpc>
                          <a:spcPct val="100000"/>
                        </a:lnSpc>
                        <a:spcBef>
                          <a:spcPts val="0"/>
                        </a:spcBef>
                        <a:spcAft>
                          <a:spcPts val="0"/>
                        </a:spcAft>
                        <a:buClrTx/>
                        <a:buSzTx/>
                        <a:buFontTx/>
                        <a:buNone/>
                        <a:tabLst/>
                        <a:defRPr/>
                      </a:pPr>
                      <a:r>
                        <a:rPr lang="en-US" sz="800" b="0" i="0" u="none" strike="noStrike" kern="1200" noProof="0">
                          <a:solidFill>
                            <a:schemeClr val="tx1"/>
                          </a:solidFill>
                          <a:effectLst/>
                          <a:latin typeface="+mn-lt"/>
                          <a:ea typeface="+mn-ea"/>
                          <a:cs typeface="+mn-cs"/>
                        </a:rPr>
                        <a:t>Sounds fake/hypocrite</a:t>
                      </a:r>
                    </a:p>
                  </a:txBody>
                  <a:tcPr marL="9525" marR="9525" marT="9525" marB="0" anchor="ctr">
                    <a:lnL w="6350" cap="flat" cmpd="sng" algn="ctr">
                      <a:noFill/>
                      <a:prstDash val="solid"/>
                      <a:miter lim="800000"/>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800" b="0" i="0" u="none" strike="noStrike" noProof="0">
                          <a:solidFill>
                            <a:srgbClr val="000000"/>
                          </a:solidFill>
                          <a:effectLst/>
                          <a:latin typeface="+mj-lt"/>
                        </a:rPr>
                        <a:t>13%</a:t>
                      </a:r>
                    </a:p>
                  </a:txBody>
                  <a:tcPr marL="6350" marR="6350" marT="635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971904916"/>
                  </a:ext>
                </a:extLst>
              </a:tr>
            </a:tbl>
          </a:graphicData>
        </a:graphic>
      </p:graphicFrame>
      <p:graphicFrame>
        <p:nvGraphicFramePr>
          <p:cNvPr id="2" name="Table 1">
            <a:extLst>
              <a:ext uri="{FF2B5EF4-FFF2-40B4-BE49-F238E27FC236}">
                <a16:creationId xmlns:a16="http://schemas.microsoft.com/office/drawing/2014/main" id="{256D0952-87AB-4662-95E6-EC7A787DD7E0}"/>
              </a:ext>
            </a:extLst>
          </p:cNvPr>
          <p:cNvGraphicFramePr>
            <a:graphicFrameLocks noGrp="1"/>
          </p:cNvGraphicFramePr>
          <p:nvPr/>
        </p:nvGraphicFramePr>
        <p:xfrm>
          <a:off x="874818" y="2687491"/>
          <a:ext cx="1144763" cy="2647143"/>
        </p:xfrm>
        <a:graphic>
          <a:graphicData uri="http://schemas.openxmlformats.org/drawingml/2006/table">
            <a:tbl>
              <a:tblPr firstRow="1" bandRow="1">
                <a:tableStyleId>{A6E0E982-E285-4178-BDAB-3F26002EA596}</a:tableStyleId>
              </a:tblPr>
              <a:tblGrid>
                <a:gridCol w="1144763">
                  <a:extLst>
                    <a:ext uri="{9D8B030D-6E8A-4147-A177-3AD203B41FA5}">
                      <a16:colId xmlns:a16="http://schemas.microsoft.com/office/drawing/2014/main" val="3622342856"/>
                    </a:ext>
                  </a:extLst>
                </a:gridCol>
              </a:tblGrid>
              <a:tr h="443583">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it-IT" sz="900" b="1" i="0" u="none" strike="noStrike" kern="1200" cap="none" spc="0" normalizeH="0" baseline="0" noProof="0">
                          <a:ln>
                            <a:noFill/>
                          </a:ln>
                          <a:solidFill>
                            <a:srgbClr val="263133"/>
                          </a:solidFill>
                          <a:effectLst/>
                          <a:uLnTx/>
                          <a:uFillTx/>
                          <a:latin typeface="Rawline"/>
                          <a:ea typeface="+mn-ea"/>
                          <a:cs typeface="+mn-cs"/>
                        </a:rPr>
                        <a:t>Claims</a:t>
                      </a:r>
                    </a:p>
                  </a:txBody>
                  <a:tcPr marL="9525" marR="9525" marT="9525" marB="0" anchor="ctr">
                    <a:solidFill>
                      <a:schemeClr val="tx2">
                        <a:lumMod val="40000"/>
                        <a:lumOff val="60000"/>
                      </a:schemeClr>
                    </a:solidFill>
                  </a:tcPr>
                </a:tc>
                <a:extLst>
                  <a:ext uri="{0D108BD9-81ED-4DB2-BD59-A6C34878D82A}">
                    <a16:rowId xmlns:a16="http://schemas.microsoft.com/office/drawing/2014/main" val="2043041552"/>
                  </a:ext>
                </a:extLst>
              </a:tr>
              <a:tr h="443583">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it-IT" sz="900" b="1" u="none" strike="noStrike" kern="1200" cap="none" spc="0" normalizeH="0" baseline="0" noProof="0">
                          <a:ln>
                            <a:noFill/>
                          </a:ln>
                          <a:solidFill>
                            <a:srgbClr val="263133"/>
                          </a:solidFill>
                          <a:effectLst/>
                          <a:uLnTx/>
                          <a:uFillTx/>
                        </a:rPr>
                        <a:t>   Claim 18</a:t>
                      </a:r>
                      <a:endParaRPr kumimoji="0" lang="it-IT" sz="900" b="1" i="0" u="none" strike="noStrike" kern="1200" cap="none" spc="0" normalizeH="0" baseline="0" noProof="0">
                        <a:ln>
                          <a:noFill/>
                        </a:ln>
                        <a:solidFill>
                          <a:srgbClr val="263133"/>
                        </a:solidFill>
                        <a:effectLst/>
                        <a:uLnTx/>
                        <a:uFillTx/>
                        <a:latin typeface="Rawline"/>
                        <a:ea typeface="+mn-ea"/>
                        <a:cs typeface="+mn-cs"/>
                      </a:endParaRPr>
                    </a:p>
                  </a:txBody>
                  <a:tcPr marL="9525" marR="9525" marT="9525" marB="0" anchor="ctr"/>
                </a:tc>
                <a:extLst>
                  <a:ext uri="{0D108BD9-81ED-4DB2-BD59-A6C34878D82A}">
                    <a16:rowId xmlns:a16="http://schemas.microsoft.com/office/drawing/2014/main" val="899044096"/>
                  </a:ext>
                </a:extLst>
              </a:tr>
              <a:tr h="443583">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it-IT" sz="900" b="1" u="none" strike="noStrike" kern="1200" cap="none" spc="0" normalizeH="0" baseline="0" noProof="0">
                          <a:ln>
                            <a:noFill/>
                          </a:ln>
                          <a:solidFill>
                            <a:srgbClr val="263133"/>
                          </a:solidFill>
                          <a:effectLst/>
                          <a:uLnTx/>
                          <a:uFillTx/>
                        </a:rPr>
                        <a:t>   Claim 36</a:t>
                      </a:r>
                      <a:endParaRPr kumimoji="0" lang="it-IT" sz="900" b="1" i="0" u="none" strike="noStrike" kern="1200" cap="none" spc="0" normalizeH="0" baseline="0" noProof="0">
                        <a:ln>
                          <a:noFill/>
                        </a:ln>
                        <a:solidFill>
                          <a:srgbClr val="263133"/>
                        </a:solidFill>
                        <a:effectLst/>
                        <a:uLnTx/>
                        <a:uFillTx/>
                        <a:latin typeface="Rawline"/>
                        <a:ea typeface="+mn-ea"/>
                        <a:cs typeface="+mn-cs"/>
                      </a:endParaRPr>
                    </a:p>
                  </a:txBody>
                  <a:tcPr marL="9525" marR="9525" marT="9525" marB="0" anchor="ctr"/>
                </a:tc>
                <a:extLst>
                  <a:ext uri="{0D108BD9-81ED-4DB2-BD59-A6C34878D82A}">
                    <a16:rowId xmlns:a16="http://schemas.microsoft.com/office/drawing/2014/main" val="1527143977"/>
                  </a:ext>
                </a:extLst>
              </a:tr>
              <a:tr h="42922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it-IT" sz="800" b="0" u="none" strike="noStrike" kern="1200" cap="none" spc="0" normalizeH="0" baseline="0" noProof="0">
                          <a:ln>
                            <a:noFill/>
                          </a:ln>
                          <a:solidFill>
                            <a:srgbClr val="263133"/>
                          </a:solidFill>
                          <a:effectLst/>
                          <a:uLnTx/>
                          <a:uFillTx/>
                        </a:rPr>
                        <a:t>   </a:t>
                      </a:r>
                      <a:r>
                        <a:rPr kumimoji="0" lang="it-IT" sz="900" b="1" u="none" strike="noStrike" kern="1200" cap="none" spc="0" normalizeH="0" baseline="0" noProof="0">
                          <a:ln>
                            <a:noFill/>
                          </a:ln>
                          <a:solidFill>
                            <a:srgbClr val="263133"/>
                          </a:solidFill>
                          <a:effectLst/>
                          <a:uLnTx/>
                          <a:uFillTx/>
                        </a:rPr>
                        <a:t>Claim 6</a:t>
                      </a:r>
                      <a:endParaRPr kumimoji="0" lang="it-IT" sz="800" b="1" i="0" u="none" strike="noStrike" kern="1200" cap="none" spc="0" normalizeH="0" baseline="0" noProof="0">
                        <a:ln>
                          <a:noFill/>
                        </a:ln>
                        <a:solidFill>
                          <a:srgbClr val="263133"/>
                        </a:solidFill>
                        <a:effectLst/>
                        <a:uLnTx/>
                        <a:uFillTx/>
                        <a:latin typeface="Rawline"/>
                        <a:ea typeface="+mn-ea"/>
                        <a:cs typeface="+mn-cs"/>
                      </a:endParaRPr>
                    </a:p>
                  </a:txBody>
                  <a:tcPr marL="9525" marR="9525" marT="9525" marB="0" anchor="ctr"/>
                </a:tc>
                <a:extLst>
                  <a:ext uri="{0D108BD9-81ED-4DB2-BD59-A6C34878D82A}">
                    <a16:rowId xmlns:a16="http://schemas.microsoft.com/office/drawing/2014/main" val="3048606255"/>
                  </a:ext>
                </a:extLst>
              </a:tr>
              <a:tr h="443583">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it-IT" sz="800" b="0" u="none" strike="noStrike" kern="1200" cap="none" spc="0" normalizeH="0" baseline="0" noProof="0">
                          <a:ln>
                            <a:noFill/>
                          </a:ln>
                          <a:solidFill>
                            <a:srgbClr val="263133"/>
                          </a:solidFill>
                          <a:effectLst/>
                          <a:uLnTx/>
                          <a:uFillTx/>
                        </a:rPr>
                        <a:t>   </a:t>
                      </a:r>
                      <a:r>
                        <a:rPr kumimoji="0" lang="it-IT" sz="900" b="1" u="none" strike="noStrike" kern="1200" cap="none" spc="0" normalizeH="0" baseline="0" noProof="0">
                          <a:ln>
                            <a:noFill/>
                          </a:ln>
                          <a:solidFill>
                            <a:srgbClr val="263133"/>
                          </a:solidFill>
                          <a:effectLst/>
                          <a:uLnTx/>
                          <a:uFillTx/>
                        </a:rPr>
                        <a:t>Claim 15</a:t>
                      </a:r>
                      <a:endParaRPr kumimoji="0" lang="it-IT" sz="800" b="1" i="0" u="none" strike="noStrike" kern="1200" cap="none" spc="0" normalizeH="0" baseline="0" noProof="0">
                        <a:ln>
                          <a:noFill/>
                        </a:ln>
                        <a:solidFill>
                          <a:srgbClr val="263133"/>
                        </a:solidFill>
                        <a:effectLst/>
                        <a:uLnTx/>
                        <a:uFillTx/>
                        <a:latin typeface="Rawline"/>
                        <a:ea typeface="+mn-ea"/>
                        <a:cs typeface="+mn-cs"/>
                      </a:endParaRPr>
                    </a:p>
                  </a:txBody>
                  <a:tcPr marL="9525" marR="9525" marT="9525" marB="0" anchor="ctr"/>
                </a:tc>
                <a:extLst>
                  <a:ext uri="{0D108BD9-81ED-4DB2-BD59-A6C34878D82A}">
                    <a16:rowId xmlns:a16="http://schemas.microsoft.com/office/drawing/2014/main" val="1467892191"/>
                  </a:ext>
                </a:extLst>
              </a:tr>
              <a:tr h="443583">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it-IT" sz="800" b="0" u="none" strike="noStrike" kern="1200" cap="none" spc="0" normalizeH="0" baseline="0" noProof="0">
                          <a:ln>
                            <a:noFill/>
                          </a:ln>
                          <a:solidFill>
                            <a:srgbClr val="263133"/>
                          </a:solidFill>
                          <a:effectLst/>
                          <a:uLnTx/>
                          <a:uFillTx/>
                        </a:rPr>
                        <a:t>   </a:t>
                      </a:r>
                      <a:r>
                        <a:rPr kumimoji="0" lang="it-IT" sz="900" b="1" u="none" strike="noStrike" kern="1200" cap="none" spc="0" normalizeH="0" baseline="0" noProof="0">
                          <a:ln>
                            <a:noFill/>
                          </a:ln>
                          <a:solidFill>
                            <a:srgbClr val="263133"/>
                          </a:solidFill>
                          <a:effectLst/>
                          <a:uLnTx/>
                          <a:uFillTx/>
                        </a:rPr>
                        <a:t>Claim 27</a:t>
                      </a:r>
                      <a:endParaRPr kumimoji="0" lang="it-IT" sz="800" b="1" i="0" u="none" strike="noStrike" kern="1200" cap="none" spc="0" normalizeH="0" baseline="0" noProof="0">
                        <a:ln>
                          <a:noFill/>
                        </a:ln>
                        <a:solidFill>
                          <a:srgbClr val="263133"/>
                        </a:solidFill>
                        <a:effectLst/>
                        <a:uLnTx/>
                        <a:uFillTx/>
                        <a:latin typeface="Rawline"/>
                        <a:ea typeface="+mn-ea"/>
                        <a:cs typeface="+mn-cs"/>
                      </a:endParaRPr>
                    </a:p>
                  </a:txBody>
                  <a:tcPr marL="9525" marR="9525" marT="9525" marB="0" anchor="ctr"/>
                </a:tc>
                <a:extLst>
                  <a:ext uri="{0D108BD9-81ED-4DB2-BD59-A6C34878D82A}">
                    <a16:rowId xmlns:a16="http://schemas.microsoft.com/office/drawing/2014/main" val="3255676142"/>
                  </a:ext>
                </a:extLst>
              </a:tr>
            </a:tbl>
          </a:graphicData>
        </a:graphic>
      </p:graphicFrame>
      <p:sp>
        <p:nvSpPr>
          <p:cNvPr id="4" name="Speech Bubble: Rectangle with Corners Rounded 3">
            <a:extLst>
              <a:ext uri="{FF2B5EF4-FFF2-40B4-BE49-F238E27FC236}">
                <a16:creationId xmlns:a16="http://schemas.microsoft.com/office/drawing/2014/main" id="{C830A8B1-BDD7-4DA5-97AC-091AF758752B}"/>
              </a:ext>
            </a:extLst>
          </p:cNvPr>
          <p:cNvSpPr/>
          <p:nvPr/>
        </p:nvSpPr>
        <p:spPr>
          <a:xfrm>
            <a:off x="5653183" y="2913835"/>
            <a:ext cx="1945652" cy="349024"/>
          </a:xfrm>
          <a:prstGeom prst="wedgeRoundRectCallout">
            <a:avLst>
              <a:gd name="adj1" fmla="val -50227"/>
              <a:gd name="adj2" fmla="val 71634"/>
              <a:gd name="adj3" fmla="val 16667"/>
            </a:avLst>
          </a:prstGeom>
          <a:solidFill>
            <a:srgbClr val="E6EFF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wrap="square" lIns="108000" tIns="72000" rIns="108000" bIns="108000" rtlCol="0" anchor="t" anchorCtr="0">
            <a:noAutofit/>
          </a:bodyPr>
          <a:lstStyle/>
          <a:p>
            <a:pPr indent="0" algn="l">
              <a:lnSpc>
                <a:spcPct val="120000"/>
              </a:lnSpc>
            </a:pPr>
            <a:r>
              <a:rPr lang="en-US" sz="1050">
                <a:solidFill>
                  <a:schemeClr val="accent1"/>
                </a:solidFill>
              </a:rPr>
              <a:t>It’s good for my health</a:t>
            </a:r>
          </a:p>
        </p:txBody>
      </p:sp>
      <p:sp>
        <p:nvSpPr>
          <p:cNvPr id="25" name="Speech Bubble: Rectangle with Corners Rounded 24">
            <a:extLst>
              <a:ext uri="{FF2B5EF4-FFF2-40B4-BE49-F238E27FC236}">
                <a16:creationId xmlns:a16="http://schemas.microsoft.com/office/drawing/2014/main" id="{75BAF6EC-F3A7-491E-A724-F5934E137BF3}"/>
              </a:ext>
            </a:extLst>
          </p:cNvPr>
          <p:cNvSpPr/>
          <p:nvPr/>
        </p:nvSpPr>
        <p:spPr>
          <a:xfrm>
            <a:off x="5653183" y="3469188"/>
            <a:ext cx="1945652" cy="504098"/>
          </a:xfrm>
          <a:prstGeom prst="wedgeRoundRectCallout">
            <a:avLst>
              <a:gd name="adj1" fmla="val -55892"/>
              <a:gd name="adj2" fmla="val 414"/>
              <a:gd name="adj3" fmla="val 16667"/>
            </a:avLst>
          </a:prstGeom>
          <a:solidFill>
            <a:srgbClr val="E6EFF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wrap="square" lIns="108000" tIns="72000" rIns="108000" bIns="108000" rtlCol="0" anchor="t" anchorCtr="0">
            <a:noAutofit/>
          </a:bodyPr>
          <a:lstStyle/>
          <a:p>
            <a:pPr indent="0" algn="l">
              <a:lnSpc>
                <a:spcPct val="120000"/>
              </a:lnSpc>
            </a:pPr>
            <a:r>
              <a:rPr lang="en-US" sz="1050">
                <a:solidFill>
                  <a:schemeClr val="accent1"/>
                </a:solidFill>
              </a:rPr>
              <a:t>It is a healthy snack after workouts</a:t>
            </a:r>
          </a:p>
        </p:txBody>
      </p:sp>
      <p:sp>
        <p:nvSpPr>
          <p:cNvPr id="34" name="Speech Bubble: Rectangle with Corners Rounded 33">
            <a:extLst>
              <a:ext uri="{FF2B5EF4-FFF2-40B4-BE49-F238E27FC236}">
                <a16:creationId xmlns:a16="http://schemas.microsoft.com/office/drawing/2014/main" id="{057F48F5-97D4-4D06-B69A-9EDF1583554B}"/>
              </a:ext>
            </a:extLst>
          </p:cNvPr>
          <p:cNvSpPr/>
          <p:nvPr/>
        </p:nvSpPr>
        <p:spPr>
          <a:xfrm>
            <a:off x="5653183" y="4120736"/>
            <a:ext cx="1945652" cy="550445"/>
          </a:xfrm>
          <a:prstGeom prst="wedgeRoundRectCallout">
            <a:avLst>
              <a:gd name="adj1" fmla="val -57791"/>
              <a:gd name="adj2" fmla="val 28940"/>
              <a:gd name="adj3" fmla="val 16667"/>
            </a:avLst>
          </a:prstGeom>
          <a:solidFill>
            <a:schemeClr val="accent4">
              <a:lumMod val="20000"/>
              <a:lumOff val="80000"/>
            </a:schemeClr>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wrap="square" lIns="108000" tIns="72000" rIns="108000" bIns="108000" rtlCol="0" anchor="t" anchorCtr="0">
            <a:noAutofit/>
          </a:bodyPr>
          <a:lstStyle/>
          <a:p>
            <a:pPr indent="0" algn="l">
              <a:lnSpc>
                <a:spcPct val="120000"/>
              </a:lnSpc>
            </a:pPr>
            <a:r>
              <a:rPr lang="en-US" sz="1050">
                <a:solidFill>
                  <a:schemeClr val="accent4"/>
                </a:solidFill>
              </a:rPr>
              <a:t>It doesn’t tell me why it’s healthy</a:t>
            </a:r>
          </a:p>
        </p:txBody>
      </p:sp>
    </p:spTree>
    <p:extLst>
      <p:ext uri="{BB962C8B-B14F-4D97-AF65-F5344CB8AC3E}">
        <p14:creationId xmlns:p14="http://schemas.microsoft.com/office/powerpoint/2010/main" val="1428684971"/>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descr="A car driving on a road&#10;&#10;Description automatically generated with low confidence">
            <a:extLst>
              <a:ext uri="{FF2B5EF4-FFF2-40B4-BE49-F238E27FC236}">
                <a16:creationId xmlns:a16="http://schemas.microsoft.com/office/drawing/2014/main" id="{F3C4448C-13F4-4C87-B6E0-59D19FC2E790}"/>
              </a:ext>
            </a:extLst>
          </p:cNvPr>
          <p:cNvPicPr>
            <a:picLocks noGrp="1" noChangeAspect="1"/>
          </p:cNvPicPr>
          <p:nvPr>
            <p:ph type="pic" sz="quarter" idx="13"/>
          </p:nvPr>
        </p:nvPicPr>
        <p:blipFill>
          <a:blip r:embed="rId3">
            <a:extLst>
              <a:ext uri="{28A0092B-C50C-407E-A947-70E740481C1C}">
                <a14:useLocalDpi xmlns:a14="http://schemas.microsoft.com/office/drawing/2010/main" val="0"/>
              </a:ext>
            </a:extLst>
          </a:blip>
          <a:srcRect t="39" b="39"/>
          <a:stretch>
            <a:fillRect/>
          </a:stretch>
        </p:blipFill>
        <p:spPr/>
      </p:pic>
      <p:sp>
        <p:nvSpPr>
          <p:cNvPr id="15" name="doOverlay">
            <a:extLst>
              <a:ext uri="{FF2B5EF4-FFF2-40B4-BE49-F238E27FC236}">
                <a16:creationId xmlns:a16="http://schemas.microsoft.com/office/drawing/2014/main" id="{332C5DF9-E756-49DE-8A6F-E99BA63EABB1}"/>
              </a:ext>
            </a:extLst>
          </p:cNvPr>
          <p:cNvSpPr/>
          <p:nvPr/>
        </p:nvSpPr>
        <p:spPr>
          <a:xfrm>
            <a:off x="-1588" y="0"/>
            <a:ext cx="12192000" cy="6858000"/>
          </a:xfrm>
          <a:prstGeom prst="rect">
            <a:avLst/>
          </a:prstGeom>
          <a:solidFill>
            <a:schemeClr val="accent1">
              <a:alpha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54000" bIns="54000" rtlCol="0" anchor="t" anchorCtr="0">
            <a:noAutofit/>
          </a:bodyPr>
          <a:lstStyle/>
          <a:p>
            <a:pPr algn="l">
              <a:lnSpc>
                <a:spcPct val="110000"/>
              </a:lnSpc>
            </a:pPr>
            <a:endParaRPr lang="en-US" sz="1400">
              <a:solidFill>
                <a:schemeClr val="tx1"/>
              </a:solidFill>
            </a:endParaRPr>
          </a:p>
        </p:txBody>
      </p:sp>
      <p:pic>
        <p:nvPicPr>
          <p:cNvPr id="8" name="doLogoWhite">
            <a:extLst>
              <a:ext uri="{FF2B5EF4-FFF2-40B4-BE49-F238E27FC236}">
                <a16:creationId xmlns:a16="http://schemas.microsoft.com/office/drawing/2014/main" id="{4F6563F5-9BEE-4A95-9A25-75BD865C1397}"/>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1559600" y="6364799"/>
            <a:ext cx="386197" cy="266610"/>
          </a:xfrm>
          <a:prstGeom prst="rect">
            <a:avLst/>
          </a:prstGeom>
        </p:spPr>
      </p:pic>
      <p:sp>
        <p:nvSpPr>
          <p:cNvPr id="3" name="Title 2">
            <a:extLst>
              <a:ext uri="{FF2B5EF4-FFF2-40B4-BE49-F238E27FC236}">
                <a16:creationId xmlns:a16="http://schemas.microsoft.com/office/drawing/2014/main" id="{2CB10BCB-29A2-4775-B59D-688A5169311B}"/>
              </a:ext>
            </a:extLst>
          </p:cNvPr>
          <p:cNvSpPr>
            <a:spLocks noGrp="1"/>
          </p:cNvSpPr>
          <p:nvPr>
            <p:ph type="ctrTitle"/>
          </p:nvPr>
        </p:nvSpPr>
        <p:spPr/>
        <p:txBody>
          <a:bodyPr/>
          <a:lstStyle/>
          <a:p>
            <a:r>
              <a:rPr lang="en-US"/>
              <a:t>Timeline and investment</a:t>
            </a:r>
          </a:p>
        </p:txBody>
      </p:sp>
    </p:spTree>
    <p:extLst>
      <p:ext uri="{BB962C8B-B14F-4D97-AF65-F5344CB8AC3E}">
        <p14:creationId xmlns:p14="http://schemas.microsoft.com/office/powerpoint/2010/main" val="2263237402"/>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A3260512-6447-42CD-8CAE-8430DBF516A4}"/>
              </a:ext>
            </a:extLst>
          </p:cNvPr>
          <p:cNvSpPr>
            <a:spLocks noGrp="1"/>
          </p:cNvSpPr>
          <p:nvPr>
            <p:ph type="body" idx="1"/>
          </p:nvPr>
        </p:nvSpPr>
        <p:spPr>
          <a:xfrm>
            <a:off x="504000" y="943200"/>
            <a:ext cx="11084400" cy="307777"/>
          </a:xfrm>
        </p:spPr>
        <p:txBody>
          <a:bodyPr/>
          <a:lstStyle/>
          <a:p>
            <a:r>
              <a:rPr lang="en-US" sz="2000"/>
              <a:t>This timeline requires strong collaboration between Danone and SKIM </a:t>
            </a:r>
          </a:p>
        </p:txBody>
      </p:sp>
      <p:sp>
        <p:nvSpPr>
          <p:cNvPr id="5" name="Title 4">
            <a:extLst>
              <a:ext uri="{FF2B5EF4-FFF2-40B4-BE49-F238E27FC236}">
                <a16:creationId xmlns:a16="http://schemas.microsoft.com/office/drawing/2014/main" id="{37950A22-6AB4-4AB3-95DC-17EAB105C734}"/>
              </a:ext>
            </a:extLst>
          </p:cNvPr>
          <p:cNvSpPr>
            <a:spLocks noGrp="1"/>
          </p:cNvSpPr>
          <p:nvPr>
            <p:ph type="title"/>
          </p:nvPr>
        </p:nvSpPr>
        <p:spPr/>
        <p:txBody>
          <a:bodyPr/>
          <a:lstStyle/>
          <a:p>
            <a:r>
              <a:rPr lang="en-US">
                <a:solidFill>
                  <a:schemeClr val="bg2"/>
                </a:solidFill>
              </a:rPr>
              <a:t>Timeline for 5 countries</a:t>
            </a:r>
          </a:p>
        </p:txBody>
      </p:sp>
      <p:sp>
        <p:nvSpPr>
          <p:cNvPr id="9" name="TextBox 8">
            <a:extLst>
              <a:ext uri="{FF2B5EF4-FFF2-40B4-BE49-F238E27FC236}">
                <a16:creationId xmlns:a16="http://schemas.microsoft.com/office/drawing/2014/main" id="{28EA503B-83BB-4714-972F-989E55469030}"/>
              </a:ext>
            </a:extLst>
          </p:cNvPr>
          <p:cNvSpPr txBox="1"/>
          <p:nvPr/>
        </p:nvSpPr>
        <p:spPr>
          <a:xfrm>
            <a:off x="503998" y="6018975"/>
            <a:ext cx="10399352" cy="430887"/>
          </a:xfrm>
          <a:prstGeom prst="rect">
            <a:avLst/>
          </a:prstGeom>
          <a:noFill/>
          <a:ln>
            <a:noFill/>
          </a:ln>
        </p:spPr>
        <p:txBody>
          <a:bodyPr wrap="square">
            <a:spAutoFit/>
          </a:bodyPr>
          <a:lstStyle/>
          <a:p>
            <a:pPr indent="0" defTabSz="685800">
              <a:lnSpc>
                <a:spcPct val="100000"/>
              </a:lnSpc>
              <a:defRPr/>
            </a:pPr>
            <a:r>
              <a:rPr kumimoji="0" lang="en-US" sz="1100" b="1" i="0" u="none" strike="noStrike" kern="1200" cap="none" spc="0" normalizeH="0" baseline="0" noProof="0">
                <a:ln>
                  <a:noFill/>
                </a:ln>
                <a:solidFill>
                  <a:schemeClr val="accent2"/>
                </a:solidFill>
                <a:effectLst/>
                <a:uLnTx/>
                <a:uFillTx/>
                <a:latin typeface="Rawline" panose="00000500000000000000" pitchFamily="2" charset="0"/>
                <a:ea typeface="Times New Roman"/>
              </a:rPr>
              <a:t>^</a:t>
            </a:r>
            <a:r>
              <a:rPr kumimoji="0" lang="en-US" sz="1100" b="0" i="1" u="none" strike="noStrike" kern="1200" cap="none" spc="0" normalizeH="0" baseline="0" noProof="0">
                <a:ln>
                  <a:noFill/>
                </a:ln>
                <a:effectLst/>
                <a:uLnTx/>
                <a:uFillTx/>
                <a:latin typeface="Rawline" panose="00000500000000000000" pitchFamily="2" charset="0"/>
                <a:ea typeface="Times New Roman"/>
              </a:rPr>
              <a:t> </a:t>
            </a:r>
            <a:r>
              <a:rPr kumimoji="0" lang="en-US" sz="1100" b="0" i="0" u="none" strike="noStrike" kern="1200" cap="none" spc="0" normalizeH="0" baseline="0" noProof="0">
                <a:ln>
                  <a:noFill/>
                </a:ln>
                <a:effectLst/>
                <a:uLnTx/>
                <a:uFillTx/>
                <a:latin typeface="Rawline" panose="00000500000000000000" pitchFamily="2" charset="0"/>
                <a:ea typeface="Times New Roman"/>
              </a:rPr>
              <a:t>Key deadlines for Danone – if Danone</a:t>
            </a:r>
            <a:r>
              <a:rPr lang="en-US" sz="1100">
                <a:latin typeface="Rawline" panose="00000500000000000000" pitchFamily="2" charset="0"/>
                <a:ea typeface="Times New Roman"/>
              </a:rPr>
              <a:t> does not meet the deadline, SKIM reserves the right to push the timeline forward accordingly</a:t>
            </a:r>
            <a:br>
              <a:rPr lang="en-US" sz="1100">
                <a:latin typeface="Rawline" panose="00000500000000000000" pitchFamily="2" charset="0"/>
                <a:ea typeface="Times New Roman"/>
              </a:rPr>
            </a:br>
            <a:r>
              <a:rPr lang="en-US" sz="1100">
                <a:latin typeface="Rawline" panose="00000500000000000000" pitchFamily="2" charset="0"/>
                <a:ea typeface="Times New Roman"/>
              </a:rPr>
              <a:t>Please note that SKIM will be closed during a holiday on the 29</a:t>
            </a:r>
            <a:r>
              <a:rPr lang="en-US" sz="1100" baseline="30000">
                <a:latin typeface="Rawline" panose="00000500000000000000" pitchFamily="2" charset="0"/>
                <a:ea typeface="Times New Roman"/>
              </a:rPr>
              <a:t>th</a:t>
            </a:r>
            <a:r>
              <a:rPr lang="en-US" sz="1100">
                <a:latin typeface="Rawline" panose="00000500000000000000" pitchFamily="2" charset="0"/>
                <a:ea typeface="Times New Roman"/>
              </a:rPr>
              <a:t> of May.</a:t>
            </a:r>
            <a:endParaRPr kumimoji="0" lang="en-US" sz="1100" b="0" i="0" u="none" strike="noStrike" kern="1200" cap="none" spc="0" normalizeH="0" baseline="0" noProof="0">
              <a:ln>
                <a:noFill/>
              </a:ln>
              <a:effectLst/>
              <a:uLnTx/>
              <a:uFillTx/>
              <a:latin typeface="Rawline" panose="00000500000000000000" pitchFamily="2" charset="0"/>
              <a:ea typeface="Times New Roman"/>
            </a:endParaRPr>
          </a:p>
        </p:txBody>
      </p:sp>
      <p:graphicFrame>
        <p:nvGraphicFramePr>
          <p:cNvPr id="11" name="Table 10">
            <a:extLst>
              <a:ext uri="{FF2B5EF4-FFF2-40B4-BE49-F238E27FC236}">
                <a16:creationId xmlns:a16="http://schemas.microsoft.com/office/drawing/2014/main" id="{B5936CF8-2671-4308-964B-7CB01CAAA433}"/>
              </a:ext>
            </a:extLst>
          </p:cNvPr>
          <p:cNvGraphicFramePr>
            <a:graphicFrameLocks noGrp="1"/>
          </p:cNvGraphicFramePr>
          <p:nvPr>
            <p:extLst>
              <p:ext uri="{D42A27DB-BD31-4B8C-83A1-F6EECF244321}">
                <p14:modId xmlns:p14="http://schemas.microsoft.com/office/powerpoint/2010/main" val="3864566455"/>
              </p:ext>
            </p:extLst>
          </p:nvPr>
        </p:nvGraphicFramePr>
        <p:xfrm>
          <a:off x="503998" y="1441669"/>
          <a:ext cx="10747637" cy="4790657"/>
        </p:xfrm>
        <a:graphic>
          <a:graphicData uri="http://schemas.openxmlformats.org/drawingml/2006/table">
            <a:tbl>
              <a:tblPr firstRow="1" bandRow="1"/>
              <a:tblGrid>
                <a:gridCol w="942624">
                  <a:extLst>
                    <a:ext uri="{9D8B030D-6E8A-4147-A177-3AD203B41FA5}">
                      <a16:colId xmlns:a16="http://schemas.microsoft.com/office/drawing/2014/main" val="1580587122"/>
                    </a:ext>
                  </a:extLst>
                </a:gridCol>
                <a:gridCol w="2622646">
                  <a:extLst>
                    <a:ext uri="{9D8B030D-6E8A-4147-A177-3AD203B41FA5}">
                      <a16:colId xmlns:a16="http://schemas.microsoft.com/office/drawing/2014/main" val="20000"/>
                    </a:ext>
                  </a:extLst>
                </a:gridCol>
                <a:gridCol w="105208">
                  <a:extLst>
                    <a:ext uri="{9D8B030D-6E8A-4147-A177-3AD203B41FA5}">
                      <a16:colId xmlns:a16="http://schemas.microsoft.com/office/drawing/2014/main" val="3177370988"/>
                    </a:ext>
                  </a:extLst>
                </a:gridCol>
                <a:gridCol w="182880">
                  <a:extLst>
                    <a:ext uri="{9D8B030D-6E8A-4147-A177-3AD203B41FA5}">
                      <a16:colId xmlns:a16="http://schemas.microsoft.com/office/drawing/2014/main" val="2193181320"/>
                    </a:ext>
                  </a:extLst>
                </a:gridCol>
                <a:gridCol w="155448">
                  <a:extLst>
                    <a:ext uri="{9D8B030D-6E8A-4147-A177-3AD203B41FA5}">
                      <a16:colId xmlns:a16="http://schemas.microsoft.com/office/drawing/2014/main" val="2688778781"/>
                    </a:ext>
                  </a:extLst>
                </a:gridCol>
                <a:gridCol w="155448">
                  <a:extLst>
                    <a:ext uri="{9D8B030D-6E8A-4147-A177-3AD203B41FA5}">
                      <a16:colId xmlns:a16="http://schemas.microsoft.com/office/drawing/2014/main" val="1039564680"/>
                    </a:ext>
                  </a:extLst>
                </a:gridCol>
                <a:gridCol w="155448">
                  <a:extLst>
                    <a:ext uri="{9D8B030D-6E8A-4147-A177-3AD203B41FA5}">
                      <a16:colId xmlns:a16="http://schemas.microsoft.com/office/drawing/2014/main" val="4088344459"/>
                    </a:ext>
                  </a:extLst>
                </a:gridCol>
                <a:gridCol w="116840">
                  <a:extLst>
                    <a:ext uri="{9D8B030D-6E8A-4147-A177-3AD203B41FA5}">
                      <a16:colId xmlns:a16="http://schemas.microsoft.com/office/drawing/2014/main" val="1335446541"/>
                    </a:ext>
                  </a:extLst>
                </a:gridCol>
                <a:gridCol w="420831">
                  <a:extLst>
                    <a:ext uri="{9D8B030D-6E8A-4147-A177-3AD203B41FA5}">
                      <a16:colId xmlns:a16="http://schemas.microsoft.com/office/drawing/2014/main" val="4161041341"/>
                    </a:ext>
                  </a:extLst>
                </a:gridCol>
                <a:gridCol w="420830">
                  <a:extLst>
                    <a:ext uri="{9D8B030D-6E8A-4147-A177-3AD203B41FA5}">
                      <a16:colId xmlns:a16="http://schemas.microsoft.com/office/drawing/2014/main" val="472040124"/>
                    </a:ext>
                  </a:extLst>
                </a:gridCol>
                <a:gridCol w="420831">
                  <a:extLst>
                    <a:ext uri="{9D8B030D-6E8A-4147-A177-3AD203B41FA5}">
                      <a16:colId xmlns:a16="http://schemas.microsoft.com/office/drawing/2014/main" val="2858746512"/>
                    </a:ext>
                  </a:extLst>
                </a:gridCol>
                <a:gridCol w="420830">
                  <a:extLst>
                    <a:ext uri="{9D8B030D-6E8A-4147-A177-3AD203B41FA5}">
                      <a16:colId xmlns:a16="http://schemas.microsoft.com/office/drawing/2014/main" val="4029165778"/>
                    </a:ext>
                  </a:extLst>
                </a:gridCol>
                <a:gridCol w="420830">
                  <a:extLst>
                    <a:ext uri="{9D8B030D-6E8A-4147-A177-3AD203B41FA5}">
                      <a16:colId xmlns:a16="http://schemas.microsoft.com/office/drawing/2014/main" val="972625744"/>
                    </a:ext>
                  </a:extLst>
                </a:gridCol>
                <a:gridCol w="420830">
                  <a:extLst>
                    <a:ext uri="{9D8B030D-6E8A-4147-A177-3AD203B41FA5}">
                      <a16:colId xmlns:a16="http://schemas.microsoft.com/office/drawing/2014/main" val="3894395468"/>
                    </a:ext>
                  </a:extLst>
                </a:gridCol>
                <a:gridCol w="420830">
                  <a:extLst>
                    <a:ext uri="{9D8B030D-6E8A-4147-A177-3AD203B41FA5}">
                      <a16:colId xmlns:a16="http://schemas.microsoft.com/office/drawing/2014/main" val="3630416838"/>
                    </a:ext>
                  </a:extLst>
                </a:gridCol>
                <a:gridCol w="420830">
                  <a:extLst>
                    <a:ext uri="{9D8B030D-6E8A-4147-A177-3AD203B41FA5}">
                      <a16:colId xmlns:a16="http://schemas.microsoft.com/office/drawing/2014/main" val="3482723573"/>
                    </a:ext>
                  </a:extLst>
                </a:gridCol>
                <a:gridCol w="420830">
                  <a:extLst>
                    <a:ext uri="{9D8B030D-6E8A-4147-A177-3AD203B41FA5}">
                      <a16:colId xmlns:a16="http://schemas.microsoft.com/office/drawing/2014/main" val="3829874606"/>
                    </a:ext>
                  </a:extLst>
                </a:gridCol>
                <a:gridCol w="420830">
                  <a:extLst>
                    <a:ext uri="{9D8B030D-6E8A-4147-A177-3AD203B41FA5}">
                      <a16:colId xmlns:a16="http://schemas.microsoft.com/office/drawing/2014/main" val="3404452640"/>
                    </a:ext>
                  </a:extLst>
                </a:gridCol>
                <a:gridCol w="420830">
                  <a:extLst>
                    <a:ext uri="{9D8B030D-6E8A-4147-A177-3AD203B41FA5}">
                      <a16:colId xmlns:a16="http://schemas.microsoft.com/office/drawing/2014/main" val="850283050"/>
                    </a:ext>
                  </a:extLst>
                </a:gridCol>
                <a:gridCol w="420830">
                  <a:extLst>
                    <a:ext uri="{9D8B030D-6E8A-4147-A177-3AD203B41FA5}">
                      <a16:colId xmlns:a16="http://schemas.microsoft.com/office/drawing/2014/main" val="1184907836"/>
                    </a:ext>
                  </a:extLst>
                </a:gridCol>
                <a:gridCol w="420830">
                  <a:extLst>
                    <a:ext uri="{9D8B030D-6E8A-4147-A177-3AD203B41FA5}">
                      <a16:colId xmlns:a16="http://schemas.microsoft.com/office/drawing/2014/main" val="1782486528"/>
                    </a:ext>
                  </a:extLst>
                </a:gridCol>
                <a:gridCol w="420830">
                  <a:extLst>
                    <a:ext uri="{9D8B030D-6E8A-4147-A177-3AD203B41FA5}">
                      <a16:colId xmlns:a16="http://schemas.microsoft.com/office/drawing/2014/main" val="92446032"/>
                    </a:ext>
                  </a:extLst>
                </a:gridCol>
                <a:gridCol w="419473">
                  <a:extLst>
                    <a:ext uri="{9D8B030D-6E8A-4147-A177-3AD203B41FA5}">
                      <a16:colId xmlns:a16="http://schemas.microsoft.com/office/drawing/2014/main" val="1380289373"/>
                    </a:ext>
                  </a:extLst>
                </a:gridCol>
              </a:tblGrid>
              <a:tr h="284938">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r"/>
                      <a:endParaRPr lang="en-US" sz="1200" b="1">
                        <a:solidFill>
                          <a:schemeClr val="tx1"/>
                        </a:solidFill>
                        <a:latin typeface="Rawline" panose="00000500000000000000" pitchFamily="2"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r"/>
                      <a:r>
                        <a:rPr lang="en-US" sz="1200" b="1" i="0">
                          <a:solidFill>
                            <a:schemeClr val="tx1"/>
                          </a:solidFill>
                          <a:latin typeface="Rawline" panose="00000500000000000000" pitchFamily="2" charset="0"/>
                          <a:cs typeface="Segoe UI" panose="020B0502040204020203" pitchFamily="34" charset="0"/>
                        </a:rPr>
                        <a:t>Week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gridSpan="3">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US" sz="1200" b="1" i="0">
                          <a:solidFill>
                            <a:schemeClr val="tx1"/>
                          </a:solidFill>
                          <a:latin typeface="Rawline" panose="00000500000000000000" pitchFamily="2" charset="0"/>
                          <a:cs typeface="Segoe UI" panose="020B0502040204020203" pitchFamily="34" charset="0"/>
                        </a:rPr>
                        <a:t>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hMerge="1">
                  <a:txBody>
                    <a:bodyPr/>
                    <a:lstStyle/>
                    <a:p>
                      <a:endParaRPr lang="en-US"/>
                    </a:p>
                  </a:txBody>
                  <a:tcPr/>
                </a:tc>
                <a:tc hMerge="1">
                  <a:txBody>
                    <a:bodyPr/>
                    <a:lstStyle/>
                    <a:p>
                      <a:endParaRPr lang="en-US"/>
                    </a:p>
                  </a:txBody>
                  <a:tcPr>
                    <a:lnL w="12700" cmpd="sng">
                      <a:noFill/>
                      <a:prstDash val="solid"/>
                    </a:lnL>
                  </a:tcPr>
                </a:tc>
                <a:tc gridSpan="3">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lang="en-US" sz="1200" b="1" i="0">
                        <a:solidFill>
                          <a:schemeClr val="tx1"/>
                        </a:solidFill>
                        <a:latin typeface="Rawline" panose="00000500000000000000" pitchFamily="2" charset="0"/>
                        <a:cs typeface="Segoe UI" panose="020B0502040204020203"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hMerge="1">
                  <a:txBody>
                    <a:bodyPr/>
                    <a:lstStyle/>
                    <a:p>
                      <a:endParaRPr lang="en-US"/>
                    </a:p>
                  </a:txBody>
                  <a:tcPr/>
                </a:tc>
                <a:tc hMerge="1">
                  <a:txBody>
                    <a:bodyPr/>
                    <a:lstStyle/>
                    <a:p>
                      <a:endParaRPr lang="en-US"/>
                    </a:p>
                  </a:txBody>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US" sz="1200" b="1" i="0">
                          <a:solidFill>
                            <a:schemeClr val="tx1"/>
                          </a:solidFill>
                          <a:latin typeface="Rawline" panose="00000500000000000000" pitchFamily="2" charset="0"/>
                          <a:cs typeface="Segoe UI" panose="020B0502040204020203" pitchFamily="34" charset="0"/>
                        </a:rPr>
                        <a:t>1</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US" sz="1200" b="1" i="0">
                          <a:solidFill>
                            <a:schemeClr val="tx1"/>
                          </a:solidFill>
                          <a:latin typeface="Rawline" panose="00000500000000000000" pitchFamily="2" charset="0"/>
                          <a:cs typeface="Segoe UI" panose="020B0502040204020203" pitchFamily="34" charset="0"/>
                        </a:rPr>
                        <a:t>2</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US" sz="1200" b="1" i="0">
                          <a:solidFill>
                            <a:schemeClr val="tx1"/>
                          </a:solidFill>
                          <a:latin typeface="Rawline" panose="00000500000000000000" pitchFamily="2" charset="0"/>
                          <a:cs typeface="Segoe UI" panose="020B0502040204020203" pitchFamily="34" charset="0"/>
                        </a:rPr>
                        <a:t>3</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US" sz="1200" b="1" i="0">
                          <a:solidFill>
                            <a:schemeClr val="tx1"/>
                          </a:solidFill>
                          <a:latin typeface="Rawline" panose="00000500000000000000" pitchFamily="2" charset="0"/>
                          <a:cs typeface="Segoe UI" panose="020B0502040204020203" pitchFamily="34" charset="0"/>
                        </a:rPr>
                        <a:t>4</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US" sz="1200" b="1" i="0">
                          <a:solidFill>
                            <a:schemeClr val="tx1"/>
                          </a:solidFill>
                          <a:latin typeface="Rawline" panose="00000500000000000000" pitchFamily="2" charset="0"/>
                          <a:cs typeface="Segoe UI" panose="020B0502040204020203" pitchFamily="34" charset="0"/>
                        </a:rPr>
                        <a:t>5</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US" sz="1200" b="1" i="0">
                          <a:solidFill>
                            <a:schemeClr val="tx1"/>
                          </a:solidFill>
                          <a:latin typeface="Rawline" panose="00000500000000000000" pitchFamily="2" charset="0"/>
                          <a:cs typeface="Segoe UI" panose="020B0502040204020203" pitchFamily="34" charset="0"/>
                        </a:rPr>
                        <a:t>6</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US" sz="1200" b="1" i="0">
                          <a:solidFill>
                            <a:schemeClr val="tx1"/>
                          </a:solidFill>
                          <a:latin typeface="Rawline" panose="00000500000000000000" pitchFamily="2" charset="0"/>
                          <a:cs typeface="Segoe UI" panose="020B0502040204020203" pitchFamily="34" charset="0"/>
                        </a:rPr>
                        <a:t>7</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US" sz="1200" b="1" i="0">
                          <a:solidFill>
                            <a:schemeClr val="tx1"/>
                          </a:solidFill>
                          <a:latin typeface="Rawline" panose="00000500000000000000" pitchFamily="2" charset="0"/>
                          <a:cs typeface="Segoe UI" panose="020B0502040204020203" pitchFamily="34" charset="0"/>
                        </a:rPr>
                        <a:t>8</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US" sz="1200" b="1" i="0">
                          <a:solidFill>
                            <a:schemeClr val="tx1"/>
                          </a:solidFill>
                          <a:latin typeface="Rawline" panose="00000500000000000000" pitchFamily="2" charset="0"/>
                          <a:cs typeface="Segoe UI" panose="020B0502040204020203" pitchFamily="34" charset="0"/>
                        </a:rPr>
                        <a:t>9</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US" sz="1200" b="1" i="0">
                          <a:solidFill>
                            <a:schemeClr val="tx1"/>
                          </a:solidFill>
                          <a:latin typeface="Rawline" panose="00000500000000000000" pitchFamily="2" charset="0"/>
                          <a:cs typeface="Segoe UI" panose="020B0502040204020203" pitchFamily="34" charset="0"/>
                        </a:rPr>
                        <a:t>1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US" sz="1200" b="1" i="0">
                          <a:solidFill>
                            <a:schemeClr val="tx1"/>
                          </a:solidFill>
                          <a:latin typeface="Rawline" panose="00000500000000000000" pitchFamily="2" charset="0"/>
                          <a:cs typeface="Segoe UI" panose="020B0502040204020203" pitchFamily="34" charset="0"/>
                        </a:rPr>
                        <a:t>11</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US" sz="1200" b="1" i="0">
                          <a:solidFill>
                            <a:schemeClr val="tx1"/>
                          </a:solidFill>
                          <a:latin typeface="Rawline" panose="00000500000000000000" pitchFamily="2" charset="0"/>
                          <a:cs typeface="Segoe UI" panose="020B0502040204020203" pitchFamily="34" charset="0"/>
                        </a:rPr>
                        <a:t>12</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US" sz="1200" b="1" i="0">
                          <a:solidFill>
                            <a:schemeClr val="tx1"/>
                          </a:solidFill>
                          <a:latin typeface="Rawline" panose="00000500000000000000" pitchFamily="2" charset="0"/>
                          <a:cs typeface="Segoe UI" panose="020B0502040204020203" pitchFamily="34" charset="0"/>
                        </a:rPr>
                        <a:t>13</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US" sz="1200" b="1" i="0">
                          <a:solidFill>
                            <a:schemeClr val="tx1"/>
                          </a:solidFill>
                          <a:latin typeface="Rawline" panose="00000500000000000000" pitchFamily="2" charset="0"/>
                          <a:cs typeface="Segoe UI" panose="020B0502040204020203" pitchFamily="34" charset="0"/>
                        </a:rPr>
                        <a:t>14</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US" sz="1200" b="1" i="0">
                          <a:solidFill>
                            <a:schemeClr val="tx1"/>
                          </a:solidFill>
                          <a:latin typeface="Rawline" panose="00000500000000000000" pitchFamily="2" charset="0"/>
                          <a:cs typeface="Segoe UI" panose="020B0502040204020203" pitchFamily="34" charset="0"/>
                        </a:rPr>
                        <a:t>15</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2941169785"/>
                  </a:ext>
                </a:extLst>
              </a:tr>
              <a:tr h="224192">
                <a:tc>
                  <a:txBody>
                    <a:bodyPr/>
                    <a:lstStyle/>
                    <a:p>
                      <a:pPr marL="0" marR="0" lvl="1" indent="0" algn="l" defTabSz="914400" rtl="0" eaLnBrk="1" fontAlgn="base" latinLnBrk="0" hangingPunct="1">
                        <a:lnSpc>
                          <a:spcPct val="100000"/>
                        </a:lnSpc>
                        <a:spcBef>
                          <a:spcPts val="1200"/>
                        </a:spcBef>
                        <a:spcAft>
                          <a:spcPct val="0"/>
                        </a:spcAft>
                        <a:buClrTx/>
                        <a:buSzTx/>
                        <a:buFontTx/>
                        <a:buNone/>
                        <a:tabLst/>
                        <a:defRPr/>
                      </a:pPr>
                      <a:endParaRPr kumimoji="0" lang="en-US" sz="1000" b="1" i="0" u="none" strike="noStrike" cap="none" normalizeH="0" baseline="0">
                        <a:ln>
                          <a:noFill/>
                        </a:ln>
                        <a:solidFill>
                          <a:schemeClr val="accent1"/>
                        </a:solidFill>
                        <a:effectLst/>
                        <a:latin typeface="Rawline" panose="00000500000000000000" pitchFamily="2" charset="0"/>
                        <a:ea typeface="ＭＳ Ｐゴシック" pitchFamily="34" charset="-128"/>
                        <a:cs typeface="Segoe UI" panose="020B0502040204020203" pitchFamily="34" charset="0"/>
                      </a:endParaRPr>
                    </a:p>
                  </a:txBody>
                  <a:tcPr marL="68580" marR="68580" marT="34290" marB="34290"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1" indent="0" algn="l" defTabSz="914400" rtl="0" eaLnBrk="1" fontAlgn="base" latinLnBrk="0" hangingPunct="1">
                        <a:lnSpc>
                          <a:spcPct val="100000"/>
                        </a:lnSpc>
                        <a:spcBef>
                          <a:spcPts val="1200"/>
                        </a:spcBef>
                        <a:spcAft>
                          <a:spcPct val="0"/>
                        </a:spcAft>
                        <a:buClrTx/>
                        <a:buSzTx/>
                        <a:buFontTx/>
                        <a:buNone/>
                        <a:tabLst/>
                        <a:defRPr/>
                      </a:pPr>
                      <a:endParaRPr kumimoji="0" lang="en-US" sz="1100" b="0" i="0" u="none" strike="noStrike" cap="none" normalizeH="0" baseline="0">
                        <a:ln>
                          <a:noFill/>
                        </a:ln>
                        <a:solidFill>
                          <a:schemeClr val="tx1"/>
                        </a:solidFill>
                        <a:effectLst/>
                        <a:latin typeface="Rawline" panose="00000500000000000000" pitchFamily="2" charset="0"/>
                        <a:ea typeface="ＭＳ Ｐゴシック" pitchFamily="34" charset="-128"/>
                        <a:cs typeface="Segoe UI" panose="020B0502040204020203" pitchFamily="34" charset="0"/>
                      </a:endParaRPr>
                    </a:p>
                  </a:txBody>
                  <a:tcPr marL="68580" marR="68580" marT="34290" marB="34290"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US" sz="1000" kern="1200">
                        <a:solidFill>
                          <a:schemeClr val="bg1"/>
                        </a:solidFill>
                        <a:latin typeface="Rawline" panose="00000500000000000000" pitchFamily="2" charset="0"/>
                        <a:ea typeface="+mn-ea"/>
                        <a:cs typeface="Segoe UI" panose="020B0502040204020203" pitchFamily="34" charset="0"/>
                      </a:endParaRPr>
                    </a:p>
                  </a:txBody>
                  <a:tcPr marL="0" marR="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US" sz="1000" kern="1200">
                        <a:solidFill>
                          <a:schemeClr val="bg1"/>
                        </a:solidFill>
                        <a:latin typeface="Rawline" panose="00000500000000000000" pitchFamily="2" charset="0"/>
                        <a:ea typeface="+mn-ea"/>
                        <a:cs typeface="Segoe UI" panose="020B0502040204020203" pitchFamily="34" charset="0"/>
                      </a:endParaRPr>
                    </a:p>
                  </a:txBody>
                  <a:tcPr marL="0" marR="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2">
                  <a:txBody>
                    <a:bodyPr/>
                    <a:lstStyle/>
                    <a:p>
                      <a:pPr algn="ctr"/>
                      <a:endParaRPr lang="en-US" sz="1000" kern="1200">
                        <a:solidFill>
                          <a:schemeClr val="bg1"/>
                        </a:solidFill>
                        <a:latin typeface="Rawline" panose="00000500000000000000" pitchFamily="2" charset="0"/>
                        <a:ea typeface="+mn-ea"/>
                        <a:cs typeface="Segoe UI" panose="020B0502040204020203" pitchFamily="34" charset="0"/>
                      </a:endParaRPr>
                    </a:p>
                  </a:txBody>
                  <a:tcPr marL="0" marR="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en-US"/>
                    </a:p>
                  </a:txBody>
                  <a:tcPr/>
                </a:tc>
                <a:tc>
                  <a:txBody>
                    <a:bodyPr/>
                    <a:lstStyle/>
                    <a:p>
                      <a:pPr algn="ctr"/>
                      <a:endParaRPr lang="en-US" sz="1000" kern="1200">
                        <a:solidFill>
                          <a:schemeClr val="bg1"/>
                        </a:solidFill>
                        <a:latin typeface="Rawline" panose="00000500000000000000" pitchFamily="2" charset="0"/>
                        <a:ea typeface="+mn-ea"/>
                        <a:cs typeface="Segoe UI" panose="020B0502040204020203" pitchFamily="34" charset="0"/>
                      </a:endParaRPr>
                    </a:p>
                  </a:txBody>
                  <a:tcPr marL="0" marR="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US" sz="1000" kern="1200">
                        <a:solidFill>
                          <a:schemeClr val="bg1"/>
                        </a:solidFill>
                        <a:latin typeface="Rawline" panose="00000500000000000000" pitchFamily="2" charset="0"/>
                        <a:ea typeface="+mn-ea"/>
                        <a:cs typeface="Segoe UI" panose="020B0502040204020203" pitchFamily="34" charset="0"/>
                      </a:endParaRPr>
                    </a:p>
                  </a:txBody>
                  <a:tcPr marL="0" marR="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3">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US" sz="1200" b="1" i="0">
                          <a:solidFill>
                            <a:schemeClr val="tx1"/>
                          </a:solidFill>
                          <a:latin typeface="Rawline" panose="00000500000000000000" pitchFamily="2" charset="0"/>
                          <a:cs typeface="Segoe UI" panose="020B0502040204020203" pitchFamily="34" charset="0"/>
                        </a:rPr>
                        <a:t>Phase 1</a:t>
                      </a:r>
                    </a:p>
                  </a:txBody>
                  <a:tcPr marL="0" marR="0" marT="0" marB="0" anchor="ctr">
                    <a:lnL w="12700" cap="flat" cmpd="sng" algn="ctr">
                      <a:solidFill>
                        <a:sysClr val="window" lastClr="FFFFFF"/>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tc hMerge="1">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lang="en-US" sz="1200" b="1" i="0">
                        <a:solidFill>
                          <a:schemeClr val="tx1"/>
                        </a:solidFill>
                        <a:latin typeface="Rawline" panose="00000500000000000000" pitchFamily="2" charset="0"/>
                        <a:cs typeface="Segoe UI" panose="020B0502040204020203" pitchFamily="34" charset="0"/>
                      </a:endParaRPr>
                    </a:p>
                  </a:txBody>
                  <a:tcPr marL="0" marR="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lang="en-US" sz="1200" b="1" i="0">
                        <a:solidFill>
                          <a:schemeClr val="tx1"/>
                        </a:solidFill>
                        <a:latin typeface="Rawline" panose="00000500000000000000" pitchFamily="2" charset="0"/>
                        <a:cs typeface="Segoe UI" panose="020B0502040204020203" pitchFamily="34" charset="0"/>
                      </a:endParaRPr>
                    </a:p>
                  </a:txBody>
                  <a:tcPr marL="0" marR="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12">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US" sz="1200" b="1" i="0">
                          <a:solidFill>
                            <a:schemeClr val="tx1"/>
                          </a:solidFill>
                          <a:latin typeface="Rawline" panose="00000500000000000000" pitchFamily="2" charset="0"/>
                          <a:cs typeface="Segoe UI" panose="020B0502040204020203" pitchFamily="34" charset="0"/>
                        </a:rPr>
                        <a:t>Phase 2</a:t>
                      </a:r>
                    </a:p>
                  </a:txBody>
                  <a:tcPr marL="0" marR="0" marT="0" marB="0" anchor="ctr">
                    <a:lnL w="12700" cap="flat" cmpd="sng" algn="ctr">
                      <a:no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tx2">
                        <a:lumMod val="60000"/>
                        <a:lumOff val="40000"/>
                      </a:schemeClr>
                    </a:solidFill>
                  </a:tcPr>
                </a:tc>
                <a:tc hMerge="1">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US" sz="1200" b="1" i="0">
                          <a:solidFill>
                            <a:schemeClr val="tx1"/>
                          </a:solidFill>
                          <a:latin typeface="Rawline" panose="00000500000000000000" pitchFamily="2" charset="0"/>
                          <a:cs typeface="Segoe UI" panose="020B0502040204020203" pitchFamily="34" charset="0"/>
                        </a:rPr>
                        <a:t>Phase 2</a:t>
                      </a:r>
                    </a:p>
                  </a:txBody>
                  <a:tcPr marL="0" marR="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lang="en-US" sz="1200" b="1" i="0">
                        <a:solidFill>
                          <a:schemeClr val="tx1"/>
                        </a:solidFill>
                        <a:latin typeface="Rawline" panose="00000500000000000000" pitchFamily="2" charset="0"/>
                        <a:cs typeface="Segoe UI" panose="020B0502040204020203" pitchFamily="34" charset="0"/>
                      </a:endParaRPr>
                    </a:p>
                  </a:txBody>
                  <a:tcPr marL="0" marR="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lang="en-US" sz="1200" b="1" i="0">
                        <a:solidFill>
                          <a:schemeClr val="tx1"/>
                        </a:solidFill>
                        <a:latin typeface="Rawline" panose="00000500000000000000" pitchFamily="2" charset="0"/>
                        <a:cs typeface="Segoe UI" panose="020B0502040204020203" pitchFamily="34" charset="0"/>
                      </a:endParaRPr>
                    </a:p>
                  </a:txBody>
                  <a:tcPr marL="0" marR="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algn="ctr"/>
                      <a:endParaRPr lang="en-US" sz="1000" kern="1200">
                        <a:solidFill>
                          <a:schemeClr val="bg1"/>
                        </a:solidFill>
                        <a:latin typeface="Rawline" panose="00000500000000000000" pitchFamily="2" charset="0"/>
                        <a:ea typeface="+mn-ea"/>
                        <a:cs typeface="Segoe UI" panose="020B0502040204020203" pitchFamily="34" charset="0"/>
                      </a:endParaRPr>
                    </a:p>
                  </a:txBody>
                  <a:tcPr marL="0" marR="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algn="ctr"/>
                      <a:endParaRPr lang="en-US" sz="1000" kern="1200">
                        <a:solidFill>
                          <a:schemeClr val="bg1"/>
                        </a:solidFill>
                        <a:latin typeface="Rawline" panose="00000500000000000000" pitchFamily="2" charset="0"/>
                        <a:ea typeface="+mn-ea"/>
                        <a:cs typeface="Segoe UI" panose="020B0502040204020203" pitchFamily="34" charset="0"/>
                      </a:endParaRPr>
                    </a:p>
                  </a:txBody>
                  <a:tcPr marL="0" marR="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algn="ctr"/>
                      <a:endParaRPr lang="en-US" sz="1000" kern="1200">
                        <a:solidFill>
                          <a:schemeClr val="bg1"/>
                        </a:solidFill>
                        <a:latin typeface="Rawline" panose="00000500000000000000" pitchFamily="2" charset="0"/>
                        <a:ea typeface="+mn-ea"/>
                        <a:cs typeface="Segoe UI" panose="020B0502040204020203" pitchFamily="34" charset="0"/>
                      </a:endParaRPr>
                    </a:p>
                  </a:txBody>
                  <a:tcPr marL="0" marR="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algn="ctr"/>
                      <a:endParaRPr lang="en-US" sz="1000" kern="1200">
                        <a:solidFill>
                          <a:schemeClr val="bg1"/>
                        </a:solidFill>
                        <a:latin typeface="Rawline" panose="00000500000000000000" pitchFamily="2" charset="0"/>
                        <a:ea typeface="+mn-ea"/>
                        <a:cs typeface="Segoe UI" panose="020B0502040204020203" pitchFamily="34" charset="0"/>
                      </a:endParaRPr>
                    </a:p>
                  </a:txBody>
                  <a:tcPr marL="0" marR="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algn="ctr"/>
                      <a:endParaRPr lang="en-US" sz="1000" kern="1200">
                        <a:solidFill>
                          <a:schemeClr val="bg1"/>
                        </a:solidFill>
                        <a:latin typeface="Rawline" panose="00000500000000000000" pitchFamily="2" charset="0"/>
                        <a:ea typeface="+mn-ea"/>
                        <a:cs typeface="Segoe UI" panose="020B0502040204020203" pitchFamily="34" charset="0"/>
                      </a:endParaRPr>
                    </a:p>
                  </a:txBody>
                  <a:tcPr marL="0" marR="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algn="ctr"/>
                      <a:endParaRPr lang="en-US" sz="1000" kern="1200">
                        <a:solidFill>
                          <a:schemeClr val="bg1"/>
                        </a:solidFill>
                        <a:latin typeface="Rawline" panose="00000500000000000000" pitchFamily="2" charset="0"/>
                        <a:ea typeface="+mn-ea"/>
                        <a:cs typeface="Segoe UI" panose="020B0502040204020203" pitchFamily="34" charset="0"/>
                      </a:endParaRPr>
                    </a:p>
                  </a:txBody>
                  <a:tcPr marL="0" marR="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algn="ctr"/>
                      <a:endParaRPr lang="en-US" sz="1000" kern="1200">
                        <a:solidFill>
                          <a:schemeClr val="bg1"/>
                        </a:solidFill>
                        <a:latin typeface="Rawline" panose="00000500000000000000" pitchFamily="2" charset="0"/>
                        <a:ea typeface="+mn-ea"/>
                        <a:cs typeface="Segoe UI" panose="020B0502040204020203" pitchFamily="34" charset="0"/>
                      </a:endParaRPr>
                    </a:p>
                  </a:txBody>
                  <a:tcPr marL="0" marR="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algn="ctr"/>
                      <a:endParaRPr lang="en-US" sz="1000" kern="1200">
                        <a:solidFill>
                          <a:schemeClr val="bg1"/>
                        </a:solidFill>
                        <a:latin typeface="Rawline" panose="00000500000000000000" pitchFamily="2" charset="0"/>
                        <a:ea typeface="+mn-ea"/>
                        <a:cs typeface="Segoe UI" panose="020B0502040204020203" pitchFamily="34" charset="0"/>
                      </a:endParaRPr>
                    </a:p>
                  </a:txBody>
                  <a:tcPr marL="0" marR="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514102017"/>
                  </a:ext>
                </a:extLst>
              </a:tr>
              <a:tr h="284938">
                <a:tc rowSpan="2">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1" indent="0" algn="l" defTabSz="914400" rtl="0" eaLnBrk="1" fontAlgn="base" latinLnBrk="0" hangingPunct="1">
                        <a:lnSpc>
                          <a:spcPct val="100000"/>
                        </a:lnSpc>
                        <a:spcBef>
                          <a:spcPts val="1200"/>
                        </a:spcBef>
                        <a:spcAft>
                          <a:spcPct val="0"/>
                        </a:spcAft>
                        <a:buClrTx/>
                        <a:buSzTx/>
                        <a:buFontTx/>
                        <a:buNone/>
                        <a:tabLst/>
                        <a:defRPr/>
                      </a:pPr>
                      <a:r>
                        <a:rPr kumimoji="0" lang="en-US" sz="1000" b="1" i="0" u="none" strike="noStrike" cap="none" normalizeH="0" baseline="0">
                          <a:ln>
                            <a:noFill/>
                          </a:ln>
                          <a:solidFill>
                            <a:schemeClr val="accent1"/>
                          </a:solidFill>
                          <a:effectLst/>
                          <a:latin typeface="Rawline" panose="00000500000000000000" pitchFamily="2" charset="0"/>
                          <a:ea typeface="ＭＳ Ｐゴシック" pitchFamily="34" charset="-128"/>
                          <a:cs typeface="Segoe UI" panose="020B0502040204020203" pitchFamily="34" charset="0"/>
                        </a:rPr>
                        <a:t>Kick-off</a:t>
                      </a:r>
                    </a:p>
                  </a:txBody>
                  <a:tcPr marL="68580" marR="68580" marT="34290" marB="34290"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1" indent="0" algn="l" defTabSz="914400" rtl="0" eaLnBrk="1" fontAlgn="base" latinLnBrk="0" hangingPunct="1">
                        <a:lnSpc>
                          <a:spcPct val="100000"/>
                        </a:lnSpc>
                        <a:spcBef>
                          <a:spcPts val="1200"/>
                        </a:spcBef>
                        <a:spcAft>
                          <a:spcPct val="0"/>
                        </a:spcAft>
                        <a:buClrTx/>
                        <a:buSzTx/>
                        <a:buFontTx/>
                        <a:buNone/>
                        <a:tabLst/>
                        <a:defRPr/>
                      </a:pPr>
                      <a:r>
                        <a:rPr kumimoji="0" lang="en-US" sz="1100" b="0" i="0" u="none" strike="noStrike" cap="none" normalizeH="0" baseline="0">
                          <a:ln>
                            <a:noFill/>
                          </a:ln>
                          <a:solidFill>
                            <a:schemeClr val="tx1"/>
                          </a:solidFill>
                          <a:effectLst/>
                          <a:latin typeface="Rawline" panose="00000500000000000000" pitchFamily="2" charset="0"/>
                          <a:ea typeface="ＭＳ Ｐゴシック" pitchFamily="34" charset="-128"/>
                          <a:cs typeface="Segoe UI" panose="020B0502040204020203" pitchFamily="34" charset="0"/>
                        </a:rPr>
                        <a:t>Commissioning of project </a:t>
                      </a:r>
                      <a:r>
                        <a:rPr kumimoji="0" lang="en-US" sz="1100" b="1" i="0" u="none" strike="noStrike" cap="none" normalizeH="0" baseline="0">
                          <a:ln>
                            <a:noFill/>
                          </a:ln>
                          <a:solidFill>
                            <a:schemeClr val="tx2"/>
                          </a:solidFill>
                          <a:effectLst/>
                          <a:latin typeface="Rawline" panose="00000500000000000000" pitchFamily="2" charset="0"/>
                          <a:ea typeface="ＭＳ Ｐゴシック" pitchFamily="34" charset="-128"/>
                          <a:cs typeface="Segoe UI" panose="020B0502040204020203" pitchFamily="34" charset="0"/>
                        </a:rPr>
                        <a:t>^</a:t>
                      </a:r>
                      <a:endParaRPr kumimoji="0" lang="en-US" sz="1100" b="0" i="0" u="none" strike="noStrike" cap="none" normalizeH="0" baseline="0">
                        <a:ln>
                          <a:noFill/>
                        </a:ln>
                        <a:solidFill>
                          <a:schemeClr val="tx1"/>
                        </a:solidFill>
                        <a:effectLst/>
                        <a:latin typeface="Rawline" panose="00000500000000000000" pitchFamily="2" charset="0"/>
                        <a:ea typeface="ＭＳ Ｐゴシック" pitchFamily="34" charset="-128"/>
                        <a:cs typeface="Segoe UI" panose="020B0502040204020203" pitchFamily="34" charset="0"/>
                      </a:endParaRPr>
                    </a:p>
                  </a:txBody>
                  <a:tcPr marL="68580" marR="68580" marT="34290" marB="34290"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3">
                  <a:txBody>
                    <a:bodyPr/>
                    <a:lstStyle/>
                    <a:p>
                      <a:pPr algn="ctr"/>
                      <a:endParaRPr lang="en-US" sz="1000" kern="1200">
                        <a:solidFill>
                          <a:schemeClr val="bg1"/>
                        </a:solidFill>
                        <a:latin typeface="Rawline" panose="00000500000000000000" pitchFamily="2" charset="0"/>
                        <a:ea typeface="+mn-ea"/>
                        <a:cs typeface="Segoe UI" panose="020B0502040204020203" pitchFamily="34" charset="0"/>
                      </a:endParaRPr>
                    </a:p>
                  </a:txBody>
                  <a:tcPr marL="0" marR="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endParaRPr lang="en-US"/>
                    </a:p>
                  </a:txBody>
                  <a:tcPr/>
                </a:tc>
                <a:tc hMerge="1">
                  <a:txBody>
                    <a:bodyPr/>
                    <a:lstStyle/>
                    <a:p>
                      <a:endParaRPr lang="en-US"/>
                    </a:p>
                  </a:txBody>
                  <a:tcPr>
                    <a:lnL w="12700" cap="flat" cmpd="sng" algn="ctr">
                      <a:solidFill>
                        <a:sysClr val="window" lastClr="FFFFFF"/>
                      </a:solidFill>
                      <a:prstDash val="solid"/>
                      <a:round/>
                      <a:headEnd type="none" w="med" len="med"/>
                      <a:tailEnd type="none" w="med" len="med"/>
                    </a:lnL>
                    <a:lnT w="12700" cap="flat" cmpd="sng" algn="ctr">
                      <a:solidFill>
                        <a:schemeClr val="tx2"/>
                      </a:solidFill>
                      <a:prstDash val="solid"/>
                      <a:round/>
                      <a:headEnd type="none" w="med" len="med"/>
                      <a:tailEnd type="none" w="med" len="med"/>
                    </a:lnT>
                  </a:tcPr>
                </a:tc>
                <a:tc gridSpan="3">
                  <a:txBody>
                    <a:bodyPr/>
                    <a:lstStyle/>
                    <a:p>
                      <a:pPr algn="ctr"/>
                      <a:endParaRPr lang="en-US" sz="1000" kern="1200">
                        <a:solidFill>
                          <a:schemeClr val="bg1"/>
                        </a:solidFill>
                        <a:latin typeface="Rawline" panose="00000500000000000000" pitchFamily="2" charset="0"/>
                        <a:ea typeface="+mn-ea"/>
                        <a:cs typeface="Segoe UI" panose="020B0502040204020203" pitchFamily="34" charset="0"/>
                      </a:endParaRPr>
                    </a:p>
                  </a:txBody>
                  <a:tcPr marL="0" marR="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US"/>
                    </a:p>
                  </a:txBody>
                  <a:tcPr/>
                </a:tc>
                <a:tc hMerge="1">
                  <a:txBody>
                    <a:bodyPr/>
                    <a:lstStyle/>
                    <a:p>
                      <a:endParaRPr lang="en-US"/>
                    </a:p>
                  </a:txBody>
                  <a:tcPr/>
                </a:tc>
                <a:tc>
                  <a:txBody>
                    <a:bodyPr/>
                    <a:lstStyle/>
                    <a:p>
                      <a:pPr algn="ctr"/>
                      <a:endParaRPr lang="en-US" sz="1000" kern="1200">
                        <a:solidFill>
                          <a:schemeClr val="bg1"/>
                        </a:solidFill>
                        <a:latin typeface="Rawline" panose="00000500000000000000" pitchFamily="2" charset="0"/>
                        <a:ea typeface="+mn-ea"/>
                        <a:cs typeface="Segoe UI" panose="020B0502040204020203" pitchFamily="34" charset="0"/>
                      </a:endParaRPr>
                    </a:p>
                  </a:txBody>
                  <a:tcPr marL="0" marR="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kern="1200">
                        <a:solidFill>
                          <a:schemeClr val="bg1"/>
                        </a:solidFill>
                        <a:latin typeface="Rawline" panose="00000500000000000000" pitchFamily="2" charset="0"/>
                        <a:ea typeface="+mn-ea"/>
                        <a:cs typeface="Segoe UI" panose="020B0502040204020203" pitchFamily="34" charset="0"/>
                      </a:endParaRPr>
                    </a:p>
                  </a:txBody>
                  <a:tcPr marL="0" marR="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a:endParaRPr lang="en-US" sz="1000" kern="1200">
                        <a:solidFill>
                          <a:schemeClr val="bg1"/>
                        </a:solidFill>
                        <a:latin typeface="Rawline" panose="00000500000000000000" pitchFamily="2" charset="0"/>
                        <a:ea typeface="+mn-ea"/>
                        <a:cs typeface="Segoe UI" panose="020B0502040204020203" pitchFamily="34" charset="0"/>
                      </a:endParaRPr>
                    </a:p>
                  </a:txBody>
                  <a:tcPr marL="0" marR="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kern="1200">
                        <a:solidFill>
                          <a:schemeClr val="bg1"/>
                        </a:solidFill>
                        <a:latin typeface="Rawline" panose="00000500000000000000" pitchFamily="2" charset="0"/>
                        <a:ea typeface="+mn-ea"/>
                        <a:cs typeface="Segoe UI" panose="020B0502040204020203" pitchFamily="34" charset="0"/>
                      </a:endParaRPr>
                    </a:p>
                  </a:txBody>
                  <a:tcPr marL="0" marR="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kern="1200">
                        <a:solidFill>
                          <a:schemeClr val="bg1"/>
                        </a:solidFill>
                        <a:latin typeface="Rawline" panose="00000500000000000000" pitchFamily="2" charset="0"/>
                        <a:ea typeface="+mn-ea"/>
                        <a:cs typeface="Segoe UI" panose="020B0502040204020203" pitchFamily="34" charset="0"/>
                      </a:endParaRPr>
                    </a:p>
                  </a:txBody>
                  <a:tcPr marL="0" marR="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a:endParaRPr lang="en-US" sz="1000" kern="1200">
                        <a:solidFill>
                          <a:schemeClr val="bg1"/>
                        </a:solidFill>
                        <a:latin typeface="Rawline" panose="00000500000000000000" pitchFamily="2" charset="0"/>
                        <a:ea typeface="+mn-ea"/>
                        <a:cs typeface="Segoe UI" panose="020B0502040204020203" pitchFamily="34" charset="0"/>
                      </a:endParaRPr>
                    </a:p>
                  </a:txBody>
                  <a:tcPr marL="0" marR="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kern="1200">
                        <a:solidFill>
                          <a:schemeClr val="bg1"/>
                        </a:solidFill>
                        <a:latin typeface="Rawline" panose="00000500000000000000" pitchFamily="2" charset="0"/>
                        <a:ea typeface="+mn-ea"/>
                        <a:cs typeface="Segoe UI" panose="020B0502040204020203" pitchFamily="34" charset="0"/>
                      </a:endParaRPr>
                    </a:p>
                  </a:txBody>
                  <a:tcPr marL="0" marR="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a:endParaRPr lang="en-US" sz="1000" kern="1200">
                        <a:solidFill>
                          <a:schemeClr val="bg1"/>
                        </a:solidFill>
                        <a:latin typeface="Rawline" panose="00000500000000000000" pitchFamily="2" charset="0"/>
                        <a:ea typeface="+mn-ea"/>
                        <a:cs typeface="Segoe UI" panose="020B0502040204020203" pitchFamily="34" charset="0"/>
                      </a:endParaRPr>
                    </a:p>
                  </a:txBody>
                  <a:tcPr marL="0" marR="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kern="1200">
                        <a:solidFill>
                          <a:schemeClr val="bg1"/>
                        </a:solidFill>
                        <a:latin typeface="Rawline" panose="00000500000000000000" pitchFamily="2" charset="0"/>
                        <a:ea typeface="+mn-ea"/>
                        <a:cs typeface="Segoe UI" panose="020B0502040204020203" pitchFamily="34" charset="0"/>
                      </a:endParaRPr>
                    </a:p>
                  </a:txBody>
                  <a:tcPr marL="0" marR="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kern="1200">
                        <a:solidFill>
                          <a:schemeClr val="bg1"/>
                        </a:solidFill>
                        <a:latin typeface="Rawline" panose="00000500000000000000" pitchFamily="2" charset="0"/>
                        <a:ea typeface="+mn-ea"/>
                        <a:cs typeface="Segoe UI" panose="020B0502040204020203" pitchFamily="34" charset="0"/>
                      </a:endParaRPr>
                    </a:p>
                  </a:txBody>
                  <a:tcPr marL="0" marR="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kern="1200">
                        <a:solidFill>
                          <a:schemeClr val="bg1"/>
                        </a:solidFill>
                        <a:latin typeface="Rawline" panose="00000500000000000000" pitchFamily="2" charset="0"/>
                        <a:ea typeface="+mn-ea"/>
                        <a:cs typeface="Segoe UI" panose="020B0502040204020203" pitchFamily="34" charset="0"/>
                      </a:endParaRPr>
                    </a:p>
                  </a:txBody>
                  <a:tcPr marL="0" marR="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kern="1200">
                        <a:solidFill>
                          <a:schemeClr val="bg1"/>
                        </a:solidFill>
                        <a:latin typeface="Rawline" panose="00000500000000000000" pitchFamily="2" charset="0"/>
                        <a:ea typeface="+mn-ea"/>
                        <a:cs typeface="Segoe UI" panose="020B0502040204020203" pitchFamily="34" charset="0"/>
                      </a:endParaRPr>
                    </a:p>
                  </a:txBody>
                  <a:tcPr marL="0" marR="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kern="1200">
                        <a:solidFill>
                          <a:schemeClr val="bg1"/>
                        </a:solidFill>
                        <a:latin typeface="Rawline" panose="00000500000000000000" pitchFamily="2" charset="0"/>
                        <a:ea typeface="+mn-ea"/>
                        <a:cs typeface="Segoe UI" panose="020B0502040204020203" pitchFamily="34" charset="0"/>
                      </a:endParaRPr>
                    </a:p>
                  </a:txBody>
                  <a:tcPr marL="0" marR="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kern="1200">
                        <a:solidFill>
                          <a:schemeClr val="bg1"/>
                        </a:solidFill>
                        <a:latin typeface="Rawline" panose="00000500000000000000" pitchFamily="2" charset="0"/>
                        <a:ea typeface="+mn-ea"/>
                        <a:cs typeface="Segoe UI" panose="020B0502040204020203" pitchFamily="34" charset="0"/>
                      </a:endParaRPr>
                    </a:p>
                  </a:txBody>
                  <a:tcPr marL="0" marR="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kern="1200">
                        <a:solidFill>
                          <a:schemeClr val="bg1"/>
                        </a:solidFill>
                        <a:latin typeface="Rawline" panose="00000500000000000000" pitchFamily="2" charset="0"/>
                        <a:ea typeface="+mn-ea"/>
                        <a:cs typeface="Segoe UI" panose="020B0502040204020203" pitchFamily="34" charset="0"/>
                      </a:endParaRPr>
                    </a:p>
                  </a:txBody>
                  <a:tcPr marL="0" marR="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2"/>
                  </a:ext>
                </a:extLst>
              </a:tr>
              <a:tr h="284938">
                <a:tc vMerge="1">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1" indent="0" algn="l" defTabSz="914400" rtl="0" eaLnBrk="1" fontAlgn="base" latinLnBrk="0" hangingPunct="1">
                        <a:lnSpc>
                          <a:spcPct val="100000"/>
                        </a:lnSpc>
                        <a:spcBef>
                          <a:spcPts val="1200"/>
                        </a:spcBef>
                        <a:spcAft>
                          <a:spcPct val="0"/>
                        </a:spcAft>
                        <a:buClrTx/>
                        <a:buSzTx/>
                        <a:buFontTx/>
                        <a:buNone/>
                        <a:tabLst/>
                        <a:defRPr/>
                      </a:pPr>
                      <a:endParaRPr kumimoji="0" lang="en-US" sz="1200" b="0" i="0" u="none" strike="noStrike" cap="none" normalizeH="0" baseline="0">
                        <a:ln>
                          <a:noFill/>
                        </a:ln>
                        <a:solidFill>
                          <a:schemeClr val="tx1"/>
                        </a:solidFill>
                        <a:effectLst/>
                        <a:latin typeface="Rawline" panose="00000500000000000000" pitchFamily="2" charset="0"/>
                        <a:ea typeface="ＭＳ Ｐゴシック" pitchFamily="34" charset="-128"/>
                        <a:cs typeface="Segoe UI" panose="020B0502040204020203" pitchFamily="34" charset="0"/>
                      </a:endParaRPr>
                    </a:p>
                  </a:txBody>
                  <a:tcPr marL="68580" marR="68580" marT="34290" marB="34290"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ea typeface=""/>
                          <a:cs typeface=""/>
                        </a:defRPr>
                      </a:lvl1pPr>
                      <a:lvl2pPr marL="457200" algn="l" defTabSz="914400" rtl="0" eaLnBrk="1" latinLnBrk="0" hangingPunct="1">
                        <a:defRPr sz="1800" kern="1200">
                          <a:solidFill>
                            <a:schemeClr val="dk1"/>
                          </a:solidFill>
                          <a:latin typeface="Arial"/>
                          <a:ea typeface=""/>
                          <a:cs typeface=""/>
                        </a:defRPr>
                      </a:lvl2pPr>
                      <a:lvl3pPr marL="914400" algn="l" defTabSz="914400" rtl="0" eaLnBrk="1" latinLnBrk="0" hangingPunct="1">
                        <a:defRPr sz="1800" kern="1200">
                          <a:solidFill>
                            <a:schemeClr val="dk1"/>
                          </a:solidFill>
                          <a:latin typeface="Arial"/>
                          <a:ea typeface=""/>
                          <a:cs typeface=""/>
                        </a:defRPr>
                      </a:lvl3pPr>
                      <a:lvl4pPr marL="1371600" algn="l" defTabSz="914400" rtl="0" eaLnBrk="1" latinLnBrk="0" hangingPunct="1">
                        <a:defRPr sz="1800" kern="1200">
                          <a:solidFill>
                            <a:schemeClr val="dk1"/>
                          </a:solidFill>
                          <a:latin typeface="Arial"/>
                          <a:ea typeface=""/>
                          <a:cs typeface=""/>
                        </a:defRPr>
                      </a:lvl4pPr>
                      <a:lvl5pPr marL="1828800" algn="l" defTabSz="914400" rtl="0" eaLnBrk="1" latinLnBrk="0" hangingPunct="1">
                        <a:defRPr sz="1800" kern="1200">
                          <a:solidFill>
                            <a:schemeClr val="dk1"/>
                          </a:solidFill>
                          <a:latin typeface="Arial"/>
                          <a:ea typeface=""/>
                          <a:cs typeface=""/>
                        </a:defRPr>
                      </a:lvl5pPr>
                      <a:lvl6pPr marL="2286000" algn="l" defTabSz="914400" rtl="0" eaLnBrk="1" latinLnBrk="0" hangingPunct="1">
                        <a:defRPr sz="1800" kern="1200">
                          <a:solidFill>
                            <a:schemeClr val="dk1"/>
                          </a:solidFill>
                          <a:latin typeface="Arial"/>
                          <a:ea typeface=""/>
                          <a:cs typeface=""/>
                        </a:defRPr>
                      </a:lvl6pPr>
                      <a:lvl7pPr marL="2743200" algn="l" defTabSz="914400" rtl="0" eaLnBrk="1" latinLnBrk="0" hangingPunct="1">
                        <a:defRPr sz="1800" kern="1200">
                          <a:solidFill>
                            <a:schemeClr val="dk1"/>
                          </a:solidFill>
                          <a:latin typeface="Arial"/>
                          <a:ea typeface=""/>
                          <a:cs typeface=""/>
                        </a:defRPr>
                      </a:lvl7pPr>
                      <a:lvl8pPr marL="3200400" algn="l" defTabSz="914400" rtl="0" eaLnBrk="1" latinLnBrk="0" hangingPunct="1">
                        <a:defRPr sz="1800" kern="1200">
                          <a:solidFill>
                            <a:schemeClr val="dk1"/>
                          </a:solidFill>
                          <a:latin typeface="Arial"/>
                          <a:ea typeface=""/>
                          <a:cs typeface=""/>
                        </a:defRPr>
                      </a:lvl8pPr>
                      <a:lvl9pPr marL="3657600" algn="l" defTabSz="914400" rtl="0" eaLnBrk="1" latinLnBrk="0" hangingPunct="1">
                        <a:defRPr sz="1800" kern="1200">
                          <a:solidFill>
                            <a:schemeClr val="dk1"/>
                          </a:solidFill>
                          <a:latin typeface="Arial"/>
                          <a:ea typeface=""/>
                          <a:cs typeface=""/>
                        </a:defRPr>
                      </a:lvl9pPr>
                    </a:lstStyle>
                    <a:p>
                      <a:pPr marL="0" marR="0" lvl="1" indent="0" algn="l" defTabSz="914400" rtl="0" eaLnBrk="1" fontAlgn="base" latinLnBrk="0" hangingPunct="1">
                        <a:lnSpc>
                          <a:spcPct val="100000"/>
                        </a:lnSpc>
                        <a:spcBef>
                          <a:spcPts val="1200"/>
                        </a:spcBef>
                        <a:spcAft>
                          <a:spcPct val="0"/>
                        </a:spcAft>
                        <a:buClrTx/>
                        <a:buSzTx/>
                        <a:buFontTx/>
                        <a:buNone/>
                        <a:tabLst/>
                        <a:defRPr/>
                      </a:pPr>
                      <a:r>
                        <a:rPr kumimoji="0" lang="en-US" sz="1100" b="0" i="0" u="none" strike="noStrike" cap="none" normalizeH="0" baseline="0">
                          <a:ln>
                            <a:noFill/>
                          </a:ln>
                          <a:solidFill>
                            <a:schemeClr val="tx1"/>
                          </a:solidFill>
                          <a:effectLst/>
                          <a:latin typeface="Rawline" panose="00000500000000000000" pitchFamily="2" charset="0"/>
                          <a:ea typeface="ＭＳ Ｐゴシック" pitchFamily="34" charset="-128"/>
                          <a:cs typeface="Segoe UI" panose="020B0502040204020203" pitchFamily="34" charset="0"/>
                        </a:rPr>
                        <a:t>Final inputs ready  </a:t>
                      </a:r>
                      <a:r>
                        <a:rPr kumimoji="0" lang="en-US" sz="1100" b="1" i="0" u="none" strike="noStrike" cap="none" normalizeH="0" baseline="0">
                          <a:ln>
                            <a:noFill/>
                          </a:ln>
                          <a:solidFill>
                            <a:schemeClr val="tx2"/>
                          </a:solidFill>
                          <a:effectLst/>
                          <a:latin typeface="Rawline" panose="00000500000000000000" pitchFamily="2" charset="0"/>
                          <a:ea typeface="ＭＳ Ｐゴシック" pitchFamily="34" charset="-128"/>
                          <a:cs typeface="Segoe UI" panose="020B0502040204020203" pitchFamily="34" charset="0"/>
                        </a:rPr>
                        <a:t>^</a:t>
                      </a:r>
                      <a:endParaRPr kumimoji="0" lang="en-US" sz="1100" b="0" i="0" u="none" strike="noStrike" cap="none" normalizeH="0" baseline="0">
                        <a:ln>
                          <a:noFill/>
                        </a:ln>
                        <a:solidFill>
                          <a:schemeClr val="tx1"/>
                        </a:solidFill>
                        <a:effectLst/>
                        <a:latin typeface="Rawline" panose="00000500000000000000" pitchFamily="2" charset="0"/>
                        <a:ea typeface="ＭＳ Ｐゴシック" pitchFamily="34" charset="-128"/>
                        <a:cs typeface="Segoe UI" panose="020B0502040204020203" pitchFamily="34" charset="0"/>
                      </a:endParaRPr>
                    </a:p>
                  </a:txBody>
                  <a:tcPr marL="68580" marR="68580" marT="34290" marB="34290"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3">
                  <a:txBody>
                    <a:bodyPr/>
                    <a:lstStyle/>
                    <a:p>
                      <a:pPr algn="ctr"/>
                      <a:endParaRPr lang="en-US" sz="1000" kern="1200">
                        <a:solidFill>
                          <a:schemeClr val="bg1"/>
                        </a:solidFill>
                        <a:latin typeface="Rawline" panose="00000500000000000000" pitchFamily="2" charset="0"/>
                        <a:ea typeface="+mn-ea"/>
                        <a:cs typeface="+mn-cs"/>
                      </a:endParaRPr>
                    </a:p>
                  </a:txBody>
                  <a:tcPr marL="0" marR="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US"/>
                    </a:p>
                  </a:txBody>
                  <a:tcPr/>
                </a:tc>
                <a:tc hMerge="1">
                  <a:txBody>
                    <a:bodyPr/>
                    <a:lstStyle/>
                    <a:p>
                      <a:endParaRPr lang="en-US"/>
                    </a:p>
                  </a:txBody>
                  <a:tcPr>
                    <a:lnL w="12700" cap="flat" cmpd="sng" algn="ctr">
                      <a:solidFill>
                        <a:sysClr val="window" lastClr="FFFFFF"/>
                      </a:solidFill>
                      <a:prstDash val="solid"/>
                      <a:round/>
                      <a:headEnd type="none" w="med" len="med"/>
                      <a:tailEnd type="none" w="med" len="med"/>
                    </a:lnL>
                  </a:tcPr>
                </a:tc>
                <a:tc gridSpan="3">
                  <a:txBody>
                    <a:bodyPr/>
                    <a:lstStyle/>
                    <a:p>
                      <a:pPr algn="ctr"/>
                      <a:endParaRPr lang="en-US" sz="1000" kern="1200">
                        <a:solidFill>
                          <a:schemeClr val="bg1"/>
                        </a:solidFill>
                        <a:latin typeface="Rawline" panose="00000500000000000000" pitchFamily="2" charset="0"/>
                        <a:ea typeface="+mn-ea"/>
                        <a:cs typeface="+mn-cs"/>
                      </a:endParaRPr>
                    </a:p>
                  </a:txBody>
                  <a:tcPr marL="0" marR="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US"/>
                    </a:p>
                  </a:txBody>
                  <a:tcPr/>
                </a:tc>
                <a:tc hMerge="1">
                  <a:txBody>
                    <a:bodyPr/>
                    <a:lstStyle/>
                    <a:p>
                      <a:endParaRPr lang="en-US"/>
                    </a:p>
                  </a:txBody>
                  <a:tcPr/>
                </a:tc>
                <a:tc>
                  <a:txBody>
                    <a:bodyPr/>
                    <a:lstStyle/>
                    <a:p>
                      <a:pPr algn="ctr"/>
                      <a:endParaRPr lang="en-US" sz="1000" kern="1200">
                        <a:solidFill>
                          <a:schemeClr val="bg1"/>
                        </a:solidFill>
                        <a:latin typeface="Rawline" panose="00000500000000000000" pitchFamily="2" charset="0"/>
                        <a:ea typeface="+mn-ea"/>
                        <a:cs typeface="+mn-cs"/>
                      </a:endParaRPr>
                    </a:p>
                  </a:txBody>
                  <a:tcPr marL="0" marR="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kern="1200">
                        <a:solidFill>
                          <a:schemeClr val="bg1"/>
                        </a:solidFill>
                        <a:latin typeface="Rawline" panose="00000500000000000000" pitchFamily="2" charset="0"/>
                        <a:ea typeface="+mn-ea"/>
                        <a:cs typeface="+mn-cs"/>
                      </a:endParaRPr>
                    </a:p>
                  </a:txBody>
                  <a:tcPr marL="0" marR="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a:endParaRPr lang="en-US" sz="1000" kern="1200">
                        <a:solidFill>
                          <a:schemeClr val="bg1"/>
                        </a:solidFill>
                        <a:latin typeface="Rawline" panose="00000500000000000000" pitchFamily="2" charset="0"/>
                        <a:ea typeface="+mn-ea"/>
                        <a:cs typeface="+mn-cs"/>
                      </a:endParaRPr>
                    </a:p>
                  </a:txBody>
                  <a:tcPr marL="0" marR="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kern="1200">
                        <a:solidFill>
                          <a:schemeClr val="bg1"/>
                        </a:solidFill>
                        <a:latin typeface="Rawline" panose="00000500000000000000" pitchFamily="2" charset="0"/>
                        <a:ea typeface="+mn-ea"/>
                        <a:cs typeface="+mn-cs"/>
                      </a:endParaRPr>
                    </a:p>
                  </a:txBody>
                  <a:tcPr marL="0" marR="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a:endParaRPr lang="en-US" sz="1000" kern="1200">
                        <a:solidFill>
                          <a:schemeClr val="bg1"/>
                        </a:solidFill>
                        <a:latin typeface="Rawline" panose="00000500000000000000" pitchFamily="2" charset="0"/>
                        <a:ea typeface="+mn-ea"/>
                        <a:cs typeface="+mn-cs"/>
                      </a:endParaRPr>
                    </a:p>
                  </a:txBody>
                  <a:tcPr marL="0" marR="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a:endParaRPr lang="en-US" sz="1000" kern="1200">
                        <a:solidFill>
                          <a:schemeClr val="bg1"/>
                        </a:solidFill>
                        <a:latin typeface="Rawline" panose="00000500000000000000" pitchFamily="2" charset="0"/>
                        <a:ea typeface="+mn-ea"/>
                        <a:cs typeface="+mn-cs"/>
                      </a:endParaRPr>
                    </a:p>
                  </a:txBody>
                  <a:tcPr marL="0" marR="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kern="1200">
                        <a:solidFill>
                          <a:schemeClr val="bg1"/>
                        </a:solidFill>
                        <a:latin typeface="Rawline" panose="00000500000000000000" pitchFamily="2" charset="0"/>
                        <a:ea typeface="+mn-ea"/>
                        <a:cs typeface="+mn-cs"/>
                      </a:endParaRPr>
                    </a:p>
                  </a:txBody>
                  <a:tcPr marL="0" marR="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a:endParaRPr lang="en-US" sz="1000" kern="1200">
                        <a:solidFill>
                          <a:schemeClr val="bg1"/>
                        </a:solidFill>
                        <a:latin typeface="Rawline" panose="00000500000000000000" pitchFamily="2" charset="0"/>
                        <a:ea typeface="+mn-ea"/>
                        <a:cs typeface="+mn-cs"/>
                      </a:endParaRPr>
                    </a:p>
                  </a:txBody>
                  <a:tcPr marL="0" marR="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kern="1200">
                        <a:solidFill>
                          <a:schemeClr val="bg1"/>
                        </a:solidFill>
                        <a:latin typeface="Rawline" panose="00000500000000000000" pitchFamily="2" charset="0"/>
                        <a:ea typeface="+mn-ea"/>
                        <a:cs typeface="+mn-cs"/>
                      </a:endParaRPr>
                    </a:p>
                  </a:txBody>
                  <a:tcPr marL="0" marR="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kern="1200">
                        <a:solidFill>
                          <a:schemeClr val="bg1"/>
                        </a:solidFill>
                        <a:latin typeface="Rawline" panose="00000500000000000000" pitchFamily="2" charset="0"/>
                        <a:ea typeface="+mn-ea"/>
                        <a:cs typeface="+mn-cs"/>
                      </a:endParaRPr>
                    </a:p>
                  </a:txBody>
                  <a:tcPr marL="0" marR="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kern="1200">
                        <a:solidFill>
                          <a:schemeClr val="bg1"/>
                        </a:solidFill>
                        <a:latin typeface="Rawline" panose="00000500000000000000" pitchFamily="2" charset="0"/>
                        <a:ea typeface="+mn-ea"/>
                        <a:cs typeface="+mn-cs"/>
                      </a:endParaRPr>
                    </a:p>
                  </a:txBody>
                  <a:tcPr marL="0" marR="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kern="1200">
                        <a:solidFill>
                          <a:schemeClr val="bg1"/>
                        </a:solidFill>
                        <a:latin typeface="Rawline" panose="00000500000000000000" pitchFamily="2" charset="0"/>
                        <a:ea typeface="+mn-ea"/>
                        <a:cs typeface="+mn-cs"/>
                      </a:endParaRPr>
                    </a:p>
                  </a:txBody>
                  <a:tcPr marL="0" marR="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kern="1200">
                        <a:solidFill>
                          <a:schemeClr val="bg1"/>
                        </a:solidFill>
                        <a:latin typeface="Rawline" panose="00000500000000000000" pitchFamily="2" charset="0"/>
                        <a:ea typeface="+mn-ea"/>
                        <a:cs typeface="+mn-cs"/>
                      </a:endParaRPr>
                    </a:p>
                  </a:txBody>
                  <a:tcPr marL="0" marR="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kern="1200">
                        <a:solidFill>
                          <a:schemeClr val="bg1"/>
                        </a:solidFill>
                        <a:latin typeface="Rawline" panose="00000500000000000000" pitchFamily="2" charset="0"/>
                        <a:ea typeface="+mn-ea"/>
                        <a:cs typeface="+mn-cs"/>
                      </a:endParaRPr>
                    </a:p>
                  </a:txBody>
                  <a:tcPr marL="0" marR="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kern="1200">
                        <a:solidFill>
                          <a:schemeClr val="bg1"/>
                        </a:solidFill>
                        <a:latin typeface="Rawline" panose="00000500000000000000" pitchFamily="2" charset="0"/>
                        <a:ea typeface="+mn-ea"/>
                        <a:cs typeface="+mn-cs"/>
                      </a:endParaRPr>
                    </a:p>
                  </a:txBody>
                  <a:tcPr marL="0" marR="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3"/>
                  </a:ext>
                </a:extLst>
              </a:tr>
              <a:tr h="284938">
                <a:tc rowSpan="3">
                  <a:txBody>
                    <a:bodyPr/>
                    <a:lstStyle/>
                    <a:p>
                      <a:pPr marL="0" marR="0" lvl="1" indent="0" algn="l" defTabSz="914400" rtl="0" eaLnBrk="1" fontAlgn="base" latinLnBrk="0" hangingPunct="1">
                        <a:lnSpc>
                          <a:spcPct val="100000"/>
                        </a:lnSpc>
                        <a:spcBef>
                          <a:spcPts val="1200"/>
                        </a:spcBef>
                        <a:spcAft>
                          <a:spcPct val="0"/>
                        </a:spcAft>
                        <a:buClrTx/>
                        <a:buSzTx/>
                        <a:buFontTx/>
                        <a:buNone/>
                        <a:tabLst/>
                        <a:defRPr/>
                      </a:pPr>
                      <a:r>
                        <a:rPr kumimoji="0" lang="en-US" sz="1000" b="1" i="0" u="none" strike="noStrike" cap="none" normalizeH="0" baseline="0">
                          <a:ln>
                            <a:noFill/>
                          </a:ln>
                          <a:solidFill>
                            <a:schemeClr val="accent5"/>
                          </a:solidFill>
                          <a:effectLst/>
                          <a:latin typeface="Rawline" panose="00000500000000000000" pitchFamily="2" charset="0"/>
                          <a:ea typeface="ＭＳ Ｐゴシック" pitchFamily="34" charset="-128"/>
                          <a:cs typeface="Segoe UI" panose="020B0502040204020203" pitchFamily="34" charset="0"/>
                        </a:rPr>
                        <a:t>Workshop</a:t>
                      </a:r>
                    </a:p>
                  </a:txBody>
                  <a:tcPr marL="68580" marR="68580" marT="34290" marB="34290"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914400" rtl="0" eaLnBrk="1" fontAlgn="base" latinLnBrk="0" hangingPunct="1">
                        <a:lnSpc>
                          <a:spcPct val="100000"/>
                        </a:lnSpc>
                        <a:spcBef>
                          <a:spcPts val="1200"/>
                        </a:spcBef>
                        <a:spcAft>
                          <a:spcPct val="0"/>
                        </a:spcAft>
                        <a:buClrTx/>
                        <a:buSzTx/>
                        <a:buFontTx/>
                        <a:buNone/>
                        <a:tabLst/>
                        <a:defRPr/>
                      </a:pPr>
                      <a:r>
                        <a:rPr kumimoji="0" lang="en-US" sz="1100" b="0" i="0" u="none" strike="noStrike" cap="none" normalizeH="0" baseline="0" err="1">
                          <a:ln>
                            <a:noFill/>
                          </a:ln>
                          <a:solidFill>
                            <a:schemeClr val="tx1"/>
                          </a:solidFill>
                          <a:effectLst/>
                          <a:latin typeface="Rawline" panose="00000500000000000000" pitchFamily="2" charset="0"/>
                          <a:ea typeface="ＭＳ Ｐゴシック" pitchFamily="34" charset="-128"/>
                          <a:cs typeface="Segoe UI" panose="020B0502040204020203" pitchFamily="34" charset="0"/>
                        </a:rPr>
                        <a:t>QualBites</a:t>
                      </a:r>
                      <a:endParaRPr kumimoji="0" lang="en-US" sz="1100" b="0" i="0" u="none" strike="noStrike" cap="none" normalizeH="0" baseline="0">
                        <a:ln>
                          <a:noFill/>
                        </a:ln>
                        <a:solidFill>
                          <a:schemeClr val="tx1"/>
                        </a:solidFill>
                        <a:effectLst/>
                        <a:latin typeface="Rawline" panose="00000500000000000000" pitchFamily="2" charset="0"/>
                        <a:ea typeface="ＭＳ Ｐゴシック" pitchFamily="34" charset="-128"/>
                        <a:cs typeface="Segoe UI" panose="020B0502040204020203" pitchFamily="34" charset="0"/>
                      </a:endParaRPr>
                    </a:p>
                  </a:txBody>
                  <a:tcPr marL="68580" marR="68580" marT="34290" marB="34290"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3">
                  <a:txBody>
                    <a:bodyPr/>
                    <a:lstStyle/>
                    <a:p>
                      <a:endParaRPr lang="en-US"/>
                    </a:p>
                  </a:txBody>
                  <a:tcPr marL="0" marR="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tc hMerge="1">
                  <a:txBody>
                    <a:bodyPr/>
                    <a:lstStyle/>
                    <a:p>
                      <a:endParaRPr lang="en-US"/>
                    </a:p>
                  </a:txBody>
                  <a:tcPr/>
                </a:tc>
                <a:tc hMerge="1">
                  <a:txBody>
                    <a:bodyPr/>
                    <a:lstStyle/>
                    <a:p>
                      <a:endParaRPr lang="en-US"/>
                    </a:p>
                  </a:txBody>
                  <a:tcPr>
                    <a:lnL w="12700" cap="flat" cmpd="sng" algn="ctr">
                      <a:solidFill>
                        <a:sysClr val="window" lastClr="FFFFFF"/>
                      </a:solidFill>
                      <a:prstDash val="solid"/>
                      <a:round/>
                      <a:headEnd type="none" w="med" len="med"/>
                      <a:tailEnd type="none" w="med" len="med"/>
                    </a:lnL>
                  </a:tcPr>
                </a:tc>
                <a:tc gridSpan="3">
                  <a:txBody>
                    <a:bodyPr/>
                    <a:lstStyle/>
                    <a:p>
                      <a:endParaRPr lang="en-US"/>
                    </a:p>
                  </a:txBody>
                  <a:tcPr marL="0" marR="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US"/>
                    </a:p>
                  </a:txBody>
                  <a:tcPr/>
                </a:tc>
                <a:tc hMerge="1">
                  <a:txBody>
                    <a:bodyPr/>
                    <a:lstStyle/>
                    <a:p>
                      <a:endParaRPr lang="en-US"/>
                    </a:p>
                  </a:txBody>
                  <a:tcPr/>
                </a:tc>
                <a:tc>
                  <a:txBody>
                    <a:bodyPr/>
                    <a:lstStyle/>
                    <a:p>
                      <a:endParaRPr lang="en-US"/>
                    </a:p>
                  </a:txBody>
                  <a:tcPr marL="0" marR="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endParaRPr lang="en-US"/>
                    </a:p>
                  </a:txBody>
                  <a:tcPr marL="0" marR="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endParaRPr lang="en-US"/>
                    </a:p>
                  </a:txBody>
                  <a:tcPr marL="0" marR="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en-US"/>
                    </a:p>
                  </a:txBody>
                  <a:tcPr marL="0" marR="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en-US"/>
                    </a:p>
                  </a:txBody>
                  <a:tcPr marL="0" marR="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en-US"/>
                    </a:p>
                  </a:txBody>
                  <a:tcPr marL="0" marR="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en-US"/>
                    </a:p>
                  </a:txBody>
                  <a:tcPr marL="0" marR="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en-US"/>
                    </a:p>
                  </a:txBody>
                  <a:tcPr marL="0" marR="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en-US"/>
                    </a:p>
                  </a:txBody>
                  <a:tcPr marL="0" marR="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en-US"/>
                    </a:p>
                  </a:txBody>
                  <a:tcPr marL="0" marR="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en-US"/>
                    </a:p>
                  </a:txBody>
                  <a:tcPr marL="0" marR="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en-US"/>
                    </a:p>
                  </a:txBody>
                  <a:tcPr marL="0" marR="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en-US"/>
                    </a:p>
                  </a:txBody>
                  <a:tcPr marL="0" marR="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en-US"/>
                    </a:p>
                  </a:txBody>
                  <a:tcPr marL="0" marR="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en-US"/>
                    </a:p>
                  </a:txBody>
                  <a:tcPr marL="0" marR="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786134732"/>
                  </a:ext>
                </a:extLst>
              </a:tr>
              <a:tr h="284938">
                <a:tc vMerge="1">
                  <a:txBody>
                    <a:bodyPr/>
                    <a:lstStyle/>
                    <a:p>
                      <a:endParaRPr lang="en-US"/>
                    </a:p>
                  </a:txBody>
                  <a:tcPr/>
                </a:tc>
                <a:tc>
                  <a:txBody>
                    <a:bodyPr/>
                    <a:lstStyle/>
                    <a:p>
                      <a:pPr marL="0" marR="0" lvl="1" indent="0" algn="l" defTabSz="914400" rtl="0" eaLnBrk="1" fontAlgn="base" latinLnBrk="0" hangingPunct="1">
                        <a:lnSpc>
                          <a:spcPct val="100000"/>
                        </a:lnSpc>
                        <a:spcBef>
                          <a:spcPts val="1200"/>
                        </a:spcBef>
                        <a:spcAft>
                          <a:spcPct val="0"/>
                        </a:spcAft>
                        <a:buClrTx/>
                        <a:buSzTx/>
                        <a:buFontTx/>
                        <a:buNone/>
                        <a:tabLst/>
                        <a:defRPr/>
                      </a:pPr>
                      <a:r>
                        <a:rPr kumimoji="0" lang="en-US" sz="1100" b="0" i="0" u="none" strike="noStrike" cap="none" normalizeH="0" baseline="0">
                          <a:ln>
                            <a:noFill/>
                          </a:ln>
                          <a:solidFill>
                            <a:schemeClr val="tx1"/>
                          </a:solidFill>
                          <a:effectLst/>
                          <a:latin typeface="Rawline" panose="00000500000000000000" pitchFamily="2" charset="0"/>
                          <a:ea typeface="ＭＳ Ｐゴシック" pitchFamily="34" charset="-128"/>
                          <a:cs typeface="Segoe UI" panose="020B0502040204020203" pitchFamily="34" charset="0"/>
                        </a:rPr>
                        <a:t>Pre-work</a:t>
                      </a:r>
                    </a:p>
                  </a:txBody>
                  <a:tcPr marL="68580" marR="68580" marT="34290" marB="34290"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3">
                  <a:txBody>
                    <a:bodyPr/>
                    <a:lstStyle/>
                    <a:p>
                      <a:endParaRPr lang="en-US"/>
                    </a:p>
                  </a:txBody>
                  <a:tcPr marL="0" marR="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US"/>
                    </a:p>
                  </a:txBody>
                  <a:tcPr/>
                </a:tc>
                <a:tc hMerge="1">
                  <a:txBody>
                    <a:bodyPr/>
                    <a:lstStyle/>
                    <a:p>
                      <a:endParaRPr lang="en-US"/>
                    </a:p>
                  </a:txBody>
                  <a:tcPr/>
                </a:tc>
                <a:tc gridSpan="3">
                  <a:txBody>
                    <a:bodyPr/>
                    <a:lstStyle/>
                    <a:p>
                      <a:endParaRPr lang="en-US"/>
                    </a:p>
                  </a:txBody>
                  <a:tcPr marL="0" marR="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US"/>
                    </a:p>
                  </a:txBody>
                  <a:tcPr/>
                </a:tc>
                <a:tc hMerge="1">
                  <a:txBody>
                    <a:bodyPr/>
                    <a:lstStyle/>
                    <a:p>
                      <a:endParaRPr lang="en-US"/>
                    </a:p>
                  </a:txBody>
                  <a:tcPr/>
                </a:tc>
                <a:tc>
                  <a:txBody>
                    <a:bodyPr/>
                    <a:lstStyle/>
                    <a:p>
                      <a:endParaRPr lang="en-US"/>
                    </a:p>
                  </a:txBody>
                  <a:tcPr marL="0" marR="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endParaRPr lang="en-US"/>
                    </a:p>
                  </a:txBody>
                  <a:tcPr marL="0" marR="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endParaRPr lang="en-US"/>
                    </a:p>
                  </a:txBody>
                  <a:tcPr marL="0" marR="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en-US"/>
                    </a:p>
                  </a:txBody>
                  <a:tcPr marL="0" marR="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en-US"/>
                    </a:p>
                  </a:txBody>
                  <a:tcPr marL="0" marR="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en-US"/>
                    </a:p>
                  </a:txBody>
                  <a:tcPr marL="0" marR="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en-US"/>
                    </a:p>
                  </a:txBody>
                  <a:tcPr marL="0" marR="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en-US"/>
                    </a:p>
                  </a:txBody>
                  <a:tcPr marL="0" marR="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en-US"/>
                    </a:p>
                  </a:txBody>
                  <a:tcPr marL="0" marR="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en-US"/>
                    </a:p>
                  </a:txBody>
                  <a:tcPr marL="0" marR="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en-US"/>
                    </a:p>
                  </a:txBody>
                  <a:tcPr marL="0" marR="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en-US"/>
                    </a:p>
                  </a:txBody>
                  <a:tcPr marL="0" marR="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en-US"/>
                    </a:p>
                  </a:txBody>
                  <a:tcPr marL="0" marR="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en-US"/>
                    </a:p>
                  </a:txBody>
                  <a:tcPr marL="0" marR="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en-US"/>
                    </a:p>
                  </a:txBody>
                  <a:tcPr marL="0" marR="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86777247"/>
                  </a:ext>
                </a:extLst>
              </a:tr>
              <a:tr h="284938">
                <a:tc vMerge="1">
                  <a:txBody>
                    <a:bodyPr/>
                    <a:lstStyle/>
                    <a:p>
                      <a:pPr marL="0" marR="0" lvl="1" indent="0" algn="l" defTabSz="914400" rtl="0" eaLnBrk="1" fontAlgn="base" latinLnBrk="0" hangingPunct="1">
                        <a:lnSpc>
                          <a:spcPct val="100000"/>
                        </a:lnSpc>
                        <a:spcBef>
                          <a:spcPts val="1200"/>
                        </a:spcBef>
                        <a:spcAft>
                          <a:spcPct val="0"/>
                        </a:spcAft>
                        <a:buClrTx/>
                        <a:buSzTx/>
                        <a:buFontTx/>
                        <a:buNone/>
                        <a:tabLst/>
                        <a:defRPr/>
                      </a:pPr>
                      <a:endParaRPr kumimoji="0" lang="en-US" sz="1200" b="1" i="0" u="none" strike="noStrike" cap="none" normalizeH="0" baseline="0">
                        <a:ln>
                          <a:noFill/>
                        </a:ln>
                        <a:solidFill>
                          <a:schemeClr val="accent2"/>
                        </a:solidFill>
                        <a:effectLst/>
                        <a:latin typeface="Rawline" panose="00000500000000000000" pitchFamily="2" charset="0"/>
                        <a:ea typeface="ＭＳ Ｐゴシック" pitchFamily="34" charset="-128"/>
                        <a:cs typeface="Segoe UI" panose="020B0502040204020203" pitchFamily="34" charset="0"/>
                      </a:endParaRPr>
                    </a:p>
                  </a:txBody>
                  <a:tcPr marL="68580" marR="68580" marT="34290" marB="34290"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914400" rtl="0" eaLnBrk="1" fontAlgn="base" latinLnBrk="0" hangingPunct="1">
                        <a:lnSpc>
                          <a:spcPct val="100000"/>
                        </a:lnSpc>
                        <a:spcBef>
                          <a:spcPts val="1200"/>
                        </a:spcBef>
                        <a:spcAft>
                          <a:spcPct val="0"/>
                        </a:spcAft>
                        <a:buClrTx/>
                        <a:buSzTx/>
                        <a:buFontTx/>
                        <a:buNone/>
                        <a:tabLst/>
                        <a:defRPr/>
                      </a:pPr>
                      <a:r>
                        <a:rPr kumimoji="0" lang="en-US" sz="1100" b="0" i="0" u="none" strike="noStrike" cap="none" normalizeH="0" baseline="0">
                          <a:ln>
                            <a:noFill/>
                          </a:ln>
                          <a:solidFill>
                            <a:schemeClr val="tx1"/>
                          </a:solidFill>
                          <a:effectLst/>
                          <a:latin typeface="Rawline" panose="00000500000000000000" pitchFamily="2" charset="0"/>
                          <a:ea typeface="ＭＳ Ｐゴシック" pitchFamily="34" charset="-128"/>
                          <a:cs typeface="Segoe UI" panose="020B0502040204020203" pitchFamily="34" charset="0"/>
                        </a:rPr>
                        <a:t>Workshop Session</a:t>
                      </a:r>
                    </a:p>
                  </a:txBody>
                  <a:tcPr marL="68580" marR="68580" marT="34290" marB="34290"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3">
                  <a:txBody>
                    <a:bodyPr/>
                    <a:lstStyle/>
                    <a:p>
                      <a:pPr algn="ctr"/>
                      <a:endParaRPr lang="en-US" sz="1000" kern="1200">
                        <a:solidFill>
                          <a:schemeClr val="bg1"/>
                        </a:solidFill>
                        <a:latin typeface="Rawline" panose="00000500000000000000" pitchFamily="2" charset="0"/>
                        <a:ea typeface="+mn-ea"/>
                        <a:cs typeface="+mn-cs"/>
                      </a:endParaRPr>
                    </a:p>
                  </a:txBody>
                  <a:tcPr marL="0" marR="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US"/>
                    </a:p>
                  </a:txBody>
                  <a:tcPr/>
                </a:tc>
                <a:tc hMerge="1">
                  <a:txBody>
                    <a:bodyPr/>
                    <a:lstStyle/>
                    <a:p>
                      <a:endParaRPr lang="en-US"/>
                    </a:p>
                  </a:txBody>
                  <a:tcPr>
                    <a:lnL w="12700" cap="flat" cmpd="sng" algn="ctr">
                      <a:solidFill>
                        <a:sysClr val="window" lastClr="FFFFFF"/>
                      </a:solidFill>
                      <a:prstDash val="solid"/>
                      <a:round/>
                      <a:headEnd type="none" w="med" len="med"/>
                      <a:tailEnd type="none" w="med" len="med"/>
                    </a:lnL>
                  </a:tcPr>
                </a:tc>
                <a:tc gridSpan="3">
                  <a:txBody>
                    <a:bodyPr/>
                    <a:lstStyle/>
                    <a:p>
                      <a:pPr algn="ctr"/>
                      <a:endParaRPr lang="en-US" sz="1000" kern="1200">
                        <a:solidFill>
                          <a:schemeClr val="bg1"/>
                        </a:solidFill>
                        <a:latin typeface="Rawline" panose="00000500000000000000" pitchFamily="2" charset="0"/>
                        <a:ea typeface="+mn-ea"/>
                        <a:cs typeface="+mn-cs"/>
                      </a:endParaRPr>
                    </a:p>
                  </a:txBody>
                  <a:tcPr marL="0" marR="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US"/>
                    </a:p>
                  </a:txBody>
                  <a:tcPr/>
                </a:tc>
                <a:tc hMerge="1">
                  <a:txBody>
                    <a:bodyPr/>
                    <a:lstStyle/>
                    <a:p>
                      <a:endParaRPr lang="en-US"/>
                    </a:p>
                  </a:txBody>
                  <a:tcPr/>
                </a:tc>
                <a:tc>
                  <a:txBody>
                    <a:bodyPr/>
                    <a:lstStyle/>
                    <a:p>
                      <a:pPr algn="ctr"/>
                      <a:endParaRPr lang="en-US" sz="1000" kern="1200">
                        <a:solidFill>
                          <a:schemeClr val="bg1"/>
                        </a:solidFill>
                        <a:latin typeface="Rawline" panose="00000500000000000000" pitchFamily="2" charset="0"/>
                        <a:ea typeface="+mn-ea"/>
                        <a:cs typeface="+mn-cs"/>
                      </a:endParaRPr>
                    </a:p>
                  </a:txBody>
                  <a:tcPr marL="0" marR="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kern="1200">
                        <a:solidFill>
                          <a:schemeClr val="bg1"/>
                        </a:solidFill>
                        <a:latin typeface="Rawline" panose="00000500000000000000" pitchFamily="2" charset="0"/>
                        <a:ea typeface="+mn-ea"/>
                        <a:cs typeface="+mn-cs"/>
                      </a:endParaRPr>
                    </a:p>
                  </a:txBody>
                  <a:tcPr marL="0" marR="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kern="1200">
                        <a:solidFill>
                          <a:schemeClr val="bg1"/>
                        </a:solidFill>
                        <a:latin typeface="Rawline" panose="00000500000000000000" pitchFamily="2" charset="0"/>
                        <a:ea typeface="+mn-ea"/>
                        <a:cs typeface="+mn-cs"/>
                      </a:endParaRPr>
                    </a:p>
                  </a:txBody>
                  <a:tcPr marL="0" marR="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pPr algn="ctr"/>
                      <a:endParaRPr lang="en-US" sz="1000" kern="1200">
                        <a:solidFill>
                          <a:schemeClr val="bg1"/>
                        </a:solidFill>
                        <a:latin typeface="Rawline" panose="00000500000000000000" pitchFamily="2" charset="0"/>
                        <a:ea typeface="+mn-ea"/>
                        <a:cs typeface="+mn-cs"/>
                      </a:endParaRPr>
                    </a:p>
                  </a:txBody>
                  <a:tcPr marL="0" marR="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kern="1200">
                        <a:solidFill>
                          <a:schemeClr val="bg1"/>
                        </a:solidFill>
                        <a:latin typeface="Rawline" panose="00000500000000000000" pitchFamily="2" charset="0"/>
                        <a:ea typeface="+mn-ea"/>
                        <a:cs typeface="+mn-cs"/>
                      </a:endParaRPr>
                    </a:p>
                  </a:txBody>
                  <a:tcPr marL="0" marR="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kern="1200">
                        <a:solidFill>
                          <a:schemeClr val="bg1"/>
                        </a:solidFill>
                        <a:latin typeface="Rawline" panose="00000500000000000000" pitchFamily="2" charset="0"/>
                        <a:ea typeface="+mn-ea"/>
                        <a:cs typeface="+mn-cs"/>
                      </a:endParaRPr>
                    </a:p>
                  </a:txBody>
                  <a:tcPr marL="0" marR="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kern="1200">
                        <a:solidFill>
                          <a:schemeClr val="bg1"/>
                        </a:solidFill>
                        <a:latin typeface="Rawline" panose="00000500000000000000" pitchFamily="2" charset="0"/>
                        <a:ea typeface="+mn-ea"/>
                        <a:cs typeface="+mn-cs"/>
                      </a:endParaRPr>
                    </a:p>
                  </a:txBody>
                  <a:tcPr marL="0" marR="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kern="1200">
                        <a:solidFill>
                          <a:schemeClr val="bg1"/>
                        </a:solidFill>
                        <a:latin typeface="Rawline" panose="00000500000000000000" pitchFamily="2" charset="0"/>
                        <a:ea typeface="+mn-ea"/>
                        <a:cs typeface="+mn-cs"/>
                      </a:endParaRPr>
                    </a:p>
                  </a:txBody>
                  <a:tcPr marL="0" marR="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kern="1200">
                        <a:solidFill>
                          <a:schemeClr val="bg1"/>
                        </a:solidFill>
                        <a:latin typeface="Rawline" panose="00000500000000000000" pitchFamily="2" charset="0"/>
                        <a:ea typeface="+mn-ea"/>
                        <a:cs typeface="+mn-cs"/>
                      </a:endParaRPr>
                    </a:p>
                  </a:txBody>
                  <a:tcPr marL="0" marR="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kern="1200">
                        <a:solidFill>
                          <a:schemeClr val="bg1"/>
                        </a:solidFill>
                        <a:latin typeface="Rawline" panose="00000500000000000000" pitchFamily="2" charset="0"/>
                        <a:ea typeface="+mn-ea"/>
                        <a:cs typeface="+mn-cs"/>
                      </a:endParaRPr>
                    </a:p>
                  </a:txBody>
                  <a:tcPr marL="0" marR="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kern="1200">
                        <a:solidFill>
                          <a:schemeClr val="bg1"/>
                        </a:solidFill>
                        <a:latin typeface="Rawline" panose="00000500000000000000" pitchFamily="2" charset="0"/>
                        <a:ea typeface="+mn-ea"/>
                        <a:cs typeface="+mn-cs"/>
                      </a:endParaRPr>
                    </a:p>
                  </a:txBody>
                  <a:tcPr marL="0" marR="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kern="1200">
                        <a:solidFill>
                          <a:schemeClr val="bg1"/>
                        </a:solidFill>
                        <a:latin typeface="Rawline" panose="00000500000000000000" pitchFamily="2" charset="0"/>
                        <a:ea typeface="+mn-ea"/>
                        <a:cs typeface="+mn-cs"/>
                      </a:endParaRPr>
                    </a:p>
                  </a:txBody>
                  <a:tcPr marL="0" marR="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kern="1200">
                        <a:solidFill>
                          <a:schemeClr val="bg1"/>
                        </a:solidFill>
                        <a:latin typeface="Rawline" panose="00000500000000000000" pitchFamily="2" charset="0"/>
                        <a:ea typeface="+mn-ea"/>
                        <a:cs typeface="+mn-cs"/>
                      </a:endParaRPr>
                    </a:p>
                  </a:txBody>
                  <a:tcPr marL="0" marR="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kern="1200">
                        <a:solidFill>
                          <a:schemeClr val="bg1"/>
                        </a:solidFill>
                        <a:latin typeface="Rawline" panose="00000500000000000000" pitchFamily="2" charset="0"/>
                        <a:ea typeface="+mn-ea"/>
                        <a:cs typeface="+mn-cs"/>
                      </a:endParaRPr>
                    </a:p>
                  </a:txBody>
                  <a:tcPr marL="0" marR="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kern="1200">
                        <a:solidFill>
                          <a:schemeClr val="bg1"/>
                        </a:solidFill>
                        <a:latin typeface="Rawline" panose="00000500000000000000" pitchFamily="2" charset="0"/>
                        <a:ea typeface="+mn-ea"/>
                        <a:cs typeface="+mn-cs"/>
                      </a:endParaRPr>
                    </a:p>
                  </a:txBody>
                  <a:tcPr marL="0" marR="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146804086"/>
                  </a:ext>
                </a:extLst>
              </a:tr>
              <a:tr h="284938">
                <a:tc rowSpan="4">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1" indent="0" algn="l" defTabSz="914400" rtl="0" eaLnBrk="1" fontAlgn="base" latinLnBrk="0" hangingPunct="1">
                        <a:lnSpc>
                          <a:spcPct val="100000"/>
                        </a:lnSpc>
                        <a:spcBef>
                          <a:spcPts val="1200"/>
                        </a:spcBef>
                        <a:spcAft>
                          <a:spcPct val="0"/>
                        </a:spcAft>
                        <a:buClrTx/>
                        <a:buSzTx/>
                        <a:buFontTx/>
                        <a:buNone/>
                        <a:tabLst/>
                        <a:defRPr/>
                      </a:pPr>
                      <a:r>
                        <a:rPr kumimoji="0" lang="en-US" sz="1000" b="1" i="0" u="none" strike="noStrike" cap="none" normalizeH="0" baseline="0">
                          <a:ln>
                            <a:noFill/>
                          </a:ln>
                          <a:solidFill>
                            <a:schemeClr val="accent2"/>
                          </a:solidFill>
                          <a:effectLst/>
                          <a:latin typeface="Rawline" panose="00000500000000000000" pitchFamily="2" charset="0"/>
                          <a:ea typeface="ＭＳ Ｐゴシック" pitchFamily="34" charset="-128"/>
                          <a:cs typeface="Segoe UI" panose="020B0502040204020203" pitchFamily="34" charset="0"/>
                        </a:rPr>
                        <a:t>Research Design</a:t>
                      </a:r>
                    </a:p>
                  </a:txBody>
                  <a:tcPr marL="68580" marR="68580" marT="34290" marB="34290"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ea typeface=""/>
                          <a:cs typeface=""/>
                        </a:defRPr>
                      </a:lvl1pPr>
                      <a:lvl2pPr marL="457200" algn="l" defTabSz="914400" rtl="0" eaLnBrk="1" latinLnBrk="0" hangingPunct="1">
                        <a:defRPr sz="1800" kern="1200">
                          <a:solidFill>
                            <a:schemeClr val="dk1"/>
                          </a:solidFill>
                          <a:latin typeface="Arial"/>
                          <a:ea typeface=""/>
                          <a:cs typeface=""/>
                        </a:defRPr>
                      </a:lvl2pPr>
                      <a:lvl3pPr marL="914400" algn="l" defTabSz="914400" rtl="0" eaLnBrk="1" latinLnBrk="0" hangingPunct="1">
                        <a:defRPr sz="1800" kern="1200">
                          <a:solidFill>
                            <a:schemeClr val="dk1"/>
                          </a:solidFill>
                          <a:latin typeface="Arial"/>
                          <a:ea typeface=""/>
                          <a:cs typeface=""/>
                        </a:defRPr>
                      </a:lvl3pPr>
                      <a:lvl4pPr marL="1371600" algn="l" defTabSz="914400" rtl="0" eaLnBrk="1" latinLnBrk="0" hangingPunct="1">
                        <a:defRPr sz="1800" kern="1200">
                          <a:solidFill>
                            <a:schemeClr val="dk1"/>
                          </a:solidFill>
                          <a:latin typeface="Arial"/>
                          <a:ea typeface=""/>
                          <a:cs typeface=""/>
                        </a:defRPr>
                      </a:lvl4pPr>
                      <a:lvl5pPr marL="1828800" algn="l" defTabSz="914400" rtl="0" eaLnBrk="1" latinLnBrk="0" hangingPunct="1">
                        <a:defRPr sz="1800" kern="1200">
                          <a:solidFill>
                            <a:schemeClr val="dk1"/>
                          </a:solidFill>
                          <a:latin typeface="Arial"/>
                          <a:ea typeface=""/>
                          <a:cs typeface=""/>
                        </a:defRPr>
                      </a:lvl5pPr>
                      <a:lvl6pPr marL="2286000" algn="l" defTabSz="914400" rtl="0" eaLnBrk="1" latinLnBrk="0" hangingPunct="1">
                        <a:defRPr sz="1800" kern="1200">
                          <a:solidFill>
                            <a:schemeClr val="dk1"/>
                          </a:solidFill>
                          <a:latin typeface="Arial"/>
                          <a:ea typeface=""/>
                          <a:cs typeface=""/>
                        </a:defRPr>
                      </a:lvl6pPr>
                      <a:lvl7pPr marL="2743200" algn="l" defTabSz="914400" rtl="0" eaLnBrk="1" latinLnBrk="0" hangingPunct="1">
                        <a:defRPr sz="1800" kern="1200">
                          <a:solidFill>
                            <a:schemeClr val="dk1"/>
                          </a:solidFill>
                          <a:latin typeface="Arial"/>
                          <a:ea typeface=""/>
                          <a:cs typeface=""/>
                        </a:defRPr>
                      </a:lvl7pPr>
                      <a:lvl8pPr marL="3200400" algn="l" defTabSz="914400" rtl="0" eaLnBrk="1" latinLnBrk="0" hangingPunct="1">
                        <a:defRPr sz="1800" kern="1200">
                          <a:solidFill>
                            <a:schemeClr val="dk1"/>
                          </a:solidFill>
                          <a:latin typeface="Arial"/>
                          <a:ea typeface=""/>
                          <a:cs typeface=""/>
                        </a:defRPr>
                      </a:lvl8pPr>
                      <a:lvl9pPr marL="3657600" algn="l" defTabSz="914400" rtl="0" eaLnBrk="1" latinLnBrk="0" hangingPunct="1">
                        <a:defRPr sz="1800" kern="1200">
                          <a:solidFill>
                            <a:schemeClr val="dk1"/>
                          </a:solidFill>
                          <a:latin typeface="Arial"/>
                          <a:ea typeface=""/>
                          <a:cs typeface=""/>
                        </a:defRPr>
                      </a:lvl9pPr>
                    </a:lstStyle>
                    <a:p>
                      <a:pPr marL="0" marR="0" lvl="1" indent="0" algn="l" defTabSz="914400" rtl="0" eaLnBrk="1" fontAlgn="base" latinLnBrk="0" hangingPunct="1">
                        <a:lnSpc>
                          <a:spcPct val="100000"/>
                        </a:lnSpc>
                        <a:spcBef>
                          <a:spcPts val="1200"/>
                        </a:spcBef>
                        <a:spcAft>
                          <a:spcPct val="0"/>
                        </a:spcAft>
                        <a:buClrTx/>
                        <a:buSzTx/>
                        <a:buFontTx/>
                        <a:buNone/>
                        <a:tabLst/>
                        <a:defRPr/>
                      </a:pPr>
                      <a:r>
                        <a:rPr kumimoji="0" lang="en-US" sz="1100" b="0" i="0" u="none" strike="noStrike" cap="none" normalizeH="0" baseline="0">
                          <a:ln>
                            <a:noFill/>
                          </a:ln>
                          <a:solidFill>
                            <a:schemeClr val="tx1"/>
                          </a:solidFill>
                          <a:effectLst/>
                          <a:latin typeface="Rawline" panose="00000500000000000000" pitchFamily="2" charset="0"/>
                          <a:ea typeface="ＭＳ Ｐゴシック" pitchFamily="34" charset="-128"/>
                          <a:cs typeface="Segoe UI" panose="020B0502040204020203" pitchFamily="34" charset="0"/>
                        </a:rPr>
                        <a:t>Draft questionnaire</a:t>
                      </a:r>
                    </a:p>
                  </a:txBody>
                  <a:tcPr marL="68580" marR="68580" marT="34290" marB="34290"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3">
                  <a:txBody>
                    <a:bodyPr/>
                    <a:lstStyle/>
                    <a:p>
                      <a:pPr algn="ctr"/>
                      <a:endParaRPr lang="en-US" sz="1000" kern="1200">
                        <a:solidFill>
                          <a:schemeClr val="bg1"/>
                        </a:solidFill>
                        <a:latin typeface="Rawline" panose="00000500000000000000" pitchFamily="2" charset="0"/>
                        <a:ea typeface="+mn-ea"/>
                        <a:cs typeface="+mn-cs"/>
                      </a:endParaRPr>
                    </a:p>
                  </a:txBody>
                  <a:tcPr marL="0" marR="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US"/>
                    </a:p>
                  </a:txBody>
                  <a:tcPr/>
                </a:tc>
                <a:tc hMerge="1">
                  <a:txBody>
                    <a:bodyPr/>
                    <a:lstStyle/>
                    <a:p>
                      <a:endParaRPr lang="en-US"/>
                    </a:p>
                  </a:txBody>
                  <a:tcPr>
                    <a:lnL w="12700" cap="flat" cmpd="sng" algn="ctr">
                      <a:solidFill>
                        <a:sysClr val="window" lastClr="FFFFFF"/>
                      </a:solidFill>
                      <a:prstDash val="solid"/>
                      <a:round/>
                      <a:headEnd type="none" w="med" len="med"/>
                      <a:tailEnd type="none" w="med" len="med"/>
                    </a:lnL>
                  </a:tcPr>
                </a:tc>
                <a:tc gridSpan="3">
                  <a:txBody>
                    <a:bodyPr/>
                    <a:lstStyle/>
                    <a:p>
                      <a:pPr algn="ctr"/>
                      <a:endParaRPr lang="en-US" sz="1000" kern="1200">
                        <a:solidFill>
                          <a:schemeClr val="bg1"/>
                        </a:solidFill>
                        <a:latin typeface="Rawline" panose="00000500000000000000" pitchFamily="2" charset="0"/>
                        <a:ea typeface="+mn-ea"/>
                        <a:cs typeface="+mn-cs"/>
                      </a:endParaRPr>
                    </a:p>
                  </a:txBody>
                  <a:tcPr marL="0" marR="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US"/>
                    </a:p>
                  </a:txBody>
                  <a:tcPr/>
                </a:tc>
                <a:tc hMerge="1">
                  <a:txBody>
                    <a:bodyPr/>
                    <a:lstStyle/>
                    <a:p>
                      <a:endParaRPr lang="en-US"/>
                    </a:p>
                  </a:txBody>
                  <a:tcPr/>
                </a:tc>
                <a:tc>
                  <a:txBody>
                    <a:bodyPr/>
                    <a:lstStyle/>
                    <a:p>
                      <a:pPr algn="ctr"/>
                      <a:endParaRPr lang="en-US" sz="1000" kern="1200">
                        <a:solidFill>
                          <a:schemeClr val="bg1"/>
                        </a:solidFill>
                        <a:latin typeface="Rawline" panose="00000500000000000000" pitchFamily="2" charset="0"/>
                        <a:ea typeface="+mn-ea"/>
                        <a:cs typeface="+mn-cs"/>
                      </a:endParaRPr>
                    </a:p>
                  </a:txBody>
                  <a:tcPr marL="0" marR="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kern="1200">
                        <a:solidFill>
                          <a:schemeClr val="bg1"/>
                        </a:solidFill>
                        <a:latin typeface="Rawline" panose="00000500000000000000" pitchFamily="2" charset="0"/>
                        <a:ea typeface="+mn-ea"/>
                        <a:cs typeface="+mn-cs"/>
                      </a:endParaRPr>
                    </a:p>
                  </a:txBody>
                  <a:tcPr marL="0" marR="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a:endParaRPr lang="en-US" sz="1000" kern="1200">
                        <a:solidFill>
                          <a:schemeClr val="bg1"/>
                        </a:solidFill>
                        <a:latin typeface="Rawline" panose="00000500000000000000" pitchFamily="2" charset="0"/>
                        <a:ea typeface="+mn-ea"/>
                        <a:cs typeface="+mn-cs"/>
                      </a:endParaRPr>
                    </a:p>
                  </a:txBody>
                  <a:tcPr marL="0" marR="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a:endParaRPr lang="en-US" sz="1000" kern="1200">
                        <a:solidFill>
                          <a:schemeClr val="bg1"/>
                        </a:solidFill>
                        <a:latin typeface="Rawline" panose="00000500000000000000" pitchFamily="2" charset="0"/>
                        <a:ea typeface="+mn-ea"/>
                        <a:cs typeface="+mn-cs"/>
                      </a:endParaRPr>
                    </a:p>
                  </a:txBody>
                  <a:tcPr marL="0" marR="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endParaRPr lang="en-US" sz="1000" kern="1200">
                        <a:solidFill>
                          <a:schemeClr val="bg1"/>
                        </a:solidFill>
                        <a:latin typeface="Rawline" panose="00000500000000000000" pitchFamily="2" charset="0"/>
                        <a:ea typeface="+mn-ea"/>
                        <a:cs typeface="+mn-cs"/>
                      </a:endParaRPr>
                    </a:p>
                  </a:txBody>
                  <a:tcPr marL="0" marR="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a:endParaRPr lang="en-US" sz="1000" kern="1200">
                        <a:solidFill>
                          <a:schemeClr val="bg1"/>
                        </a:solidFill>
                        <a:latin typeface="Rawline" panose="00000500000000000000" pitchFamily="2" charset="0"/>
                        <a:ea typeface="+mn-ea"/>
                        <a:cs typeface="+mn-cs"/>
                      </a:endParaRPr>
                    </a:p>
                  </a:txBody>
                  <a:tcPr marL="0" marR="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kern="1200">
                        <a:solidFill>
                          <a:schemeClr val="bg1"/>
                        </a:solidFill>
                        <a:latin typeface="Rawline" panose="00000500000000000000" pitchFamily="2" charset="0"/>
                        <a:ea typeface="+mn-ea"/>
                        <a:cs typeface="+mn-cs"/>
                      </a:endParaRPr>
                    </a:p>
                  </a:txBody>
                  <a:tcPr marL="0" marR="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a:endParaRPr lang="en-US" sz="1000" kern="1200">
                        <a:solidFill>
                          <a:schemeClr val="bg1"/>
                        </a:solidFill>
                        <a:latin typeface="Rawline" panose="00000500000000000000" pitchFamily="2" charset="0"/>
                        <a:ea typeface="+mn-ea"/>
                        <a:cs typeface="+mn-cs"/>
                      </a:endParaRPr>
                    </a:p>
                  </a:txBody>
                  <a:tcPr marL="0" marR="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kern="1200">
                        <a:solidFill>
                          <a:schemeClr val="bg1"/>
                        </a:solidFill>
                        <a:latin typeface="Rawline" panose="00000500000000000000" pitchFamily="2" charset="0"/>
                        <a:ea typeface="+mn-ea"/>
                        <a:cs typeface="+mn-cs"/>
                      </a:endParaRPr>
                    </a:p>
                  </a:txBody>
                  <a:tcPr marL="0" marR="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kern="1200">
                        <a:solidFill>
                          <a:schemeClr val="bg1"/>
                        </a:solidFill>
                        <a:latin typeface="Rawline" panose="00000500000000000000" pitchFamily="2" charset="0"/>
                        <a:ea typeface="+mn-ea"/>
                        <a:cs typeface="+mn-cs"/>
                      </a:endParaRPr>
                    </a:p>
                  </a:txBody>
                  <a:tcPr marL="0" marR="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kern="1200">
                        <a:solidFill>
                          <a:schemeClr val="bg1"/>
                        </a:solidFill>
                        <a:latin typeface="Rawline" panose="00000500000000000000" pitchFamily="2" charset="0"/>
                        <a:ea typeface="+mn-ea"/>
                        <a:cs typeface="+mn-cs"/>
                      </a:endParaRPr>
                    </a:p>
                  </a:txBody>
                  <a:tcPr marL="0" marR="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kern="1200">
                        <a:solidFill>
                          <a:schemeClr val="bg1"/>
                        </a:solidFill>
                        <a:latin typeface="Rawline" panose="00000500000000000000" pitchFamily="2" charset="0"/>
                        <a:ea typeface="+mn-ea"/>
                        <a:cs typeface="+mn-cs"/>
                      </a:endParaRPr>
                    </a:p>
                  </a:txBody>
                  <a:tcPr marL="0" marR="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kern="1200">
                        <a:solidFill>
                          <a:schemeClr val="bg1"/>
                        </a:solidFill>
                        <a:latin typeface="Rawline" panose="00000500000000000000" pitchFamily="2" charset="0"/>
                        <a:ea typeface="+mn-ea"/>
                        <a:cs typeface="+mn-cs"/>
                      </a:endParaRPr>
                    </a:p>
                  </a:txBody>
                  <a:tcPr marL="0" marR="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kern="1200">
                        <a:solidFill>
                          <a:schemeClr val="bg1"/>
                        </a:solidFill>
                        <a:latin typeface="Rawline" panose="00000500000000000000" pitchFamily="2" charset="0"/>
                        <a:ea typeface="+mn-ea"/>
                        <a:cs typeface="+mn-cs"/>
                      </a:endParaRPr>
                    </a:p>
                  </a:txBody>
                  <a:tcPr marL="0" marR="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kern="1200">
                        <a:solidFill>
                          <a:schemeClr val="bg1"/>
                        </a:solidFill>
                        <a:latin typeface="Rawline" panose="00000500000000000000" pitchFamily="2" charset="0"/>
                        <a:ea typeface="+mn-ea"/>
                        <a:cs typeface="+mn-cs"/>
                      </a:endParaRPr>
                    </a:p>
                  </a:txBody>
                  <a:tcPr marL="0" marR="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4"/>
                  </a:ext>
                </a:extLst>
              </a:tr>
              <a:tr h="338753">
                <a:tc vMerge="1">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1" indent="0" algn="l" defTabSz="914400" rtl="0" eaLnBrk="1" fontAlgn="base" latinLnBrk="0" hangingPunct="1">
                        <a:lnSpc>
                          <a:spcPct val="100000"/>
                        </a:lnSpc>
                        <a:spcBef>
                          <a:spcPts val="1200"/>
                        </a:spcBef>
                        <a:spcAft>
                          <a:spcPct val="0"/>
                        </a:spcAft>
                        <a:buClrTx/>
                        <a:buSzTx/>
                        <a:buFontTx/>
                        <a:buNone/>
                        <a:tabLst/>
                        <a:defRPr/>
                      </a:pPr>
                      <a:endParaRPr kumimoji="0" lang="en-US" sz="1200" b="0" i="0" u="none" strike="noStrike" cap="none" normalizeH="0" baseline="0">
                        <a:ln>
                          <a:noFill/>
                        </a:ln>
                        <a:solidFill>
                          <a:schemeClr val="tx1"/>
                        </a:solidFill>
                        <a:effectLst/>
                        <a:latin typeface="Rawline" panose="00000500000000000000" pitchFamily="2" charset="0"/>
                        <a:ea typeface="ＭＳ Ｐゴシック" pitchFamily="34" charset="-128"/>
                        <a:cs typeface="Segoe UI" panose="020B0502040204020203" pitchFamily="34" charset="0"/>
                      </a:endParaRPr>
                    </a:p>
                  </a:txBody>
                  <a:tcPr marL="68580" marR="68580" marT="34290" marB="34290"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1" indent="0" algn="l" defTabSz="914400" rtl="0" eaLnBrk="1" fontAlgn="base" latinLnBrk="0" hangingPunct="1">
                        <a:lnSpc>
                          <a:spcPct val="100000"/>
                        </a:lnSpc>
                        <a:spcBef>
                          <a:spcPts val="1200"/>
                        </a:spcBef>
                        <a:spcAft>
                          <a:spcPct val="0"/>
                        </a:spcAft>
                        <a:buClrTx/>
                        <a:buSzTx/>
                        <a:buFontTx/>
                        <a:buNone/>
                        <a:tabLst/>
                        <a:defRPr/>
                      </a:pPr>
                      <a:r>
                        <a:rPr kumimoji="0" lang="en-US" sz="1100" b="0" i="0" u="none" strike="noStrike" cap="none" normalizeH="0" baseline="0">
                          <a:ln>
                            <a:noFill/>
                          </a:ln>
                          <a:solidFill>
                            <a:schemeClr val="tx1"/>
                          </a:solidFill>
                          <a:effectLst/>
                          <a:latin typeface="Rawline" panose="00000500000000000000" pitchFamily="2" charset="0"/>
                          <a:ea typeface="ＭＳ Ｐゴシック" pitchFamily="34" charset="-128"/>
                          <a:cs typeface="Segoe UI" panose="020B0502040204020203" pitchFamily="34" charset="0"/>
                        </a:rPr>
                        <a:t>Danone feedback on questionnaire </a:t>
                      </a:r>
                      <a:r>
                        <a:rPr kumimoji="0" lang="en-US" sz="1100" b="1" i="0" u="none" strike="noStrike" cap="none" normalizeH="0" baseline="0">
                          <a:ln>
                            <a:noFill/>
                          </a:ln>
                          <a:solidFill>
                            <a:schemeClr val="tx2"/>
                          </a:solidFill>
                          <a:effectLst/>
                          <a:latin typeface="Rawline" panose="00000500000000000000" pitchFamily="2" charset="0"/>
                          <a:ea typeface="ＭＳ Ｐゴシック" pitchFamily="34" charset="-128"/>
                          <a:cs typeface="Segoe UI" panose="020B0502040204020203" pitchFamily="34" charset="0"/>
                        </a:rPr>
                        <a:t>^</a:t>
                      </a:r>
                      <a:endParaRPr kumimoji="0" lang="en-US" sz="1100" b="0" i="0" u="none" strike="noStrike" cap="none" normalizeH="0" baseline="0">
                        <a:ln>
                          <a:noFill/>
                        </a:ln>
                        <a:solidFill>
                          <a:schemeClr val="tx1"/>
                        </a:solidFill>
                        <a:effectLst/>
                        <a:latin typeface="Rawline" panose="00000500000000000000" pitchFamily="2" charset="0"/>
                        <a:ea typeface="ＭＳ Ｐゴシック" pitchFamily="34" charset="-128"/>
                        <a:cs typeface="Segoe UI" panose="020B0502040204020203" pitchFamily="34" charset="0"/>
                      </a:endParaRPr>
                    </a:p>
                  </a:txBody>
                  <a:tcPr marL="68580" marR="68580" marT="34290" marB="34290"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3">
                  <a:txBody>
                    <a:bodyPr/>
                    <a:lstStyle/>
                    <a:p>
                      <a:pPr algn="ctr"/>
                      <a:endParaRPr lang="en-US" sz="1000" kern="1200">
                        <a:solidFill>
                          <a:schemeClr val="bg1"/>
                        </a:solidFill>
                        <a:latin typeface="Rawline" panose="00000500000000000000" pitchFamily="2" charset="0"/>
                        <a:ea typeface="+mn-ea"/>
                        <a:cs typeface="+mn-cs"/>
                      </a:endParaRPr>
                    </a:p>
                  </a:txBody>
                  <a:tcPr marL="0" marR="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US"/>
                    </a:p>
                  </a:txBody>
                  <a:tcPr/>
                </a:tc>
                <a:tc hMerge="1">
                  <a:txBody>
                    <a:bodyPr/>
                    <a:lstStyle/>
                    <a:p>
                      <a:endParaRPr lang="en-US"/>
                    </a:p>
                  </a:txBody>
                  <a:tcPr>
                    <a:lnL w="12700" cap="flat" cmpd="sng" algn="ctr">
                      <a:solidFill>
                        <a:sysClr val="window" lastClr="FFFFFF"/>
                      </a:solidFill>
                      <a:prstDash val="solid"/>
                      <a:round/>
                      <a:headEnd type="none" w="med" len="med"/>
                      <a:tailEnd type="none" w="med" len="med"/>
                    </a:lnL>
                  </a:tcPr>
                </a:tc>
                <a:tc gridSpan="3">
                  <a:txBody>
                    <a:bodyPr/>
                    <a:lstStyle/>
                    <a:p>
                      <a:pPr algn="ctr"/>
                      <a:endParaRPr lang="en-US" sz="1000" kern="1200">
                        <a:solidFill>
                          <a:schemeClr val="bg1"/>
                        </a:solidFill>
                        <a:latin typeface="Rawline" panose="00000500000000000000" pitchFamily="2" charset="0"/>
                        <a:ea typeface="+mn-ea"/>
                        <a:cs typeface="+mn-cs"/>
                      </a:endParaRPr>
                    </a:p>
                  </a:txBody>
                  <a:tcPr marL="0" marR="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US"/>
                    </a:p>
                  </a:txBody>
                  <a:tcPr/>
                </a:tc>
                <a:tc hMerge="1">
                  <a:txBody>
                    <a:bodyPr/>
                    <a:lstStyle/>
                    <a:p>
                      <a:endParaRPr lang="en-US"/>
                    </a:p>
                  </a:txBody>
                  <a:tcPr/>
                </a:tc>
                <a:tc>
                  <a:txBody>
                    <a:bodyPr/>
                    <a:lstStyle/>
                    <a:p>
                      <a:pPr algn="ctr"/>
                      <a:endParaRPr lang="en-US" sz="1000" kern="1200">
                        <a:solidFill>
                          <a:schemeClr val="bg1"/>
                        </a:solidFill>
                        <a:latin typeface="Rawline" panose="00000500000000000000" pitchFamily="2" charset="0"/>
                        <a:ea typeface="+mn-ea"/>
                        <a:cs typeface="+mn-cs"/>
                      </a:endParaRPr>
                    </a:p>
                  </a:txBody>
                  <a:tcPr marL="0" marR="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kern="1200">
                        <a:solidFill>
                          <a:schemeClr val="bg1"/>
                        </a:solidFill>
                        <a:latin typeface="Rawline" panose="00000500000000000000" pitchFamily="2" charset="0"/>
                        <a:ea typeface="+mn-ea"/>
                        <a:cs typeface="+mn-cs"/>
                      </a:endParaRPr>
                    </a:p>
                  </a:txBody>
                  <a:tcPr marL="0" marR="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a:endParaRPr lang="en-US" sz="1000" kern="1200">
                        <a:solidFill>
                          <a:schemeClr val="bg1"/>
                        </a:solidFill>
                        <a:latin typeface="Rawline" panose="00000500000000000000" pitchFamily="2" charset="0"/>
                        <a:ea typeface="+mn-ea"/>
                        <a:cs typeface="+mn-cs"/>
                      </a:endParaRPr>
                    </a:p>
                  </a:txBody>
                  <a:tcPr marL="0" marR="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a:endParaRPr lang="en-US" sz="1000" kern="1200">
                        <a:solidFill>
                          <a:schemeClr val="bg1"/>
                        </a:solidFill>
                        <a:latin typeface="Rawline" panose="00000500000000000000" pitchFamily="2" charset="0"/>
                        <a:ea typeface="+mn-ea"/>
                        <a:cs typeface="+mn-cs"/>
                      </a:endParaRPr>
                    </a:p>
                  </a:txBody>
                  <a:tcPr marL="0" marR="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endParaRPr lang="en-US" sz="1000" kern="1200">
                        <a:solidFill>
                          <a:schemeClr val="bg1"/>
                        </a:solidFill>
                        <a:latin typeface="Rawline" panose="00000500000000000000" pitchFamily="2" charset="0"/>
                        <a:ea typeface="+mn-ea"/>
                        <a:cs typeface="+mn-cs"/>
                      </a:endParaRPr>
                    </a:p>
                  </a:txBody>
                  <a:tcPr marL="0" marR="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a:endParaRPr lang="en-US" sz="1000" kern="1200">
                        <a:solidFill>
                          <a:schemeClr val="bg1"/>
                        </a:solidFill>
                        <a:latin typeface="Rawline" panose="00000500000000000000" pitchFamily="2" charset="0"/>
                        <a:ea typeface="+mn-ea"/>
                        <a:cs typeface="+mn-cs"/>
                      </a:endParaRPr>
                    </a:p>
                  </a:txBody>
                  <a:tcPr marL="0" marR="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kern="1200">
                        <a:solidFill>
                          <a:schemeClr val="bg1"/>
                        </a:solidFill>
                        <a:latin typeface="Rawline" panose="00000500000000000000" pitchFamily="2" charset="0"/>
                        <a:ea typeface="+mn-ea"/>
                        <a:cs typeface="+mn-cs"/>
                      </a:endParaRPr>
                    </a:p>
                  </a:txBody>
                  <a:tcPr marL="0" marR="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a:endParaRPr lang="en-US" sz="1000" kern="1200">
                        <a:solidFill>
                          <a:schemeClr val="bg1"/>
                        </a:solidFill>
                        <a:latin typeface="Rawline" panose="00000500000000000000" pitchFamily="2" charset="0"/>
                        <a:ea typeface="+mn-ea"/>
                        <a:cs typeface="+mn-cs"/>
                      </a:endParaRPr>
                    </a:p>
                  </a:txBody>
                  <a:tcPr marL="0" marR="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kern="1200">
                        <a:solidFill>
                          <a:schemeClr val="bg1"/>
                        </a:solidFill>
                        <a:latin typeface="Rawline" panose="00000500000000000000" pitchFamily="2" charset="0"/>
                        <a:ea typeface="+mn-ea"/>
                        <a:cs typeface="+mn-cs"/>
                      </a:endParaRPr>
                    </a:p>
                  </a:txBody>
                  <a:tcPr marL="0" marR="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kern="1200">
                        <a:solidFill>
                          <a:schemeClr val="bg1"/>
                        </a:solidFill>
                        <a:latin typeface="Rawline" panose="00000500000000000000" pitchFamily="2" charset="0"/>
                        <a:ea typeface="+mn-ea"/>
                        <a:cs typeface="+mn-cs"/>
                      </a:endParaRPr>
                    </a:p>
                  </a:txBody>
                  <a:tcPr marL="0" marR="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kern="1200">
                        <a:solidFill>
                          <a:schemeClr val="bg1"/>
                        </a:solidFill>
                        <a:latin typeface="Rawline" panose="00000500000000000000" pitchFamily="2" charset="0"/>
                        <a:ea typeface="+mn-ea"/>
                        <a:cs typeface="+mn-cs"/>
                      </a:endParaRPr>
                    </a:p>
                  </a:txBody>
                  <a:tcPr marL="0" marR="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kern="1200">
                        <a:solidFill>
                          <a:schemeClr val="bg1"/>
                        </a:solidFill>
                        <a:latin typeface="Rawline" panose="00000500000000000000" pitchFamily="2" charset="0"/>
                        <a:ea typeface="+mn-ea"/>
                        <a:cs typeface="+mn-cs"/>
                      </a:endParaRPr>
                    </a:p>
                  </a:txBody>
                  <a:tcPr marL="0" marR="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kern="1200">
                        <a:solidFill>
                          <a:schemeClr val="bg1"/>
                        </a:solidFill>
                        <a:latin typeface="Rawline" panose="00000500000000000000" pitchFamily="2" charset="0"/>
                        <a:ea typeface="+mn-ea"/>
                        <a:cs typeface="+mn-cs"/>
                      </a:endParaRPr>
                    </a:p>
                  </a:txBody>
                  <a:tcPr marL="0" marR="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kern="1200">
                        <a:solidFill>
                          <a:schemeClr val="bg1"/>
                        </a:solidFill>
                        <a:latin typeface="Rawline" panose="00000500000000000000" pitchFamily="2" charset="0"/>
                        <a:ea typeface="+mn-ea"/>
                        <a:cs typeface="+mn-cs"/>
                      </a:endParaRPr>
                    </a:p>
                  </a:txBody>
                  <a:tcPr marL="0" marR="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kern="1200">
                        <a:solidFill>
                          <a:schemeClr val="bg1"/>
                        </a:solidFill>
                        <a:latin typeface="Rawline" panose="00000500000000000000" pitchFamily="2" charset="0"/>
                        <a:ea typeface="+mn-ea"/>
                        <a:cs typeface="+mn-cs"/>
                      </a:endParaRPr>
                    </a:p>
                  </a:txBody>
                  <a:tcPr marL="0" marR="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846458680"/>
                  </a:ext>
                </a:extLst>
              </a:tr>
              <a:tr h="338753">
                <a:tc vMerge="1">
                  <a:txBody>
                    <a:bodyPr/>
                    <a:lstStyle/>
                    <a:p>
                      <a:pPr marL="0" marR="0" lvl="1" indent="0" algn="l" defTabSz="914400" rtl="0" eaLnBrk="1" fontAlgn="base" latinLnBrk="0" hangingPunct="1">
                        <a:lnSpc>
                          <a:spcPct val="100000"/>
                        </a:lnSpc>
                        <a:spcBef>
                          <a:spcPts val="1200"/>
                        </a:spcBef>
                        <a:spcAft>
                          <a:spcPct val="0"/>
                        </a:spcAft>
                        <a:buClrTx/>
                        <a:buSzTx/>
                        <a:buFontTx/>
                        <a:buNone/>
                        <a:tabLst/>
                        <a:defRPr/>
                      </a:pPr>
                      <a:endParaRPr kumimoji="0" lang="en-US" sz="1000" b="1" i="0" u="none" strike="noStrike" cap="none" normalizeH="0" baseline="0">
                        <a:ln>
                          <a:noFill/>
                        </a:ln>
                        <a:solidFill>
                          <a:schemeClr val="accent2"/>
                        </a:solidFill>
                        <a:effectLst/>
                        <a:latin typeface="Rawline" panose="00000500000000000000" pitchFamily="2" charset="0"/>
                        <a:ea typeface="ＭＳ Ｐゴシック" pitchFamily="34" charset="-128"/>
                        <a:cs typeface="Segoe UI" panose="020B0502040204020203" pitchFamily="34" charset="0"/>
                      </a:endParaRPr>
                    </a:p>
                  </a:txBody>
                  <a:tcPr marL="68580" marR="68580" marT="34290" marB="34290"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1" indent="0" algn="l" defTabSz="914400" rtl="0" eaLnBrk="1" fontAlgn="base" latinLnBrk="0" hangingPunct="1">
                        <a:lnSpc>
                          <a:spcPct val="100000"/>
                        </a:lnSpc>
                        <a:spcBef>
                          <a:spcPts val="1200"/>
                        </a:spcBef>
                        <a:spcAft>
                          <a:spcPct val="0"/>
                        </a:spcAft>
                        <a:buClrTx/>
                        <a:buSzTx/>
                        <a:buFontTx/>
                        <a:buNone/>
                        <a:tabLst/>
                        <a:defRPr/>
                      </a:pPr>
                      <a:r>
                        <a:rPr kumimoji="0" lang="en-US" sz="1100" b="0" i="0" u="none" strike="noStrike" cap="none" normalizeH="0" baseline="0">
                          <a:ln>
                            <a:noFill/>
                          </a:ln>
                          <a:solidFill>
                            <a:schemeClr val="tx1"/>
                          </a:solidFill>
                          <a:effectLst/>
                          <a:latin typeface="Rawline" panose="00000500000000000000" pitchFamily="2" charset="0"/>
                          <a:ea typeface="ＭＳ Ｐゴシック" pitchFamily="34" charset="-128"/>
                          <a:cs typeface="Segoe UI" panose="020B0502040204020203" pitchFamily="34" charset="0"/>
                        </a:rPr>
                        <a:t>Programming &amp; testing </a:t>
                      </a:r>
                      <a:r>
                        <a:rPr kumimoji="0" lang="en-US" sz="1100" b="1" i="0" u="none" strike="noStrike" cap="none" normalizeH="0" baseline="0">
                          <a:ln>
                            <a:noFill/>
                          </a:ln>
                          <a:solidFill>
                            <a:schemeClr val="tx2"/>
                          </a:solidFill>
                          <a:effectLst/>
                          <a:latin typeface="Rawline" panose="00000500000000000000" pitchFamily="2" charset="0"/>
                          <a:ea typeface="ＭＳ Ｐゴシック" pitchFamily="34" charset="-128"/>
                          <a:cs typeface="Segoe UI" panose="020B0502040204020203" pitchFamily="34" charset="0"/>
                        </a:rPr>
                        <a:t>^</a:t>
                      </a:r>
                      <a:endParaRPr kumimoji="0" lang="en-US" sz="1100" b="0" i="0" u="none" strike="noStrike" cap="none" normalizeH="0" baseline="0">
                        <a:ln>
                          <a:noFill/>
                        </a:ln>
                        <a:solidFill>
                          <a:schemeClr val="tx1"/>
                        </a:solidFill>
                        <a:effectLst/>
                        <a:latin typeface="Rawline" panose="00000500000000000000" pitchFamily="2" charset="0"/>
                        <a:ea typeface="ＭＳ Ｐゴシック" pitchFamily="34" charset="-128"/>
                        <a:cs typeface="Segoe UI" panose="020B0502040204020203" pitchFamily="34" charset="0"/>
                      </a:endParaRPr>
                    </a:p>
                  </a:txBody>
                  <a:tcPr marL="68580" marR="68580" marT="34290" marB="34290"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3">
                  <a:txBody>
                    <a:bodyPr/>
                    <a:lstStyle/>
                    <a:p>
                      <a:pPr algn="ctr"/>
                      <a:endParaRPr lang="en-US" sz="1000" kern="1200">
                        <a:solidFill>
                          <a:schemeClr val="bg1"/>
                        </a:solidFill>
                        <a:latin typeface="Rawline" panose="00000500000000000000" pitchFamily="2" charset="0"/>
                        <a:ea typeface="+mn-ea"/>
                        <a:cs typeface="+mn-cs"/>
                      </a:endParaRPr>
                    </a:p>
                  </a:txBody>
                  <a:tcPr marL="0" marR="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US"/>
                    </a:p>
                  </a:txBody>
                  <a:tcPr/>
                </a:tc>
                <a:tc hMerge="1">
                  <a:txBody>
                    <a:bodyPr/>
                    <a:lstStyle/>
                    <a:p>
                      <a:endParaRPr lang="en-US"/>
                    </a:p>
                  </a:txBody>
                  <a:tcPr>
                    <a:lnL w="12700" cap="flat" cmpd="sng" algn="ctr">
                      <a:solidFill>
                        <a:sysClr val="window" lastClr="FFFFFF"/>
                      </a:solidFill>
                      <a:prstDash val="solid"/>
                      <a:round/>
                      <a:headEnd type="none" w="med" len="med"/>
                      <a:tailEnd type="none" w="med" len="med"/>
                    </a:lnL>
                  </a:tcPr>
                </a:tc>
                <a:tc gridSpan="3">
                  <a:txBody>
                    <a:bodyPr/>
                    <a:lstStyle/>
                    <a:p>
                      <a:pPr algn="ctr"/>
                      <a:endParaRPr lang="en-US" sz="1000" kern="1200">
                        <a:solidFill>
                          <a:schemeClr val="bg1"/>
                        </a:solidFill>
                        <a:latin typeface="Rawline" panose="00000500000000000000" pitchFamily="2" charset="0"/>
                        <a:ea typeface="+mn-ea"/>
                        <a:cs typeface="+mn-cs"/>
                      </a:endParaRPr>
                    </a:p>
                  </a:txBody>
                  <a:tcPr marL="0" marR="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US"/>
                    </a:p>
                  </a:txBody>
                  <a:tcPr/>
                </a:tc>
                <a:tc hMerge="1">
                  <a:txBody>
                    <a:bodyPr/>
                    <a:lstStyle/>
                    <a:p>
                      <a:endParaRPr lang="en-US"/>
                    </a:p>
                  </a:txBody>
                  <a:tcPr/>
                </a:tc>
                <a:tc>
                  <a:txBody>
                    <a:bodyPr/>
                    <a:lstStyle/>
                    <a:p>
                      <a:pPr algn="ctr"/>
                      <a:endParaRPr lang="en-US" sz="1000" kern="1200">
                        <a:solidFill>
                          <a:schemeClr val="bg1"/>
                        </a:solidFill>
                        <a:latin typeface="Rawline" panose="00000500000000000000" pitchFamily="2" charset="0"/>
                        <a:ea typeface="+mn-ea"/>
                        <a:cs typeface="+mn-cs"/>
                      </a:endParaRPr>
                    </a:p>
                  </a:txBody>
                  <a:tcPr marL="0" marR="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kern="1200">
                        <a:solidFill>
                          <a:schemeClr val="bg1"/>
                        </a:solidFill>
                        <a:latin typeface="Rawline" panose="00000500000000000000" pitchFamily="2" charset="0"/>
                        <a:ea typeface="+mn-ea"/>
                        <a:cs typeface="+mn-cs"/>
                      </a:endParaRPr>
                    </a:p>
                  </a:txBody>
                  <a:tcPr marL="0" marR="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kern="1200">
                        <a:solidFill>
                          <a:schemeClr val="bg1"/>
                        </a:solidFill>
                        <a:latin typeface="Rawline" panose="00000500000000000000" pitchFamily="2" charset="0"/>
                        <a:ea typeface="+mn-ea"/>
                        <a:cs typeface="+mn-cs"/>
                      </a:endParaRPr>
                    </a:p>
                  </a:txBody>
                  <a:tcPr marL="0" marR="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kern="1200">
                        <a:solidFill>
                          <a:schemeClr val="bg1"/>
                        </a:solidFill>
                        <a:latin typeface="Rawline" panose="00000500000000000000" pitchFamily="2" charset="0"/>
                        <a:ea typeface="+mn-ea"/>
                        <a:cs typeface="+mn-cs"/>
                      </a:endParaRPr>
                    </a:p>
                  </a:txBody>
                  <a:tcPr marL="0" marR="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91B7BF"/>
                    </a:solidFill>
                  </a:tcPr>
                </a:tc>
                <a:tc>
                  <a:txBody>
                    <a:bodyPr/>
                    <a:lstStyle/>
                    <a:p>
                      <a:pPr algn="ctr"/>
                      <a:endParaRPr lang="en-US" sz="1000" kern="1200">
                        <a:solidFill>
                          <a:schemeClr val="bg1"/>
                        </a:solidFill>
                        <a:latin typeface="Rawline" panose="00000500000000000000" pitchFamily="2" charset="0"/>
                        <a:ea typeface="+mn-ea"/>
                        <a:cs typeface="+mn-cs"/>
                      </a:endParaRPr>
                    </a:p>
                  </a:txBody>
                  <a:tcPr marL="0" marR="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91B7BF"/>
                    </a:solidFill>
                  </a:tcPr>
                </a:tc>
                <a:tc>
                  <a:txBody>
                    <a:bodyPr/>
                    <a:lstStyle/>
                    <a:p>
                      <a:pPr algn="ctr"/>
                      <a:endParaRPr lang="en-US" sz="1000" kern="1200">
                        <a:solidFill>
                          <a:schemeClr val="bg1"/>
                        </a:solidFill>
                        <a:latin typeface="Rawline" panose="00000500000000000000" pitchFamily="2" charset="0"/>
                        <a:ea typeface="+mn-ea"/>
                        <a:cs typeface="+mn-cs"/>
                      </a:endParaRPr>
                    </a:p>
                  </a:txBody>
                  <a:tcPr marL="0" marR="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kern="1200">
                        <a:solidFill>
                          <a:schemeClr val="bg1"/>
                        </a:solidFill>
                        <a:latin typeface="Rawline" panose="00000500000000000000" pitchFamily="2" charset="0"/>
                        <a:ea typeface="+mn-ea"/>
                        <a:cs typeface="+mn-cs"/>
                      </a:endParaRPr>
                    </a:p>
                  </a:txBody>
                  <a:tcPr marL="0" marR="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kern="1200">
                        <a:solidFill>
                          <a:schemeClr val="bg1"/>
                        </a:solidFill>
                        <a:latin typeface="Rawline" panose="00000500000000000000" pitchFamily="2" charset="0"/>
                        <a:ea typeface="+mn-ea"/>
                        <a:cs typeface="+mn-cs"/>
                      </a:endParaRPr>
                    </a:p>
                  </a:txBody>
                  <a:tcPr marL="0" marR="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kern="1200">
                        <a:solidFill>
                          <a:schemeClr val="bg1"/>
                        </a:solidFill>
                        <a:latin typeface="Rawline" panose="00000500000000000000" pitchFamily="2" charset="0"/>
                        <a:ea typeface="+mn-ea"/>
                        <a:cs typeface="+mn-cs"/>
                      </a:endParaRPr>
                    </a:p>
                  </a:txBody>
                  <a:tcPr marL="0" marR="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kern="1200">
                        <a:solidFill>
                          <a:schemeClr val="bg1"/>
                        </a:solidFill>
                        <a:latin typeface="Rawline" panose="00000500000000000000" pitchFamily="2" charset="0"/>
                        <a:ea typeface="+mn-ea"/>
                        <a:cs typeface="+mn-cs"/>
                      </a:endParaRPr>
                    </a:p>
                  </a:txBody>
                  <a:tcPr marL="0" marR="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kern="1200">
                        <a:solidFill>
                          <a:schemeClr val="bg1"/>
                        </a:solidFill>
                        <a:latin typeface="Rawline" panose="00000500000000000000" pitchFamily="2" charset="0"/>
                        <a:ea typeface="+mn-ea"/>
                        <a:cs typeface="+mn-cs"/>
                      </a:endParaRPr>
                    </a:p>
                  </a:txBody>
                  <a:tcPr marL="0" marR="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kern="1200">
                        <a:solidFill>
                          <a:schemeClr val="bg1"/>
                        </a:solidFill>
                        <a:latin typeface="Rawline" panose="00000500000000000000" pitchFamily="2" charset="0"/>
                        <a:ea typeface="+mn-ea"/>
                        <a:cs typeface="+mn-cs"/>
                      </a:endParaRPr>
                    </a:p>
                  </a:txBody>
                  <a:tcPr marL="0" marR="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kern="1200">
                        <a:solidFill>
                          <a:schemeClr val="bg1"/>
                        </a:solidFill>
                        <a:latin typeface="Rawline" panose="00000500000000000000" pitchFamily="2" charset="0"/>
                        <a:ea typeface="+mn-ea"/>
                        <a:cs typeface="+mn-cs"/>
                      </a:endParaRPr>
                    </a:p>
                  </a:txBody>
                  <a:tcPr marL="0" marR="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kern="1200">
                        <a:solidFill>
                          <a:schemeClr val="bg1"/>
                        </a:solidFill>
                        <a:latin typeface="Rawline" panose="00000500000000000000" pitchFamily="2" charset="0"/>
                        <a:ea typeface="+mn-ea"/>
                        <a:cs typeface="+mn-cs"/>
                      </a:endParaRPr>
                    </a:p>
                  </a:txBody>
                  <a:tcPr marL="0" marR="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kern="1200">
                        <a:solidFill>
                          <a:schemeClr val="bg1"/>
                        </a:solidFill>
                        <a:latin typeface="Rawline" panose="00000500000000000000" pitchFamily="2" charset="0"/>
                        <a:ea typeface="+mn-ea"/>
                        <a:cs typeface="+mn-cs"/>
                      </a:endParaRPr>
                    </a:p>
                  </a:txBody>
                  <a:tcPr marL="0" marR="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04531524"/>
                  </a:ext>
                </a:extLst>
              </a:tr>
              <a:tr h="338753">
                <a:tc vMerge="1">
                  <a:txBody>
                    <a:bodyPr/>
                    <a:lstStyle/>
                    <a:p>
                      <a:pPr marL="0" marR="0" lvl="1" indent="0" algn="l" defTabSz="914400" rtl="0" eaLnBrk="1" fontAlgn="base" latinLnBrk="0" hangingPunct="1">
                        <a:lnSpc>
                          <a:spcPct val="100000"/>
                        </a:lnSpc>
                        <a:spcBef>
                          <a:spcPts val="1200"/>
                        </a:spcBef>
                        <a:spcAft>
                          <a:spcPct val="0"/>
                        </a:spcAft>
                        <a:buClrTx/>
                        <a:buSzTx/>
                        <a:buFontTx/>
                        <a:buNone/>
                        <a:tabLst/>
                        <a:defRPr/>
                      </a:pPr>
                      <a:endParaRPr kumimoji="0" lang="en-US" sz="1000" b="1" i="0" u="none" strike="noStrike" cap="none" normalizeH="0" baseline="0">
                        <a:ln>
                          <a:noFill/>
                        </a:ln>
                        <a:solidFill>
                          <a:schemeClr val="accent2"/>
                        </a:solidFill>
                        <a:effectLst/>
                        <a:latin typeface="Rawline" panose="00000500000000000000" pitchFamily="2" charset="0"/>
                        <a:ea typeface="ＭＳ Ｐゴシック" pitchFamily="34" charset="-128"/>
                        <a:cs typeface="Segoe UI" panose="020B0502040204020203" pitchFamily="34" charset="0"/>
                      </a:endParaRPr>
                    </a:p>
                  </a:txBody>
                  <a:tcPr marL="68580" marR="68580" marT="34290" marB="34290"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914400" rtl="0" eaLnBrk="1" fontAlgn="base" latinLnBrk="0" hangingPunct="1">
                        <a:lnSpc>
                          <a:spcPct val="100000"/>
                        </a:lnSpc>
                        <a:spcBef>
                          <a:spcPts val="1200"/>
                        </a:spcBef>
                        <a:spcAft>
                          <a:spcPct val="0"/>
                        </a:spcAft>
                        <a:buClrTx/>
                        <a:buSzTx/>
                        <a:buFontTx/>
                        <a:buNone/>
                        <a:tabLst/>
                        <a:defRPr/>
                      </a:pPr>
                      <a:r>
                        <a:rPr kumimoji="0" lang="en-US" sz="1100" b="0" i="0" u="none" strike="noStrike" cap="none" normalizeH="0" baseline="0">
                          <a:ln>
                            <a:noFill/>
                          </a:ln>
                          <a:solidFill>
                            <a:schemeClr val="tx1"/>
                          </a:solidFill>
                          <a:effectLst/>
                          <a:latin typeface="Rawline" panose="00000500000000000000" pitchFamily="2" charset="0"/>
                          <a:ea typeface="ＭＳ Ｐゴシック" pitchFamily="34" charset="-128"/>
                          <a:cs typeface="Segoe UI" panose="020B0502040204020203" pitchFamily="34" charset="0"/>
                        </a:rPr>
                        <a:t>Translation of the questionnaire</a:t>
                      </a:r>
                    </a:p>
                  </a:txBody>
                  <a:tcPr marL="68580" marR="68580" marT="34290" marB="34290"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3">
                  <a:txBody>
                    <a:bodyPr/>
                    <a:lstStyle/>
                    <a:p>
                      <a:pPr algn="ctr"/>
                      <a:endParaRPr lang="en-US" sz="1000" kern="1200">
                        <a:solidFill>
                          <a:schemeClr val="bg1"/>
                        </a:solidFill>
                        <a:latin typeface="Rawline" panose="00000500000000000000" pitchFamily="2" charset="0"/>
                        <a:ea typeface="+mn-ea"/>
                        <a:cs typeface="+mn-cs"/>
                      </a:endParaRPr>
                    </a:p>
                  </a:txBody>
                  <a:tcPr marL="0" marR="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US"/>
                    </a:p>
                  </a:txBody>
                  <a:tcPr/>
                </a:tc>
                <a:tc hMerge="1">
                  <a:txBody>
                    <a:bodyPr/>
                    <a:lstStyle/>
                    <a:p>
                      <a:endParaRPr lang="en-US"/>
                    </a:p>
                  </a:txBody>
                  <a:tcPr>
                    <a:lnL w="12700" cap="flat" cmpd="sng" algn="ctr">
                      <a:solidFill>
                        <a:sysClr val="window" lastClr="FFFFFF"/>
                      </a:solidFill>
                      <a:prstDash val="solid"/>
                      <a:round/>
                      <a:headEnd type="none" w="med" len="med"/>
                      <a:tailEnd type="none" w="med" len="med"/>
                    </a:lnL>
                  </a:tcPr>
                </a:tc>
                <a:tc gridSpan="3">
                  <a:txBody>
                    <a:bodyPr/>
                    <a:lstStyle/>
                    <a:p>
                      <a:pPr algn="ctr"/>
                      <a:endParaRPr lang="en-US" sz="1000" kern="1200">
                        <a:solidFill>
                          <a:schemeClr val="bg1"/>
                        </a:solidFill>
                        <a:latin typeface="Rawline" panose="00000500000000000000" pitchFamily="2" charset="0"/>
                        <a:ea typeface="+mn-ea"/>
                        <a:cs typeface="+mn-cs"/>
                      </a:endParaRPr>
                    </a:p>
                  </a:txBody>
                  <a:tcPr marL="0" marR="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US"/>
                    </a:p>
                  </a:txBody>
                  <a:tcPr/>
                </a:tc>
                <a:tc hMerge="1">
                  <a:txBody>
                    <a:bodyPr/>
                    <a:lstStyle/>
                    <a:p>
                      <a:endParaRPr lang="en-US"/>
                    </a:p>
                  </a:txBody>
                  <a:tcPr/>
                </a:tc>
                <a:tc>
                  <a:txBody>
                    <a:bodyPr/>
                    <a:lstStyle/>
                    <a:p>
                      <a:pPr algn="ctr"/>
                      <a:endParaRPr lang="en-US" sz="1000" kern="1200">
                        <a:solidFill>
                          <a:schemeClr val="bg1"/>
                        </a:solidFill>
                        <a:latin typeface="Rawline" panose="00000500000000000000" pitchFamily="2" charset="0"/>
                        <a:ea typeface="+mn-ea"/>
                        <a:cs typeface="+mn-cs"/>
                      </a:endParaRPr>
                    </a:p>
                  </a:txBody>
                  <a:tcPr marL="0" marR="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kern="1200">
                        <a:solidFill>
                          <a:schemeClr val="bg1"/>
                        </a:solidFill>
                        <a:latin typeface="Rawline" panose="00000500000000000000" pitchFamily="2" charset="0"/>
                        <a:ea typeface="+mn-ea"/>
                        <a:cs typeface="+mn-cs"/>
                      </a:endParaRPr>
                    </a:p>
                  </a:txBody>
                  <a:tcPr marL="0" marR="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kern="1200">
                        <a:solidFill>
                          <a:schemeClr val="bg1"/>
                        </a:solidFill>
                        <a:latin typeface="Rawline" panose="00000500000000000000" pitchFamily="2" charset="0"/>
                        <a:ea typeface="+mn-ea"/>
                        <a:cs typeface="+mn-cs"/>
                      </a:endParaRPr>
                    </a:p>
                  </a:txBody>
                  <a:tcPr marL="0" marR="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kern="1200">
                        <a:solidFill>
                          <a:schemeClr val="bg1"/>
                        </a:solidFill>
                        <a:latin typeface="Rawline" panose="00000500000000000000" pitchFamily="2" charset="0"/>
                        <a:ea typeface="+mn-ea"/>
                        <a:cs typeface="+mn-cs"/>
                      </a:endParaRPr>
                    </a:p>
                  </a:txBody>
                  <a:tcPr marL="0" marR="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kern="1200">
                        <a:solidFill>
                          <a:schemeClr val="bg1"/>
                        </a:solidFill>
                        <a:latin typeface="Rawline" panose="00000500000000000000" pitchFamily="2" charset="0"/>
                        <a:ea typeface="+mn-ea"/>
                        <a:cs typeface="+mn-cs"/>
                      </a:endParaRPr>
                    </a:p>
                  </a:txBody>
                  <a:tcPr marL="0" marR="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a:endParaRPr lang="en-US" sz="1000" kern="1200">
                        <a:solidFill>
                          <a:schemeClr val="bg1"/>
                        </a:solidFill>
                        <a:latin typeface="Rawline" panose="00000500000000000000" pitchFamily="2" charset="0"/>
                        <a:ea typeface="+mn-ea"/>
                        <a:cs typeface="+mn-cs"/>
                      </a:endParaRPr>
                    </a:p>
                  </a:txBody>
                  <a:tcPr marL="0" marR="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rgbClr val="91B7BF"/>
                    </a:solidFill>
                  </a:tcPr>
                </a:tc>
                <a:tc>
                  <a:txBody>
                    <a:bodyPr/>
                    <a:lstStyle/>
                    <a:p>
                      <a:pPr algn="ctr"/>
                      <a:endParaRPr lang="en-US" sz="1000" kern="1200">
                        <a:solidFill>
                          <a:schemeClr val="bg1"/>
                        </a:solidFill>
                        <a:latin typeface="Rawline" panose="00000500000000000000" pitchFamily="2" charset="0"/>
                        <a:ea typeface="+mn-ea"/>
                        <a:cs typeface="+mn-cs"/>
                      </a:endParaRPr>
                    </a:p>
                  </a:txBody>
                  <a:tcPr marL="0" marR="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kern="1200">
                        <a:solidFill>
                          <a:schemeClr val="bg1"/>
                        </a:solidFill>
                        <a:latin typeface="Rawline" panose="00000500000000000000" pitchFamily="2" charset="0"/>
                        <a:ea typeface="+mn-ea"/>
                        <a:cs typeface="+mn-cs"/>
                      </a:endParaRPr>
                    </a:p>
                  </a:txBody>
                  <a:tcPr marL="0" marR="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kern="1200">
                        <a:solidFill>
                          <a:schemeClr val="bg1"/>
                        </a:solidFill>
                        <a:latin typeface="Rawline" panose="00000500000000000000" pitchFamily="2" charset="0"/>
                        <a:ea typeface="+mn-ea"/>
                        <a:cs typeface="+mn-cs"/>
                      </a:endParaRPr>
                    </a:p>
                  </a:txBody>
                  <a:tcPr marL="0" marR="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kern="1200">
                        <a:solidFill>
                          <a:schemeClr val="bg1"/>
                        </a:solidFill>
                        <a:latin typeface="Rawline" panose="00000500000000000000" pitchFamily="2" charset="0"/>
                        <a:ea typeface="+mn-ea"/>
                        <a:cs typeface="+mn-cs"/>
                      </a:endParaRPr>
                    </a:p>
                  </a:txBody>
                  <a:tcPr marL="0" marR="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kern="1200">
                        <a:solidFill>
                          <a:schemeClr val="bg1"/>
                        </a:solidFill>
                        <a:latin typeface="Rawline" panose="00000500000000000000" pitchFamily="2" charset="0"/>
                        <a:ea typeface="+mn-ea"/>
                        <a:cs typeface="+mn-cs"/>
                      </a:endParaRPr>
                    </a:p>
                  </a:txBody>
                  <a:tcPr marL="0" marR="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kern="1200">
                        <a:solidFill>
                          <a:schemeClr val="bg1"/>
                        </a:solidFill>
                        <a:latin typeface="Rawline" panose="00000500000000000000" pitchFamily="2" charset="0"/>
                        <a:ea typeface="+mn-ea"/>
                        <a:cs typeface="+mn-cs"/>
                      </a:endParaRPr>
                    </a:p>
                  </a:txBody>
                  <a:tcPr marL="0" marR="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kern="1200">
                        <a:solidFill>
                          <a:schemeClr val="bg1"/>
                        </a:solidFill>
                        <a:latin typeface="Rawline" panose="00000500000000000000" pitchFamily="2" charset="0"/>
                        <a:ea typeface="+mn-ea"/>
                        <a:cs typeface="+mn-cs"/>
                      </a:endParaRPr>
                    </a:p>
                  </a:txBody>
                  <a:tcPr marL="0" marR="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kern="1200">
                        <a:solidFill>
                          <a:schemeClr val="bg1"/>
                        </a:solidFill>
                        <a:latin typeface="Rawline" panose="00000500000000000000" pitchFamily="2" charset="0"/>
                        <a:ea typeface="+mn-ea"/>
                        <a:cs typeface="+mn-cs"/>
                      </a:endParaRPr>
                    </a:p>
                  </a:txBody>
                  <a:tcPr marL="0" marR="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kern="1200">
                        <a:solidFill>
                          <a:schemeClr val="bg1"/>
                        </a:solidFill>
                        <a:latin typeface="Rawline" panose="00000500000000000000" pitchFamily="2" charset="0"/>
                        <a:ea typeface="+mn-ea"/>
                        <a:cs typeface="+mn-cs"/>
                      </a:endParaRPr>
                    </a:p>
                  </a:txBody>
                  <a:tcPr marL="0" marR="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35792246"/>
                  </a:ext>
                </a:extLst>
              </a:tr>
              <a:tr h="284938">
                <a:tc rowSpan="2">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1" indent="0" algn="l" defTabSz="914400" rtl="0" eaLnBrk="1" fontAlgn="base" latinLnBrk="0" hangingPunct="1">
                        <a:lnSpc>
                          <a:spcPct val="100000"/>
                        </a:lnSpc>
                        <a:spcBef>
                          <a:spcPts val="1200"/>
                        </a:spcBef>
                        <a:spcAft>
                          <a:spcPct val="0"/>
                        </a:spcAft>
                        <a:buClrTx/>
                        <a:buSzTx/>
                        <a:buFontTx/>
                        <a:buNone/>
                        <a:tabLst/>
                        <a:defRPr/>
                      </a:pPr>
                      <a:r>
                        <a:rPr lang="en-US" sz="1000" b="1">
                          <a:solidFill>
                            <a:schemeClr val="accent3"/>
                          </a:solidFill>
                        </a:rPr>
                        <a:t>Data Collection</a:t>
                      </a:r>
                    </a:p>
                  </a:txBody>
                  <a:tcPr marL="68580" marR="68580" marT="34290" marB="34290"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1" indent="0" algn="l" defTabSz="914400" rtl="0" eaLnBrk="1" fontAlgn="base" latinLnBrk="0" hangingPunct="1">
                        <a:lnSpc>
                          <a:spcPct val="100000"/>
                        </a:lnSpc>
                        <a:spcBef>
                          <a:spcPts val="1200"/>
                        </a:spcBef>
                        <a:spcAft>
                          <a:spcPct val="0"/>
                        </a:spcAft>
                        <a:buClrTx/>
                        <a:buSzTx/>
                        <a:buFontTx/>
                        <a:buNone/>
                        <a:tabLst/>
                        <a:defRPr/>
                      </a:pPr>
                      <a:r>
                        <a:rPr kumimoji="0" lang="en-US" sz="1100" b="0" i="0" u="none" strike="noStrike" cap="none" normalizeH="0" baseline="0">
                          <a:ln>
                            <a:noFill/>
                          </a:ln>
                          <a:solidFill>
                            <a:schemeClr val="tx1"/>
                          </a:solidFill>
                          <a:effectLst/>
                          <a:latin typeface="Rawline" panose="00000500000000000000" pitchFamily="2" charset="0"/>
                          <a:ea typeface="ＭＳ Ｐゴシック" pitchFamily="34" charset="-128"/>
                          <a:cs typeface="Segoe UI" panose="020B0502040204020203" pitchFamily="34" charset="0"/>
                        </a:rPr>
                        <a:t>Fieldwork</a:t>
                      </a:r>
                    </a:p>
                  </a:txBody>
                  <a:tcPr marL="68580" marR="68580" marT="34290" marB="34290"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3">
                  <a:txBody>
                    <a:bodyPr/>
                    <a:lstStyle/>
                    <a:p>
                      <a:pPr algn="ctr"/>
                      <a:endParaRPr lang="en-US" sz="1000">
                        <a:solidFill>
                          <a:schemeClr val="bg1"/>
                        </a:solidFill>
                        <a:latin typeface="Rawline" panose="00000500000000000000" pitchFamily="2" charset="0"/>
                      </a:endParaRPr>
                    </a:p>
                  </a:txBody>
                  <a:tcPr marL="0" marR="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US"/>
                    </a:p>
                  </a:txBody>
                  <a:tcPr/>
                </a:tc>
                <a:tc hMerge="1">
                  <a:txBody>
                    <a:bodyPr/>
                    <a:lstStyle/>
                    <a:p>
                      <a:endParaRPr lang="en-US"/>
                    </a:p>
                  </a:txBody>
                  <a:tcPr>
                    <a:lnL w="12700" cap="flat" cmpd="sng" algn="ctr">
                      <a:solidFill>
                        <a:sysClr val="window" lastClr="FFFFFF"/>
                      </a:solidFill>
                      <a:prstDash val="solid"/>
                      <a:round/>
                      <a:headEnd type="none" w="med" len="med"/>
                      <a:tailEnd type="none" w="med" len="med"/>
                    </a:lnL>
                  </a:tcPr>
                </a:tc>
                <a:tc gridSpan="3">
                  <a:txBody>
                    <a:bodyPr/>
                    <a:lstStyle/>
                    <a:p>
                      <a:pPr algn="ctr"/>
                      <a:endParaRPr lang="en-US" sz="1000">
                        <a:solidFill>
                          <a:schemeClr val="bg1"/>
                        </a:solidFill>
                        <a:latin typeface="Rawline" panose="00000500000000000000" pitchFamily="2" charset="0"/>
                      </a:endParaRPr>
                    </a:p>
                  </a:txBody>
                  <a:tcPr marL="0" marR="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US"/>
                    </a:p>
                  </a:txBody>
                  <a:tcPr/>
                </a:tc>
                <a:tc hMerge="1">
                  <a:txBody>
                    <a:bodyPr/>
                    <a:lstStyle/>
                    <a:p>
                      <a:endParaRPr lang="en-US"/>
                    </a:p>
                  </a:txBody>
                  <a:tcPr/>
                </a:tc>
                <a:tc>
                  <a:txBody>
                    <a:bodyPr/>
                    <a:lstStyle/>
                    <a:p>
                      <a:pPr algn="ctr"/>
                      <a:endParaRPr lang="en-US" sz="1000">
                        <a:solidFill>
                          <a:schemeClr val="bg1"/>
                        </a:solidFill>
                        <a:latin typeface="Rawline" panose="00000500000000000000" pitchFamily="2" charset="0"/>
                      </a:endParaRPr>
                    </a:p>
                  </a:txBody>
                  <a:tcPr marL="0" marR="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a:solidFill>
                          <a:schemeClr val="bg1"/>
                        </a:solidFill>
                        <a:latin typeface="Rawline" panose="00000500000000000000" pitchFamily="2" charset="0"/>
                      </a:endParaRPr>
                    </a:p>
                  </a:txBody>
                  <a:tcPr marL="0" marR="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a:endParaRPr lang="en-US" sz="1000">
                        <a:solidFill>
                          <a:schemeClr val="bg1"/>
                        </a:solidFill>
                        <a:latin typeface="Rawline" panose="00000500000000000000" pitchFamily="2" charset="0"/>
                      </a:endParaRPr>
                    </a:p>
                  </a:txBody>
                  <a:tcPr marL="0" marR="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lang="en-US" sz="1000">
                        <a:solidFill>
                          <a:schemeClr val="bg1"/>
                        </a:solidFill>
                        <a:latin typeface="Rawline" panose="00000500000000000000" pitchFamily="2" charset="0"/>
                      </a:endParaRPr>
                    </a:p>
                  </a:txBody>
                  <a:tcPr marL="0" marR="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lang="en-US" sz="1000">
                        <a:solidFill>
                          <a:schemeClr val="bg1"/>
                        </a:solidFill>
                        <a:latin typeface="Rawline" panose="00000500000000000000" pitchFamily="2" charset="0"/>
                      </a:endParaRPr>
                    </a:p>
                  </a:txBody>
                  <a:tcPr marL="0" marR="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lang="en-US" sz="1000">
                        <a:solidFill>
                          <a:schemeClr val="bg1"/>
                        </a:solidFill>
                        <a:latin typeface="Rawline" panose="00000500000000000000" pitchFamily="2" charset="0"/>
                      </a:endParaRPr>
                    </a:p>
                  </a:txBody>
                  <a:tcPr marL="0" marR="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lang="en-US" sz="1000">
                        <a:solidFill>
                          <a:schemeClr val="bg1"/>
                        </a:solidFill>
                        <a:latin typeface="Rawline" panose="00000500000000000000" pitchFamily="2" charset="0"/>
                      </a:endParaRPr>
                    </a:p>
                  </a:txBody>
                  <a:tcPr marL="0" marR="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a:endParaRPr lang="en-US" sz="1000">
                        <a:solidFill>
                          <a:schemeClr val="bg1"/>
                        </a:solidFill>
                        <a:latin typeface="Rawline" panose="00000500000000000000" pitchFamily="2" charset="0"/>
                      </a:endParaRPr>
                    </a:p>
                  </a:txBody>
                  <a:tcPr marL="0" marR="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endParaRPr lang="en-US" sz="1000">
                        <a:solidFill>
                          <a:schemeClr val="bg1"/>
                        </a:solidFill>
                        <a:latin typeface="Rawline" panose="00000500000000000000" pitchFamily="2" charset="0"/>
                      </a:endParaRPr>
                    </a:p>
                  </a:txBody>
                  <a:tcPr marL="0" marR="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a:solidFill>
                          <a:schemeClr val="bg1"/>
                        </a:solidFill>
                        <a:latin typeface="Rawline" panose="00000500000000000000" pitchFamily="2" charset="0"/>
                      </a:endParaRPr>
                    </a:p>
                  </a:txBody>
                  <a:tcPr marL="0" marR="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endParaRPr lang="en-US" sz="1000">
                        <a:solidFill>
                          <a:schemeClr val="bg1"/>
                        </a:solidFill>
                        <a:latin typeface="Rawline" panose="00000500000000000000" pitchFamily="2" charset="0"/>
                      </a:endParaRPr>
                    </a:p>
                  </a:txBody>
                  <a:tcPr marL="0" marR="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a:solidFill>
                          <a:schemeClr val="bg1"/>
                        </a:solidFill>
                        <a:latin typeface="Rawline" panose="00000500000000000000" pitchFamily="2" charset="0"/>
                      </a:endParaRPr>
                    </a:p>
                  </a:txBody>
                  <a:tcPr marL="0" marR="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a:solidFill>
                          <a:schemeClr val="bg1"/>
                        </a:solidFill>
                        <a:latin typeface="Rawline" panose="00000500000000000000" pitchFamily="2" charset="0"/>
                      </a:endParaRPr>
                    </a:p>
                  </a:txBody>
                  <a:tcPr marL="0" marR="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a:solidFill>
                          <a:schemeClr val="bg1"/>
                        </a:solidFill>
                        <a:latin typeface="Rawline" panose="00000500000000000000" pitchFamily="2" charset="0"/>
                      </a:endParaRPr>
                    </a:p>
                  </a:txBody>
                  <a:tcPr marL="0" marR="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a:solidFill>
                          <a:schemeClr val="bg1"/>
                        </a:solidFill>
                        <a:latin typeface="Rawline" panose="00000500000000000000" pitchFamily="2" charset="0"/>
                      </a:endParaRPr>
                    </a:p>
                  </a:txBody>
                  <a:tcPr marL="0" marR="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9"/>
                  </a:ext>
                </a:extLst>
              </a:tr>
              <a:tr h="284938">
                <a:tc vMerge="1">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1" indent="0" algn="l" defTabSz="914400" rtl="0" eaLnBrk="1" fontAlgn="base" latinLnBrk="0" hangingPunct="1">
                        <a:lnSpc>
                          <a:spcPct val="100000"/>
                        </a:lnSpc>
                        <a:spcBef>
                          <a:spcPts val="1200"/>
                        </a:spcBef>
                        <a:spcAft>
                          <a:spcPct val="0"/>
                        </a:spcAft>
                        <a:buClrTx/>
                        <a:buSzTx/>
                        <a:buFontTx/>
                        <a:buNone/>
                        <a:tabLst/>
                        <a:defRPr/>
                      </a:pPr>
                      <a:endParaRPr kumimoji="0" lang="en-US" sz="1200" b="0" i="0" u="none" strike="noStrike" cap="none" normalizeH="0" baseline="0">
                        <a:ln>
                          <a:noFill/>
                        </a:ln>
                        <a:solidFill>
                          <a:schemeClr val="tx1"/>
                        </a:solidFill>
                        <a:effectLst/>
                        <a:latin typeface="Rawline" panose="00000500000000000000" pitchFamily="2" charset="0"/>
                        <a:ea typeface="ＭＳ Ｐゴシック" pitchFamily="34" charset="-128"/>
                        <a:cs typeface="Segoe UI" panose="020B0502040204020203" pitchFamily="34" charset="0"/>
                      </a:endParaRPr>
                    </a:p>
                  </a:txBody>
                  <a:tcPr marL="68580" marR="68580" marT="34290" marB="34290"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1" indent="0" algn="l" defTabSz="914400" rtl="0" eaLnBrk="1" fontAlgn="base" latinLnBrk="0" hangingPunct="1">
                        <a:lnSpc>
                          <a:spcPct val="100000"/>
                        </a:lnSpc>
                        <a:spcBef>
                          <a:spcPts val="1200"/>
                        </a:spcBef>
                        <a:spcAft>
                          <a:spcPct val="0"/>
                        </a:spcAft>
                        <a:buClrTx/>
                        <a:buSzTx/>
                        <a:buFontTx/>
                        <a:buNone/>
                        <a:tabLst/>
                        <a:defRPr/>
                      </a:pPr>
                      <a:r>
                        <a:rPr kumimoji="0" lang="en-US" sz="1100" b="0" i="0" u="none" strike="noStrike" cap="none" normalizeH="0" baseline="0">
                          <a:ln>
                            <a:noFill/>
                          </a:ln>
                          <a:solidFill>
                            <a:schemeClr val="tx1"/>
                          </a:solidFill>
                          <a:effectLst/>
                          <a:latin typeface="Rawline" panose="00000500000000000000" pitchFamily="2" charset="0"/>
                          <a:ea typeface="ＭＳ Ｐゴシック" pitchFamily="34" charset="-128"/>
                          <a:cs typeface="Segoe UI" panose="020B0502040204020203" pitchFamily="34" charset="0"/>
                        </a:rPr>
                        <a:t>Data processing and analysis</a:t>
                      </a:r>
                    </a:p>
                  </a:txBody>
                  <a:tcPr marL="68580" marR="68580" marT="34290" marB="34290"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3">
                  <a:txBody>
                    <a:bodyPr/>
                    <a:lstStyle/>
                    <a:p>
                      <a:pPr algn="ctr"/>
                      <a:endParaRPr lang="en-US" sz="1000">
                        <a:solidFill>
                          <a:schemeClr val="bg1"/>
                        </a:solidFill>
                        <a:latin typeface="Rawline" panose="00000500000000000000" pitchFamily="2" charset="0"/>
                      </a:endParaRPr>
                    </a:p>
                  </a:txBody>
                  <a:tcPr marL="0" marR="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US"/>
                    </a:p>
                  </a:txBody>
                  <a:tcPr/>
                </a:tc>
                <a:tc hMerge="1">
                  <a:txBody>
                    <a:bodyPr/>
                    <a:lstStyle/>
                    <a:p>
                      <a:endParaRPr lang="en-US"/>
                    </a:p>
                  </a:txBody>
                  <a:tcPr>
                    <a:lnL w="12700" cap="flat" cmpd="sng" algn="ctr">
                      <a:solidFill>
                        <a:sysClr val="window" lastClr="FFFFFF"/>
                      </a:solidFill>
                      <a:prstDash val="solid"/>
                      <a:round/>
                      <a:headEnd type="none" w="med" len="med"/>
                      <a:tailEnd type="none" w="med" len="med"/>
                    </a:lnL>
                  </a:tcPr>
                </a:tc>
                <a:tc gridSpan="3">
                  <a:txBody>
                    <a:bodyPr/>
                    <a:lstStyle/>
                    <a:p>
                      <a:pPr algn="ctr"/>
                      <a:endParaRPr lang="en-US" sz="1000">
                        <a:solidFill>
                          <a:schemeClr val="bg1"/>
                        </a:solidFill>
                        <a:latin typeface="Rawline" panose="00000500000000000000" pitchFamily="2" charset="0"/>
                      </a:endParaRPr>
                    </a:p>
                  </a:txBody>
                  <a:tcPr marL="0" marR="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US"/>
                    </a:p>
                  </a:txBody>
                  <a:tcPr/>
                </a:tc>
                <a:tc hMerge="1">
                  <a:txBody>
                    <a:bodyPr/>
                    <a:lstStyle/>
                    <a:p>
                      <a:endParaRPr lang="en-US"/>
                    </a:p>
                  </a:txBody>
                  <a:tcPr/>
                </a:tc>
                <a:tc>
                  <a:txBody>
                    <a:bodyPr/>
                    <a:lstStyle/>
                    <a:p>
                      <a:pPr algn="ctr"/>
                      <a:endParaRPr lang="en-US" sz="1000">
                        <a:solidFill>
                          <a:schemeClr val="bg1"/>
                        </a:solidFill>
                        <a:latin typeface="Rawline" panose="00000500000000000000" pitchFamily="2" charset="0"/>
                      </a:endParaRPr>
                    </a:p>
                  </a:txBody>
                  <a:tcPr marL="0" marR="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a:solidFill>
                          <a:schemeClr val="bg1"/>
                        </a:solidFill>
                        <a:latin typeface="Rawline" panose="00000500000000000000" pitchFamily="2" charset="0"/>
                      </a:endParaRPr>
                    </a:p>
                  </a:txBody>
                  <a:tcPr marL="0" marR="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a:endParaRPr lang="en-US" sz="1000">
                        <a:solidFill>
                          <a:schemeClr val="bg1"/>
                        </a:solidFill>
                        <a:latin typeface="Rawline" panose="00000500000000000000" pitchFamily="2" charset="0"/>
                      </a:endParaRPr>
                    </a:p>
                  </a:txBody>
                  <a:tcPr marL="0" marR="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a:solidFill>
                          <a:schemeClr val="bg1"/>
                        </a:solidFill>
                        <a:latin typeface="Rawline" panose="00000500000000000000" pitchFamily="2" charset="0"/>
                      </a:endParaRPr>
                    </a:p>
                  </a:txBody>
                  <a:tcPr marL="0" marR="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a:solidFill>
                          <a:schemeClr val="bg1"/>
                        </a:solidFill>
                        <a:latin typeface="Rawline" panose="00000500000000000000" pitchFamily="2" charset="0"/>
                      </a:endParaRPr>
                    </a:p>
                  </a:txBody>
                  <a:tcPr marL="0" marR="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a:endParaRPr lang="en-US" sz="1000">
                        <a:solidFill>
                          <a:schemeClr val="bg1"/>
                        </a:solidFill>
                        <a:latin typeface="Rawline" panose="00000500000000000000" pitchFamily="2" charset="0"/>
                      </a:endParaRPr>
                    </a:p>
                  </a:txBody>
                  <a:tcPr marL="0" marR="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a:solidFill>
                          <a:schemeClr val="bg1"/>
                        </a:solidFill>
                        <a:latin typeface="Rawline" panose="00000500000000000000" pitchFamily="2" charset="0"/>
                      </a:endParaRPr>
                    </a:p>
                  </a:txBody>
                  <a:tcPr marL="0" marR="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a:endParaRPr lang="en-US" sz="1000">
                        <a:solidFill>
                          <a:schemeClr val="bg1"/>
                        </a:solidFill>
                        <a:latin typeface="Rawline" panose="00000500000000000000" pitchFamily="2" charset="0"/>
                      </a:endParaRPr>
                    </a:p>
                  </a:txBody>
                  <a:tcPr marL="0" marR="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endParaRPr lang="en-US" sz="1000">
                        <a:solidFill>
                          <a:schemeClr val="bg1"/>
                        </a:solidFill>
                        <a:latin typeface="Rawline" panose="00000500000000000000" pitchFamily="2" charset="0"/>
                      </a:endParaRPr>
                    </a:p>
                  </a:txBody>
                  <a:tcPr marL="0" marR="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endParaRPr lang="en-US" sz="1000">
                        <a:solidFill>
                          <a:schemeClr val="bg1"/>
                        </a:solidFill>
                        <a:latin typeface="Rawline" panose="00000500000000000000" pitchFamily="2" charset="0"/>
                      </a:endParaRPr>
                    </a:p>
                  </a:txBody>
                  <a:tcPr marL="0" marR="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endParaRPr lang="en-US" sz="1000">
                        <a:solidFill>
                          <a:schemeClr val="bg1"/>
                        </a:solidFill>
                        <a:latin typeface="Rawline" panose="00000500000000000000" pitchFamily="2" charset="0"/>
                      </a:endParaRPr>
                    </a:p>
                  </a:txBody>
                  <a:tcPr marL="0" marR="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a:solidFill>
                          <a:schemeClr val="bg1"/>
                        </a:solidFill>
                        <a:latin typeface="Rawline" panose="00000500000000000000" pitchFamily="2" charset="0"/>
                      </a:endParaRPr>
                    </a:p>
                  </a:txBody>
                  <a:tcPr marL="0" marR="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endParaRPr lang="en-US" sz="1000">
                        <a:solidFill>
                          <a:schemeClr val="bg1"/>
                        </a:solidFill>
                        <a:latin typeface="Rawline" panose="00000500000000000000" pitchFamily="2" charset="0"/>
                      </a:endParaRPr>
                    </a:p>
                  </a:txBody>
                  <a:tcPr marL="0" marR="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endParaRPr lang="en-US" sz="1000">
                        <a:solidFill>
                          <a:schemeClr val="bg1"/>
                        </a:solidFill>
                        <a:latin typeface="Rawline" panose="00000500000000000000" pitchFamily="2" charset="0"/>
                      </a:endParaRPr>
                    </a:p>
                  </a:txBody>
                  <a:tcPr marL="0" marR="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endParaRPr lang="en-US" sz="1000">
                        <a:solidFill>
                          <a:schemeClr val="bg1"/>
                        </a:solidFill>
                        <a:latin typeface="Rawline" panose="00000500000000000000" pitchFamily="2" charset="0"/>
                      </a:endParaRPr>
                    </a:p>
                  </a:txBody>
                  <a:tcPr marL="0" marR="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0010"/>
                  </a:ext>
                </a:extLst>
              </a:tr>
              <a:tr h="284938">
                <a:tc rowSpan="3">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1" indent="0" algn="l" defTabSz="914400" rtl="0" eaLnBrk="1" fontAlgn="base" latinLnBrk="0" hangingPunct="1">
                        <a:lnSpc>
                          <a:spcPct val="100000"/>
                        </a:lnSpc>
                        <a:spcBef>
                          <a:spcPts val="1200"/>
                        </a:spcBef>
                        <a:spcAft>
                          <a:spcPct val="0"/>
                        </a:spcAft>
                        <a:buClrTx/>
                        <a:buSzTx/>
                        <a:buFontTx/>
                        <a:buNone/>
                        <a:tabLst/>
                        <a:defRPr/>
                      </a:pPr>
                      <a:r>
                        <a:rPr kumimoji="0" lang="en-US" sz="1050" b="1" i="0" u="none" strike="noStrike" cap="none" normalizeH="0" baseline="0">
                          <a:ln>
                            <a:noFill/>
                          </a:ln>
                          <a:solidFill>
                            <a:schemeClr val="accent4"/>
                          </a:solidFill>
                          <a:effectLst/>
                          <a:latin typeface="Rawline" panose="00000500000000000000" pitchFamily="2" charset="0"/>
                          <a:ea typeface="ＭＳ Ｐゴシック" pitchFamily="34" charset="-128"/>
                          <a:cs typeface="Segoe UI" panose="020B0502040204020203" pitchFamily="34" charset="0"/>
                        </a:rPr>
                        <a:t>Deliverables &amp; insights</a:t>
                      </a:r>
                    </a:p>
                  </a:txBody>
                  <a:tcPr marL="68580" marR="68580" marT="34290" marB="34290"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1" indent="0" algn="l" defTabSz="914400" rtl="0" eaLnBrk="1" fontAlgn="base" latinLnBrk="0" hangingPunct="1">
                        <a:lnSpc>
                          <a:spcPct val="100000"/>
                        </a:lnSpc>
                        <a:spcBef>
                          <a:spcPts val="1200"/>
                        </a:spcBef>
                        <a:spcAft>
                          <a:spcPct val="0"/>
                        </a:spcAft>
                        <a:buClrTx/>
                        <a:buSzTx/>
                        <a:buFontTx/>
                        <a:buNone/>
                        <a:tabLst/>
                        <a:defRPr/>
                      </a:pPr>
                      <a:r>
                        <a:rPr kumimoji="0" lang="en-US" sz="1100" b="0" i="0" u="none" strike="noStrike" cap="none" normalizeH="0" baseline="0">
                          <a:ln>
                            <a:noFill/>
                          </a:ln>
                          <a:solidFill>
                            <a:schemeClr val="tx1"/>
                          </a:solidFill>
                          <a:effectLst/>
                          <a:latin typeface="Rawline" panose="00000500000000000000" pitchFamily="2" charset="0"/>
                          <a:ea typeface="ＭＳ Ｐゴシック" pitchFamily="34" charset="-128"/>
                          <a:cs typeface="Segoe UI" panose="020B0502040204020203" pitchFamily="34" charset="0"/>
                        </a:rPr>
                        <a:t>Topline report</a:t>
                      </a:r>
                    </a:p>
                  </a:txBody>
                  <a:tcPr marL="68580" marR="68580" marT="34290" marB="34290"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3">
                  <a:txBody>
                    <a:bodyPr/>
                    <a:lstStyle/>
                    <a:p>
                      <a:pPr algn="ctr"/>
                      <a:endParaRPr lang="en-US" sz="1000">
                        <a:solidFill>
                          <a:schemeClr val="bg1"/>
                        </a:solidFill>
                        <a:latin typeface="Rawline" panose="00000500000000000000" pitchFamily="2" charset="0"/>
                      </a:endParaRPr>
                    </a:p>
                  </a:txBody>
                  <a:tcPr marL="0" marR="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US"/>
                    </a:p>
                  </a:txBody>
                  <a:tcPr/>
                </a:tc>
                <a:tc hMerge="1">
                  <a:txBody>
                    <a:bodyPr/>
                    <a:lstStyle/>
                    <a:p>
                      <a:endParaRPr lang="en-US"/>
                    </a:p>
                  </a:txBody>
                  <a:tcPr>
                    <a:lnL w="12700" cap="flat" cmpd="sng" algn="ctr">
                      <a:solidFill>
                        <a:sysClr val="window" lastClr="FFFFFF"/>
                      </a:solidFill>
                      <a:prstDash val="solid"/>
                      <a:round/>
                      <a:headEnd type="none" w="med" len="med"/>
                      <a:tailEnd type="none" w="med" len="med"/>
                    </a:lnL>
                  </a:tcPr>
                </a:tc>
                <a:tc gridSpan="3">
                  <a:txBody>
                    <a:bodyPr/>
                    <a:lstStyle/>
                    <a:p>
                      <a:pPr algn="ctr"/>
                      <a:endParaRPr lang="en-US" sz="1000">
                        <a:solidFill>
                          <a:schemeClr val="bg1"/>
                        </a:solidFill>
                        <a:latin typeface="Rawline" panose="00000500000000000000" pitchFamily="2" charset="0"/>
                      </a:endParaRPr>
                    </a:p>
                  </a:txBody>
                  <a:tcPr marL="0" marR="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US"/>
                    </a:p>
                  </a:txBody>
                  <a:tcPr/>
                </a:tc>
                <a:tc hMerge="1">
                  <a:txBody>
                    <a:bodyPr/>
                    <a:lstStyle/>
                    <a:p>
                      <a:endParaRPr lang="en-US"/>
                    </a:p>
                  </a:txBody>
                  <a:tcPr/>
                </a:tc>
                <a:tc>
                  <a:txBody>
                    <a:bodyPr/>
                    <a:lstStyle/>
                    <a:p>
                      <a:pPr algn="ctr"/>
                      <a:endParaRPr lang="en-US" sz="1000">
                        <a:solidFill>
                          <a:schemeClr val="bg1"/>
                        </a:solidFill>
                        <a:latin typeface="Rawline" panose="00000500000000000000" pitchFamily="2" charset="0"/>
                      </a:endParaRPr>
                    </a:p>
                  </a:txBody>
                  <a:tcPr marL="0" marR="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a:solidFill>
                          <a:schemeClr val="bg1"/>
                        </a:solidFill>
                        <a:latin typeface="Rawline" panose="00000500000000000000" pitchFamily="2" charset="0"/>
                      </a:endParaRPr>
                    </a:p>
                  </a:txBody>
                  <a:tcPr marL="0" marR="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a:endParaRPr lang="en-US" sz="1000">
                        <a:solidFill>
                          <a:schemeClr val="bg1"/>
                        </a:solidFill>
                        <a:latin typeface="Rawline" panose="00000500000000000000" pitchFamily="2" charset="0"/>
                      </a:endParaRPr>
                    </a:p>
                  </a:txBody>
                  <a:tcPr marL="0" marR="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a:solidFill>
                          <a:schemeClr val="bg1"/>
                        </a:solidFill>
                        <a:latin typeface="Rawline" panose="00000500000000000000" pitchFamily="2" charset="0"/>
                      </a:endParaRPr>
                    </a:p>
                  </a:txBody>
                  <a:tcPr marL="0" marR="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a:solidFill>
                          <a:schemeClr val="bg1"/>
                        </a:solidFill>
                        <a:latin typeface="Rawline" panose="00000500000000000000" pitchFamily="2" charset="0"/>
                      </a:endParaRPr>
                    </a:p>
                  </a:txBody>
                  <a:tcPr marL="0" marR="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a:endParaRPr lang="en-US" sz="1000">
                        <a:solidFill>
                          <a:schemeClr val="bg1"/>
                        </a:solidFill>
                        <a:latin typeface="Rawline" panose="00000500000000000000" pitchFamily="2" charset="0"/>
                      </a:endParaRPr>
                    </a:p>
                  </a:txBody>
                  <a:tcPr marL="0" marR="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a:solidFill>
                          <a:schemeClr val="bg1"/>
                        </a:solidFill>
                        <a:latin typeface="Rawline" panose="00000500000000000000" pitchFamily="2" charset="0"/>
                      </a:endParaRPr>
                    </a:p>
                  </a:txBody>
                  <a:tcPr marL="0" marR="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a:endParaRPr lang="en-US" sz="1000">
                        <a:solidFill>
                          <a:schemeClr val="bg1"/>
                        </a:solidFill>
                        <a:latin typeface="Rawline" panose="00000500000000000000" pitchFamily="2" charset="0"/>
                      </a:endParaRPr>
                    </a:p>
                  </a:txBody>
                  <a:tcPr marL="0" marR="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endParaRPr lang="en-US" sz="1000">
                        <a:solidFill>
                          <a:schemeClr val="bg1"/>
                        </a:solidFill>
                        <a:latin typeface="Rawline" panose="00000500000000000000" pitchFamily="2" charset="0"/>
                      </a:endParaRPr>
                    </a:p>
                  </a:txBody>
                  <a:tcPr marL="0" marR="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algn="ctr"/>
                      <a:endParaRPr lang="en-US" sz="1000">
                        <a:solidFill>
                          <a:schemeClr val="bg1"/>
                        </a:solidFill>
                        <a:latin typeface="Rawline" panose="00000500000000000000" pitchFamily="2" charset="0"/>
                      </a:endParaRPr>
                    </a:p>
                  </a:txBody>
                  <a:tcPr marL="0" marR="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algn="ctr"/>
                      <a:endParaRPr lang="en-US" sz="1000">
                        <a:solidFill>
                          <a:schemeClr val="bg1"/>
                        </a:solidFill>
                        <a:latin typeface="Rawline" panose="00000500000000000000" pitchFamily="2" charset="0"/>
                      </a:endParaRPr>
                    </a:p>
                  </a:txBody>
                  <a:tcPr marL="0" marR="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algn="ctr"/>
                      <a:endParaRPr lang="en-US" sz="1000">
                        <a:solidFill>
                          <a:schemeClr val="bg1"/>
                        </a:solidFill>
                        <a:latin typeface="Rawline" panose="00000500000000000000" pitchFamily="2" charset="0"/>
                      </a:endParaRPr>
                    </a:p>
                  </a:txBody>
                  <a:tcPr marL="0" marR="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a:solidFill>
                          <a:schemeClr val="bg1"/>
                        </a:solidFill>
                        <a:latin typeface="Rawline" panose="00000500000000000000" pitchFamily="2" charset="0"/>
                      </a:endParaRPr>
                    </a:p>
                  </a:txBody>
                  <a:tcPr marL="0" marR="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a:solidFill>
                          <a:schemeClr val="bg1"/>
                        </a:solidFill>
                        <a:latin typeface="Rawline" panose="00000500000000000000" pitchFamily="2" charset="0"/>
                      </a:endParaRPr>
                    </a:p>
                  </a:txBody>
                  <a:tcPr marL="0" marR="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endParaRPr lang="en-US" sz="1000">
                        <a:solidFill>
                          <a:schemeClr val="bg1"/>
                        </a:solidFill>
                        <a:latin typeface="Rawline" panose="00000500000000000000" pitchFamily="2" charset="0"/>
                      </a:endParaRPr>
                    </a:p>
                  </a:txBody>
                  <a:tcPr marL="0" marR="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475374212"/>
                  </a:ext>
                </a:extLst>
              </a:tr>
              <a:tr h="284938">
                <a:tc vMerge="1">
                  <a:txBody>
                    <a:bodyPr/>
                    <a:lstStyle/>
                    <a:p>
                      <a:endParaRPr lang="en-US"/>
                    </a:p>
                  </a:txBody>
                  <a:tcPr/>
                </a:tc>
                <a:tc>
                  <a:txBody>
                    <a:bodyPr/>
                    <a:lstStyle/>
                    <a:p>
                      <a:pPr marL="0" marR="0" lvl="1" indent="0" algn="l" defTabSz="914400" rtl="0" eaLnBrk="1" fontAlgn="base" latinLnBrk="0" hangingPunct="1">
                        <a:lnSpc>
                          <a:spcPct val="100000"/>
                        </a:lnSpc>
                        <a:spcBef>
                          <a:spcPts val="1200"/>
                        </a:spcBef>
                        <a:spcAft>
                          <a:spcPct val="0"/>
                        </a:spcAft>
                        <a:buClrTx/>
                        <a:buSzTx/>
                        <a:buFontTx/>
                        <a:buNone/>
                        <a:tabLst/>
                        <a:defRPr/>
                      </a:pPr>
                      <a:r>
                        <a:rPr kumimoji="0" lang="en-US" sz="1100" b="0" i="0" u="none" strike="noStrike" cap="none" normalizeH="0" baseline="0">
                          <a:ln>
                            <a:noFill/>
                          </a:ln>
                          <a:solidFill>
                            <a:schemeClr val="tx1"/>
                          </a:solidFill>
                          <a:effectLst/>
                          <a:latin typeface="Rawline" panose="00000500000000000000" pitchFamily="2" charset="0"/>
                          <a:ea typeface="ＭＳ Ｐゴシック" pitchFamily="34" charset="-128"/>
                          <a:cs typeface="Segoe UI" panose="020B0502040204020203" pitchFamily="34" charset="0"/>
                        </a:rPr>
                        <a:t>Reporting</a:t>
                      </a:r>
                    </a:p>
                  </a:txBody>
                  <a:tcPr marL="68580" marR="68580" marT="34290" marB="34290"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3">
                  <a:txBody>
                    <a:bodyPr/>
                    <a:lstStyle/>
                    <a:p>
                      <a:pPr algn="ctr"/>
                      <a:endParaRPr lang="en-US" sz="1000">
                        <a:solidFill>
                          <a:schemeClr val="bg1"/>
                        </a:solidFill>
                        <a:latin typeface="Rawline" panose="00000500000000000000" pitchFamily="2" charset="0"/>
                      </a:endParaRPr>
                    </a:p>
                  </a:txBody>
                  <a:tcPr marL="0" marR="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US"/>
                    </a:p>
                  </a:txBody>
                  <a:tcPr/>
                </a:tc>
                <a:tc hMerge="1">
                  <a:txBody>
                    <a:bodyPr/>
                    <a:lstStyle/>
                    <a:p>
                      <a:endParaRPr lang="en-US"/>
                    </a:p>
                  </a:txBody>
                  <a:tcPr>
                    <a:lnL w="12700" cap="flat" cmpd="sng" algn="ctr">
                      <a:solidFill>
                        <a:sysClr val="window" lastClr="FFFFFF"/>
                      </a:solidFill>
                      <a:prstDash val="solid"/>
                      <a:round/>
                      <a:headEnd type="none" w="med" len="med"/>
                      <a:tailEnd type="none" w="med" len="med"/>
                    </a:lnL>
                  </a:tcPr>
                </a:tc>
                <a:tc gridSpan="3">
                  <a:txBody>
                    <a:bodyPr/>
                    <a:lstStyle/>
                    <a:p>
                      <a:pPr algn="ctr"/>
                      <a:endParaRPr lang="en-US" sz="1000">
                        <a:solidFill>
                          <a:schemeClr val="bg1"/>
                        </a:solidFill>
                        <a:latin typeface="Rawline" panose="00000500000000000000" pitchFamily="2" charset="0"/>
                      </a:endParaRPr>
                    </a:p>
                  </a:txBody>
                  <a:tcPr marL="0" marR="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US"/>
                    </a:p>
                  </a:txBody>
                  <a:tcPr/>
                </a:tc>
                <a:tc hMerge="1">
                  <a:txBody>
                    <a:bodyPr/>
                    <a:lstStyle/>
                    <a:p>
                      <a:endParaRPr lang="en-US"/>
                    </a:p>
                  </a:txBody>
                  <a:tcPr/>
                </a:tc>
                <a:tc>
                  <a:txBody>
                    <a:bodyPr/>
                    <a:lstStyle/>
                    <a:p>
                      <a:pPr algn="ctr"/>
                      <a:endParaRPr lang="en-US" sz="1000">
                        <a:solidFill>
                          <a:schemeClr val="bg1"/>
                        </a:solidFill>
                        <a:latin typeface="Rawline" panose="00000500000000000000" pitchFamily="2" charset="0"/>
                      </a:endParaRPr>
                    </a:p>
                  </a:txBody>
                  <a:tcPr marL="0" marR="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a:solidFill>
                          <a:schemeClr val="bg1"/>
                        </a:solidFill>
                        <a:latin typeface="Rawline" panose="00000500000000000000" pitchFamily="2" charset="0"/>
                      </a:endParaRPr>
                    </a:p>
                  </a:txBody>
                  <a:tcPr marL="0" marR="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a:solidFill>
                          <a:schemeClr val="bg1"/>
                        </a:solidFill>
                        <a:latin typeface="Rawline" panose="00000500000000000000" pitchFamily="2" charset="0"/>
                      </a:endParaRPr>
                    </a:p>
                  </a:txBody>
                  <a:tcPr marL="0" marR="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a:solidFill>
                          <a:schemeClr val="bg1"/>
                        </a:solidFill>
                        <a:latin typeface="Rawline" panose="00000500000000000000" pitchFamily="2" charset="0"/>
                      </a:endParaRPr>
                    </a:p>
                  </a:txBody>
                  <a:tcPr marL="0" marR="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a:solidFill>
                          <a:schemeClr val="bg1"/>
                        </a:solidFill>
                        <a:latin typeface="Rawline" panose="00000500000000000000" pitchFamily="2" charset="0"/>
                      </a:endParaRPr>
                    </a:p>
                  </a:txBody>
                  <a:tcPr marL="0" marR="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a:solidFill>
                          <a:schemeClr val="bg1"/>
                        </a:solidFill>
                        <a:latin typeface="Rawline" panose="00000500000000000000" pitchFamily="2" charset="0"/>
                      </a:endParaRPr>
                    </a:p>
                  </a:txBody>
                  <a:tcPr marL="0" marR="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a:solidFill>
                          <a:schemeClr val="bg1"/>
                        </a:solidFill>
                        <a:latin typeface="Rawline" panose="00000500000000000000" pitchFamily="2" charset="0"/>
                      </a:endParaRPr>
                    </a:p>
                  </a:txBody>
                  <a:tcPr marL="0" marR="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a:solidFill>
                          <a:schemeClr val="bg1"/>
                        </a:solidFill>
                        <a:latin typeface="Rawline" panose="00000500000000000000" pitchFamily="2" charset="0"/>
                      </a:endParaRPr>
                    </a:p>
                  </a:txBody>
                  <a:tcPr marL="0" marR="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a:solidFill>
                          <a:schemeClr val="bg1"/>
                        </a:solidFill>
                        <a:latin typeface="Rawline" panose="00000500000000000000" pitchFamily="2" charset="0"/>
                      </a:endParaRPr>
                    </a:p>
                  </a:txBody>
                  <a:tcPr marL="0" marR="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endParaRPr lang="en-US" sz="1000">
                        <a:solidFill>
                          <a:schemeClr val="bg1"/>
                        </a:solidFill>
                        <a:latin typeface="Rawline" panose="00000500000000000000" pitchFamily="2" charset="0"/>
                      </a:endParaRPr>
                    </a:p>
                  </a:txBody>
                  <a:tcPr marL="0" marR="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algn="ctr"/>
                      <a:endParaRPr lang="en-US" sz="1000">
                        <a:solidFill>
                          <a:schemeClr val="bg1"/>
                        </a:solidFill>
                        <a:latin typeface="Rawline" panose="00000500000000000000" pitchFamily="2" charset="0"/>
                      </a:endParaRPr>
                    </a:p>
                  </a:txBody>
                  <a:tcPr marL="0" marR="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algn="ctr"/>
                      <a:endParaRPr lang="en-US" sz="1000">
                        <a:solidFill>
                          <a:schemeClr val="bg1"/>
                        </a:solidFill>
                        <a:latin typeface="Rawline" panose="00000500000000000000" pitchFamily="2" charset="0"/>
                      </a:endParaRPr>
                    </a:p>
                  </a:txBody>
                  <a:tcPr marL="0" marR="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algn="ctr"/>
                      <a:endParaRPr lang="en-US" sz="1000">
                        <a:solidFill>
                          <a:schemeClr val="bg1"/>
                        </a:solidFill>
                        <a:latin typeface="Rawline" panose="00000500000000000000" pitchFamily="2" charset="0"/>
                      </a:endParaRPr>
                    </a:p>
                  </a:txBody>
                  <a:tcPr marL="0" marR="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algn="ctr"/>
                      <a:endParaRPr lang="en-US" sz="1000">
                        <a:solidFill>
                          <a:schemeClr val="bg1"/>
                        </a:solidFill>
                        <a:latin typeface="Rawline" panose="00000500000000000000" pitchFamily="2" charset="0"/>
                      </a:endParaRPr>
                    </a:p>
                  </a:txBody>
                  <a:tcPr marL="0" marR="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algn="ctr"/>
                      <a:endParaRPr lang="en-US" sz="1000">
                        <a:solidFill>
                          <a:schemeClr val="bg1"/>
                        </a:solidFill>
                        <a:latin typeface="Rawline" panose="00000500000000000000" pitchFamily="2" charset="0"/>
                      </a:endParaRPr>
                    </a:p>
                  </a:txBody>
                  <a:tcPr marL="0" marR="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7475067"/>
                  </a:ext>
                </a:extLst>
              </a:tr>
              <a:tr h="383297">
                <a:tc vMerge="1">
                  <a:txBody>
                    <a:bodyPr/>
                    <a:lstStyle/>
                    <a:p>
                      <a:pPr marL="0" marR="0" lvl="1" indent="0" algn="l" defTabSz="914400" rtl="0" eaLnBrk="1" fontAlgn="base" latinLnBrk="0" hangingPunct="1">
                        <a:lnSpc>
                          <a:spcPct val="100000"/>
                        </a:lnSpc>
                        <a:spcBef>
                          <a:spcPts val="1200"/>
                        </a:spcBef>
                        <a:spcAft>
                          <a:spcPct val="0"/>
                        </a:spcAft>
                        <a:buClrTx/>
                        <a:buSzTx/>
                        <a:buFontTx/>
                        <a:buNone/>
                        <a:tabLst/>
                        <a:defRPr/>
                      </a:pPr>
                      <a:endParaRPr kumimoji="0" lang="en-US" sz="1200" b="0" i="0" u="none" strike="noStrike" cap="none" normalizeH="0" baseline="0">
                        <a:ln>
                          <a:noFill/>
                        </a:ln>
                        <a:solidFill>
                          <a:schemeClr val="tx1"/>
                        </a:solidFill>
                        <a:effectLst/>
                        <a:latin typeface="Rawline" panose="00000500000000000000" pitchFamily="2" charset="0"/>
                        <a:ea typeface="ＭＳ Ｐゴシック" pitchFamily="34" charset="-128"/>
                        <a:cs typeface="Segoe UI" panose="020B0502040204020203" pitchFamily="34" charset="0"/>
                      </a:endParaRPr>
                    </a:p>
                  </a:txBody>
                  <a:tcPr marL="68580" marR="68580" marT="34290" marB="3429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914400" rtl="0" eaLnBrk="1" fontAlgn="base" latinLnBrk="0" hangingPunct="1">
                        <a:lnSpc>
                          <a:spcPct val="100000"/>
                        </a:lnSpc>
                        <a:spcBef>
                          <a:spcPts val="1200"/>
                        </a:spcBef>
                        <a:spcAft>
                          <a:spcPct val="0"/>
                        </a:spcAft>
                        <a:buClrTx/>
                        <a:buSzTx/>
                        <a:buFontTx/>
                        <a:buNone/>
                        <a:tabLst/>
                        <a:defRPr/>
                      </a:pPr>
                      <a:r>
                        <a:rPr kumimoji="0" lang="en-US" sz="1100" b="0" i="0" u="none" strike="noStrike" cap="none" normalizeH="0" baseline="0">
                          <a:ln>
                            <a:noFill/>
                          </a:ln>
                          <a:solidFill>
                            <a:schemeClr val="tx1"/>
                          </a:solidFill>
                          <a:effectLst/>
                          <a:latin typeface="Rawline" panose="00000500000000000000" pitchFamily="2" charset="0"/>
                          <a:ea typeface="ＭＳ Ｐゴシック" pitchFamily="34" charset="-128"/>
                          <a:cs typeface="Segoe UI" panose="020B0502040204020203" pitchFamily="34" charset="0"/>
                        </a:rPr>
                        <a:t>Country reports delivery &amp; debriefs (on a rolling basis)</a:t>
                      </a:r>
                    </a:p>
                  </a:txBody>
                  <a:tcPr marL="68580" marR="68580" marT="34290" marB="34290" anchor="ctr" horzOverflow="overflow">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3">
                  <a:txBody>
                    <a:bodyPr/>
                    <a:lstStyle/>
                    <a:p>
                      <a:pPr marL="0" algn="ctr" defTabSz="914400" rtl="0" eaLnBrk="1" latinLnBrk="0" hangingPunct="1"/>
                      <a:endParaRPr lang="en-US" sz="1000" kern="1200">
                        <a:solidFill>
                          <a:schemeClr val="bg1"/>
                        </a:solidFill>
                        <a:latin typeface="Rawline" panose="00000500000000000000" pitchFamily="2" charset="0"/>
                        <a:ea typeface="+mn-ea"/>
                        <a:cs typeface="+mn-cs"/>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US"/>
                    </a:p>
                  </a:txBody>
                  <a:tcPr/>
                </a:tc>
                <a:tc hMerge="1">
                  <a:txBody>
                    <a:bodyPr/>
                    <a:lstStyle/>
                    <a:p>
                      <a:endParaRPr lang="en-US"/>
                    </a:p>
                  </a:txBody>
                  <a:tcPr>
                    <a:lnL w="12700" cap="flat" cmpd="sng" algn="ctr">
                      <a:solidFill>
                        <a:schemeClr val="bg1"/>
                      </a:solidFill>
                      <a:prstDash val="solid"/>
                      <a:round/>
                      <a:headEnd type="none" w="med" len="med"/>
                      <a:tailEnd type="none" w="med" len="med"/>
                    </a:lnL>
                  </a:tcPr>
                </a:tc>
                <a:tc gridSpan="3">
                  <a:txBody>
                    <a:bodyPr/>
                    <a:lstStyle/>
                    <a:p>
                      <a:pPr marL="0" algn="ctr" defTabSz="914400" rtl="0" eaLnBrk="1" latinLnBrk="0" hangingPunct="1"/>
                      <a:endParaRPr lang="en-US" sz="1000" kern="1200">
                        <a:solidFill>
                          <a:schemeClr val="bg1"/>
                        </a:solidFill>
                        <a:latin typeface="Rawline" panose="00000500000000000000" pitchFamily="2" charset="0"/>
                        <a:ea typeface="+mn-ea"/>
                        <a:cs typeface="+mn-cs"/>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US"/>
                    </a:p>
                  </a:txBody>
                  <a:tcPr/>
                </a:tc>
                <a:tc hMerge="1">
                  <a:txBody>
                    <a:bodyPr/>
                    <a:lstStyle/>
                    <a:p>
                      <a:endParaRPr lang="en-US"/>
                    </a:p>
                  </a:txBody>
                  <a:tcPr/>
                </a:tc>
                <a:tc>
                  <a:txBody>
                    <a:bodyPr/>
                    <a:lstStyle/>
                    <a:p>
                      <a:pPr marL="0" algn="ctr" defTabSz="914400" rtl="0" eaLnBrk="1" latinLnBrk="0" hangingPunct="1"/>
                      <a:endParaRPr lang="en-US" sz="1000" kern="1200">
                        <a:solidFill>
                          <a:schemeClr val="bg1"/>
                        </a:solidFill>
                        <a:latin typeface="Rawline" panose="00000500000000000000" pitchFamily="2" charset="0"/>
                        <a:ea typeface="+mn-ea"/>
                        <a:cs typeface="+mn-cs"/>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algn="ctr" defTabSz="914400" rtl="0" eaLnBrk="1" latinLnBrk="0" hangingPunct="1"/>
                      <a:endParaRPr lang="en-US" sz="1000" kern="1200">
                        <a:solidFill>
                          <a:schemeClr val="bg1"/>
                        </a:solidFill>
                        <a:latin typeface="Rawline" panose="00000500000000000000" pitchFamily="2" charset="0"/>
                        <a:ea typeface="+mn-ea"/>
                        <a:cs typeface="+mn-cs"/>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algn="ctr" defTabSz="914400" rtl="0" eaLnBrk="1" latinLnBrk="0" hangingPunct="1"/>
                      <a:endParaRPr lang="en-US" sz="1000" kern="1200">
                        <a:solidFill>
                          <a:schemeClr val="bg1"/>
                        </a:solidFill>
                        <a:latin typeface="Rawline" panose="00000500000000000000" pitchFamily="2" charset="0"/>
                        <a:ea typeface="+mn-ea"/>
                        <a:cs typeface="+mn-cs"/>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algn="ctr" defTabSz="914400" rtl="0" eaLnBrk="1" latinLnBrk="0" hangingPunct="1"/>
                      <a:endParaRPr lang="en-US" sz="1000" kern="1200">
                        <a:solidFill>
                          <a:schemeClr val="bg1"/>
                        </a:solidFill>
                        <a:latin typeface="Rawline" panose="00000500000000000000" pitchFamily="2" charset="0"/>
                        <a:ea typeface="+mn-ea"/>
                        <a:cs typeface="+mn-cs"/>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algn="ctr" defTabSz="914400" rtl="0" eaLnBrk="1" latinLnBrk="0" hangingPunct="1"/>
                      <a:endParaRPr lang="en-US" sz="1000" kern="1200">
                        <a:solidFill>
                          <a:schemeClr val="bg1"/>
                        </a:solidFill>
                        <a:latin typeface="Rawline" panose="00000500000000000000" pitchFamily="2" charset="0"/>
                        <a:ea typeface="+mn-ea"/>
                        <a:cs typeface="+mn-cs"/>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algn="ctr" defTabSz="914400" rtl="0" eaLnBrk="1" latinLnBrk="0" hangingPunct="1"/>
                      <a:endParaRPr lang="en-US" sz="1000" kern="1200">
                        <a:solidFill>
                          <a:schemeClr val="bg1"/>
                        </a:solidFill>
                        <a:latin typeface="Rawline" panose="00000500000000000000" pitchFamily="2" charset="0"/>
                        <a:ea typeface="+mn-ea"/>
                        <a:cs typeface="+mn-cs"/>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algn="ctr" defTabSz="914400" rtl="0" eaLnBrk="1" latinLnBrk="0" hangingPunct="1"/>
                      <a:endParaRPr lang="en-US" sz="1000" kern="1200">
                        <a:solidFill>
                          <a:schemeClr val="bg1"/>
                        </a:solidFill>
                        <a:latin typeface="Rawline" panose="00000500000000000000" pitchFamily="2" charset="0"/>
                        <a:ea typeface="+mn-ea"/>
                        <a:cs typeface="+mn-cs"/>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a:solidFill>
                          <a:schemeClr val="bg1"/>
                        </a:solidFill>
                        <a:latin typeface="Rawline" panose="00000500000000000000" pitchFamily="2" charset="0"/>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a:solidFill>
                          <a:schemeClr val="bg1"/>
                        </a:solidFill>
                        <a:latin typeface="Rawline" panose="00000500000000000000" pitchFamily="2" charset="0"/>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00">
                        <a:solidFill>
                          <a:schemeClr val="bg1"/>
                        </a:solidFill>
                        <a:latin typeface="Rawline" panose="00000500000000000000" pitchFamily="2" charset="0"/>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endParaRPr lang="en-US" sz="1000">
                        <a:solidFill>
                          <a:schemeClr val="bg1"/>
                        </a:solidFill>
                        <a:latin typeface="Rawline" panose="00000500000000000000" pitchFamily="2" charset="0"/>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algn="ctr"/>
                      <a:endParaRPr lang="en-US" sz="1000">
                        <a:solidFill>
                          <a:schemeClr val="bg1"/>
                        </a:solidFill>
                        <a:latin typeface="Rawline" panose="00000500000000000000" pitchFamily="2" charset="0"/>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algn="ctr"/>
                      <a:endParaRPr lang="en-US" sz="1000">
                        <a:solidFill>
                          <a:schemeClr val="bg1"/>
                        </a:solidFill>
                        <a:latin typeface="Rawline" panose="00000500000000000000" pitchFamily="2" charset="0"/>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algn="ctr"/>
                      <a:endParaRPr lang="en-US" sz="1000">
                        <a:solidFill>
                          <a:schemeClr val="bg1"/>
                        </a:solidFill>
                        <a:latin typeface="Rawline" panose="00000500000000000000" pitchFamily="2" charset="0"/>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algn="ctr"/>
                      <a:endParaRPr lang="en-US" sz="1000">
                        <a:solidFill>
                          <a:schemeClr val="bg1"/>
                        </a:solidFill>
                        <a:latin typeface="Rawline" panose="00000500000000000000" pitchFamily="2" charset="0"/>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extLst>
                  <a:ext uri="{0D108BD9-81ED-4DB2-BD59-A6C34878D82A}">
                    <a16:rowId xmlns:a16="http://schemas.microsoft.com/office/drawing/2014/main" val="3878037763"/>
                  </a:ext>
                </a:extLst>
              </a:tr>
            </a:tbl>
          </a:graphicData>
        </a:graphic>
      </p:graphicFrame>
    </p:spTree>
    <p:extLst>
      <p:ext uri="{BB962C8B-B14F-4D97-AF65-F5344CB8AC3E}">
        <p14:creationId xmlns:p14="http://schemas.microsoft.com/office/powerpoint/2010/main" val="4081427257"/>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Placeholder 5" descr="A person sitting on a rock&#10;&#10;Description automatically generated with low confidence">
            <a:extLst>
              <a:ext uri="{FF2B5EF4-FFF2-40B4-BE49-F238E27FC236}">
                <a16:creationId xmlns:a16="http://schemas.microsoft.com/office/drawing/2014/main" id="{13F1C37C-D219-5628-5195-5E674A3160D3}"/>
              </a:ext>
            </a:extLst>
          </p:cNvPr>
          <p:cNvPicPr>
            <a:picLocks noGrp="1" noChangeAspect="1"/>
          </p:cNvPicPr>
          <p:nvPr>
            <p:ph type="pic" sz="quarter" idx="22"/>
          </p:nvPr>
        </p:nvPicPr>
        <p:blipFill rotWithShape="1">
          <a:blip r:embed="rId2" cstate="print">
            <a:extLst>
              <a:ext uri="{28A0092B-C50C-407E-A947-70E740481C1C}">
                <a14:useLocalDpi xmlns:a14="http://schemas.microsoft.com/office/drawing/2010/main" val="0"/>
              </a:ext>
            </a:extLst>
          </a:blip>
          <a:srcRect l="12208" r="13125"/>
          <a:stretch/>
        </p:blipFill>
        <p:spPr>
          <a:xfrm>
            <a:off x="9155573" y="0"/>
            <a:ext cx="3036427" cy="6858000"/>
          </a:xfrm>
        </p:spPr>
      </p:pic>
      <p:graphicFrame>
        <p:nvGraphicFramePr>
          <p:cNvPr id="26" name="Table 8">
            <a:extLst>
              <a:ext uri="{FF2B5EF4-FFF2-40B4-BE49-F238E27FC236}">
                <a16:creationId xmlns:a16="http://schemas.microsoft.com/office/drawing/2014/main" id="{CB893C75-98E2-4287-9BF7-177B5EB90BC2}"/>
              </a:ext>
            </a:extLst>
          </p:cNvPr>
          <p:cNvGraphicFramePr>
            <a:graphicFrameLocks noGrp="1"/>
          </p:cNvGraphicFramePr>
          <p:nvPr>
            <p:extLst>
              <p:ext uri="{D42A27DB-BD31-4B8C-83A1-F6EECF244321}">
                <p14:modId xmlns:p14="http://schemas.microsoft.com/office/powerpoint/2010/main" val="349117036"/>
              </p:ext>
            </p:extLst>
          </p:nvPr>
        </p:nvGraphicFramePr>
        <p:xfrm>
          <a:off x="503999" y="2103467"/>
          <a:ext cx="7459402" cy="2763612"/>
        </p:xfrm>
        <a:graphic>
          <a:graphicData uri="http://schemas.openxmlformats.org/drawingml/2006/table">
            <a:tbl>
              <a:tblPr firstRow="1" bandRow="1"/>
              <a:tblGrid>
                <a:gridCol w="1426222">
                  <a:extLst>
                    <a:ext uri="{9D8B030D-6E8A-4147-A177-3AD203B41FA5}">
                      <a16:colId xmlns:a16="http://schemas.microsoft.com/office/drawing/2014/main" val="700553690"/>
                    </a:ext>
                  </a:extLst>
                </a:gridCol>
                <a:gridCol w="1005840">
                  <a:extLst>
                    <a:ext uri="{9D8B030D-6E8A-4147-A177-3AD203B41FA5}">
                      <a16:colId xmlns:a16="http://schemas.microsoft.com/office/drawing/2014/main" val="3113238666"/>
                    </a:ext>
                  </a:extLst>
                </a:gridCol>
                <a:gridCol w="1005840">
                  <a:extLst>
                    <a:ext uri="{9D8B030D-6E8A-4147-A177-3AD203B41FA5}">
                      <a16:colId xmlns:a16="http://schemas.microsoft.com/office/drawing/2014/main" val="143604916"/>
                    </a:ext>
                  </a:extLst>
                </a:gridCol>
                <a:gridCol w="1005375">
                  <a:extLst>
                    <a:ext uri="{9D8B030D-6E8A-4147-A177-3AD203B41FA5}">
                      <a16:colId xmlns:a16="http://schemas.microsoft.com/office/drawing/2014/main" val="229951730"/>
                    </a:ext>
                  </a:extLst>
                </a:gridCol>
                <a:gridCol w="1005375">
                  <a:extLst>
                    <a:ext uri="{9D8B030D-6E8A-4147-A177-3AD203B41FA5}">
                      <a16:colId xmlns:a16="http://schemas.microsoft.com/office/drawing/2014/main" val="2506641150"/>
                    </a:ext>
                  </a:extLst>
                </a:gridCol>
                <a:gridCol w="1005375">
                  <a:extLst>
                    <a:ext uri="{9D8B030D-6E8A-4147-A177-3AD203B41FA5}">
                      <a16:colId xmlns:a16="http://schemas.microsoft.com/office/drawing/2014/main" val="455150850"/>
                    </a:ext>
                  </a:extLst>
                </a:gridCol>
                <a:gridCol w="1005375">
                  <a:extLst>
                    <a:ext uri="{9D8B030D-6E8A-4147-A177-3AD203B41FA5}">
                      <a16:colId xmlns:a16="http://schemas.microsoft.com/office/drawing/2014/main" val="1523654292"/>
                    </a:ext>
                  </a:extLst>
                </a:gridCol>
              </a:tblGrid>
              <a:tr h="574294">
                <a:tc>
                  <a:txBody>
                    <a:bodyPr/>
                    <a:lstStyle/>
                    <a:p>
                      <a:endParaRPr lang="en-SG" sz="1400">
                        <a:latin typeface="Rawline" panose="00000500000000000000" pitchFamily="2" charset="0"/>
                      </a:endParaRPr>
                    </a:p>
                  </a:txBody>
                  <a:tcPr anchor="ctr">
                    <a:lnL w="12700" cmpd="sng">
                      <a:noFill/>
                      <a:prstDash val="solid"/>
                    </a:lnL>
                    <a:lnR w="12700" cmpd="sng">
                      <a:noFill/>
                      <a:prstDash val="solid"/>
                    </a:lnR>
                    <a:lnT w="12700" cmpd="sng">
                      <a:noFill/>
                      <a:prstDash val="soli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SG" sz="1100" b="1">
                          <a:solidFill>
                            <a:schemeClr val="accent1"/>
                          </a:solidFill>
                          <a:latin typeface="Rawline" panose="00000500000000000000" pitchFamily="2" charset="0"/>
                        </a:rPr>
                        <a:t>Phase 1a</a:t>
                      </a:r>
                    </a:p>
                    <a:p>
                      <a:pPr algn="ctr"/>
                      <a:r>
                        <a:rPr lang="en-SG" sz="1100" b="1">
                          <a:solidFill>
                            <a:schemeClr val="accent1"/>
                          </a:solidFill>
                          <a:latin typeface="Rawline" panose="00000500000000000000" pitchFamily="2" charset="0"/>
                        </a:rPr>
                        <a:t> </a:t>
                      </a:r>
                      <a:r>
                        <a:rPr lang="en-SG" sz="1100" b="1">
                          <a:solidFill>
                            <a:schemeClr val="accent2"/>
                          </a:solidFill>
                          <a:latin typeface="Rawline" panose="00000500000000000000" pitchFamily="2" charset="0"/>
                        </a:rPr>
                        <a:t> </a:t>
                      </a:r>
                    </a:p>
                    <a:p>
                      <a:pPr algn="ctr"/>
                      <a:r>
                        <a:rPr lang="en-SG" sz="1100" b="1" err="1">
                          <a:solidFill>
                            <a:schemeClr val="accent1"/>
                          </a:solidFill>
                          <a:latin typeface="Rawline" panose="00000500000000000000" pitchFamily="2" charset="0"/>
                        </a:rPr>
                        <a:t>QualBites</a:t>
                      </a:r>
                      <a:endParaRPr lang="en-SG" sz="1100" b="1">
                        <a:solidFill>
                          <a:schemeClr val="accent1"/>
                        </a:solidFill>
                        <a:latin typeface="Rawline" panose="00000500000000000000" pitchFamily="2" charset="0"/>
                      </a:endParaRPr>
                    </a:p>
                  </a:txBody>
                  <a:tcPr anchor="ctr">
                    <a:lnL w="12700" cmpd="sng">
                      <a:noFill/>
                      <a:prstDash val="solid"/>
                    </a:lnL>
                    <a:lnR w="9525" cap="flat" cmpd="sng" algn="ctr">
                      <a:solidFill>
                        <a:schemeClr val="accent1"/>
                      </a:solidFill>
                      <a:prstDash val="solid"/>
                      <a:round/>
                      <a:headEnd type="none" w="med" len="med"/>
                      <a:tailEnd type="none" w="med" len="med"/>
                    </a:lnR>
                    <a:lnT w="12700" cmpd="sng">
                      <a:noFill/>
                      <a:prstDash val="soli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SG" sz="1100" b="1">
                          <a:solidFill>
                            <a:schemeClr val="accent1"/>
                          </a:solidFill>
                          <a:latin typeface="Rawline" panose="00000500000000000000" pitchFamily="2" charset="0"/>
                        </a:rPr>
                        <a:t>Phase 1b</a:t>
                      </a:r>
                    </a:p>
                    <a:p>
                      <a:pPr algn="ctr"/>
                      <a:r>
                        <a:rPr lang="en-SG" sz="1100" b="1">
                          <a:solidFill>
                            <a:schemeClr val="accent1"/>
                          </a:solidFill>
                          <a:latin typeface="Rawline" panose="00000500000000000000" pitchFamily="2" charset="0"/>
                        </a:rPr>
                        <a:t> </a:t>
                      </a:r>
                      <a:r>
                        <a:rPr lang="en-SG" sz="1100" b="1">
                          <a:solidFill>
                            <a:schemeClr val="accent2"/>
                          </a:solidFill>
                          <a:latin typeface="Rawline" panose="00000500000000000000" pitchFamily="2" charset="0"/>
                        </a:rPr>
                        <a:t>4-5hrs</a:t>
                      </a:r>
                    </a:p>
                    <a:p>
                      <a:pPr algn="ctr"/>
                      <a:r>
                        <a:rPr lang="en-SG" sz="1100" b="1">
                          <a:solidFill>
                            <a:schemeClr val="accent1"/>
                          </a:solidFill>
                          <a:latin typeface="Rawline" panose="00000500000000000000" pitchFamily="2" charset="0"/>
                        </a:rPr>
                        <a:t>Workshop</a:t>
                      </a:r>
                    </a:p>
                  </a:txBody>
                  <a:tcPr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12700" cmpd="sng">
                      <a:noFill/>
                      <a:prstDash val="soli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SG" sz="1100" b="1">
                          <a:solidFill>
                            <a:schemeClr val="accent1"/>
                          </a:solidFill>
                          <a:latin typeface="Rawline" panose="00000500000000000000" pitchFamily="2" charset="0"/>
                        </a:rPr>
                        <a:t>Phase 2</a:t>
                      </a:r>
                    </a:p>
                    <a:p>
                      <a:pPr algn="ctr"/>
                      <a:r>
                        <a:rPr lang="en-SG" sz="1100" b="1">
                          <a:solidFill>
                            <a:schemeClr val="tx2"/>
                          </a:solidFill>
                          <a:latin typeface="Rawline" panose="00000500000000000000" pitchFamily="2" charset="0"/>
                        </a:rPr>
                        <a:t>20 claims</a:t>
                      </a:r>
                    </a:p>
                    <a:p>
                      <a:pPr algn="ctr"/>
                      <a:r>
                        <a:rPr lang="en-SG" sz="1100" b="1">
                          <a:solidFill>
                            <a:schemeClr val="accent1"/>
                          </a:solidFill>
                          <a:latin typeface="Rawline" panose="00000500000000000000" pitchFamily="2" charset="0"/>
                        </a:rPr>
                        <a:t>UK </a:t>
                      </a:r>
                      <a:r>
                        <a:rPr lang="en-SG" sz="700" b="1">
                          <a:solidFill>
                            <a:schemeClr val="accent1"/>
                          </a:solidFill>
                          <a:latin typeface="Rawline" panose="00000500000000000000" pitchFamily="2" charset="0"/>
                        </a:rPr>
                        <a:t>(First Market)</a:t>
                      </a:r>
                      <a:endParaRPr lang="en-SG" sz="1100" b="1">
                        <a:solidFill>
                          <a:schemeClr val="accent1"/>
                        </a:solidFill>
                        <a:latin typeface="Rawline" panose="00000500000000000000" pitchFamily="2" charset="0"/>
                      </a:endParaRPr>
                    </a:p>
                  </a:txBody>
                  <a:tcPr anchor="ctr">
                    <a:lnL w="9525" cap="flat" cmpd="sng" algn="ctr">
                      <a:solidFill>
                        <a:schemeClr val="accent1"/>
                      </a:solidFill>
                      <a:prstDash val="solid"/>
                      <a:round/>
                      <a:headEnd type="none" w="med" len="med"/>
                      <a:tailEnd type="none" w="med" len="med"/>
                    </a:lnL>
                    <a:lnR w="12700" cmpd="sng">
                      <a:noFill/>
                      <a:prstDash val="solid"/>
                    </a:lnR>
                    <a:lnT w="12700" cmpd="sng">
                      <a:noFill/>
                      <a:prstDash val="soli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SG" sz="1100" b="1">
                          <a:solidFill>
                            <a:schemeClr val="accent1"/>
                          </a:solidFill>
                          <a:latin typeface="Rawline" panose="00000500000000000000" pitchFamily="2" charset="0"/>
                        </a:rPr>
                        <a:t>Phase 2</a:t>
                      </a:r>
                    </a:p>
                    <a:p>
                      <a:pPr algn="ctr"/>
                      <a:r>
                        <a:rPr lang="en-SG" sz="1100" b="1">
                          <a:solidFill>
                            <a:schemeClr val="tx2"/>
                          </a:solidFill>
                          <a:latin typeface="Rawline" panose="00000500000000000000" pitchFamily="2" charset="0"/>
                        </a:rPr>
                        <a:t>20 claims</a:t>
                      </a:r>
                    </a:p>
                    <a:p>
                      <a:pPr algn="ctr"/>
                      <a:r>
                        <a:rPr lang="en-SG" sz="1100" b="1">
                          <a:solidFill>
                            <a:schemeClr val="accent1"/>
                          </a:solidFill>
                          <a:latin typeface="Rawline" panose="00000500000000000000" pitchFamily="2" charset="0"/>
                        </a:rPr>
                        <a:t>Germany</a:t>
                      </a:r>
                    </a:p>
                  </a:txBody>
                  <a:tcPr anchor="ctr">
                    <a:lnL w="12700" cmpd="sng">
                      <a:noFill/>
                      <a:prstDash val="solid"/>
                    </a:lnL>
                    <a:lnR w="12700" cmpd="sng">
                      <a:noFill/>
                      <a:prstDash val="solid"/>
                    </a:lnR>
                    <a:lnT w="12700" cmpd="sng">
                      <a:noFill/>
                      <a:prstDash val="soli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SG" sz="1100" b="1">
                          <a:solidFill>
                            <a:schemeClr val="accent1"/>
                          </a:solidFill>
                          <a:latin typeface="Rawline" panose="00000500000000000000" pitchFamily="2" charset="0"/>
                        </a:rPr>
                        <a:t>Phase 2</a:t>
                      </a:r>
                    </a:p>
                    <a:p>
                      <a:pPr algn="ctr"/>
                      <a:r>
                        <a:rPr lang="en-SG" sz="1100" b="1">
                          <a:solidFill>
                            <a:schemeClr val="tx2"/>
                          </a:solidFill>
                          <a:latin typeface="Rawline" panose="00000500000000000000" pitchFamily="2" charset="0"/>
                        </a:rPr>
                        <a:t>20 claims</a:t>
                      </a:r>
                    </a:p>
                    <a:p>
                      <a:pPr algn="ctr"/>
                      <a:r>
                        <a:rPr lang="en-SG" sz="1100" b="1">
                          <a:solidFill>
                            <a:schemeClr val="accent1"/>
                          </a:solidFill>
                          <a:latin typeface="Rawline" panose="00000500000000000000" pitchFamily="2" charset="0"/>
                        </a:rPr>
                        <a:t>Italy</a:t>
                      </a:r>
                    </a:p>
                  </a:txBody>
                  <a:tcPr anchor="ctr">
                    <a:lnL w="12700" cmpd="sng">
                      <a:noFill/>
                      <a:prstDash val="solid"/>
                    </a:lnL>
                    <a:lnR w="12700" cmpd="sng">
                      <a:noFill/>
                      <a:prstDash val="solid"/>
                    </a:lnR>
                    <a:lnT w="12700" cmpd="sng">
                      <a:noFill/>
                      <a:prstDash val="soli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SG" sz="1100" b="1">
                          <a:solidFill>
                            <a:schemeClr val="accent1"/>
                          </a:solidFill>
                          <a:latin typeface="Rawline" panose="00000500000000000000" pitchFamily="2" charset="0"/>
                        </a:rPr>
                        <a:t>Phase 2</a:t>
                      </a:r>
                    </a:p>
                    <a:p>
                      <a:pPr algn="ctr"/>
                      <a:r>
                        <a:rPr lang="en-SG" sz="1100" b="1">
                          <a:solidFill>
                            <a:schemeClr val="tx2"/>
                          </a:solidFill>
                          <a:latin typeface="Rawline" panose="00000500000000000000" pitchFamily="2" charset="0"/>
                        </a:rPr>
                        <a:t>20 claims</a:t>
                      </a:r>
                    </a:p>
                    <a:p>
                      <a:pPr algn="ctr"/>
                      <a:r>
                        <a:rPr lang="en-SG" sz="1100" b="1">
                          <a:solidFill>
                            <a:schemeClr val="accent1"/>
                          </a:solidFill>
                          <a:latin typeface="Rawline" panose="00000500000000000000" pitchFamily="2" charset="0"/>
                        </a:rPr>
                        <a:t>Sweden</a:t>
                      </a:r>
                    </a:p>
                  </a:txBody>
                  <a:tcPr anchor="ctr">
                    <a:lnL w="12700" cmpd="sng">
                      <a:noFill/>
                      <a:prstDash val="solid"/>
                    </a:lnL>
                    <a:lnR w="12700" cmpd="sng">
                      <a:noFill/>
                      <a:prstDash val="solid"/>
                    </a:lnR>
                    <a:lnT w="12700" cmpd="sng">
                      <a:noFill/>
                      <a:prstDash val="soli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230092817"/>
                  </a:ext>
                </a:extLst>
              </a:tr>
              <a:tr h="536542">
                <a:tc>
                  <a:txBody>
                    <a:bodyPr/>
                    <a:lstStyle/>
                    <a:p>
                      <a:pPr marL="0" marR="0" algn="l">
                        <a:lnSpc>
                          <a:spcPct val="115000"/>
                        </a:lnSpc>
                        <a:spcBef>
                          <a:spcPts val="0"/>
                        </a:spcBef>
                        <a:spcAft>
                          <a:spcPts val="0"/>
                        </a:spcAft>
                      </a:pPr>
                      <a:r>
                        <a:rPr lang="en-US" sz="1100" b="0" i="0" u="none" strike="noStrike" kern="1200">
                          <a:solidFill>
                            <a:srgbClr val="263133"/>
                          </a:solidFill>
                          <a:effectLst/>
                          <a:latin typeface="Rawline" panose="00000500000000000000" pitchFamily="2" charset="0"/>
                          <a:ea typeface="+mn-ea"/>
                          <a:cs typeface="+mn-cs"/>
                        </a:rPr>
                        <a:t>SKIM fees</a:t>
                      </a:r>
                    </a:p>
                  </a:txBody>
                  <a:tcPr marL="68580" marR="68580" marT="0" marB="0" anchor="ctr">
                    <a:lnL w="12700" cmpd="sng">
                      <a:noFill/>
                      <a:prstDash val="solid"/>
                    </a:lnL>
                    <a:lnR w="12700" cmpd="sng">
                      <a:noFill/>
                      <a:prstDash val="soli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SG" sz="1100" b="0" i="0" u="none" strike="noStrike" kern="1200" cap="none" spc="0" normalizeH="0" baseline="0" noProof="0">
                          <a:ln>
                            <a:noFill/>
                          </a:ln>
                          <a:solidFill>
                            <a:srgbClr val="263133"/>
                          </a:solidFill>
                          <a:effectLst/>
                          <a:uLnTx/>
                          <a:uFillTx/>
                          <a:latin typeface="Rawline" panose="00000500000000000000" pitchFamily="2" charset="0"/>
                          <a:ea typeface="+mn-ea"/>
                          <a:cs typeface="+mn-cs"/>
                        </a:rPr>
                        <a:t>€ 4,500</a:t>
                      </a:r>
                    </a:p>
                  </a:txBody>
                  <a:tcPr marL="7620" marR="7620" marT="7620" marB="0" anchor="ctr">
                    <a:lnL w="12700" cmpd="sng">
                      <a:noFill/>
                      <a:prstDash val="solid"/>
                    </a:lnL>
                    <a:lnR w="9525" cap="flat" cmpd="sng" algn="ctr">
                      <a:solidFill>
                        <a:schemeClr val="accent1"/>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SG" sz="1100" b="0" i="0" u="none" strike="noStrike" kern="1200" cap="none" spc="0" normalizeH="0" baseline="0" noProof="0">
                          <a:ln>
                            <a:noFill/>
                          </a:ln>
                          <a:solidFill>
                            <a:srgbClr val="263133"/>
                          </a:solidFill>
                          <a:effectLst/>
                          <a:uLnTx/>
                          <a:uFillTx/>
                          <a:latin typeface="Rawline" panose="00000500000000000000" pitchFamily="2" charset="0"/>
                          <a:ea typeface="+mn-ea"/>
                          <a:cs typeface="+mn-cs"/>
                        </a:rPr>
                        <a:t>€ 7,000</a:t>
                      </a:r>
                    </a:p>
                  </a:txBody>
                  <a:tcPr marL="7620" marR="7620" marT="7620" marB="0"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SG" sz="1100" b="0" i="0" u="none" strike="noStrike" kern="1200" cap="none" spc="0" normalizeH="0" baseline="0" noProof="0" dirty="0">
                          <a:ln>
                            <a:noFill/>
                          </a:ln>
                          <a:solidFill>
                            <a:srgbClr val="263133"/>
                          </a:solidFill>
                          <a:effectLst/>
                          <a:uLnTx/>
                          <a:uFillTx/>
                          <a:latin typeface="Rawline" panose="00000500000000000000" pitchFamily="2" charset="0"/>
                          <a:ea typeface="+mn-ea"/>
                          <a:cs typeface="+mn-cs"/>
                        </a:rPr>
                        <a:t>€ 15,000</a:t>
                      </a:r>
                    </a:p>
                  </a:txBody>
                  <a:tcPr marL="7620" marR="7620" marT="7620" marB="0" anchor="ctr">
                    <a:lnL w="9525" cap="flat" cmpd="sng" algn="ctr">
                      <a:solidFill>
                        <a:schemeClr val="accent1"/>
                      </a:solidFill>
                      <a:prstDash val="solid"/>
                      <a:round/>
                      <a:headEnd type="none" w="med" len="med"/>
                      <a:tailEnd type="none" w="med" len="med"/>
                    </a:lnL>
                    <a:lnR w="12700" cmpd="sng">
                      <a:noFill/>
                      <a:prstDash val="soli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SG" sz="1100" b="0" i="0" u="none" strike="noStrike" kern="1200" cap="none" spc="0" normalizeH="0" baseline="0" noProof="0" dirty="0">
                          <a:ln>
                            <a:noFill/>
                          </a:ln>
                          <a:solidFill>
                            <a:srgbClr val="263133"/>
                          </a:solidFill>
                          <a:effectLst/>
                          <a:uLnTx/>
                          <a:uFillTx/>
                          <a:latin typeface="Rawline" panose="00000500000000000000" pitchFamily="2" charset="0"/>
                          <a:ea typeface="+mn-ea"/>
                          <a:cs typeface="+mn-cs"/>
                        </a:rPr>
                        <a:t>€ 11,500</a:t>
                      </a:r>
                    </a:p>
                  </a:txBody>
                  <a:tcPr marL="7620" marR="7620" marT="7620" marB="0" anchor="ctr">
                    <a:lnL w="12700" cmpd="sng">
                      <a:noFill/>
                      <a:prstDash val="solid"/>
                    </a:lnL>
                    <a:lnR w="12700" cmpd="sng">
                      <a:noFill/>
                      <a:prstDash val="soli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SG" sz="1100" b="0" i="0" u="none" strike="noStrike" kern="1200" cap="none" spc="0" normalizeH="0" baseline="0" noProof="0" dirty="0">
                          <a:ln>
                            <a:noFill/>
                          </a:ln>
                          <a:solidFill>
                            <a:srgbClr val="263133"/>
                          </a:solidFill>
                          <a:effectLst/>
                          <a:uLnTx/>
                          <a:uFillTx/>
                          <a:latin typeface="Rawline" panose="00000500000000000000" pitchFamily="2" charset="0"/>
                          <a:ea typeface="+mn-ea"/>
                          <a:cs typeface="+mn-cs"/>
                        </a:rPr>
                        <a:t>€ 11,500</a:t>
                      </a:r>
                    </a:p>
                  </a:txBody>
                  <a:tcPr marL="7620" marR="7620" marT="7620" marB="0" anchor="ctr">
                    <a:lnL w="12700" cmpd="sng">
                      <a:noFill/>
                      <a:prstDash val="solid"/>
                    </a:lnL>
                    <a:lnR w="12700" cmpd="sng">
                      <a:noFill/>
                      <a:prstDash val="soli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SG" sz="1100" b="0" i="0" u="none" strike="noStrike" kern="1200" cap="none" spc="0" normalizeH="0" baseline="0" noProof="0" dirty="0">
                          <a:ln>
                            <a:noFill/>
                          </a:ln>
                          <a:solidFill>
                            <a:srgbClr val="263133"/>
                          </a:solidFill>
                          <a:effectLst/>
                          <a:uLnTx/>
                          <a:uFillTx/>
                          <a:latin typeface="Rawline" panose="00000500000000000000" pitchFamily="2" charset="0"/>
                          <a:ea typeface="+mn-ea"/>
                          <a:cs typeface="+mn-cs"/>
                        </a:rPr>
                        <a:t>€ 11,500</a:t>
                      </a:r>
                    </a:p>
                  </a:txBody>
                  <a:tcPr marL="7620" marR="7620" marT="7620" marB="0" anchor="ctr">
                    <a:lnL w="12700" cmpd="sng">
                      <a:noFill/>
                      <a:prstDash val="solid"/>
                    </a:lnL>
                    <a:lnR w="12700" cmpd="sng">
                      <a:noFill/>
                      <a:prstDash val="soli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812790212"/>
                  </a:ext>
                </a:extLst>
              </a:tr>
              <a:tr h="536542">
                <a:tc>
                  <a:txBody>
                    <a:bodyPr/>
                    <a:lstStyle/>
                    <a:p>
                      <a:pPr marL="0" marR="0" algn="l">
                        <a:lnSpc>
                          <a:spcPct val="115000"/>
                        </a:lnSpc>
                        <a:spcBef>
                          <a:spcPts val="0"/>
                        </a:spcBef>
                        <a:spcAft>
                          <a:spcPts val="0"/>
                        </a:spcAft>
                      </a:pPr>
                      <a:r>
                        <a:rPr lang="en-US" sz="1100" b="0" i="0" u="none" strike="noStrike" kern="1200">
                          <a:solidFill>
                            <a:srgbClr val="263133"/>
                          </a:solidFill>
                          <a:effectLst/>
                          <a:latin typeface="Rawline" panose="00000500000000000000" pitchFamily="2" charset="0"/>
                          <a:ea typeface="+mn-ea"/>
                          <a:cs typeface="+mn-cs"/>
                        </a:rPr>
                        <a:t>Travel expenses</a:t>
                      </a:r>
                    </a:p>
                  </a:txBody>
                  <a:tcPr marL="68580" marR="68580" marT="0" marB="0" anchor="ctr">
                    <a:lnL w="12700" cmpd="sng">
                      <a:noFill/>
                      <a:prstDash val="solid"/>
                    </a:lnL>
                    <a:lnR w="12700" cmpd="sng">
                      <a:noFill/>
                      <a:prstDash val="soli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SG" sz="1100" b="0" i="0" u="none" strike="noStrike" kern="1200" cap="none" spc="0" normalizeH="0" baseline="0" noProof="0">
                        <a:ln>
                          <a:noFill/>
                        </a:ln>
                        <a:solidFill>
                          <a:srgbClr val="263133"/>
                        </a:solidFill>
                        <a:effectLst/>
                        <a:uLnTx/>
                        <a:uFillTx/>
                        <a:latin typeface="Rawline" panose="00000500000000000000" pitchFamily="2" charset="0"/>
                        <a:ea typeface="+mn-ea"/>
                        <a:cs typeface="+mn-cs"/>
                      </a:endParaRPr>
                    </a:p>
                  </a:txBody>
                  <a:tcPr marL="7620" marR="7620" marT="7620" marB="0" anchor="ctr">
                    <a:lnL w="12700" cmpd="sng">
                      <a:noFill/>
                      <a:prstDash val="solid"/>
                    </a:lnL>
                    <a:lnR w="9525" cap="flat" cmpd="sng" algn="ctr">
                      <a:solidFill>
                        <a:schemeClr val="accent1"/>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SG" sz="1100" b="0" i="0" u="none" strike="noStrike" kern="1200" cap="none" spc="0" normalizeH="0" baseline="0" noProof="0">
                          <a:ln>
                            <a:noFill/>
                          </a:ln>
                          <a:solidFill>
                            <a:srgbClr val="263133"/>
                          </a:solidFill>
                          <a:effectLst/>
                          <a:uLnTx/>
                          <a:uFillTx/>
                          <a:latin typeface="Rawline" panose="00000500000000000000" pitchFamily="2" charset="0"/>
                          <a:ea typeface="+mn-ea"/>
                          <a:cs typeface="+mn-cs"/>
                        </a:rPr>
                        <a:t>€ 5,000</a:t>
                      </a:r>
                    </a:p>
                  </a:txBody>
                  <a:tcPr marL="7620" marR="7620" marT="7620" marB="0"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SG" sz="1100" b="0" i="0" u="none" strike="noStrike" kern="1200" cap="none" spc="0" normalizeH="0" baseline="0" noProof="0">
                          <a:ln>
                            <a:noFill/>
                          </a:ln>
                          <a:solidFill>
                            <a:srgbClr val="263133"/>
                          </a:solidFill>
                          <a:effectLst/>
                          <a:uLnTx/>
                          <a:uFillTx/>
                          <a:latin typeface="Rawline" panose="00000500000000000000" pitchFamily="2" charset="0"/>
                          <a:ea typeface="+mn-ea"/>
                          <a:cs typeface="+mn-cs"/>
                        </a:rPr>
                        <a:t>-</a:t>
                      </a:r>
                    </a:p>
                  </a:txBody>
                  <a:tcPr marL="7620" marR="7620" marT="7620" marB="0" anchor="ctr">
                    <a:lnL w="9525" cap="flat" cmpd="sng" algn="ctr">
                      <a:solidFill>
                        <a:schemeClr val="accent1"/>
                      </a:solidFill>
                      <a:prstDash val="solid"/>
                      <a:round/>
                      <a:headEnd type="none" w="med" len="med"/>
                      <a:tailEnd type="none" w="med" len="med"/>
                    </a:lnL>
                    <a:lnR w="12700" cmpd="sng">
                      <a:noFill/>
                      <a:prstDash val="soli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SG" sz="1100" b="0" i="0" u="none" strike="noStrike" kern="1200" cap="none" spc="0" normalizeH="0" baseline="0" noProof="0">
                          <a:ln>
                            <a:noFill/>
                          </a:ln>
                          <a:solidFill>
                            <a:srgbClr val="263133"/>
                          </a:solidFill>
                          <a:effectLst/>
                          <a:uLnTx/>
                          <a:uFillTx/>
                          <a:latin typeface="Rawline" panose="00000500000000000000" pitchFamily="2" charset="0"/>
                          <a:ea typeface="+mn-ea"/>
                          <a:cs typeface="+mn-cs"/>
                        </a:rPr>
                        <a:t>-</a:t>
                      </a:r>
                    </a:p>
                  </a:txBody>
                  <a:tcPr marL="7620" marR="7620" marT="7620" marB="0" anchor="ctr">
                    <a:lnL w="12700" cmpd="sng">
                      <a:noFill/>
                      <a:prstDash val="solid"/>
                    </a:lnL>
                    <a:lnR w="12700" cmpd="sng">
                      <a:noFill/>
                      <a:prstDash val="soli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SG" sz="1100" b="0" i="0" u="none" strike="noStrike" kern="1200" cap="none" spc="0" normalizeH="0" baseline="0" noProof="0">
                          <a:ln>
                            <a:noFill/>
                          </a:ln>
                          <a:solidFill>
                            <a:srgbClr val="263133"/>
                          </a:solidFill>
                          <a:effectLst/>
                          <a:uLnTx/>
                          <a:uFillTx/>
                          <a:latin typeface="Rawline" panose="00000500000000000000" pitchFamily="2" charset="0"/>
                          <a:ea typeface="+mn-ea"/>
                          <a:cs typeface="+mn-cs"/>
                        </a:rPr>
                        <a:t>-</a:t>
                      </a:r>
                    </a:p>
                  </a:txBody>
                  <a:tcPr marL="7620" marR="7620" marT="7620" marB="0" anchor="ctr">
                    <a:lnL w="12700" cmpd="sng">
                      <a:noFill/>
                      <a:prstDash val="solid"/>
                    </a:lnL>
                    <a:lnR w="12700" cmpd="sng">
                      <a:noFill/>
                      <a:prstDash val="soli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SG" sz="1100" b="0" i="0" u="none" strike="noStrike" kern="1200" cap="none" spc="0" normalizeH="0" baseline="0" noProof="0">
                          <a:ln>
                            <a:noFill/>
                          </a:ln>
                          <a:solidFill>
                            <a:srgbClr val="263133"/>
                          </a:solidFill>
                          <a:effectLst/>
                          <a:uLnTx/>
                          <a:uFillTx/>
                          <a:latin typeface="Rawline" panose="00000500000000000000" pitchFamily="2" charset="0"/>
                          <a:ea typeface="+mn-ea"/>
                          <a:cs typeface="+mn-cs"/>
                        </a:rPr>
                        <a:t>-</a:t>
                      </a:r>
                    </a:p>
                  </a:txBody>
                  <a:tcPr marL="7620" marR="7620" marT="7620" marB="0" anchor="ctr">
                    <a:lnL w="12700" cmpd="sng">
                      <a:noFill/>
                      <a:prstDash val="solid"/>
                    </a:lnL>
                    <a:lnR w="12700" cmpd="sng">
                      <a:noFill/>
                      <a:prstDash val="soli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779476502"/>
                  </a:ext>
                </a:extLst>
              </a:tr>
              <a:tr h="536542">
                <a:tc>
                  <a:txBody>
                    <a:bodyPr/>
                    <a:lstStyle/>
                    <a:p>
                      <a:pPr marL="0" marR="0" algn="l">
                        <a:lnSpc>
                          <a:spcPct val="115000"/>
                        </a:lnSpc>
                        <a:spcBef>
                          <a:spcPts val="0"/>
                        </a:spcBef>
                        <a:spcAft>
                          <a:spcPts val="0"/>
                        </a:spcAft>
                      </a:pPr>
                      <a:r>
                        <a:rPr lang="en-US" sz="1100" b="0" i="0" u="none" strike="noStrike" kern="1200">
                          <a:solidFill>
                            <a:srgbClr val="263133"/>
                          </a:solidFill>
                          <a:effectLst/>
                          <a:latin typeface="Rawline" panose="00000500000000000000" pitchFamily="2" charset="0"/>
                          <a:ea typeface="+mn-ea"/>
                          <a:cs typeface="+mn-cs"/>
                        </a:rPr>
                        <a:t>Fieldwork &amp; translations </a:t>
                      </a:r>
                      <a:br>
                        <a:rPr lang="en-US" sz="1100" b="0" i="0" u="none" strike="noStrike" kern="1200">
                          <a:solidFill>
                            <a:srgbClr val="263133"/>
                          </a:solidFill>
                          <a:effectLst/>
                          <a:latin typeface="Rawline" panose="00000500000000000000" pitchFamily="2" charset="0"/>
                          <a:ea typeface="+mn-ea"/>
                          <a:cs typeface="+mn-cs"/>
                        </a:rPr>
                      </a:br>
                      <a:r>
                        <a:rPr lang="en-US" sz="1100" b="0" i="0" u="none" strike="noStrike" kern="1200">
                          <a:solidFill>
                            <a:srgbClr val="263133"/>
                          </a:solidFill>
                          <a:effectLst/>
                          <a:latin typeface="Rawline" panose="00000500000000000000" pitchFamily="2" charset="0"/>
                          <a:ea typeface="+mn-ea"/>
                          <a:cs typeface="+mn-cs"/>
                        </a:rPr>
                        <a:t>(n=500, IR=20%)</a:t>
                      </a:r>
                    </a:p>
                  </a:txBody>
                  <a:tcPr marL="68580" marR="68580" marT="0" marB="0" anchor="ctr">
                    <a:lnL w="12700" cmpd="sng">
                      <a:noFill/>
                      <a:prstDash val="solid"/>
                    </a:lnL>
                    <a:lnR w="12700" cmpd="sng">
                      <a:noFill/>
                      <a:prstDash val="soli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SG" sz="1100" b="0" i="0" u="none" strike="noStrike" kern="1200" cap="none" spc="0" normalizeH="0" baseline="0" noProof="0">
                          <a:ln>
                            <a:noFill/>
                          </a:ln>
                          <a:solidFill>
                            <a:srgbClr val="263133"/>
                          </a:solidFill>
                          <a:effectLst/>
                          <a:uLnTx/>
                          <a:uFillTx/>
                          <a:latin typeface="Rawline" panose="00000500000000000000" pitchFamily="2" charset="0"/>
                          <a:ea typeface="+mn-ea"/>
                          <a:cs typeface="+mn-cs"/>
                        </a:rPr>
                        <a:t>€ 550</a:t>
                      </a:r>
                    </a:p>
                  </a:txBody>
                  <a:tcPr marL="7620" marR="7620" marT="7620" marB="0" anchor="ctr">
                    <a:lnL w="12700" cmpd="sng">
                      <a:noFill/>
                      <a:prstDash val="solid"/>
                    </a:lnL>
                    <a:lnR w="9525" cap="flat" cmpd="sng" algn="ctr">
                      <a:solidFill>
                        <a:schemeClr val="accent1"/>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SG" sz="1100" b="0" i="0" u="none" strike="noStrike" kern="1200" cap="none" spc="0" normalizeH="0" baseline="0" noProof="0">
                          <a:ln>
                            <a:noFill/>
                          </a:ln>
                          <a:solidFill>
                            <a:srgbClr val="263133"/>
                          </a:solidFill>
                          <a:effectLst/>
                          <a:uLnTx/>
                          <a:uFillTx/>
                          <a:latin typeface="Rawline" panose="00000500000000000000" pitchFamily="2" charset="0"/>
                          <a:ea typeface="+mn-ea"/>
                          <a:cs typeface="+mn-cs"/>
                        </a:rPr>
                        <a:t>-</a:t>
                      </a:r>
                    </a:p>
                  </a:txBody>
                  <a:tcPr marL="7620" marR="7620" marT="7620" marB="0"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SG" sz="1100" b="0" i="0" u="none" strike="noStrike" kern="1200" cap="none" spc="0" normalizeH="0" baseline="0" noProof="0" dirty="0">
                          <a:ln>
                            <a:noFill/>
                          </a:ln>
                          <a:solidFill>
                            <a:srgbClr val="263133"/>
                          </a:solidFill>
                          <a:effectLst/>
                          <a:uLnTx/>
                          <a:uFillTx/>
                          <a:latin typeface="Rawline" panose="00000500000000000000" pitchFamily="2" charset="0"/>
                          <a:ea typeface="+mn-ea"/>
                          <a:cs typeface="+mn-cs"/>
                        </a:rPr>
                        <a:t>€ 2, 550</a:t>
                      </a:r>
                    </a:p>
                  </a:txBody>
                  <a:tcPr marL="7620" marR="7620" marT="7620" marB="0" anchor="ctr">
                    <a:lnL w="9525" cap="flat" cmpd="sng" algn="ctr">
                      <a:solidFill>
                        <a:schemeClr val="accent1"/>
                      </a:solidFill>
                      <a:prstDash val="solid"/>
                      <a:round/>
                      <a:headEnd type="none" w="med" len="med"/>
                      <a:tailEnd type="none" w="med" len="med"/>
                    </a:lnL>
                    <a:lnR w="12700" cmpd="sng">
                      <a:noFill/>
                      <a:prstDash val="soli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SG" sz="1100" b="0" i="0" u="none" strike="noStrike" kern="1200" cap="none" spc="0" normalizeH="0" baseline="0" noProof="0">
                          <a:ln>
                            <a:noFill/>
                          </a:ln>
                          <a:solidFill>
                            <a:srgbClr val="263133"/>
                          </a:solidFill>
                          <a:effectLst/>
                          <a:uLnTx/>
                          <a:uFillTx/>
                          <a:latin typeface="Rawline" panose="00000500000000000000" pitchFamily="2" charset="0"/>
                          <a:ea typeface="+mn-ea"/>
                          <a:cs typeface="+mn-cs"/>
                        </a:rPr>
                        <a:t>€ 2,700</a:t>
                      </a:r>
                    </a:p>
                  </a:txBody>
                  <a:tcPr marL="7620" marR="7620" marT="7620" marB="0" anchor="ctr">
                    <a:lnL w="12700" cmpd="sng">
                      <a:noFill/>
                      <a:prstDash val="solid"/>
                    </a:lnL>
                    <a:lnR w="12700" cmpd="sng">
                      <a:noFill/>
                      <a:prstDash val="soli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SG" sz="1100" b="0" i="0" u="none" strike="noStrike" kern="1200" cap="none" spc="0" normalizeH="0" baseline="0" noProof="0">
                          <a:ln>
                            <a:noFill/>
                          </a:ln>
                          <a:solidFill>
                            <a:srgbClr val="263133"/>
                          </a:solidFill>
                          <a:effectLst/>
                          <a:uLnTx/>
                          <a:uFillTx/>
                          <a:latin typeface="Rawline" panose="00000500000000000000" pitchFamily="2" charset="0"/>
                          <a:ea typeface="+mn-ea"/>
                          <a:cs typeface="+mn-cs"/>
                        </a:rPr>
                        <a:t>€ 2,700</a:t>
                      </a:r>
                    </a:p>
                  </a:txBody>
                  <a:tcPr marL="7620" marR="7620" marT="7620" marB="0" anchor="ctr">
                    <a:lnL w="12700" cmpd="sng">
                      <a:noFill/>
                      <a:prstDash val="solid"/>
                    </a:lnL>
                    <a:lnR w="12700" cmpd="sng">
                      <a:noFill/>
                      <a:prstDash val="soli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SG" sz="1100" b="0" i="0" u="none" strike="noStrike" kern="1200" cap="none" spc="0" normalizeH="0" baseline="0" noProof="0">
                          <a:ln>
                            <a:noFill/>
                          </a:ln>
                          <a:solidFill>
                            <a:srgbClr val="263133"/>
                          </a:solidFill>
                          <a:effectLst/>
                          <a:uLnTx/>
                          <a:uFillTx/>
                          <a:latin typeface="Rawline" panose="00000500000000000000" pitchFamily="2" charset="0"/>
                          <a:ea typeface="+mn-ea"/>
                          <a:cs typeface="+mn-cs"/>
                        </a:rPr>
                        <a:t>€ 3,700</a:t>
                      </a:r>
                    </a:p>
                  </a:txBody>
                  <a:tcPr marL="7620" marR="7620" marT="7620" marB="0" anchor="ctr">
                    <a:lnL w="12700" cmpd="sng">
                      <a:noFill/>
                      <a:prstDash val="solid"/>
                    </a:lnL>
                    <a:lnR w="12700" cmpd="sng">
                      <a:noFill/>
                      <a:prstDash val="soli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97892652"/>
                  </a:ext>
                </a:extLst>
              </a:tr>
              <a:tr h="53654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b="1">
                          <a:solidFill>
                            <a:schemeClr val="bg2"/>
                          </a:solidFill>
                          <a:latin typeface="Rawline" panose="00000500000000000000" pitchFamily="2" charset="0"/>
                        </a:rPr>
                        <a:t>Total investment</a:t>
                      </a:r>
                      <a:endParaRPr lang="en-SG" sz="1100" b="1">
                        <a:solidFill>
                          <a:schemeClr val="bg2"/>
                        </a:solidFill>
                        <a:latin typeface="Rawline" panose="00000500000000000000" pitchFamily="2" charset="0"/>
                      </a:endParaRPr>
                    </a:p>
                  </a:txBody>
                  <a:tcPr anchor="ctr">
                    <a:lnL w="12700" cmpd="sng">
                      <a:noFill/>
                      <a:prstDash val="solid"/>
                    </a:lnL>
                    <a:lnR w="12700" cmpd="sng">
                      <a:noFill/>
                      <a:prstDash val="soli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SG" sz="1100" b="1" i="0" u="none" strike="noStrike" kern="1200" cap="none" spc="0" normalizeH="0" baseline="0" noProof="0">
                          <a:ln>
                            <a:noFill/>
                          </a:ln>
                          <a:solidFill>
                            <a:srgbClr val="263133"/>
                          </a:solidFill>
                          <a:effectLst/>
                          <a:uLnTx/>
                          <a:uFillTx/>
                          <a:latin typeface="Rawline" panose="00000500000000000000" pitchFamily="2" charset="0"/>
                          <a:ea typeface="+mn-ea"/>
                          <a:cs typeface="+mn-cs"/>
                        </a:rPr>
                        <a:t>€ 5,050</a:t>
                      </a:r>
                    </a:p>
                  </a:txBody>
                  <a:tcPr marL="7620" marR="7620" marT="7620" marB="0" anchor="ctr">
                    <a:lnL w="12700" cmpd="sng">
                      <a:noFill/>
                      <a:prstDash val="solid"/>
                    </a:lnL>
                    <a:lnR w="9525" cap="flat" cmpd="sng" algn="ctr">
                      <a:solidFill>
                        <a:schemeClr val="accent1"/>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SG" sz="1100" b="1" i="0" u="none" strike="noStrike" kern="1200" cap="none" spc="0" normalizeH="0" baseline="0" noProof="0">
                          <a:ln>
                            <a:noFill/>
                          </a:ln>
                          <a:solidFill>
                            <a:srgbClr val="263133"/>
                          </a:solidFill>
                          <a:effectLst/>
                          <a:uLnTx/>
                          <a:uFillTx/>
                          <a:latin typeface="Rawline" panose="00000500000000000000" pitchFamily="2" charset="0"/>
                          <a:ea typeface="+mn-ea"/>
                          <a:cs typeface="+mn-cs"/>
                        </a:rPr>
                        <a:t>€ 12,000</a:t>
                      </a:r>
                    </a:p>
                  </a:txBody>
                  <a:tcPr marL="7620" marR="7620" marT="7620" marB="0"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SG" sz="1100" b="1" i="0" u="none" strike="noStrike" kern="1200" cap="none" spc="0" normalizeH="0" baseline="0" noProof="0">
                          <a:ln>
                            <a:noFill/>
                          </a:ln>
                          <a:solidFill>
                            <a:srgbClr val="263133"/>
                          </a:solidFill>
                          <a:effectLst/>
                          <a:uLnTx/>
                          <a:uFillTx/>
                          <a:latin typeface="Rawline" panose="00000500000000000000" pitchFamily="2" charset="0"/>
                          <a:ea typeface="+mn-ea"/>
                          <a:cs typeface="+mn-cs"/>
                        </a:rPr>
                        <a:t>€ 17,550</a:t>
                      </a:r>
                    </a:p>
                  </a:txBody>
                  <a:tcPr marL="7620" marR="7620" marT="7620" marB="0" anchor="ctr">
                    <a:lnL w="9525" cap="flat" cmpd="sng" algn="ctr">
                      <a:solidFill>
                        <a:schemeClr val="accent1"/>
                      </a:solidFill>
                      <a:prstDash val="solid"/>
                      <a:round/>
                      <a:headEnd type="none" w="med" len="med"/>
                      <a:tailEnd type="none" w="med" len="med"/>
                    </a:lnL>
                    <a:lnR w="12700" cmpd="sng">
                      <a:noFill/>
                      <a:prstDash val="soli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SG" sz="1100" b="1" i="0" u="none" strike="noStrike" kern="1200" cap="none" spc="0" normalizeH="0" baseline="0" noProof="0">
                          <a:ln>
                            <a:noFill/>
                          </a:ln>
                          <a:solidFill>
                            <a:srgbClr val="263133"/>
                          </a:solidFill>
                          <a:effectLst/>
                          <a:uLnTx/>
                          <a:uFillTx/>
                          <a:latin typeface="Rawline" panose="00000500000000000000" pitchFamily="2" charset="0"/>
                          <a:ea typeface="+mn-ea"/>
                          <a:cs typeface="+mn-cs"/>
                        </a:rPr>
                        <a:t>€ 14,200</a:t>
                      </a:r>
                    </a:p>
                  </a:txBody>
                  <a:tcPr marL="7620" marR="7620" marT="7620" marB="0" anchor="ctr">
                    <a:lnL w="12700" cmpd="sng">
                      <a:noFill/>
                      <a:prstDash val="solid"/>
                    </a:lnL>
                    <a:lnR w="12700" cmpd="sng">
                      <a:noFill/>
                      <a:prstDash val="soli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SG" sz="1100" b="1" i="0" u="none" strike="noStrike" kern="1200" cap="none" spc="0" normalizeH="0" baseline="0" noProof="0">
                          <a:ln>
                            <a:noFill/>
                          </a:ln>
                          <a:solidFill>
                            <a:srgbClr val="263133"/>
                          </a:solidFill>
                          <a:effectLst/>
                          <a:uLnTx/>
                          <a:uFillTx/>
                          <a:latin typeface="Rawline" panose="00000500000000000000" pitchFamily="2" charset="0"/>
                          <a:ea typeface="+mn-ea"/>
                          <a:cs typeface="+mn-cs"/>
                        </a:rPr>
                        <a:t>€ 14,200</a:t>
                      </a:r>
                    </a:p>
                  </a:txBody>
                  <a:tcPr marL="7620" marR="7620" marT="7620" marB="0" anchor="ctr">
                    <a:lnL w="12700" cmpd="sng">
                      <a:noFill/>
                      <a:prstDash val="solid"/>
                    </a:lnL>
                    <a:lnR w="12700" cmpd="sng">
                      <a:noFill/>
                      <a:prstDash val="soli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SG" sz="1100" b="1" i="0" u="none" strike="noStrike" kern="1200" cap="none" spc="0" normalizeH="0" baseline="0" noProof="0" dirty="0">
                          <a:ln>
                            <a:noFill/>
                          </a:ln>
                          <a:solidFill>
                            <a:srgbClr val="263133"/>
                          </a:solidFill>
                          <a:effectLst/>
                          <a:uLnTx/>
                          <a:uFillTx/>
                          <a:latin typeface="Rawline" panose="00000500000000000000" pitchFamily="2" charset="0"/>
                          <a:ea typeface="+mn-ea"/>
                          <a:cs typeface="+mn-cs"/>
                        </a:rPr>
                        <a:t>€ 15,200</a:t>
                      </a:r>
                    </a:p>
                  </a:txBody>
                  <a:tcPr marL="7620" marR="7620" marT="7620" marB="0" anchor="ctr">
                    <a:lnL w="12700" cmpd="sng">
                      <a:noFill/>
                      <a:prstDash val="solid"/>
                    </a:lnL>
                    <a:lnR w="12700" cmpd="sng">
                      <a:noFill/>
                      <a:prstDash val="soli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274835531"/>
                  </a:ext>
                </a:extLst>
              </a:tr>
            </a:tbl>
          </a:graphicData>
        </a:graphic>
      </p:graphicFrame>
      <p:sp>
        <p:nvSpPr>
          <p:cNvPr id="3" name="doOverlay">
            <a:extLst>
              <a:ext uri="{FF2B5EF4-FFF2-40B4-BE49-F238E27FC236}">
                <a16:creationId xmlns:a16="http://schemas.microsoft.com/office/drawing/2014/main" id="{B1CCDB9F-5BC2-4498-A082-876D77B9E0A2}"/>
              </a:ext>
            </a:extLst>
          </p:cNvPr>
          <p:cNvSpPr/>
          <p:nvPr/>
        </p:nvSpPr>
        <p:spPr>
          <a:xfrm>
            <a:off x="9155574" y="-8456"/>
            <a:ext cx="3036425" cy="6866456"/>
          </a:xfrm>
          <a:prstGeom prst="rect">
            <a:avLst/>
          </a:prstGeom>
          <a:solidFill>
            <a:schemeClr val="accent1">
              <a:alpha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72000" rIns="108000" bIns="108000" rtlCol="0" anchor="t" anchorCtr="0">
            <a:no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endParaRPr kumimoji="0" lang="en-US" sz="1400" b="0" i="0" u="none" strike="noStrike" kern="1200" cap="none" spc="0" normalizeH="0" baseline="0" noProof="0" err="1">
              <a:ln>
                <a:noFill/>
              </a:ln>
              <a:solidFill>
                <a:srgbClr val="1C6D7D"/>
              </a:solidFill>
              <a:effectLst/>
              <a:uLnTx/>
              <a:uFillTx/>
              <a:latin typeface="Rawline"/>
              <a:ea typeface="+mn-ea"/>
              <a:cs typeface="+mn-cs"/>
            </a:endParaRPr>
          </a:p>
        </p:txBody>
      </p:sp>
      <p:sp>
        <p:nvSpPr>
          <p:cNvPr id="13" name="TextBox 12">
            <a:extLst>
              <a:ext uri="{FF2B5EF4-FFF2-40B4-BE49-F238E27FC236}">
                <a16:creationId xmlns:a16="http://schemas.microsoft.com/office/drawing/2014/main" id="{6A2939F2-F28B-4D7E-8823-8CAC6B9F4BE5}"/>
              </a:ext>
            </a:extLst>
          </p:cNvPr>
          <p:cNvSpPr txBox="1"/>
          <p:nvPr/>
        </p:nvSpPr>
        <p:spPr>
          <a:xfrm>
            <a:off x="504000" y="5359331"/>
            <a:ext cx="5675127" cy="1138773"/>
          </a:xfrm>
          <a:prstGeom prst="rect">
            <a:avLst/>
          </a:prstGeom>
          <a:noFill/>
          <a:ln>
            <a:noFill/>
          </a:ln>
        </p:spPr>
        <p:txBody>
          <a:bodyPr wrap="square" anchor="b">
            <a:spAutoFit/>
          </a:bodyPr>
          <a:lstStyle/>
          <a:p>
            <a:pPr marL="0" marR="0" lvl="0" indent="0" algn="l" defTabSz="685800" rtl="0" eaLnBrk="1" fontAlgn="auto" latinLnBrk="0" hangingPunct="1">
              <a:lnSpc>
                <a:spcPct val="100000"/>
              </a:lnSpc>
              <a:spcBef>
                <a:spcPts val="300"/>
              </a:spcBef>
              <a:spcAft>
                <a:spcPts val="300"/>
              </a:spcAft>
              <a:buClrTx/>
              <a:buSzTx/>
              <a:buFontTx/>
              <a:buNone/>
              <a:tabLst/>
              <a:defRPr/>
            </a:pPr>
            <a:r>
              <a:rPr kumimoji="0" lang="en-US" sz="800" b="1" i="0" u="none" strike="noStrike" kern="1200" cap="none" spc="0" normalizeH="0" baseline="0" noProof="0">
                <a:ln>
                  <a:noFill/>
                </a:ln>
                <a:effectLst/>
                <a:uLnTx/>
                <a:uFillTx/>
                <a:latin typeface="Rawline" panose="00000500000000000000" pitchFamily="2" charset="0"/>
                <a:ea typeface="+mn-ea"/>
                <a:cs typeface="+mn-cs"/>
              </a:rPr>
              <a:t>PLEASE NOTE</a:t>
            </a:r>
          </a:p>
          <a:p>
            <a:pPr marL="0" marR="0" lvl="0" indent="0" algn="l" defTabSz="685800" rtl="0" eaLnBrk="1" fontAlgn="auto" latinLnBrk="0" hangingPunct="1">
              <a:lnSpc>
                <a:spcPct val="100000"/>
              </a:lnSpc>
              <a:spcBef>
                <a:spcPts val="300"/>
              </a:spcBef>
              <a:spcAft>
                <a:spcPts val="300"/>
              </a:spcAft>
              <a:buClrTx/>
              <a:buSzTx/>
              <a:buFontTx/>
              <a:buNone/>
              <a:tabLst/>
              <a:defRPr/>
            </a:pPr>
            <a:r>
              <a:rPr kumimoji="0" lang="en-US" sz="800" b="0" i="0" u="none" strike="noStrike" kern="1200" cap="none" spc="0" normalizeH="0" baseline="0" noProof="0">
                <a:ln>
                  <a:noFill/>
                </a:ln>
                <a:effectLst/>
                <a:uLnTx/>
                <a:uFillTx/>
                <a:latin typeface="Rawline" panose="00000500000000000000" pitchFamily="2" charset="0"/>
                <a:ea typeface="+mn-ea"/>
                <a:cs typeface="+mn-cs"/>
              </a:rPr>
              <a:t>Amounts specified are net cash (excluding GST/VAT, sales taxes, withholding taxes, and all other taxes)</a:t>
            </a:r>
          </a:p>
          <a:p>
            <a:pPr marL="0" marR="0" lvl="0" indent="0" algn="l" defTabSz="685800" rtl="0" eaLnBrk="1" fontAlgn="auto" latinLnBrk="0" hangingPunct="1">
              <a:lnSpc>
                <a:spcPct val="100000"/>
              </a:lnSpc>
              <a:spcBef>
                <a:spcPts val="300"/>
              </a:spcBef>
              <a:spcAft>
                <a:spcPts val="300"/>
              </a:spcAft>
              <a:buClrTx/>
              <a:buSzTx/>
              <a:buFontTx/>
              <a:buNone/>
              <a:tabLst/>
              <a:defRPr/>
            </a:pPr>
            <a:r>
              <a:rPr kumimoji="0" lang="en-US" sz="800" b="0" i="0" u="none" strike="noStrike" kern="1200" cap="none" spc="0" normalizeH="0" baseline="0" noProof="0">
                <a:ln>
                  <a:noFill/>
                </a:ln>
                <a:effectLst/>
                <a:uLnTx/>
                <a:uFillTx/>
                <a:latin typeface="Rawline" panose="00000500000000000000" pitchFamily="2" charset="0"/>
                <a:ea typeface="+mn-ea"/>
                <a:cs typeface="+mn-cs"/>
              </a:rPr>
              <a:t>If incidence rates fall out lower than the anticipated incidence rates of 20% SKIM may pass on any additional costs</a:t>
            </a:r>
          </a:p>
          <a:p>
            <a:pPr marL="0" marR="0" lvl="0" indent="0" algn="l" defTabSz="685800" rtl="0" eaLnBrk="1" fontAlgn="auto" latinLnBrk="0" hangingPunct="1">
              <a:lnSpc>
                <a:spcPct val="100000"/>
              </a:lnSpc>
              <a:spcBef>
                <a:spcPts val="300"/>
              </a:spcBef>
              <a:spcAft>
                <a:spcPts val="300"/>
              </a:spcAft>
              <a:buClrTx/>
              <a:buSzTx/>
              <a:buFontTx/>
              <a:buNone/>
              <a:tabLst/>
              <a:defRPr/>
            </a:pPr>
            <a:r>
              <a:rPr lang="en-US" sz="800">
                <a:latin typeface="Rawline" panose="00000500000000000000" pitchFamily="2" charset="0"/>
              </a:rPr>
              <a:t>6</a:t>
            </a:r>
            <a:r>
              <a:rPr kumimoji="0" lang="en-US" sz="800" b="0" i="0" u="none" strike="noStrike" kern="1200" cap="none" spc="0" normalizeH="0" baseline="0" noProof="0">
                <a:ln>
                  <a:noFill/>
                </a:ln>
                <a:effectLst/>
                <a:uLnTx/>
                <a:uFillTx/>
                <a:latin typeface="Rawline" panose="00000500000000000000" pitchFamily="2" charset="0"/>
                <a:ea typeface="+mn-ea"/>
                <a:cs typeface="+mn-cs"/>
              </a:rPr>
              <a:t>0 days payment terms: 50% upon commissioning, 50% upon report delivery</a:t>
            </a:r>
          </a:p>
          <a:p>
            <a:pPr marL="0" marR="0" lvl="0" indent="0" algn="l" defTabSz="685800" rtl="0" eaLnBrk="1" fontAlgn="auto" latinLnBrk="0" hangingPunct="1">
              <a:lnSpc>
                <a:spcPct val="100000"/>
              </a:lnSpc>
              <a:spcBef>
                <a:spcPts val="300"/>
              </a:spcBef>
              <a:spcAft>
                <a:spcPts val="300"/>
              </a:spcAft>
              <a:buClrTx/>
              <a:buSzTx/>
              <a:buFontTx/>
              <a:buNone/>
              <a:tabLst/>
              <a:defRPr/>
            </a:pPr>
            <a:r>
              <a:rPr kumimoji="0" lang="en-US" sz="800" b="0" i="0" u="none" strike="noStrike" kern="1200" cap="none" spc="0" normalizeH="0" baseline="0" noProof="0">
                <a:ln>
                  <a:noFill/>
                </a:ln>
                <a:effectLst/>
                <a:uLnTx/>
                <a:uFillTx/>
                <a:latin typeface="Rawline" panose="00000500000000000000" pitchFamily="2" charset="0"/>
                <a:ea typeface="+mn-ea"/>
                <a:cs typeface="+mn-cs"/>
              </a:rPr>
              <a:t>For this proposal, the conditions apply that are defined in the Master Service Agreement between DANTRADE B.V. and SKIM group B.V.</a:t>
            </a:r>
          </a:p>
        </p:txBody>
      </p:sp>
      <p:pic>
        <p:nvPicPr>
          <p:cNvPr id="11" name="doLogoWhite">
            <a:extLst>
              <a:ext uri="{FF2B5EF4-FFF2-40B4-BE49-F238E27FC236}">
                <a16:creationId xmlns:a16="http://schemas.microsoft.com/office/drawing/2014/main" id="{FBAEA9C0-6CF4-484C-8944-3EE939B9AEA7}"/>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559600" y="6364799"/>
            <a:ext cx="386197" cy="266610"/>
          </a:xfrm>
          <a:prstGeom prst="rect">
            <a:avLst/>
          </a:prstGeom>
        </p:spPr>
      </p:pic>
      <p:sp>
        <p:nvSpPr>
          <p:cNvPr id="22" name="Title 2">
            <a:extLst>
              <a:ext uri="{FF2B5EF4-FFF2-40B4-BE49-F238E27FC236}">
                <a16:creationId xmlns:a16="http://schemas.microsoft.com/office/drawing/2014/main" id="{21FAA4D5-EDD7-40CA-8B34-426F448006B2}"/>
              </a:ext>
            </a:extLst>
          </p:cNvPr>
          <p:cNvSpPr>
            <a:spLocks noGrp="1"/>
          </p:cNvSpPr>
          <p:nvPr>
            <p:ph type="title"/>
          </p:nvPr>
        </p:nvSpPr>
        <p:spPr/>
        <p:txBody>
          <a:bodyPr/>
          <a:lstStyle/>
          <a:p>
            <a:r>
              <a:rPr lang="en-US"/>
              <a:t>Investment</a:t>
            </a:r>
          </a:p>
        </p:txBody>
      </p:sp>
      <p:sp>
        <p:nvSpPr>
          <p:cNvPr id="21" name="Text Placeholder 9">
            <a:extLst>
              <a:ext uri="{FF2B5EF4-FFF2-40B4-BE49-F238E27FC236}">
                <a16:creationId xmlns:a16="http://schemas.microsoft.com/office/drawing/2014/main" id="{DB6C49BC-ABC0-4F96-91D8-3036ACDAA437}"/>
              </a:ext>
            </a:extLst>
          </p:cNvPr>
          <p:cNvSpPr txBox="1">
            <a:spLocks/>
          </p:cNvSpPr>
          <p:nvPr/>
        </p:nvSpPr>
        <p:spPr>
          <a:xfrm>
            <a:off x="504000" y="943200"/>
            <a:ext cx="7166838" cy="276999"/>
          </a:xfrm>
          <a:prstGeom prst="rect">
            <a:avLst/>
          </a:prstGeom>
        </p:spPr>
        <p:txBody>
          <a:bodyPr lIns="0"/>
          <a:lstStyle>
            <a:lvl1pPr marL="0" indent="-288000" algn="l" defTabSz="914400" rtl="0" eaLnBrk="1" latinLnBrk="0" hangingPunct="1">
              <a:lnSpc>
                <a:spcPct val="150000"/>
              </a:lnSpc>
              <a:spcBef>
                <a:spcPts val="0"/>
              </a:spcBef>
              <a:buFontTx/>
              <a:buNone/>
              <a:defRPr sz="1600" kern="1200">
                <a:solidFill>
                  <a:schemeClr val="tx1"/>
                </a:solidFill>
                <a:latin typeface="+mn-lt"/>
                <a:ea typeface="+mn-ea"/>
                <a:cs typeface="+mn-cs"/>
              </a:defRPr>
            </a:lvl1pPr>
            <a:lvl2pPr marL="288000" indent="-288000" algn="l" defTabSz="914400" rtl="0" eaLnBrk="1" latinLnBrk="0" hangingPunct="1">
              <a:lnSpc>
                <a:spcPct val="110000"/>
              </a:lnSpc>
              <a:spcBef>
                <a:spcPts val="0"/>
              </a:spcBef>
              <a:spcAft>
                <a:spcPts val="800"/>
              </a:spcAft>
              <a:buClr>
                <a:schemeClr val="tx1"/>
              </a:buClr>
              <a:buFont typeface="Courier New" panose="02070309020205020404" pitchFamily="49" charset="0"/>
              <a:buChar char="o"/>
              <a:defRPr sz="1600" kern="1200">
                <a:solidFill>
                  <a:schemeClr val="tx1"/>
                </a:solidFill>
                <a:latin typeface="+mn-lt"/>
                <a:ea typeface="+mn-ea"/>
                <a:cs typeface="+mn-cs"/>
              </a:defRPr>
            </a:lvl2pPr>
            <a:lvl3pPr marL="576000" indent="-288000" algn="l" defTabSz="914400" rtl="0" eaLnBrk="1" latinLnBrk="0" hangingPunct="1">
              <a:lnSpc>
                <a:spcPct val="110000"/>
              </a:lnSpc>
              <a:spcBef>
                <a:spcPts val="0"/>
              </a:spcBef>
              <a:spcAft>
                <a:spcPts val="800"/>
              </a:spcAft>
              <a:buClr>
                <a:schemeClr val="tx1"/>
              </a:buClr>
              <a:buFont typeface="Wingdings" panose="05000000000000000000" pitchFamily="2" charset="2"/>
              <a:buChar char="§"/>
              <a:defRPr sz="1600" kern="1200">
                <a:solidFill>
                  <a:schemeClr val="tx1"/>
                </a:solidFill>
                <a:latin typeface="+mn-lt"/>
                <a:ea typeface="+mn-ea"/>
                <a:cs typeface="+mn-cs"/>
              </a:defRPr>
            </a:lvl3pPr>
            <a:lvl4pPr marL="864000" indent="-288000" algn="l" defTabSz="914400" rtl="0" eaLnBrk="1" latinLnBrk="0" hangingPunct="1">
              <a:lnSpc>
                <a:spcPct val="110000"/>
              </a:lnSpc>
              <a:spcBef>
                <a:spcPts val="0"/>
              </a:spcBef>
              <a:spcAft>
                <a:spcPts val="800"/>
              </a:spcAft>
              <a:buClr>
                <a:schemeClr val="tx1"/>
              </a:buClr>
              <a:buSzPct val="100000"/>
              <a:buFont typeface="Wingdings" panose="05000000000000000000" pitchFamily="2" charset="2"/>
              <a:buChar char="§"/>
              <a:defRPr sz="1600" kern="1200">
                <a:solidFill>
                  <a:schemeClr val="tx1"/>
                </a:solidFill>
                <a:latin typeface="+mn-lt"/>
                <a:ea typeface="+mn-ea"/>
                <a:cs typeface="+mn-cs"/>
              </a:defRPr>
            </a:lvl4pPr>
            <a:lvl5pPr marL="1152000" indent="-288000" algn="l" defTabSz="914400" rtl="0" eaLnBrk="1" latinLnBrk="0" hangingPunct="1">
              <a:lnSpc>
                <a:spcPct val="110000"/>
              </a:lnSpc>
              <a:spcBef>
                <a:spcPts val="0"/>
              </a:spcBef>
              <a:spcAft>
                <a:spcPts val="800"/>
              </a:spcAft>
              <a:buClr>
                <a:schemeClr val="tx1"/>
              </a:buClr>
              <a:buFont typeface="Wingdings" panose="05000000000000000000" pitchFamily="2" charset="2"/>
              <a:buChar char="§"/>
              <a:defRPr sz="1600" kern="1200">
                <a:solidFill>
                  <a:schemeClr val="tx1"/>
                </a:solidFill>
                <a:latin typeface="+mn-lt"/>
                <a:ea typeface="+mn-ea"/>
                <a:cs typeface="+mn-cs"/>
              </a:defRPr>
            </a:lvl5pPr>
            <a:lvl6pPr marL="1440000" indent="-288000" algn="l" defTabSz="914400" rtl="0" eaLnBrk="1" latinLnBrk="0" hangingPunct="1">
              <a:lnSpc>
                <a:spcPct val="110000"/>
              </a:lnSpc>
              <a:spcBef>
                <a:spcPts val="0"/>
              </a:spcBef>
              <a:spcAft>
                <a:spcPts val="800"/>
              </a:spcAft>
              <a:buClr>
                <a:schemeClr val="tx1"/>
              </a:buClr>
              <a:buFont typeface="Wingdings" panose="05000000000000000000" pitchFamily="2" charset="2"/>
              <a:buChar char="§"/>
              <a:defRPr sz="1600" kern="1200">
                <a:solidFill>
                  <a:schemeClr val="tx1"/>
                </a:solidFill>
                <a:latin typeface="+mn-lt"/>
                <a:ea typeface="+mn-ea"/>
                <a:cs typeface="+mn-cs"/>
              </a:defRPr>
            </a:lvl6pPr>
            <a:lvl7pPr marL="1728000" indent="-288000" algn="l" defTabSz="914400" rtl="0" eaLnBrk="1" latinLnBrk="0" hangingPunct="1">
              <a:lnSpc>
                <a:spcPct val="110000"/>
              </a:lnSpc>
              <a:spcBef>
                <a:spcPts val="0"/>
              </a:spcBef>
              <a:spcAft>
                <a:spcPts val="800"/>
              </a:spcAft>
              <a:buClr>
                <a:schemeClr val="tx1"/>
              </a:buClr>
              <a:buFont typeface="Wingdings" panose="05000000000000000000" pitchFamily="2" charset="2"/>
              <a:buChar char="§"/>
              <a:defRPr sz="1600" kern="1200">
                <a:solidFill>
                  <a:schemeClr val="tx1"/>
                </a:solidFill>
                <a:latin typeface="+mn-lt"/>
                <a:ea typeface="+mn-ea"/>
                <a:cs typeface="+mn-cs"/>
              </a:defRPr>
            </a:lvl7pPr>
            <a:lvl8pPr marL="2016000" indent="-288000" algn="l" defTabSz="914400" rtl="0" eaLnBrk="1" latinLnBrk="0" hangingPunct="1">
              <a:lnSpc>
                <a:spcPct val="110000"/>
              </a:lnSpc>
              <a:spcBef>
                <a:spcPts val="0"/>
              </a:spcBef>
              <a:spcAft>
                <a:spcPts val="800"/>
              </a:spcAft>
              <a:buClr>
                <a:schemeClr val="tx1"/>
              </a:buClr>
              <a:buFont typeface="Wingdings" panose="05000000000000000000" pitchFamily="2" charset="2"/>
              <a:buChar char="§"/>
              <a:defRPr sz="1600" kern="1200">
                <a:solidFill>
                  <a:schemeClr val="tx1"/>
                </a:solidFill>
                <a:latin typeface="+mn-lt"/>
                <a:ea typeface="+mn-ea"/>
                <a:cs typeface="+mn-cs"/>
              </a:defRPr>
            </a:lvl8pPr>
            <a:lvl9pPr marL="2304000" indent="-288000" algn="l" defTabSz="914400" rtl="0" eaLnBrk="1" latinLnBrk="0" hangingPunct="1">
              <a:lnSpc>
                <a:spcPct val="110000"/>
              </a:lnSpc>
              <a:spcBef>
                <a:spcPts val="0"/>
              </a:spcBef>
              <a:spcAft>
                <a:spcPts val="800"/>
              </a:spcAft>
              <a:buClr>
                <a:schemeClr val="tx1"/>
              </a:buClr>
              <a:buFont typeface="Wingdings" panose="05000000000000000000" pitchFamily="2" charset="2"/>
              <a:buChar char="§"/>
              <a:defRPr sz="1600" kern="1200">
                <a:solidFill>
                  <a:schemeClr val="tx1"/>
                </a:solidFill>
                <a:latin typeface="+mn-lt"/>
                <a:ea typeface="+mn-ea"/>
                <a:cs typeface="+mn-cs"/>
              </a:defRPr>
            </a:lvl9pPr>
          </a:lstStyle>
          <a:p>
            <a:pPr marL="0" marR="0" lvl="0" indent="-28800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81AFB8"/>
                </a:solidFill>
                <a:effectLst/>
                <a:uLnTx/>
                <a:uFillTx/>
                <a:latin typeface="Rawline" panose="00000500000000000000" pitchFamily="2" charset="0"/>
                <a:ea typeface="+mn-ea"/>
                <a:cs typeface="+mn-cs"/>
              </a:rPr>
              <a:t>Amounts are in EUR net cash, excluding GST/VAT and any other tax</a:t>
            </a:r>
          </a:p>
        </p:txBody>
      </p:sp>
    </p:spTree>
    <p:extLst>
      <p:ext uri="{BB962C8B-B14F-4D97-AF65-F5344CB8AC3E}">
        <p14:creationId xmlns:p14="http://schemas.microsoft.com/office/powerpoint/2010/main" val="1956283363"/>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7A8B2C16-7C8C-4BE1-A2E8-22546ED9FB0C}"/>
              </a:ext>
            </a:extLst>
          </p:cNvPr>
          <p:cNvSpPr>
            <a:spLocks noGrp="1"/>
          </p:cNvSpPr>
          <p:nvPr>
            <p:ph type="body" idx="1"/>
          </p:nvPr>
        </p:nvSpPr>
        <p:spPr>
          <a:xfrm>
            <a:off x="504000" y="943200"/>
            <a:ext cx="11084400" cy="276999"/>
          </a:xfrm>
        </p:spPr>
        <p:txBody>
          <a:bodyPr/>
          <a:lstStyle/>
          <a:p>
            <a:r>
              <a:rPr lang="en-US">
                <a:solidFill>
                  <a:schemeClr val="accent2"/>
                </a:solidFill>
                <a:latin typeface="Rawline" panose="00000500000000000000" pitchFamily="2" charset="0"/>
              </a:rPr>
              <a:t>F9097 | 27</a:t>
            </a:r>
            <a:r>
              <a:rPr lang="en-US" baseline="30000">
                <a:solidFill>
                  <a:schemeClr val="accent2"/>
                </a:solidFill>
                <a:latin typeface="Rawline" panose="00000500000000000000" pitchFamily="2" charset="0"/>
              </a:rPr>
              <a:t>th</a:t>
            </a:r>
            <a:r>
              <a:rPr lang="en-US">
                <a:solidFill>
                  <a:schemeClr val="accent2"/>
                </a:solidFill>
                <a:latin typeface="Rawline" panose="00000500000000000000" pitchFamily="2" charset="0"/>
              </a:rPr>
              <a:t> June 2023</a:t>
            </a:r>
          </a:p>
        </p:txBody>
      </p:sp>
      <p:sp>
        <p:nvSpPr>
          <p:cNvPr id="5" name="Title 4">
            <a:extLst>
              <a:ext uri="{FF2B5EF4-FFF2-40B4-BE49-F238E27FC236}">
                <a16:creationId xmlns:a16="http://schemas.microsoft.com/office/drawing/2014/main" id="{3CCF2CEA-61B7-4415-89BC-CB354CC7874C}"/>
              </a:ext>
            </a:extLst>
          </p:cNvPr>
          <p:cNvSpPr>
            <a:spLocks noGrp="1"/>
          </p:cNvSpPr>
          <p:nvPr>
            <p:ph type="title"/>
          </p:nvPr>
        </p:nvSpPr>
        <p:spPr/>
        <p:txBody>
          <a:bodyPr/>
          <a:lstStyle/>
          <a:p>
            <a:r>
              <a:rPr lang="en-US"/>
              <a:t>Terms of agreement</a:t>
            </a:r>
          </a:p>
        </p:txBody>
      </p:sp>
      <p:sp>
        <p:nvSpPr>
          <p:cNvPr id="8" name="Content Placeholder 19">
            <a:extLst>
              <a:ext uri="{FF2B5EF4-FFF2-40B4-BE49-F238E27FC236}">
                <a16:creationId xmlns:a16="http://schemas.microsoft.com/office/drawing/2014/main" id="{F7FA2E34-6534-416D-BCDD-C72889FA9243}"/>
              </a:ext>
            </a:extLst>
          </p:cNvPr>
          <p:cNvSpPr>
            <a:spLocks noGrp="1"/>
          </p:cNvSpPr>
          <p:nvPr>
            <p:ph sz="half" idx="4294967295"/>
          </p:nvPr>
        </p:nvSpPr>
        <p:spPr>
          <a:xfrm>
            <a:off x="504001" y="2048718"/>
            <a:ext cx="5734753" cy="2707165"/>
          </a:xfrm>
        </p:spPr>
        <p:txBody>
          <a:bodyPr/>
          <a:lstStyle/>
          <a:p>
            <a:pPr marL="0" indent="0">
              <a:buNone/>
            </a:pPr>
            <a:r>
              <a:rPr lang="en-US" sz="1200"/>
              <a:t>Terms of payment: 50% upon contracting, 50% upon delivery of agreed services. Standard payment terms are 60 days after receipt of our invoice. Thereafter we will charge 1% interest costs per month. The amounts specified are net cash (excluding VAT, withholding tax, sales tax or any other applicable tax), without charges for the beneficiary. This proposal is valid for 2 months. ​</a:t>
            </a:r>
          </a:p>
          <a:p>
            <a:pPr marL="0" indent="0">
              <a:buNone/>
            </a:pPr>
            <a:endParaRPr lang="en-US" sz="1200"/>
          </a:p>
          <a:p>
            <a:pPr marL="0" indent="0">
              <a:buNone/>
            </a:pPr>
            <a:r>
              <a:rPr lang="en-US" sz="1200"/>
              <a:t>​Proposals offered and studies conducted by SKIM Analytical are bound by the terms of delivery as laid down by the Dutch ​“</a:t>
            </a:r>
            <a:r>
              <a:rPr lang="en-US" sz="1200" err="1"/>
              <a:t>Marktonderzoek</a:t>
            </a:r>
            <a:r>
              <a:rPr lang="en-US" sz="1200"/>
              <a:t> </a:t>
            </a:r>
            <a:r>
              <a:rPr lang="en-US" sz="1200" err="1"/>
              <a:t>Associatie</a:t>
            </a:r>
            <a:r>
              <a:rPr lang="en-US" sz="1200"/>
              <a:t>” (MOA). </a:t>
            </a:r>
          </a:p>
        </p:txBody>
      </p:sp>
      <p:graphicFrame>
        <p:nvGraphicFramePr>
          <p:cNvPr id="9" name="Table 26">
            <a:extLst>
              <a:ext uri="{FF2B5EF4-FFF2-40B4-BE49-F238E27FC236}">
                <a16:creationId xmlns:a16="http://schemas.microsoft.com/office/drawing/2014/main" id="{1607D866-7E2B-4D85-89A0-7F06844B15E1}"/>
              </a:ext>
            </a:extLst>
          </p:cNvPr>
          <p:cNvGraphicFramePr>
            <a:graphicFrameLocks noGrp="1"/>
          </p:cNvGraphicFramePr>
          <p:nvPr>
            <p:extLst>
              <p:ext uri="{D42A27DB-BD31-4B8C-83A1-F6EECF244321}">
                <p14:modId xmlns:p14="http://schemas.microsoft.com/office/powerpoint/2010/main" val="1983921423"/>
              </p:ext>
            </p:extLst>
          </p:nvPr>
        </p:nvGraphicFramePr>
        <p:xfrm>
          <a:off x="7334522" y="2059122"/>
          <a:ext cx="4353478" cy="2186446"/>
        </p:xfrm>
        <a:graphic>
          <a:graphicData uri="http://schemas.openxmlformats.org/drawingml/2006/table">
            <a:tbl>
              <a:tblPr firstRow="1" bandRow="1">
                <a:tableStyleId>{A6E0E982-E285-4178-BDAB-3F26002EA596}</a:tableStyleId>
              </a:tblPr>
              <a:tblGrid>
                <a:gridCol w="2376637">
                  <a:extLst>
                    <a:ext uri="{9D8B030D-6E8A-4147-A177-3AD203B41FA5}">
                      <a16:colId xmlns:a16="http://schemas.microsoft.com/office/drawing/2014/main" val="2662762495"/>
                    </a:ext>
                  </a:extLst>
                </a:gridCol>
                <a:gridCol w="1976841">
                  <a:extLst>
                    <a:ext uri="{9D8B030D-6E8A-4147-A177-3AD203B41FA5}">
                      <a16:colId xmlns:a16="http://schemas.microsoft.com/office/drawing/2014/main" val="1621083652"/>
                    </a:ext>
                  </a:extLst>
                </a:gridCol>
              </a:tblGrid>
              <a:tr h="570397">
                <a:tc gridSpan="2">
                  <a:txBody>
                    <a:bodyPr/>
                    <a:lstStyle/>
                    <a:p>
                      <a:r>
                        <a:rPr lang="en-US" sz="1200" b="1">
                          <a:solidFill>
                            <a:schemeClr val="tx1"/>
                          </a:solidFill>
                          <a:latin typeface="Rawline" panose="00000500000000000000" pitchFamily="2" charset="0"/>
                        </a:rPr>
                        <a:t>Signatures for agreement</a:t>
                      </a:r>
                      <a:endParaRPr lang="en-US" sz="1600" b="1">
                        <a:solidFill>
                          <a:schemeClr val="tx1"/>
                        </a:solidFill>
                        <a:latin typeface="Rawline" panose="00000500000000000000" pitchFamily="2"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en-SG"/>
                    </a:p>
                  </a:txBody>
                  <a:tcP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tcPr>
                </a:tc>
                <a:extLst>
                  <a:ext uri="{0D108BD9-81ED-4DB2-BD59-A6C34878D82A}">
                    <a16:rowId xmlns:a16="http://schemas.microsoft.com/office/drawing/2014/main" val="1941040565"/>
                  </a:ext>
                </a:extLst>
              </a:tr>
              <a:tr h="1616049">
                <a:tc>
                  <a:txBody>
                    <a:bodyPr/>
                    <a:lstStyle/>
                    <a:p>
                      <a:r>
                        <a:rPr lang="en-US" sz="1200">
                          <a:solidFill>
                            <a:schemeClr val="tx1"/>
                          </a:solidFill>
                          <a:latin typeface="Rawline" panose="00000500000000000000" pitchFamily="2" charset="0"/>
                        </a:rPr>
                        <a:t>SKIM</a:t>
                      </a:r>
                    </a:p>
                    <a:p>
                      <a:r>
                        <a:rPr lang="en-US" sz="1200">
                          <a:solidFill>
                            <a:schemeClr val="tx1"/>
                          </a:solidFill>
                          <a:latin typeface="Rawline" panose="00000500000000000000" pitchFamily="2" charset="0"/>
                        </a:rPr>
                        <a:t>Iris van Loon</a:t>
                      </a:r>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200">
                          <a:solidFill>
                            <a:schemeClr val="tx1"/>
                          </a:solidFill>
                          <a:latin typeface="Rawline" panose="00000500000000000000" pitchFamily="2" charset="0"/>
                        </a:rPr>
                        <a:t>Danone</a:t>
                      </a:r>
                    </a:p>
                    <a:p>
                      <a:r>
                        <a:rPr lang="en-US" sz="1200">
                          <a:solidFill>
                            <a:schemeClr val="tx1"/>
                          </a:solidFill>
                          <a:latin typeface="Rawline" panose="00000500000000000000" pitchFamily="2" charset="0"/>
                        </a:rPr>
                        <a:t>Alyssa Martin</a:t>
                      </a:r>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608537448"/>
                  </a:ext>
                </a:extLst>
              </a:tr>
            </a:tbl>
          </a:graphicData>
        </a:graphic>
      </p:graphicFrame>
      <p:sp>
        <p:nvSpPr>
          <p:cNvPr id="3" name="Afgeronde rechthoek 44">
            <a:extLst>
              <a:ext uri="{FF2B5EF4-FFF2-40B4-BE49-F238E27FC236}">
                <a16:creationId xmlns:a16="http://schemas.microsoft.com/office/drawing/2014/main" id="{52B6BDAD-814C-9FF8-F142-A01AECE39AC6}"/>
              </a:ext>
            </a:extLst>
          </p:cNvPr>
          <p:cNvSpPr/>
          <p:nvPr/>
        </p:nvSpPr>
        <p:spPr>
          <a:xfrm>
            <a:off x="0" y="5007934"/>
            <a:ext cx="12192000" cy="1850065"/>
          </a:xfrm>
          <a:prstGeom prst="roundRect">
            <a:avLst>
              <a:gd name="adj" fmla="val 0"/>
            </a:avLst>
          </a:prstGeom>
          <a:solidFill>
            <a:srgbClr val="E6EFF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chemeClr val="tx1"/>
              </a:solidFill>
              <a:latin typeface="Segoe Print" panose="02000600000000000000" pitchFamily="2" charset="0"/>
              <a:cs typeface="MV Boli" panose="02000500030200090000" pitchFamily="2" charset="0"/>
            </a:endParaRPr>
          </a:p>
        </p:txBody>
      </p:sp>
      <p:pic>
        <p:nvPicPr>
          <p:cNvPr id="4" name="doLogoTeal">
            <a:extLst>
              <a:ext uri="{FF2B5EF4-FFF2-40B4-BE49-F238E27FC236}">
                <a16:creationId xmlns:a16="http://schemas.microsoft.com/office/drawing/2014/main" id="{214BAB30-8228-CBDC-D8F2-A15A4C824F08}"/>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1559600" y="6364799"/>
            <a:ext cx="386197" cy="266610"/>
          </a:xfrm>
          <a:prstGeom prst="rect">
            <a:avLst/>
          </a:prstGeom>
        </p:spPr>
      </p:pic>
      <p:pic>
        <p:nvPicPr>
          <p:cNvPr id="15" name="Picture 14" descr="A close up of text on the side of the water&#10;&#10;Description automatically generated">
            <a:extLst>
              <a:ext uri="{FF2B5EF4-FFF2-40B4-BE49-F238E27FC236}">
                <a16:creationId xmlns:a16="http://schemas.microsoft.com/office/drawing/2014/main" id="{2831F863-AC8F-A38D-D045-FF74D9FA1EF2}"/>
              </a:ext>
            </a:extLst>
          </p:cNvPr>
          <p:cNvPicPr>
            <a:picLocks noChangeAspect="1"/>
          </p:cNvPicPr>
          <p:nvPr/>
        </p:nvPicPr>
        <p:blipFill rotWithShape="1">
          <a:blip r:embed="rId3" cstate="print">
            <a:clrChange>
              <a:clrFrom>
                <a:srgbClr val="D4D4D4"/>
              </a:clrFrom>
              <a:clrTo>
                <a:srgbClr val="D4D4D4">
                  <a:alpha val="0"/>
                </a:srgbClr>
              </a:clrTo>
            </a:clrChange>
            <a:extLst>
              <a:ext uri="{28A0092B-C50C-407E-A947-70E740481C1C}">
                <a14:useLocalDpi xmlns:a14="http://schemas.microsoft.com/office/drawing/2010/main" val="0"/>
              </a:ext>
            </a:extLst>
          </a:blip>
          <a:srcRect b="9640"/>
          <a:stretch/>
        </p:blipFill>
        <p:spPr>
          <a:xfrm>
            <a:off x="7427827" y="3051120"/>
            <a:ext cx="1336727" cy="568804"/>
          </a:xfrm>
          <a:prstGeom prst="rect">
            <a:avLst/>
          </a:prstGeom>
        </p:spPr>
      </p:pic>
      <p:sp>
        <p:nvSpPr>
          <p:cNvPr id="16" name="TextBox 15">
            <a:extLst>
              <a:ext uri="{FF2B5EF4-FFF2-40B4-BE49-F238E27FC236}">
                <a16:creationId xmlns:a16="http://schemas.microsoft.com/office/drawing/2014/main" id="{F31D4986-C3E3-F9C1-52F4-72629DED071B}"/>
              </a:ext>
            </a:extLst>
          </p:cNvPr>
          <p:cNvSpPr txBox="1"/>
          <p:nvPr/>
        </p:nvSpPr>
        <p:spPr>
          <a:xfrm>
            <a:off x="422977" y="4293912"/>
            <a:ext cx="6096000" cy="461665"/>
          </a:xfrm>
          <a:prstGeom prst="rect">
            <a:avLst/>
          </a:prstGeom>
          <a:noFill/>
        </p:spPr>
        <p:txBody>
          <a:bodyPr wrap="square">
            <a:spAutoFit/>
          </a:bodyPr>
          <a:lstStyle/>
          <a:p>
            <a:pPr marL="0" marR="0" lvl="0" indent="0" algn="l" defTabSz="685800" rtl="0" eaLnBrk="1" fontAlgn="auto" latinLnBrk="0" hangingPunct="1">
              <a:lnSpc>
                <a:spcPct val="100000"/>
              </a:lnSpc>
              <a:spcBef>
                <a:spcPts val="300"/>
              </a:spcBef>
              <a:spcAft>
                <a:spcPts val="300"/>
              </a:spcAft>
              <a:buClrTx/>
              <a:buSzTx/>
              <a:buFontTx/>
              <a:buNone/>
              <a:tabLst/>
              <a:defRPr/>
            </a:pPr>
            <a:r>
              <a:rPr kumimoji="0" lang="en-US" sz="1200" b="0" i="0" u="none" strike="noStrike" kern="1200" cap="none" spc="0" normalizeH="0" baseline="0" noProof="0">
                <a:ln>
                  <a:noFill/>
                </a:ln>
                <a:solidFill>
                  <a:schemeClr val="accent2"/>
                </a:solidFill>
                <a:effectLst/>
                <a:uLnTx/>
                <a:uFillTx/>
                <a:latin typeface="Rawline" panose="00000500000000000000" pitchFamily="2" charset="0"/>
                <a:ea typeface="+mn-ea"/>
                <a:cs typeface="+mn-cs"/>
              </a:rPr>
              <a:t>For this proposal, the conditions apply that are defined in the Master Service Agreement between DANTRADE B.V. and SKIM group B.V.</a:t>
            </a:r>
          </a:p>
        </p:txBody>
      </p:sp>
      <p:graphicFrame>
        <p:nvGraphicFramePr>
          <p:cNvPr id="2" name="Table 1">
            <a:extLst>
              <a:ext uri="{FF2B5EF4-FFF2-40B4-BE49-F238E27FC236}">
                <a16:creationId xmlns:a16="http://schemas.microsoft.com/office/drawing/2014/main" id="{DB90492B-C3C7-E281-8A09-27DC94E44BE6}"/>
              </a:ext>
            </a:extLst>
          </p:cNvPr>
          <p:cNvGraphicFramePr>
            <a:graphicFrameLocks noGrp="1"/>
          </p:cNvGraphicFramePr>
          <p:nvPr>
            <p:extLst>
              <p:ext uri="{D42A27DB-BD31-4B8C-83A1-F6EECF244321}">
                <p14:modId xmlns:p14="http://schemas.microsoft.com/office/powerpoint/2010/main" val="1625853656"/>
              </p:ext>
            </p:extLst>
          </p:nvPr>
        </p:nvGraphicFramePr>
        <p:xfrm>
          <a:off x="2965329" y="5330929"/>
          <a:ext cx="6650566" cy="1300480"/>
        </p:xfrm>
        <a:graphic>
          <a:graphicData uri="http://schemas.openxmlformats.org/drawingml/2006/table">
            <a:tbl>
              <a:tblPr firstRow="1" bandRow="1">
                <a:tableStyleId>{A6E0E982-E285-4178-BDAB-3F26002EA596}</a:tableStyleId>
              </a:tblPr>
              <a:tblGrid>
                <a:gridCol w="2182283">
                  <a:extLst>
                    <a:ext uri="{9D8B030D-6E8A-4147-A177-3AD203B41FA5}">
                      <a16:colId xmlns:a16="http://schemas.microsoft.com/office/drawing/2014/main" val="1565907153"/>
                    </a:ext>
                  </a:extLst>
                </a:gridCol>
                <a:gridCol w="2182283">
                  <a:extLst>
                    <a:ext uri="{9D8B030D-6E8A-4147-A177-3AD203B41FA5}">
                      <a16:colId xmlns:a16="http://schemas.microsoft.com/office/drawing/2014/main" val="3231589611"/>
                    </a:ext>
                  </a:extLst>
                </a:gridCol>
                <a:gridCol w="2286000">
                  <a:extLst>
                    <a:ext uri="{9D8B030D-6E8A-4147-A177-3AD203B41FA5}">
                      <a16:colId xmlns:a16="http://schemas.microsoft.com/office/drawing/2014/main" val="2026943702"/>
                    </a:ext>
                  </a:extLst>
                </a:gridCol>
              </a:tblGrid>
              <a:tr h="370840">
                <a:tc>
                  <a:txBody>
                    <a:bodyPr/>
                    <a:lstStyle/>
                    <a:p>
                      <a:r>
                        <a:rPr lang="en-US" sz="1600" b="1">
                          <a:solidFill>
                            <a:schemeClr val="bg2"/>
                          </a:solidFill>
                          <a:latin typeface="Rawline" panose="00000500000000000000" pitchFamily="2" charset="0"/>
                          <a:cs typeface="Arial" panose="020B0604020202020204" pitchFamily="34" charset="0"/>
                        </a:rPr>
                        <a:t>Deliverables</a:t>
                      </a:r>
                      <a:endParaRPr lang="en-US" sz="1600">
                        <a:solidFill>
                          <a:schemeClr val="bg2"/>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600" b="1">
                          <a:solidFill>
                            <a:schemeClr val="bg2"/>
                          </a:solidFill>
                          <a:latin typeface="Rawline" panose="00000500000000000000" pitchFamily="2" charset="0"/>
                          <a:cs typeface="Arial" panose="020B0604020202020204" pitchFamily="34" charset="0"/>
                        </a:rPr>
                        <a:t>Markets</a:t>
                      </a:r>
                      <a:endParaRPr lang="en-US" sz="1600">
                        <a:solidFill>
                          <a:schemeClr val="bg2"/>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600" b="1">
                          <a:solidFill>
                            <a:schemeClr val="bg2"/>
                          </a:solidFill>
                          <a:latin typeface="Rawline" panose="00000500000000000000" pitchFamily="2" charset="0"/>
                          <a:cs typeface="Arial" panose="020B0604020202020204" pitchFamily="34" charset="0"/>
                        </a:rPr>
                        <a:t>Sample</a:t>
                      </a:r>
                      <a:endParaRPr lang="en-US" sz="1600">
                        <a:solidFill>
                          <a:schemeClr val="bg2"/>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290072878"/>
                  </a:ext>
                </a:extLst>
              </a:tr>
              <a:tr h="367662">
                <a:tc>
                  <a:txBody>
                    <a:bodyPr/>
                    <a:lstStyle/>
                    <a:p>
                      <a:pPr marL="171450" marR="0" lvl="0" indent="-171450" algn="l" defTabSz="914400" rtl="0" eaLnBrk="1" fontAlgn="auto" latinLnBrk="0" hangingPunct="1">
                        <a:lnSpc>
                          <a:spcPct val="100000"/>
                        </a:lnSpc>
                        <a:spcBef>
                          <a:spcPts val="0"/>
                        </a:spcBef>
                        <a:spcAft>
                          <a:spcPts val="0"/>
                        </a:spcAft>
                        <a:buClr>
                          <a:schemeClr val="accent1"/>
                        </a:buClr>
                        <a:buSzTx/>
                        <a:buFont typeface="Wingdings" panose="05000000000000000000" pitchFamily="2" charset="2"/>
                        <a:buChar char="§"/>
                        <a:tabLst/>
                        <a:defRPr/>
                      </a:pPr>
                      <a:r>
                        <a:rPr lang="en-US" sz="1100">
                          <a:solidFill>
                            <a:schemeClr val="bg2"/>
                          </a:solidFill>
                          <a:latin typeface="Rawline" panose="00000500000000000000" pitchFamily="2" charset="0"/>
                          <a:cs typeface="Segoe UI Semilight" panose="020B0402040204020203" pitchFamily="34" charset="0"/>
                        </a:rPr>
                        <a:t>Workshop</a:t>
                      </a:r>
                    </a:p>
                    <a:p>
                      <a:pPr marL="171450" marR="0" lvl="0" indent="-171450" algn="l" defTabSz="914400" rtl="0" eaLnBrk="1" fontAlgn="auto" latinLnBrk="0" hangingPunct="1">
                        <a:lnSpc>
                          <a:spcPct val="100000"/>
                        </a:lnSpc>
                        <a:spcBef>
                          <a:spcPts val="0"/>
                        </a:spcBef>
                        <a:spcAft>
                          <a:spcPts val="0"/>
                        </a:spcAft>
                        <a:buClr>
                          <a:schemeClr val="accent1"/>
                        </a:buClr>
                        <a:buSzTx/>
                        <a:buFont typeface="Wingdings" panose="05000000000000000000" pitchFamily="2" charset="2"/>
                        <a:buChar char="§"/>
                        <a:tabLst/>
                        <a:defRPr/>
                      </a:pPr>
                      <a:r>
                        <a:rPr lang="en-US" sz="1100">
                          <a:solidFill>
                            <a:schemeClr val="bg2"/>
                          </a:solidFill>
                          <a:latin typeface="Rawline" panose="00000500000000000000" pitchFamily="2" charset="0"/>
                          <a:cs typeface="Segoe UI Semilight" panose="020B0402040204020203" pitchFamily="34" charset="0"/>
                        </a:rPr>
                        <a:t>Full Report deck</a:t>
                      </a:r>
                    </a:p>
                    <a:p>
                      <a:pPr marL="171450" marR="0" lvl="0" indent="-171450" algn="l" defTabSz="914400" rtl="0" eaLnBrk="1" fontAlgn="auto" latinLnBrk="0" hangingPunct="1">
                        <a:lnSpc>
                          <a:spcPct val="100000"/>
                        </a:lnSpc>
                        <a:spcBef>
                          <a:spcPts val="0"/>
                        </a:spcBef>
                        <a:spcAft>
                          <a:spcPts val="0"/>
                        </a:spcAft>
                        <a:buClr>
                          <a:schemeClr val="accent1"/>
                        </a:buClr>
                        <a:buSzTx/>
                        <a:buFont typeface="Wingdings" panose="05000000000000000000" pitchFamily="2" charset="2"/>
                        <a:buChar char="§"/>
                        <a:tabLst/>
                        <a:defRPr/>
                      </a:pPr>
                      <a:r>
                        <a:rPr lang="en-US" sz="1100">
                          <a:solidFill>
                            <a:schemeClr val="bg2"/>
                          </a:solidFill>
                          <a:latin typeface="Rawline" panose="00000500000000000000" pitchFamily="2" charset="0"/>
                          <a:cs typeface="Segoe UI Semilight" panose="020B0402040204020203" pitchFamily="34" charset="0"/>
                        </a:rPr>
                        <a:t>(Online) Debrief session</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lang="en-US" sz="1100">
                          <a:solidFill>
                            <a:schemeClr val="bg2"/>
                          </a:solidFill>
                        </a:rPr>
                        <a:t>UK</a:t>
                      </a:r>
                    </a:p>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lang="en-US" sz="1100">
                          <a:solidFill>
                            <a:schemeClr val="bg2"/>
                          </a:solidFill>
                        </a:rPr>
                        <a:t>Germany</a:t>
                      </a:r>
                    </a:p>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lang="en-US" sz="1100">
                          <a:solidFill>
                            <a:schemeClr val="bg2"/>
                          </a:solidFill>
                        </a:rPr>
                        <a:t>Italy</a:t>
                      </a:r>
                    </a:p>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lang="en-US" sz="1100">
                          <a:solidFill>
                            <a:schemeClr val="bg2"/>
                          </a:solidFill>
                        </a:rPr>
                        <a:t>Sweden</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100" b="0" i="0" u="none" strike="noStrike" kern="1200" cap="none" spc="0" normalizeH="0" baseline="0" noProof="0" err="1">
                          <a:ln>
                            <a:noFill/>
                          </a:ln>
                          <a:solidFill>
                            <a:schemeClr val="bg2"/>
                          </a:solidFill>
                          <a:effectLst/>
                          <a:uLnTx/>
                          <a:uFillTx/>
                          <a:latin typeface="Rawline" panose="00000500000000000000" pitchFamily="2" charset="0"/>
                          <a:ea typeface="+mn-ea"/>
                          <a:cs typeface="Segoe UI Semilight" panose="020B0402040204020203" pitchFamily="34" charset="0"/>
                        </a:rPr>
                        <a:t>QualBites</a:t>
                      </a:r>
                      <a:r>
                        <a:rPr kumimoji="0" lang="en-US" sz="1100" b="0" i="0" u="none" strike="noStrike" kern="1200" cap="none" spc="0" normalizeH="0" baseline="0" noProof="0">
                          <a:ln>
                            <a:noFill/>
                          </a:ln>
                          <a:solidFill>
                            <a:schemeClr val="bg2"/>
                          </a:solidFill>
                          <a:effectLst/>
                          <a:uLnTx/>
                          <a:uFillTx/>
                          <a:latin typeface="Rawline" panose="00000500000000000000" pitchFamily="2" charset="0"/>
                          <a:ea typeface="+mn-ea"/>
                          <a:cs typeface="Segoe UI Semilight" panose="020B0402040204020203" pitchFamily="34" charset="0"/>
                        </a:rPr>
                        <a:t>, n=500 in Germany</a:t>
                      </a: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100" b="0" i="0" u="none" strike="noStrike" kern="1200" cap="none" spc="0" normalizeH="0" baseline="0" noProof="0">
                          <a:ln>
                            <a:noFill/>
                          </a:ln>
                          <a:solidFill>
                            <a:schemeClr val="bg2"/>
                          </a:solidFill>
                          <a:effectLst/>
                          <a:uLnTx/>
                          <a:uFillTx/>
                          <a:latin typeface="Rawline" panose="00000500000000000000" pitchFamily="2" charset="0"/>
                          <a:ea typeface="+mn-ea"/>
                          <a:cs typeface="Segoe UI Semilight" panose="020B0402040204020203" pitchFamily="34" charset="0"/>
                        </a:rPr>
                        <a:t>n = 500 per market</a:t>
                      </a: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100" b="0" i="0" u="none" strike="noStrike" kern="1200" cap="none" spc="0" normalizeH="0" baseline="0" noProof="0">
                          <a:ln>
                            <a:noFill/>
                          </a:ln>
                          <a:solidFill>
                            <a:schemeClr val="bg2"/>
                          </a:solidFill>
                          <a:effectLst/>
                          <a:uLnTx/>
                          <a:uFillTx/>
                          <a:latin typeface="Rawline" panose="00000500000000000000" pitchFamily="2" charset="0"/>
                          <a:ea typeface="+mn-ea"/>
                          <a:cs typeface="Segoe UI Semilight" panose="020B0402040204020203" pitchFamily="34" charset="0"/>
                        </a:rPr>
                        <a:t>Users and Non-Rejectors of </a:t>
                      </a:r>
                      <a:r>
                        <a:rPr kumimoji="0" lang="en-US" sz="1100" b="0" i="0" u="none" strike="noStrike" kern="1200" cap="none" spc="0" normalizeH="0" baseline="0" noProof="0" err="1">
                          <a:ln>
                            <a:noFill/>
                          </a:ln>
                          <a:solidFill>
                            <a:schemeClr val="bg2"/>
                          </a:solidFill>
                          <a:effectLst/>
                          <a:uLnTx/>
                          <a:uFillTx/>
                          <a:latin typeface="Rawline" panose="00000500000000000000" pitchFamily="2" charset="0"/>
                          <a:ea typeface="+mn-ea"/>
                          <a:cs typeface="Segoe UI Semilight" panose="020B0402040204020203" pitchFamily="34" charset="0"/>
                        </a:rPr>
                        <a:t>Alpro</a:t>
                      </a:r>
                      <a:r>
                        <a:rPr kumimoji="0" lang="en-US" sz="1100" b="0" i="0" u="none" strike="noStrike" kern="1200" cap="none" spc="0" normalizeH="0" baseline="0" noProof="0">
                          <a:ln>
                            <a:noFill/>
                          </a:ln>
                          <a:solidFill>
                            <a:schemeClr val="bg2"/>
                          </a:solidFill>
                          <a:effectLst/>
                          <a:uLnTx/>
                          <a:uFillTx/>
                          <a:latin typeface="Rawline" panose="00000500000000000000" pitchFamily="2" charset="0"/>
                          <a:ea typeface="+mn-ea"/>
                          <a:cs typeface="Segoe UI Semilight" panose="020B0402040204020203" pitchFamily="34" charset="0"/>
                        </a:rPr>
                        <a:t> (Drinks and Yoghurts)</a:t>
                      </a: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endParaRPr kumimoji="0" lang="en-US" sz="1100" b="0" i="0" u="none" strike="noStrike" kern="1200" cap="none" spc="0" normalizeH="0" baseline="0" noProof="0">
                        <a:ln>
                          <a:noFill/>
                        </a:ln>
                        <a:solidFill>
                          <a:schemeClr val="bg2"/>
                        </a:solidFill>
                        <a:effectLst/>
                        <a:uLnTx/>
                        <a:uFillTx/>
                        <a:latin typeface="Rawline" panose="00000500000000000000" pitchFamily="2" charset="0"/>
                        <a:ea typeface="+mn-ea"/>
                        <a:cs typeface="Segoe UI Semilight" panose="020B0402040204020203" pitchFamily="34"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363895419"/>
                  </a:ext>
                </a:extLst>
              </a:tr>
            </a:tbl>
          </a:graphicData>
        </a:graphic>
      </p:graphicFrame>
      <p:pic>
        <p:nvPicPr>
          <p:cNvPr id="18" name="Graphic 17" descr="Globe outline">
            <a:extLst>
              <a:ext uri="{FF2B5EF4-FFF2-40B4-BE49-F238E27FC236}">
                <a16:creationId xmlns:a16="http://schemas.microsoft.com/office/drawing/2014/main" id="{F99FFC29-F26C-AD2F-7385-032856DD1C8B}"/>
              </a:ext>
            </a:extLst>
          </p:cNvPr>
          <p:cNvPicPr>
            <a:picLocks noChangeAspect="1"/>
          </p:cNvPicPr>
          <p:nvPr/>
        </p:nvPicPr>
        <p:blipFill rotWithShape="1">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rcRect l="9931" t="4536" r="12384" b="-1"/>
          <a:stretch/>
        </p:blipFill>
        <p:spPr>
          <a:xfrm>
            <a:off x="6068468" y="5330074"/>
            <a:ext cx="243156" cy="298800"/>
          </a:xfrm>
          <a:prstGeom prst="rect">
            <a:avLst/>
          </a:prstGeom>
        </p:spPr>
      </p:pic>
      <p:pic>
        <p:nvPicPr>
          <p:cNvPr id="19" name="Graphic 18" descr="Checkbox Checked outline">
            <a:extLst>
              <a:ext uri="{FF2B5EF4-FFF2-40B4-BE49-F238E27FC236}">
                <a16:creationId xmlns:a16="http://schemas.microsoft.com/office/drawing/2014/main" id="{6FAA33BC-398B-6191-CB3D-6A6E66EF8C67}"/>
              </a:ext>
            </a:extLst>
          </p:cNvPr>
          <p:cNvPicPr>
            <a:picLocks noChangeAspect="1"/>
          </p:cNvPicPr>
          <p:nvPr/>
        </p:nvPicPr>
        <p:blipFill rotWithShape="1">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rcRect l="21566" t="21999" r="21340" b="20727"/>
          <a:stretch/>
        </p:blipFill>
        <p:spPr>
          <a:xfrm>
            <a:off x="4383832" y="5348220"/>
            <a:ext cx="288000" cy="288902"/>
          </a:xfrm>
          <a:prstGeom prst="rect">
            <a:avLst/>
          </a:prstGeom>
        </p:spPr>
      </p:pic>
      <p:pic>
        <p:nvPicPr>
          <p:cNvPr id="20" name="Graphic 19" descr="User outline">
            <a:extLst>
              <a:ext uri="{FF2B5EF4-FFF2-40B4-BE49-F238E27FC236}">
                <a16:creationId xmlns:a16="http://schemas.microsoft.com/office/drawing/2014/main" id="{2FBFC17F-605C-1E17-8B6B-530A9D049B73}"/>
              </a:ext>
            </a:extLst>
          </p:cNvPr>
          <p:cNvPicPr>
            <a:picLocks noChangeAspect="1"/>
          </p:cNvPicPr>
          <p:nvPr/>
        </p:nvPicPr>
        <p:blipFill rotWithShape="1">
          <a:blip r:embed="rId8" cstate="print">
            <a:extLst>
              <a:ext uri="{28A0092B-C50C-407E-A947-70E740481C1C}">
                <a14:useLocalDpi xmlns:a14="http://schemas.microsoft.com/office/drawing/2010/main" val="0"/>
              </a:ext>
              <a:ext uri="{96DAC541-7B7A-43D3-8B79-37D633B846F1}">
                <asvg:svgBlip xmlns:asvg="http://schemas.microsoft.com/office/drawing/2016/SVG/main" r:embed="rId9"/>
              </a:ext>
            </a:extLst>
          </a:blip>
          <a:srcRect l="14706" t="12485" r="14328" b="11121"/>
          <a:stretch/>
        </p:blipFill>
        <p:spPr>
          <a:xfrm>
            <a:off x="8251057" y="5341460"/>
            <a:ext cx="273468" cy="294390"/>
          </a:xfrm>
          <a:prstGeom prst="rect">
            <a:avLst/>
          </a:prstGeom>
        </p:spPr>
      </p:pic>
    </p:spTree>
    <p:extLst>
      <p:ext uri="{BB962C8B-B14F-4D97-AF65-F5344CB8AC3E}">
        <p14:creationId xmlns:p14="http://schemas.microsoft.com/office/powerpoint/2010/main" val="1724006112"/>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descr="SKIM office">
            <a:extLst>
              <a:ext uri="{FF2B5EF4-FFF2-40B4-BE49-F238E27FC236}">
                <a16:creationId xmlns:a16="http://schemas.microsoft.com/office/drawing/2014/main" id="{37FF736E-A2E7-49A7-8F23-EAE008389E05}"/>
              </a:ext>
            </a:extLst>
          </p:cNvPr>
          <p:cNvPicPr>
            <a:picLocks noGrp="1" noChangeAspect="1"/>
          </p:cNvPicPr>
          <p:nvPr>
            <p:ph type="pic" sz="quarter" idx="10"/>
          </p:nvPr>
        </p:nvPicPr>
        <p:blipFill>
          <a:blip r:embed="rId2" cstate="print">
            <a:extLst>
              <a:ext uri="{28A0092B-C50C-407E-A947-70E740481C1C}">
                <a14:useLocalDpi xmlns:a14="http://schemas.microsoft.com/office/drawing/2010/main" val="0"/>
              </a:ext>
            </a:extLst>
          </a:blip>
          <a:srcRect t="22" b="22"/>
          <a:stretch>
            <a:fillRect/>
          </a:stretch>
        </p:blipFill>
        <p:spPr/>
      </p:pic>
      <p:sp>
        <p:nvSpPr>
          <p:cNvPr id="9" name="doOverlay">
            <a:extLst>
              <a:ext uri="{FF2B5EF4-FFF2-40B4-BE49-F238E27FC236}">
                <a16:creationId xmlns:a16="http://schemas.microsoft.com/office/drawing/2014/main" id="{01DCF5BE-9DD0-469C-8DF7-A7DC26BB3274}"/>
              </a:ext>
            </a:extLst>
          </p:cNvPr>
          <p:cNvSpPr/>
          <p:nvPr/>
        </p:nvSpPr>
        <p:spPr>
          <a:xfrm>
            <a:off x="3642000" y="0"/>
            <a:ext cx="8549999" cy="6858000"/>
          </a:xfrm>
          <a:prstGeom prst="rect">
            <a:avLst/>
          </a:prstGeom>
          <a:solidFill>
            <a:srgbClr val="1C6D7D">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tIns="54000" bIns="54000" rtlCol="0" anchor="t" anchorCtr="0">
            <a:noAutofit/>
          </a:bodyPr>
          <a:lstStyle/>
          <a:p>
            <a:pPr algn="l">
              <a:lnSpc>
                <a:spcPct val="110000"/>
              </a:lnSpc>
            </a:pPr>
            <a:endParaRPr lang="en-US" sz="1400">
              <a:solidFill>
                <a:schemeClr val="tx1"/>
              </a:solidFill>
            </a:endParaRPr>
          </a:p>
        </p:txBody>
      </p:sp>
      <p:sp>
        <p:nvSpPr>
          <p:cNvPr id="3" name="Title 2">
            <a:extLst>
              <a:ext uri="{FF2B5EF4-FFF2-40B4-BE49-F238E27FC236}">
                <a16:creationId xmlns:a16="http://schemas.microsoft.com/office/drawing/2014/main" id="{6F8E5C85-6C3F-41EF-8E15-D6E94B0BBF00}"/>
              </a:ext>
            </a:extLst>
          </p:cNvPr>
          <p:cNvSpPr>
            <a:spLocks noGrp="1"/>
          </p:cNvSpPr>
          <p:nvPr>
            <p:ph type="title"/>
          </p:nvPr>
        </p:nvSpPr>
        <p:spPr/>
        <p:txBody>
          <a:bodyPr/>
          <a:lstStyle/>
          <a:p>
            <a:r>
              <a:rPr lang="en-US"/>
              <a:t>Thank you</a:t>
            </a:r>
          </a:p>
        </p:txBody>
      </p:sp>
      <p:sp>
        <p:nvSpPr>
          <p:cNvPr id="4" name="Text Placeholder 3">
            <a:extLst>
              <a:ext uri="{FF2B5EF4-FFF2-40B4-BE49-F238E27FC236}">
                <a16:creationId xmlns:a16="http://schemas.microsoft.com/office/drawing/2014/main" id="{4B4A05B4-21E6-4875-8A6F-985B337D906D}"/>
              </a:ext>
            </a:extLst>
          </p:cNvPr>
          <p:cNvSpPr>
            <a:spLocks noGrp="1"/>
          </p:cNvSpPr>
          <p:nvPr>
            <p:ph type="body" sz="quarter" idx="11"/>
          </p:nvPr>
        </p:nvSpPr>
        <p:spPr/>
        <p:txBody>
          <a:bodyPr/>
          <a:lstStyle/>
          <a:p>
            <a:r>
              <a:rPr lang="en-US"/>
              <a:t>Iris van Loon</a:t>
            </a:r>
          </a:p>
          <a:p>
            <a:r>
              <a:rPr lang="en-US" b="0"/>
              <a:t>Associate Director</a:t>
            </a:r>
          </a:p>
          <a:p>
            <a:r>
              <a:rPr lang="en-US">
                <a:hlinkClick r:id="rId3"/>
              </a:rPr>
              <a:t>i.vanloon@skimgroup.com</a:t>
            </a:r>
            <a:endParaRPr lang="en-US"/>
          </a:p>
          <a:p>
            <a:endParaRPr lang="en-US"/>
          </a:p>
          <a:p>
            <a:r>
              <a:rPr lang="en-US"/>
              <a:t>Elena le </a:t>
            </a:r>
            <a:r>
              <a:rPr lang="en-US" err="1"/>
              <a:t>Gouic</a:t>
            </a:r>
            <a:endParaRPr lang="en-US"/>
          </a:p>
          <a:p>
            <a:r>
              <a:rPr lang="en-US" b="0"/>
              <a:t>Manager</a:t>
            </a:r>
          </a:p>
          <a:p>
            <a:r>
              <a:rPr lang="en-US">
                <a:hlinkClick r:id="rId4"/>
              </a:rPr>
              <a:t>e.legouic@skimgroup.com</a:t>
            </a:r>
            <a:r>
              <a:rPr lang="en-US"/>
              <a:t> </a:t>
            </a:r>
          </a:p>
          <a:p>
            <a:endParaRPr lang="en-US"/>
          </a:p>
          <a:p>
            <a:r>
              <a:rPr lang="en-US"/>
              <a:t>Charlotte Newman</a:t>
            </a:r>
          </a:p>
          <a:p>
            <a:r>
              <a:rPr lang="en-US" b="0"/>
              <a:t>Analyst</a:t>
            </a:r>
          </a:p>
          <a:p>
            <a:r>
              <a:rPr lang="en-US">
                <a:hlinkClick r:id="rId5"/>
              </a:rPr>
              <a:t>c.newman@skimgroup.com</a:t>
            </a:r>
            <a:r>
              <a:rPr lang="en-US"/>
              <a:t> </a:t>
            </a:r>
          </a:p>
          <a:p>
            <a:endParaRPr lang="en-US"/>
          </a:p>
          <a:p>
            <a:endParaRPr lang="en-US"/>
          </a:p>
        </p:txBody>
      </p:sp>
      <p:grpSp>
        <p:nvGrpSpPr>
          <p:cNvPr id="10" name="Group 9">
            <a:extLst>
              <a:ext uri="{FF2B5EF4-FFF2-40B4-BE49-F238E27FC236}">
                <a16:creationId xmlns:a16="http://schemas.microsoft.com/office/drawing/2014/main" id="{B741AA4D-3D9D-46C9-B4EB-06F377A4FFA6}"/>
              </a:ext>
            </a:extLst>
          </p:cNvPr>
          <p:cNvGrpSpPr/>
          <p:nvPr/>
        </p:nvGrpSpPr>
        <p:grpSpPr>
          <a:xfrm>
            <a:off x="4094095" y="5582159"/>
            <a:ext cx="2586428" cy="342741"/>
            <a:chOff x="333136" y="4671659"/>
            <a:chExt cx="1939821" cy="257056"/>
          </a:xfrm>
        </p:grpSpPr>
        <p:pic>
          <p:nvPicPr>
            <p:cNvPr id="11" name="Afbeelding 3" descr="006-linkedin-logo-button.png">
              <a:hlinkClick r:id="rId6"/>
              <a:extLst>
                <a:ext uri="{FF2B5EF4-FFF2-40B4-BE49-F238E27FC236}">
                  <a16:creationId xmlns:a16="http://schemas.microsoft.com/office/drawing/2014/main" id="{3F6E2617-B734-4FED-99AB-2704CF4D5E38}"/>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333136" y="4671659"/>
              <a:ext cx="257056" cy="257056"/>
            </a:xfrm>
            <a:prstGeom prst="rect">
              <a:avLst/>
            </a:prstGeom>
          </p:spPr>
        </p:pic>
        <p:pic>
          <p:nvPicPr>
            <p:cNvPr id="12" name="Afbeelding 4" descr="005-youtube-symbol.png">
              <a:hlinkClick r:id="rId8"/>
              <a:extLst>
                <a:ext uri="{FF2B5EF4-FFF2-40B4-BE49-F238E27FC236}">
                  <a16:creationId xmlns:a16="http://schemas.microsoft.com/office/drawing/2014/main" id="{DAD86714-B9F9-4255-BFF2-EB940493B815}"/>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1176695" y="4671659"/>
              <a:ext cx="257056" cy="257056"/>
            </a:xfrm>
            <a:prstGeom prst="rect">
              <a:avLst/>
            </a:prstGeom>
          </p:spPr>
        </p:pic>
        <p:pic>
          <p:nvPicPr>
            <p:cNvPr id="13" name="Afbeelding 14" descr="003-twitter-logo-button.png">
              <a:hlinkClick r:id="rId10"/>
              <a:extLst>
                <a:ext uri="{FF2B5EF4-FFF2-40B4-BE49-F238E27FC236}">
                  <a16:creationId xmlns:a16="http://schemas.microsoft.com/office/drawing/2014/main" id="{98FA1102-64FB-4DC7-88A9-B402B72FF76A}"/>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757091" y="4676010"/>
              <a:ext cx="252705" cy="252705"/>
            </a:xfrm>
            <a:prstGeom prst="rect">
              <a:avLst/>
            </a:prstGeom>
          </p:spPr>
        </p:pic>
        <p:pic>
          <p:nvPicPr>
            <p:cNvPr id="14" name="Afbeelding 15" descr="002-facebook-logo-button.png">
              <a:hlinkClick r:id="rId12"/>
              <a:extLst>
                <a:ext uri="{FF2B5EF4-FFF2-40B4-BE49-F238E27FC236}">
                  <a16:creationId xmlns:a16="http://schemas.microsoft.com/office/drawing/2014/main" id="{B9B0C91E-FAA9-4C0B-AA4D-01B4A1EBBB76}"/>
                </a:ext>
              </a:extLst>
            </p:cNvPr>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1600650" y="4676010"/>
              <a:ext cx="252705" cy="252705"/>
            </a:xfrm>
            <a:prstGeom prst="rect">
              <a:avLst/>
            </a:prstGeom>
          </p:spPr>
        </p:pic>
        <p:pic>
          <p:nvPicPr>
            <p:cNvPr id="15" name="Afbeelding 16" descr="001-instagram.png">
              <a:hlinkClick r:id="rId14"/>
              <a:extLst>
                <a:ext uri="{FF2B5EF4-FFF2-40B4-BE49-F238E27FC236}">
                  <a16:creationId xmlns:a16="http://schemas.microsoft.com/office/drawing/2014/main" id="{1DD06D0C-9518-47AC-9B93-F37E0451548E}"/>
                </a:ext>
              </a:extLst>
            </p:cNvPr>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2020252" y="4676010"/>
              <a:ext cx="252705" cy="252705"/>
            </a:xfrm>
            <a:prstGeom prst="rect">
              <a:avLst/>
            </a:prstGeom>
          </p:spPr>
        </p:pic>
      </p:grpSp>
      <p:pic>
        <p:nvPicPr>
          <p:cNvPr id="16" name="doLogoLarge" descr="Logo&#10;&#10;Description automatically generated">
            <a:extLst>
              <a:ext uri="{FF2B5EF4-FFF2-40B4-BE49-F238E27FC236}">
                <a16:creationId xmlns:a16="http://schemas.microsoft.com/office/drawing/2014/main" id="{12D7D468-6334-47C4-B1BA-442F156C56B3}"/>
              </a:ext>
            </a:extLst>
          </p:cNvPr>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9506775" y="5032103"/>
            <a:ext cx="2268245" cy="1420488"/>
          </a:xfrm>
          <a:prstGeom prst="rect">
            <a:avLst/>
          </a:prstGeom>
        </p:spPr>
      </p:pic>
      <p:sp>
        <p:nvSpPr>
          <p:cNvPr id="17" name="TextBox 25">
            <a:extLst>
              <a:ext uri="{FF2B5EF4-FFF2-40B4-BE49-F238E27FC236}">
                <a16:creationId xmlns:a16="http://schemas.microsoft.com/office/drawing/2014/main" id="{086A5F3E-4508-46CC-98C5-E2FD40D0A0BD}"/>
              </a:ext>
            </a:extLst>
          </p:cNvPr>
          <p:cNvSpPr txBox="1"/>
          <p:nvPr/>
        </p:nvSpPr>
        <p:spPr>
          <a:xfrm>
            <a:off x="4094095" y="6009444"/>
            <a:ext cx="2770248" cy="366832"/>
          </a:xfrm>
          <a:prstGeom prst="rect">
            <a:avLst/>
          </a:prstGeom>
          <a:noFill/>
          <a:ln>
            <a:noFill/>
          </a:ln>
        </p:spPr>
        <p:txBody>
          <a:bodyPr wrap="square" lIns="0" tIns="0" rIns="0" bIns="0">
            <a:noAutofit/>
          </a:bodyPr>
          <a:lstStyle/>
          <a:p>
            <a:pPr algn="l">
              <a:lnSpc>
                <a:spcPct val="150000"/>
              </a:lnSpc>
            </a:pPr>
            <a:r>
              <a:rPr lang="en-US" sz="2000" b="1">
                <a:solidFill>
                  <a:schemeClr val="bg1"/>
                </a:solidFill>
                <a:latin typeface="+mj-lt"/>
              </a:rPr>
              <a:t>SKIMgroup.com</a:t>
            </a:r>
          </a:p>
        </p:txBody>
      </p:sp>
    </p:spTree>
    <p:extLst>
      <p:ext uri="{BB962C8B-B14F-4D97-AF65-F5344CB8AC3E}">
        <p14:creationId xmlns:p14="http://schemas.microsoft.com/office/powerpoint/2010/main" val="287338550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a:extLst>
              <a:ext uri="{FF2B5EF4-FFF2-40B4-BE49-F238E27FC236}">
                <a16:creationId xmlns:a16="http://schemas.microsoft.com/office/drawing/2014/main" id="{4C93857E-31EC-4FA9-B38F-5EE0597B2049}"/>
              </a:ext>
            </a:extLst>
          </p:cNvPr>
          <p:cNvPicPr>
            <a:picLocks noGrp="1" noChangeAspect="1"/>
          </p:cNvPicPr>
          <p:nvPr>
            <p:ph type="pic" sz="quarter" idx="13"/>
          </p:nvPr>
        </p:nvPicPr>
        <p:blipFill>
          <a:blip r:embed="rId2">
            <a:extLst>
              <a:ext uri="{28A0092B-C50C-407E-A947-70E740481C1C}">
                <a14:useLocalDpi xmlns:a14="http://schemas.microsoft.com/office/drawing/2010/main" val="0"/>
              </a:ext>
            </a:extLst>
          </a:blip>
          <a:srcRect t="39" b="39"/>
          <a:stretch>
            <a:fillRect/>
          </a:stretch>
        </p:blipFill>
        <p:spPr/>
      </p:pic>
      <p:sp>
        <p:nvSpPr>
          <p:cNvPr id="10" name="doOverlay">
            <a:extLst>
              <a:ext uri="{FF2B5EF4-FFF2-40B4-BE49-F238E27FC236}">
                <a16:creationId xmlns:a16="http://schemas.microsoft.com/office/drawing/2014/main" id="{C889A2BF-ADE8-4080-B4E5-6D4BC6296B1E}"/>
              </a:ext>
            </a:extLst>
          </p:cNvPr>
          <p:cNvSpPr/>
          <p:nvPr/>
        </p:nvSpPr>
        <p:spPr>
          <a:xfrm>
            <a:off x="0" y="0"/>
            <a:ext cx="12192000" cy="6858000"/>
          </a:xfrm>
          <a:prstGeom prst="rect">
            <a:avLst/>
          </a:prstGeom>
          <a:solidFill>
            <a:schemeClr val="accent1">
              <a:alpha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54000" bIns="54000" rtlCol="0" anchor="t" anchorCtr="0">
            <a:noAutofit/>
          </a:bodyPr>
          <a:lstStyle/>
          <a:p>
            <a:pPr algn="l">
              <a:lnSpc>
                <a:spcPct val="110000"/>
              </a:lnSpc>
            </a:pPr>
            <a:endParaRPr lang="en-US" sz="1400">
              <a:solidFill>
                <a:schemeClr val="tx1"/>
              </a:solidFill>
            </a:endParaRPr>
          </a:p>
        </p:txBody>
      </p:sp>
      <p:sp>
        <p:nvSpPr>
          <p:cNvPr id="5" name="Title 4">
            <a:extLst>
              <a:ext uri="{FF2B5EF4-FFF2-40B4-BE49-F238E27FC236}">
                <a16:creationId xmlns:a16="http://schemas.microsoft.com/office/drawing/2014/main" id="{40C2013A-C373-42D1-B17C-78C20930D614}"/>
              </a:ext>
            </a:extLst>
          </p:cNvPr>
          <p:cNvSpPr>
            <a:spLocks noGrp="1"/>
          </p:cNvSpPr>
          <p:nvPr>
            <p:ph type="ctrTitle"/>
          </p:nvPr>
        </p:nvSpPr>
        <p:spPr/>
        <p:txBody>
          <a:bodyPr/>
          <a:lstStyle/>
          <a:p>
            <a:r>
              <a:rPr lang="en-US"/>
              <a:t>The opportunity</a:t>
            </a:r>
          </a:p>
        </p:txBody>
      </p:sp>
      <p:pic>
        <p:nvPicPr>
          <p:cNvPr id="11" name="doLogoWhite">
            <a:extLst>
              <a:ext uri="{FF2B5EF4-FFF2-40B4-BE49-F238E27FC236}">
                <a16:creationId xmlns:a16="http://schemas.microsoft.com/office/drawing/2014/main" id="{E4F4FEE3-8D52-40F0-B65B-8B02308F9A21}"/>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559600" y="6364799"/>
            <a:ext cx="386197" cy="266610"/>
          </a:xfrm>
          <a:prstGeom prst="rect">
            <a:avLst/>
          </a:prstGeom>
        </p:spPr>
      </p:pic>
    </p:spTree>
    <p:extLst>
      <p:ext uri="{BB962C8B-B14F-4D97-AF65-F5344CB8AC3E}">
        <p14:creationId xmlns:p14="http://schemas.microsoft.com/office/powerpoint/2010/main" val="385579693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848CF35-A206-CAF6-F31C-6ED6A4C631EC}"/>
              </a:ext>
            </a:extLst>
          </p:cNvPr>
          <p:cNvSpPr>
            <a:spLocks noGrp="1"/>
          </p:cNvSpPr>
          <p:nvPr>
            <p:ph type="body" sz="quarter" idx="28"/>
          </p:nvPr>
        </p:nvSpPr>
        <p:spPr>
          <a:xfrm>
            <a:off x="4561847" y="1697688"/>
            <a:ext cx="7193378" cy="4410075"/>
          </a:xfrm>
        </p:spPr>
        <p:txBody>
          <a:bodyPr/>
          <a:lstStyle/>
          <a:p>
            <a:pPr>
              <a:lnSpc>
                <a:spcPct val="150000"/>
              </a:lnSpc>
            </a:pPr>
            <a:r>
              <a:rPr lang="en-US" b="1"/>
              <a:t>Immerse</a:t>
            </a:r>
            <a:r>
              <a:rPr lang="en-US"/>
              <a:t> into a sustainability mindset and ensure all parties involved are aligned on the sustainability practices of the brand.</a:t>
            </a:r>
            <a:endParaRPr lang="en-US" b="1"/>
          </a:p>
          <a:p>
            <a:pPr>
              <a:lnSpc>
                <a:spcPct val="150000"/>
              </a:lnSpc>
            </a:pPr>
            <a:r>
              <a:rPr lang="en-US" b="1"/>
              <a:t>Understand and create</a:t>
            </a:r>
            <a:r>
              <a:rPr lang="en-US"/>
              <a:t> different claims/narratives around sustainability to fit the </a:t>
            </a:r>
            <a:r>
              <a:rPr lang="en-US" err="1"/>
              <a:t>Alpro</a:t>
            </a:r>
            <a:r>
              <a:rPr lang="en-US"/>
              <a:t> brand and their products. These claims can help </a:t>
            </a:r>
            <a:r>
              <a:rPr lang="en-US" err="1"/>
              <a:t>Alpro</a:t>
            </a:r>
            <a:r>
              <a:rPr lang="en-US"/>
              <a:t> differentiate versus its competitors. </a:t>
            </a:r>
          </a:p>
          <a:p>
            <a:pPr lvl="1">
              <a:lnSpc>
                <a:spcPct val="150000"/>
              </a:lnSpc>
            </a:pPr>
            <a:r>
              <a:rPr lang="en-US"/>
              <a:t>Across countries, language differences and legal regulations should be considered.</a:t>
            </a:r>
          </a:p>
          <a:p>
            <a:pPr>
              <a:lnSpc>
                <a:spcPct val="150000"/>
              </a:lnSpc>
            </a:pPr>
            <a:r>
              <a:rPr lang="en-US" b="1"/>
              <a:t>Get consumer feedback</a:t>
            </a:r>
            <a:r>
              <a:rPr lang="en-US"/>
              <a:t> to the claims to understand which perform best and why? Are there messages that even show a bridge between sustainability and taste or sustainability and health in consumer minds?</a:t>
            </a:r>
          </a:p>
        </p:txBody>
      </p:sp>
      <p:sp>
        <p:nvSpPr>
          <p:cNvPr id="4" name="Text Placeholder 3">
            <a:extLst>
              <a:ext uri="{FF2B5EF4-FFF2-40B4-BE49-F238E27FC236}">
                <a16:creationId xmlns:a16="http://schemas.microsoft.com/office/drawing/2014/main" id="{A9B4CA0B-FD3E-650B-CC6D-02A9362D8BB1}"/>
              </a:ext>
            </a:extLst>
          </p:cNvPr>
          <p:cNvSpPr>
            <a:spLocks noGrp="1"/>
          </p:cNvSpPr>
          <p:nvPr>
            <p:ph type="body" sz="quarter" idx="27"/>
          </p:nvPr>
        </p:nvSpPr>
        <p:spPr>
          <a:xfrm>
            <a:off x="436775" y="1629298"/>
            <a:ext cx="3437167" cy="4410075"/>
          </a:xfrm>
        </p:spPr>
        <p:txBody>
          <a:bodyPr/>
          <a:lstStyle/>
          <a:p>
            <a:r>
              <a:rPr lang="en-US"/>
              <a:t>Alpro has found a challenge with claims under the topic of </a:t>
            </a:r>
            <a:r>
              <a:rPr lang="en-US" b="1"/>
              <a:t>sustainability</a:t>
            </a:r>
            <a:r>
              <a:rPr lang="en-US"/>
              <a:t>. As a whole, the topic is gaining awareness from the consumer perspective. Consumers want to make more conscious choices (part of which can be the choice for plant based rather than traditional dairy), and Alpro wants to highlight its sustainability efforts to consumers. </a:t>
            </a:r>
          </a:p>
        </p:txBody>
      </p:sp>
      <p:sp>
        <p:nvSpPr>
          <p:cNvPr id="3" name="Text Placeholder 2">
            <a:extLst>
              <a:ext uri="{FF2B5EF4-FFF2-40B4-BE49-F238E27FC236}">
                <a16:creationId xmlns:a16="http://schemas.microsoft.com/office/drawing/2014/main" id="{8FD5C951-8BEB-10EC-9EC8-ACAE4D764B5B}"/>
              </a:ext>
            </a:extLst>
          </p:cNvPr>
          <p:cNvSpPr>
            <a:spLocks noGrp="1"/>
          </p:cNvSpPr>
          <p:nvPr>
            <p:ph type="body" sz="quarter" idx="26"/>
          </p:nvPr>
        </p:nvSpPr>
        <p:spPr/>
        <p:txBody>
          <a:bodyPr/>
          <a:lstStyle/>
          <a:p>
            <a:r>
              <a:rPr lang="en-US"/>
              <a:t>Business Background</a:t>
            </a:r>
          </a:p>
        </p:txBody>
      </p:sp>
      <p:sp>
        <p:nvSpPr>
          <p:cNvPr id="2" name="Title 1">
            <a:extLst>
              <a:ext uri="{FF2B5EF4-FFF2-40B4-BE49-F238E27FC236}">
                <a16:creationId xmlns:a16="http://schemas.microsoft.com/office/drawing/2014/main" id="{C4B7D40E-0426-A18A-22B6-4A47490F1F61}"/>
              </a:ext>
            </a:extLst>
          </p:cNvPr>
          <p:cNvSpPr>
            <a:spLocks noGrp="1"/>
          </p:cNvSpPr>
          <p:nvPr>
            <p:ph type="title"/>
          </p:nvPr>
        </p:nvSpPr>
        <p:spPr/>
        <p:txBody>
          <a:bodyPr/>
          <a:lstStyle/>
          <a:p>
            <a:r>
              <a:rPr lang="en-US"/>
              <a:t>Objectives</a:t>
            </a:r>
          </a:p>
        </p:txBody>
      </p:sp>
    </p:spTree>
    <p:extLst>
      <p:ext uri="{BB962C8B-B14F-4D97-AF65-F5344CB8AC3E}">
        <p14:creationId xmlns:p14="http://schemas.microsoft.com/office/powerpoint/2010/main" val="255206125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08B4DD86-E910-422C-8B82-469A21B5AF73}"/>
              </a:ext>
            </a:extLst>
          </p:cNvPr>
          <p:cNvSpPr>
            <a:spLocks noGrp="1"/>
          </p:cNvSpPr>
          <p:nvPr>
            <p:ph type="title"/>
          </p:nvPr>
        </p:nvSpPr>
        <p:spPr>
          <a:xfrm>
            <a:off x="4561847" y="403200"/>
            <a:ext cx="6997753" cy="972000"/>
          </a:xfrm>
        </p:spPr>
        <p:txBody>
          <a:bodyPr/>
          <a:lstStyle/>
          <a:p>
            <a:r>
              <a:rPr lang="en-US"/>
              <a:t>SKIM will provide answers to the following research objectives</a:t>
            </a:r>
          </a:p>
        </p:txBody>
      </p:sp>
      <p:sp>
        <p:nvSpPr>
          <p:cNvPr id="10" name="Text Placeholder 9">
            <a:extLst>
              <a:ext uri="{FF2B5EF4-FFF2-40B4-BE49-F238E27FC236}">
                <a16:creationId xmlns:a16="http://schemas.microsoft.com/office/drawing/2014/main" id="{1A690127-B10A-4E34-94D9-F94FB348B5F1}"/>
              </a:ext>
            </a:extLst>
          </p:cNvPr>
          <p:cNvSpPr>
            <a:spLocks noGrp="1"/>
          </p:cNvSpPr>
          <p:nvPr>
            <p:ph type="body" sz="quarter" idx="26"/>
          </p:nvPr>
        </p:nvSpPr>
        <p:spPr>
          <a:xfrm>
            <a:off x="503238" y="403225"/>
            <a:ext cx="3473958" cy="971550"/>
          </a:xfrm>
        </p:spPr>
        <p:txBody>
          <a:bodyPr/>
          <a:lstStyle/>
          <a:p>
            <a:r>
              <a:rPr lang="en-US"/>
              <a:t>Business Opportunity</a:t>
            </a:r>
          </a:p>
        </p:txBody>
      </p:sp>
      <p:sp>
        <p:nvSpPr>
          <p:cNvPr id="8" name="Text Placeholder 7">
            <a:extLst>
              <a:ext uri="{FF2B5EF4-FFF2-40B4-BE49-F238E27FC236}">
                <a16:creationId xmlns:a16="http://schemas.microsoft.com/office/drawing/2014/main" id="{A8FD70E8-084E-423D-843E-CE09F3075C04}"/>
              </a:ext>
            </a:extLst>
          </p:cNvPr>
          <p:cNvSpPr>
            <a:spLocks noGrp="1"/>
          </p:cNvSpPr>
          <p:nvPr>
            <p:ph type="body" sz="quarter" idx="27"/>
          </p:nvPr>
        </p:nvSpPr>
        <p:spPr>
          <a:xfrm>
            <a:off x="503238" y="1629298"/>
            <a:ext cx="3473958" cy="4410075"/>
          </a:xfrm>
        </p:spPr>
        <p:txBody>
          <a:bodyPr/>
          <a:lstStyle/>
          <a:p>
            <a:pPr marL="0" indent="0">
              <a:buNone/>
            </a:pPr>
            <a:r>
              <a:rPr lang="en-US">
                <a:latin typeface="+mj-lt"/>
              </a:rPr>
              <a:t>There is a need to identify what claims, related to sustainability, consumers find most relevant and convincing in order to buy Alpro products. </a:t>
            </a:r>
          </a:p>
          <a:p>
            <a:pPr marL="0" indent="0">
              <a:buNone/>
            </a:pPr>
            <a:r>
              <a:rPr lang="en-US">
                <a:latin typeface="+mj-lt"/>
              </a:rPr>
              <a:t>Through this research, Alpro can gain insights based on SKIM knowledge around the topic, as well as collecting new insights specific to the brand, to see how they can improve their links to sustainability.</a:t>
            </a:r>
          </a:p>
          <a:p>
            <a:pPr marL="0" indent="0">
              <a:buNone/>
            </a:pPr>
            <a:endParaRPr lang="en-US">
              <a:latin typeface="+mj-lt"/>
            </a:endParaRPr>
          </a:p>
          <a:p>
            <a:pPr marL="0" indent="0">
              <a:buNone/>
            </a:pPr>
            <a:endParaRPr lang="en-US">
              <a:latin typeface="+mj-lt"/>
            </a:endParaRPr>
          </a:p>
        </p:txBody>
      </p:sp>
      <p:sp>
        <p:nvSpPr>
          <p:cNvPr id="9" name="Text Placeholder 8">
            <a:extLst>
              <a:ext uri="{FF2B5EF4-FFF2-40B4-BE49-F238E27FC236}">
                <a16:creationId xmlns:a16="http://schemas.microsoft.com/office/drawing/2014/main" id="{697F70BC-F58F-42EC-9B43-06BFA0B1609B}"/>
              </a:ext>
            </a:extLst>
          </p:cNvPr>
          <p:cNvSpPr>
            <a:spLocks noGrp="1"/>
          </p:cNvSpPr>
          <p:nvPr>
            <p:ph type="body" sz="quarter" idx="28"/>
          </p:nvPr>
        </p:nvSpPr>
        <p:spPr>
          <a:xfrm>
            <a:off x="4561847" y="1629298"/>
            <a:ext cx="6997700" cy="4410075"/>
          </a:xfrm>
        </p:spPr>
        <p:txBody>
          <a:bodyPr/>
          <a:lstStyle/>
          <a:p>
            <a:pPr marL="0" indent="0">
              <a:buNone/>
            </a:pPr>
            <a:r>
              <a:rPr lang="en-US"/>
              <a:t>The goal is to identify consumer friendly claim that highlights </a:t>
            </a:r>
            <a:r>
              <a:rPr lang="en-US" err="1"/>
              <a:t>Alpro’s</a:t>
            </a:r>
            <a:r>
              <a:rPr lang="en-US"/>
              <a:t> sustainability efforts and benefits. </a:t>
            </a:r>
          </a:p>
          <a:p>
            <a:r>
              <a:rPr lang="en-US"/>
              <a:t>What (sustainability) claims are the most attractive to consumers?</a:t>
            </a:r>
          </a:p>
          <a:p>
            <a:pPr lvl="1"/>
            <a:r>
              <a:rPr lang="en-US"/>
              <a:t>Why do these claims perform better/worse?</a:t>
            </a:r>
          </a:p>
          <a:p>
            <a:pPr lvl="1"/>
            <a:r>
              <a:rPr lang="en-US"/>
              <a:t>How do these claims perform on KPIs?</a:t>
            </a:r>
          </a:p>
          <a:p>
            <a:r>
              <a:rPr lang="en-US"/>
              <a:t>Which claims ladder up to health and/or taste benefits?</a:t>
            </a:r>
          </a:p>
          <a:p>
            <a:r>
              <a:rPr lang="en-US"/>
              <a:t>How do health/taste related claims perform versus those that only cue sustainability?</a:t>
            </a:r>
          </a:p>
          <a:p>
            <a:r>
              <a:rPr lang="en-US"/>
              <a:t>Which claims generate the highest purchase intent?</a:t>
            </a:r>
          </a:p>
          <a:p>
            <a:endParaRPr lang="en-US"/>
          </a:p>
          <a:p>
            <a:pPr marL="288000" lvl="1" indent="0">
              <a:buNone/>
            </a:pPr>
            <a:endParaRPr lang="en-US"/>
          </a:p>
        </p:txBody>
      </p:sp>
    </p:spTree>
    <p:extLst>
      <p:ext uri="{BB962C8B-B14F-4D97-AF65-F5344CB8AC3E}">
        <p14:creationId xmlns:p14="http://schemas.microsoft.com/office/powerpoint/2010/main" val="203319714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a:extLst>
              <a:ext uri="{FF2B5EF4-FFF2-40B4-BE49-F238E27FC236}">
                <a16:creationId xmlns:a16="http://schemas.microsoft.com/office/drawing/2014/main" id="{4C93857E-31EC-4FA9-B38F-5EE0597B2049}"/>
              </a:ext>
            </a:extLst>
          </p:cNvPr>
          <p:cNvPicPr>
            <a:picLocks noGrp="1" noChangeAspect="1"/>
          </p:cNvPicPr>
          <p:nvPr>
            <p:ph type="pic" sz="quarter" idx="13"/>
          </p:nvPr>
        </p:nvPicPr>
        <p:blipFill>
          <a:blip r:embed="rId2">
            <a:extLst>
              <a:ext uri="{28A0092B-C50C-407E-A947-70E740481C1C}">
                <a14:useLocalDpi xmlns:a14="http://schemas.microsoft.com/office/drawing/2010/main" val="0"/>
              </a:ext>
            </a:extLst>
          </a:blip>
          <a:srcRect t="7685" b="7685"/>
          <a:stretch/>
        </p:blipFill>
        <p:spPr/>
      </p:pic>
      <p:sp>
        <p:nvSpPr>
          <p:cNvPr id="10" name="doOverlay">
            <a:extLst>
              <a:ext uri="{FF2B5EF4-FFF2-40B4-BE49-F238E27FC236}">
                <a16:creationId xmlns:a16="http://schemas.microsoft.com/office/drawing/2014/main" id="{C889A2BF-ADE8-4080-B4E5-6D4BC6296B1E}"/>
              </a:ext>
            </a:extLst>
          </p:cNvPr>
          <p:cNvSpPr/>
          <p:nvPr/>
        </p:nvSpPr>
        <p:spPr>
          <a:xfrm>
            <a:off x="0" y="0"/>
            <a:ext cx="12192000" cy="6858000"/>
          </a:xfrm>
          <a:prstGeom prst="rect">
            <a:avLst/>
          </a:prstGeom>
          <a:solidFill>
            <a:schemeClr val="accent1">
              <a:alpha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54000" bIns="54000" rtlCol="0" anchor="t" anchorCtr="0">
            <a:noAutofit/>
          </a:bodyPr>
          <a:lstStyle/>
          <a:p>
            <a:pPr algn="l">
              <a:lnSpc>
                <a:spcPct val="110000"/>
              </a:lnSpc>
            </a:pPr>
            <a:endParaRPr lang="en-US" sz="1400">
              <a:solidFill>
                <a:schemeClr val="tx1"/>
              </a:solidFill>
            </a:endParaRPr>
          </a:p>
        </p:txBody>
      </p:sp>
      <p:sp>
        <p:nvSpPr>
          <p:cNvPr id="5" name="Title 4">
            <a:extLst>
              <a:ext uri="{FF2B5EF4-FFF2-40B4-BE49-F238E27FC236}">
                <a16:creationId xmlns:a16="http://schemas.microsoft.com/office/drawing/2014/main" id="{40C2013A-C373-42D1-B17C-78C20930D614}"/>
              </a:ext>
            </a:extLst>
          </p:cNvPr>
          <p:cNvSpPr>
            <a:spLocks noGrp="1"/>
          </p:cNvSpPr>
          <p:nvPr>
            <p:ph type="ctrTitle"/>
          </p:nvPr>
        </p:nvSpPr>
        <p:spPr/>
        <p:txBody>
          <a:bodyPr/>
          <a:lstStyle/>
          <a:p>
            <a:r>
              <a:rPr lang="en-US"/>
              <a:t>Considerations</a:t>
            </a:r>
          </a:p>
        </p:txBody>
      </p:sp>
      <p:pic>
        <p:nvPicPr>
          <p:cNvPr id="11" name="doLogoWhite">
            <a:extLst>
              <a:ext uri="{FF2B5EF4-FFF2-40B4-BE49-F238E27FC236}">
                <a16:creationId xmlns:a16="http://schemas.microsoft.com/office/drawing/2014/main" id="{E4F4FEE3-8D52-40F0-B65B-8B02308F9A21}"/>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559600" y="6364799"/>
            <a:ext cx="386197" cy="266610"/>
          </a:xfrm>
          <a:prstGeom prst="rect">
            <a:avLst/>
          </a:prstGeom>
        </p:spPr>
      </p:pic>
    </p:spTree>
    <p:extLst>
      <p:ext uri="{BB962C8B-B14F-4D97-AF65-F5344CB8AC3E}">
        <p14:creationId xmlns:p14="http://schemas.microsoft.com/office/powerpoint/2010/main" val="273519561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able 6">
            <a:extLst>
              <a:ext uri="{FF2B5EF4-FFF2-40B4-BE49-F238E27FC236}">
                <a16:creationId xmlns:a16="http://schemas.microsoft.com/office/drawing/2014/main" id="{D5FC17B6-CD12-497C-884D-9F106127DC9B}"/>
              </a:ext>
            </a:extLst>
          </p:cNvPr>
          <p:cNvGraphicFramePr>
            <a:graphicFrameLocks noGrp="1"/>
          </p:cNvGraphicFramePr>
          <p:nvPr>
            <p:extLst>
              <p:ext uri="{D42A27DB-BD31-4B8C-83A1-F6EECF244321}">
                <p14:modId xmlns:p14="http://schemas.microsoft.com/office/powerpoint/2010/main" val="2832386019"/>
              </p:ext>
            </p:extLst>
          </p:nvPr>
        </p:nvGraphicFramePr>
        <p:xfrm>
          <a:off x="257452" y="946796"/>
          <a:ext cx="11691892" cy="5772679"/>
        </p:xfrm>
        <a:graphic>
          <a:graphicData uri="http://schemas.openxmlformats.org/drawingml/2006/table">
            <a:tbl>
              <a:tblPr firstRow="1" bandRow="1">
                <a:tableStyleId>{A6E0E982-E285-4178-BDAB-3F26002EA596}</a:tableStyleId>
              </a:tblPr>
              <a:tblGrid>
                <a:gridCol w="1691542">
                  <a:extLst>
                    <a:ext uri="{9D8B030D-6E8A-4147-A177-3AD203B41FA5}">
                      <a16:colId xmlns:a16="http://schemas.microsoft.com/office/drawing/2014/main" val="3359469400"/>
                    </a:ext>
                  </a:extLst>
                </a:gridCol>
                <a:gridCol w="208280">
                  <a:extLst>
                    <a:ext uri="{9D8B030D-6E8A-4147-A177-3AD203B41FA5}">
                      <a16:colId xmlns:a16="http://schemas.microsoft.com/office/drawing/2014/main" val="1850874744"/>
                    </a:ext>
                  </a:extLst>
                </a:gridCol>
                <a:gridCol w="9792070">
                  <a:extLst>
                    <a:ext uri="{9D8B030D-6E8A-4147-A177-3AD203B41FA5}">
                      <a16:colId xmlns:a16="http://schemas.microsoft.com/office/drawing/2014/main" val="3335208467"/>
                    </a:ext>
                  </a:extLst>
                </a:gridCol>
              </a:tblGrid>
              <a:tr h="2507403">
                <a:tc>
                  <a:txBody>
                    <a:bodyPr/>
                    <a:lstStyle/>
                    <a:p>
                      <a:pPr>
                        <a:lnSpc>
                          <a:spcPct val="120000"/>
                        </a:lnSpc>
                      </a:pPr>
                      <a:r>
                        <a:rPr lang="en-SG" sz="1100" b="1" i="0">
                          <a:solidFill>
                            <a:schemeClr val="bg1"/>
                          </a:solidFill>
                        </a:rPr>
                        <a:t>Claims Generation Workshop</a:t>
                      </a:r>
                    </a:p>
                  </a:txBody>
                  <a:tcPr marT="91440" marB="91440" anchor="ctr">
                    <a:lnL w="7620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91B7BF"/>
                    </a:solidFill>
                  </a:tcPr>
                </a:tc>
                <a:tc>
                  <a:txBody>
                    <a:bodyPr/>
                    <a:lstStyle/>
                    <a:p>
                      <a:pPr>
                        <a:lnSpc>
                          <a:spcPct val="120000"/>
                        </a:lnSpc>
                      </a:pPr>
                      <a:endParaRPr lang="en-SG" sz="1050" b="0"/>
                    </a:p>
                  </a:txBody>
                  <a:tcPr marT="91440" marB="9144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lang="en-SG" sz="1100" b="0">
                          <a:solidFill>
                            <a:schemeClr val="tx1"/>
                          </a:solidFill>
                        </a:rPr>
                        <a:t>The base of the claims generation workshop is recommended to stay in line with Danone’s Claims Lab. However, given the specific nature of sustainability claims, it will be good to make some adjustments. </a:t>
                      </a:r>
                    </a:p>
                    <a:p>
                      <a:pPr marL="0" marR="0" lvl="0" indent="0" algn="l" defTabSz="914400" rtl="0" eaLnBrk="1" fontAlgn="auto" latinLnBrk="0" hangingPunct="1">
                        <a:lnSpc>
                          <a:spcPct val="120000"/>
                        </a:lnSpc>
                        <a:spcBef>
                          <a:spcPts val="0"/>
                        </a:spcBef>
                        <a:spcAft>
                          <a:spcPts val="0"/>
                        </a:spcAft>
                        <a:buClrTx/>
                        <a:buSzTx/>
                        <a:buFontTx/>
                        <a:buNone/>
                        <a:tabLst/>
                        <a:defRPr/>
                      </a:pPr>
                      <a:endParaRPr lang="en-SG" sz="1100" b="0">
                        <a:solidFill>
                          <a:schemeClr val="tx1"/>
                        </a:solidFill>
                      </a:endParaRPr>
                    </a:p>
                    <a:p>
                      <a:pPr marL="0" marR="0" lvl="0" indent="0" algn="l" defTabSz="914400" rtl="0" eaLnBrk="1" fontAlgn="auto" latinLnBrk="0" hangingPunct="1">
                        <a:lnSpc>
                          <a:spcPct val="120000"/>
                        </a:lnSpc>
                        <a:spcBef>
                          <a:spcPts val="0"/>
                        </a:spcBef>
                        <a:spcAft>
                          <a:spcPts val="0"/>
                        </a:spcAft>
                        <a:buClrTx/>
                        <a:buSzTx/>
                        <a:buFontTx/>
                        <a:buNone/>
                        <a:tabLst/>
                        <a:defRPr/>
                      </a:pPr>
                      <a:r>
                        <a:rPr lang="en-SG" sz="1100" b="0">
                          <a:solidFill>
                            <a:schemeClr val="tx1"/>
                          </a:solidFill>
                        </a:rPr>
                        <a:t>Setting the scene: it is important for all participants to understand the role of a sustainability claim – it will not replace the main messaging for the brand.</a:t>
                      </a:r>
                    </a:p>
                    <a:p>
                      <a:pPr marL="0" marR="0" lvl="0" indent="0" algn="l" defTabSz="914400" rtl="0" eaLnBrk="1" fontAlgn="auto" latinLnBrk="0" hangingPunct="1">
                        <a:lnSpc>
                          <a:spcPct val="120000"/>
                        </a:lnSpc>
                        <a:spcBef>
                          <a:spcPts val="0"/>
                        </a:spcBef>
                        <a:spcAft>
                          <a:spcPts val="0"/>
                        </a:spcAft>
                        <a:buClrTx/>
                        <a:buSzTx/>
                        <a:buFontTx/>
                        <a:buNone/>
                        <a:tabLst/>
                        <a:defRPr/>
                      </a:pPr>
                      <a:r>
                        <a:rPr lang="en-SG" sz="1100" b="0">
                          <a:solidFill>
                            <a:schemeClr val="tx1"/>
                          </a:solidFill>
                        </a:rPr>
                        <a:t>Getting familiar with sustainability messaging: which claim inspiration is already out there that shows a consumer centric way of sustainability messaging?</a:t>
                      </a:r>
                    </a:p>
                    <a:p>
                      <a:pPr marL="0" marR="0" lvl="0" indent="0" algn="l" defTabSz="914400" rtl="0" eaLnBrk="1" fontAlgn="auto" latinLnBrk="0" hangingPunct="1">
                        <a:lnSpc>
                          <a:spcPct val="120000"/>
                        </a:lnSpc>
                        <a:spcBef>
                          <a:spcPts val="0"/>
                        </a:spcBef>
                        <a:spcAft>
                          <a:spcPts val="0"/>
                        </a:spcAft>
                        <a:buClrTx/>
                        <a:buSzTx/>
                        <a:buFontTx/>
                        <a:buNone/>
                        <a:tabLst/>
                        <a:defRPr/>
                      </a:pPr>
                      <a:r>
                        <a:rPr lang="en-SG" sz="1100" b="0">
                          <a:solidFill>
                            <a:schemeClr val="tx1"/>
                          </a:solidFill>
                        </a:rPr>
                        <a:t>Assessing what is possible from the start: for this workshop we understand the benefit of having someone who represents the legal department in the room. There is no point in spending a lot of time on claims that are not legally acceptable.</a:t>
                      </a:r>
                    </a:p>
                    <a:p>
                      <a:pPr marL="0" marR="0" lvl="0" indent="0" algn="l" defTabSz="914400" rtl="0" eaLnBrk="1" fontAlgn="auto" latinLnBrk="0" hangingPunct="1">
                        <a:lnSpc>
                          <a:spcPct val="120000"/>
                        </a:lnSpc>
                        <a:spcBef>
                          <a:spcPts val="0"/>
                        </a:spcBef>
                        <a:spcAft>
                          <a:spcPts val="0"/>
                        </a:spcAft>
                        <a:buClrTx/>
                        <a:buSzTx/>
                        <a:buFontTx/>
                        <a:buNone/>
                        <a:tabLst/>
                        <a:defRPr/>
                      </a:pPr>
                      <a:endParaRPr lang="en-SG" sz="1100" b="0">
                        <a:solidFill>
                          <a:schemeClr val="tx1"/>
                        </a:solidFill>
                      </a:endParaRPr>
                    </a:p>
                    <a:p>
                      <a:pPr marL="0" marR="0" lvl="0" indent="0" algn="l" defTabSz="914400" rtl="0" eaLnBrk="1" fontAlgn="auto" latinLnBrk="0" hangingPunct="1">
                        <a:lnSpc>
                          <a:spcPct val="120000"/>
                        </a:lnSpc>
                        <a:spcBef>
                          <a:spcPts val="0"/>
                        </a:spcBef>
                        <a:spcAft>
                          <a:spcPts val="0"/>
                        </a:spcAft>
                        <a:buClrTx/>
                        <a:buSzTx/>
                        <a:buFontTx/>
                        <a:buNone/>
                        <a:tabLst/>
                        <a:defRPr/>
                      </a:pPr>
                      <a:r>
                        <a:rPr lang="en-SG" sz="1100" b="0">
                          <a:solidFill>
                            <a:schemeClr val="tx1"/>
                          </a:solidFill>
                        </a:rPr>
                        <a:t>In general, for the Claims Lab it will be important to get a good variety of participants. If the different markets are present, it might be good to facilitate time outside of the workshop for them to catch-up. This will allow for more focus during the workshop. </a:t>
                      </a:r>
                    </a:p>
                  </a:txBody>
                  <a:tcPr marT="91440" marB="91440" anchor="ctr">
                    <a:lnL w="76200" cap="flat" cmpd="sng" algn="ctr">
                      <a:solidFill>
                        <a:schemeClr val="bg1"/>
                      </a:solidFill>
                      <a:prstDash val="solid"/>
                      <a:round/>
                      <a:headEnd type="none" w="med" len="med"/>
                      <a:tailEnd type="none" w="med" len="med"/>
                    </a:lnL>
                    <a:lnR w="76200" cap="flat" cmpd="sng" algn="ctr">
                      <a:no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20000"/>
                        <a:lumOff val="80000"/>
                      </a:schemeClr>
                    </a:solidFill>
                  </a:tcPr>
                </a:tc>
                <a:extLst>
                  <a:ext uri="{0D108BD9-81ED-4DB2-BD59-A6C34878D82A}">
                    <a16:rowId xmlns:a16="http://schemas.microsoft.com/office/drawing/2014/main" val="216872277"/>
                  </a:ext>
                </a:extLst>
              </a:tr>
              <a:tr h="745150">
                <a:tc>
                  <a:txBody>
                    <a:bodyPr/>
                    <a:lstStyle/>
                    <a:p>
                      <a:pPr>
                        <a:lnSpc>
                          <a:spcPct val="120000"/>
                        </a:lnSpc>
                      </a:pPr>
                      <a:r>
                        <a:rPr lang="en-SG" sz="1100" b="1">
                          <a:solidFill>
                            <a:schemeClr val="bg1"/>
                          </a:solidFill>
                        </a:rPr>
                        <a:t>Claim Comparability</a:t>
                      </a:r>
                    </a:p>
                  </a:txBody>
                  <a:tcPr marT="91440" marB="91440" anchor="ctr">
                    <a:lnL w="7620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91B7BF"/>
                    </a:solidFill>
                  </a:tcPr>
                </a:tc>
                <a:tc>
                  <a:txBody>
                    <a:bodyPr/>
                    <a:lstStyle/>
                    <a:p>
                      <a:pPr>
                        <a:lnSpc>
                          <a:spcPct val="120000"/>
                        </a:lnSpc>
                      </a:pPr>
                      <a:endParaRPr lang="en-SG" sz="1050" b="0"/>
                    </a:p>
                  </a:txBody>
                  <a:tcPr marT="91440" marB="9144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lang="en-SG" sz="1100" b="0">
                          <a:solidFill>
                            <a:schemeClr val="tx1"/>
                          </a:solidFill>
                        </a:rPr>
                        <a:t>When testing the claims against each other, we must make sure that the claims being tested are all related to sustainability, and that in order to get accurate results, we cannot test sustainability claims against first priority claims such as taste, or health. It will be interesting to explore which sustainability messaging is also able to cue taste and /or health benefits</a:t>
                      </a:r>
                    </a:p>
                  </a:txBody>
                  <a:tcPr marT="91440" marB="91440" anchor="ctr">
                    <a:lnL w="76200" cap="flat" cmpd="sng" algn="ctr">
                      <a:solidFill>
                        <a:schemeClr val="bg1"/>
                      </a:solidFill>
                      <a:prstDash val="solid"/>
                      <a:round/>
                      <a:headEnd type="none" w="med" len="med"/>
                      <a:tailEnd type="none" w="med" len="med"/>
                    </a:lnL>
                    <a:lnR w="76200" cap="flat" cmpd="sng" algn="ctr">
                      <a:no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20000"/>
                        <a:lumOff val="80000"/>
                      </a:schemeClr>
                    </a:solidFill>
                  </a:tcPr>
                </a:tc>
                <a:extLst>
                  <a:ext uri="{0D108BD9-81ED-4DB2-BD59-A6C34878D82A}">
                    <a16:rowId xmlns:a16="http://schemas.microsoft.com/office/drawing/2014/main" val="3941103398"/>
                  </a:ext>
                </a:extLst>
              </a:tr>
              <a:tr h="745954">
                <a:tc>
                  <a:txBody>
                    <a:bodyPr/>
                    <a:lstStyle/>
                    <a:p>
                      <a:pPr>
                        <a:lnSpc>
                          <a:spcPct val="120000"/>
                        </a:lnSpc>
                      </a:pPr>
                      <a:r>
                        <a:rPr lang="en-SG" sz="1100" b="1">
                          <a:solidFill>
                            <a:schemeClr val="bg1"/>
                          </a:solidFill>
                        </a:rPr>
                        <a:t>What is allowed and what do consumers want to hear?</a:t>
                      </a:r>
                    </a:p>
                  </a:txBody>
                  <a:tcPr marT="91440" marB="91440" anchor="ctr">
                    <a:lnL w="7620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91B7BF"/>
                    </a:solidFill>
                  </a:tcPr>
                </a:tc>
                <a:tc>
                  <a:txBody>
                    <a:bodyPr/>
                    <a:lstStyle/>
                    <a:p>
                      <a:pPr>
                        <a:lnSpc>
                          <a:spcPct val="120000"/>
                        </a:lnSpc>
                      </a:pPr>
                      <a:endParaRPr lang="en-SG" sz="1050" b="0"/>
                    </a:p>
                  </a:txBody>
                  <a:tcPr marT="91440" marB="9144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lang="en-SG" sz="1100" b="0">
                          <a:solidFill>
                            <a:schemeClr val="tx1"/>
                          </a:solidFill>
                        </a:rPr>
                        <a:t>Finding a balance between claims that are allowed (e.g., legally) and that are consumer centric will be difficult. During the workshop SKIM will provide the team with education on the golden rules for claim creation. As mentioned above, there should also be someone who is a gatekeeper on what is legally allowed.  </a:t>
                      </a:r>
                    </a:p>
                  </a:txBody>
                  <a:tcPr marT="91440" marB="91440" anchor="ctr">
                    <a:lnL w="76200" cap="flat" cmpd="sng" algn="ctr">
                      <a:solidFill>
                        <a:schemeClr val="bg1"/>
                      </a:solidFill>
                      <a:prstDash val="solid"/>
                      <a:round/>
                      <a:headEnd type="none" w="med" len="med"/>
                      <a:tailEnd type="none" w="med" len="med"/>
                    </a:lnL>
                    <a:lnR w="76200" cap="flat" cmpd="sng" algn="ctr">
                      <a:no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20000"/>
                        <a:lumOff val="80000"/>
                      </a:schemeClr>
                    </a:solidFill>
                  </a:tcPr>
                </a:tc>
                <a:extLst>
                  <a:ext uri="{0D108BD9-81ED-4DB2-BD59-A6C34878D82A}">
                    <a16:rowId xmlns:a16="http://schemas.microsoft.com/office/drawing/2014/main" val="2179672390"/>
                  </a:ext>
                </a:extLst>
              </a:tr>
              <a:tr h="940956">
                <a:tc>
                  <a:txBody>
                    <a:bodyPr/>
                    <a:lstStyle/>
                    <a:p>
                      <a:pPr>
                        <a:lnSpc>
                          <a:spcPct val="120000"/>
                        </a:lnSpc>
                      </a:pPr>
                      <a:r>
                        <a:rPr lang="en-SG" sz="1100" b="1">
                          <a:solidFill>
                            <a:schemeClr val="bg1"/>
                          </a:solidFill>
                        </a:rPr>
                        <a:t>The Use of Eco labels</a:t>
                      </a:r>
                    </a:p>
                  </a:txBody>
                  <a:tcPr marT="91440" marB="91440" anchor="ctr">
                    <a:lnL w="7620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91B7BF"/>
                    </a:solidFill>
                  </a:tcPr>
                </a:tc>
                <a:tc>
                  <a:txBody>
                    <a:bodyPr/>
                    <a:lstStyle/>
                    <a:p>
                      <a:pPr>
                        <a:lnSpc>
                          <a:spcPct val="120000"/>
                        </a:lnSpc>
                      </a:pPr>
                      <a:endParaRPr lang="en-SG" sz="1050" b="0"/>
                    </a:p>
                  </a:txBody>
                  <a:tcPr marT="91440" marB="9144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lang="en-SG" sz="1100" b="0">
                          <a:solidFill>
                            <a:schemeClr val="tx1"/>
                          </a:solidFill>
                        </a:rPr>
                        <a:t>Generally, recognised eco-labels allow brands to show their sustainability efforts. Considering that Danone has eco-labels that can be used, we can test which ones perform better than others. To do this, we recommend testing them using two separate Unspoken tasks due to the fact that in a trade-off, consumers tend to favour eco-labels over claims. If Danone would like to explore the best combination of claims and eco-labels shown together, a different set-up for phase two is required. Hence that would be something to further discuss. </a:t>
                      </a:r>
                    </a:p>
                  </a:txBody>
                  <a:tcPr marT="91440" marB="91440" anchor="ctr">
                    <a:lnL w="76200" cap="flat" cmpd="sng" algn="ctr">
                      <a:solidFill>
                        <a:schemeClr val="bg1"/>
                      </a:solidFill>
                      <a:prstDash val="solid"/>
                      <a:round/>
                      <a:headEnd type="none" w="med" len="med"/>
                      <a:tailEnd type="none" w="med" len="med"/>
                    </a:lnL>
                    <a:lnR w="76200" cap="flat" cmpd="sng" algn="ctr">
                      <a:no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20000"/>
                        <a:lumOff val="80000"/>
                      </a:schemeClr>
                    </a:solidFill>
                  </a:tcPr>
                </a:tc>
                <a:extLst>
                  <a:ext uri="{0D108BD9-81ED-4DB2-BD59-A6C34878D82A}">
                    <a16:rowId xmlns:a16="http://schemas.microsoft.com/office/drawing/2014/main" val="2511610184"/>
                  </a:ext>
                </a:extLst>
              </a:tr>
              <a:tr h="745150">
                <a:tc>
                  <a:txBody>
                    <a:bodyPr/>
                    <a:lstStyle/>
                    <a:p>
                      <a:pPr>
                        <a:lnSpc>
                          <a:spcPct val="120000"/>
                        </a:lnSpc>
                      </a:pPr>
                      <a:r>
                        <a:rPr lang="en-SG" sz="1100" b="1">
                          <a:solidFill>
                            <a:schemeClr val="bg1"/>
                          </a:solidFill>
                        </a:rPr>
                        <a:t>Country Nuances</a:t>
                      </a:r>
                    </a:p>
                  </a:txBody>
                  <a:tcPr marT="91440" marB="91440" anchor="ctr">
                    <a:lnL w="7620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91B7BF"/>
                    </a:solidFill>
                  </a:tcPr>
                </a:tc>
                <a:tc>
                  <a:txBody>
                    <a:bodyPr/>
                    <a:lstStyle/>
                    <a:p>
                      <a:pPr>
                        <a:lnSpc>
                          <a:spcPct val="120000"/>
                        </a:lnSpc>
                      </a:pPr>
                      <a:endParaRPr lang="en-SG" sz="1050" b="0"/>
                    </a:p>
                  </a:txBody>
                  <a:tcPr marT="91440" marB="9144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lang="en-SG" sz="1100" b="0">
                          <a:solidFill>
                            <a:schemeClr val="tx1"/>
                          </a:solidFill>
                        </a:rPr>
                        <a:t>Naturally, countries could have different priorities, or regulations, leading to a different set of claims to be tested. In order to allow for both comparability and flexibility, our recommendation is to have 75% of the same claims across markets and the remaining claims can be more tailored to account for these local nuances. </a:t>
                      </a:r>
                    </a:p>
                  </a:txBody>
                  <a:tcPr marT="91440" marB="91440" anchor="ctr">
                    <a:lnL w="76200" cap="flat" cmpd="sng" algn="ctr">
                      <a:solidFill>
                        <a:schemeClr val="bg1"/>
                      </a:solidFill>
                      <a:prstDash val="solid"/>
                      <a:round/>
                      <a:headEnd type="none" w="med" len="med"/>
                      <a:tailEnd type="none" w="med" len="med"/>
                    </a:lnL>
                    <a:lnR w="76200" cap="flat" cmpd="sng" algn="ctr">
                      <a:no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20000"/>
                        <a:lumOff val="80000"/>
                      </a:schemeClr>
                    </a:solidFill>
                  </a:tcPr>
                </a:tc>
                <a:extLst>
                  <a:ext uri="{0D108BD9-81ED-4DB2-BD59-A6C34878D82A}">
                    <a16:rowId xmlns:a16="http://schemas.microsoft.com/office/drawing/2014/main" val="3941331204"/>
                  </a:ext>
                </a:extLst>
              </a:tr>
            </a:tbl>
          </a:graphicData>
        </a:graphic>
      </p:graphicFrame>
      <p:sp>
        <p:nvSpPr>
          <p:cNvPr id="5" name="Title 4">
            <a:extLst>
              <a:ext uri="{FF2B5EF4-FFF2-40B4-BE49-F238E27FC236}">
                <a16:creationId xmlns:a16="http://schemas.microsoft.com/office/drawing/2014/main" id="{5A96FBB8-BE42-42E8-8BED-3638EA82F5BB}"/>
              </a:ext>
            </a:extLst>
          </p:cNvPr>
          <p:cNvSpPr>
            <a:spLocks noGrp="1"/>
          </p:cNvSpPr>
          <p:nvPr>
            <p:ph type="title"/>
          </p:nvPr>
        </p:nvSpPr>
        <p:spPr/>
        <p:txBody>
          <a:bodyPr/>
          <a:lstStyle/>
          <a:p>
            <a:r>
              <a:rPr lang="en-US" sz="2800"/>
              <a:t>Factors shaping our recommended approach</a:t>
            </a:r>
          </a:p>
        </p:txBody>
      </p:sp>
      <p:sp>
        <p:nvSpPr>
          <p:cNvPr id="10" name="Driehoek 7">
            <a:extLst>
              <a:ext uri="{FF2B5EF4-FFF2-40B4-BE49-F238E27FC236}">
                <a16:creationId xmlns:a16="http://schemas.microsoft.com/office/drawing/2014/main" id="{BA8753EF-9D7A-432F-BFDA-7AA1FDBEDC15}"/>
              </a:ext>
            </a:extLst>
          </p:cNvPr>
          <p:cNvSpPr/>
          <p:nvPr/>
        </p:nvSpPr>
        <p:spPr>
          <a:xfrm rot="5400000">
            <a:off x="1794627" y="4553467"/>
            <a:ext cx="457200" cy="274320"/>
          </a:xfrm>
          <a:prstGeom prst="triangle">
            <a:avLst/>
          </a:prstGeom>
          <a:solidFill>
            <a:srgbClr val="91B7BF"/>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72000" rIns="91440" bIns="72000" numCol="1" spcCol="0" rtlCol="0" fromWordArt="0" anchor="ctr" anchorCtr="0" forceAA="0" compatLnSpc="1">
            <a:prstTxWarp prst="textNoShape">
              <a:avLst/>
            </a:prstTxWarp>
            <a:noAutofit/>
          </a:bodyPr>
          <a:lstStyle/>
          <a:p>
            <a:pPr>
              <a:lnSpc>
                <a:spcPct val="125000"/>
              </a:lnSpc>
            </a:pPr>
            <a:endParaRPr lang="nl-NL" sz="1200">
              <a:solidFill>
                <a:schemeClr val="accent2"/>
              </a:solidFill>
              <a:latin typeface="+mj-lt"/>
              <a:ea typeface="+mj-ea"/>
              <a:cs typeface="Segoe UI Semilight" panose="020B0402040204020203" pitchFamily="34" charset="0"/>
            </a:endParaRPr>
          </a:p>
        </p:txBody>
      </p:sp>
      <p:sp>
        <p:nvSpPr>
          <p:cNvPr id="12" name="Driehoek 7">
            <a:extLst>
              <a:ext uri="{FF2B5EF4-FFF2-40B4-BE49-F238E27FC236}">
                <a16:creationId xmlns:a16="http://schemas.microsoft.com/office/drawing/2014/main" id="{B56BC69A-64A1-419D-A69E-131B71C06708}"/>
              </a:ext>
            </a:extLst>
          </p:cNvPr>
          <p:cNvSpPr/>
          <p:nvPr/>
        </p:nvSpPr>
        <p:spPr>
          <a:xfrm rot="5400000">
            <a:off x="1794627" y="2157897"/>
            <a:ext cx="457200" cy="274320"/>
          </a:xfrm>
          <a:prstGeom prst="triangle">
            <a:avLst/>
          </a:prstGeom>
          <a:solidFill>
            <a:srgbClr val="91B7BF"/>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72000" rIns="91440" bIns="72000" numCol="1" spcCol="0" rtlCol="0" fromWordArt="0" anchor="ctr" anchorCtr="0" forceAA="0" compatLnSpc="1">
            <a:prstTxWarp prst="textNoShape">
              <a:avLst/>
            </a:prstTxWarp>
            <a:noAutofit/>
          </a:bodyPr>
          <a:lstStyle/>
          <a:p>
            <a:pPr>
              <a:lnSpc>
                <a:spcPct val="125000"/>
              </a:lnSpc>
            </a:pPr>
            <a:endParaRPr lang="nl-NL" sz="1200">
              <a:solidFill>
                <a:schemeClr val="accent2"/>
              </a:solidFill>
              <a:latin typeface="+mj-lt"/>
              <a:ea typeface="+mj-ea"/>
              <a:cs typeface="Segoe UI Semilight" panose="020B0402040204020203" pitchFamily="34" charset="0"/>
            </a:endParaRPr>
          </a:p>
        </p:txBody>
      </p:sp>
      <p:sp>
        <p:nvSpPr>
          <p:cNvPr id="3" name="Driehoek 7">
            <a:extLst>
              <a:ext uri="{FF2B5EF4-FFF2-40B4-BE49-F238E27FC236}">
                <a16:creationId xmlns:a16="http://schemas.microsoft.com/office/drawing/2014/main" id="{77E4D3BA-A6D4-1DB0-6505-6B1061AB6F31}"/>
              </a:ext>
            </a:extLst>
          </p:cNvPr>
          <p:cNvSpPr/>
          <p:nvPr/>
        </p:nvSpPr>
        <p:spPr>
          <a:xfrm rot="5400000">
            <a:off x="1780809" y="3729779"/>
            <a:ext cx="457200" cy="274320"/>
          </a:xfrm>
          <a:prstGeom prst="triangle">
            <a:avLst/>
          </a:prstGeom>
          <a:solidFill>
            <a:srgbClr val="91B7BF"/>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72000" rIns="91440" bIns="72000" numCol="1" spcCol="0" rtlCol="0" fromWordArt="0" anchor="ctr" anchorCtr="0" forceAA="0" compatLnSpc="1">
            <a:prstTxWarp prst="textNoShape">
              <a:avLst/>
            </a:prstTxWarp>
            <a:noAutofit/>
          </a:bodyPr>
          <a:lstStyle/>
          <a:p>
            <a:pPr>
              <a:lnSpc>
                <a:spcPct val="125000"/>
              </a:lnSpc>
            </a:pPr>
            <a:endParaRPr lang="nl-NL" sz="1200">
              <a:solidFill>
                <a:schemeClr val="accent2"/>
              </a:solidFill>
              <a:latin typeface="+mj-lt"/>
              <a:ea typeface="+mj-ea"/>
              <a:cs typeface="Segoe UI Semilight" panose="020B0402040204020203" pitchFamily="34" charset="0"/>
            </a:endParaRPr>
          </a:p>
        </p:txBody>
      </p:sp>
      <p:sp>
        <p:nvSpPr>
          <p:cNvPr id="2" name="Driehoek 7">
            <a:extLst>
              <a:ext uri="{FF2B5EF4-FFF2-40B4-BE49-F238E27FC236}">
                <a16:creationId xmlns:a16="http://schemas.microsoft.com/office/drawing/2014/main" id="{B7A89C23-E19D-B8DE-93EF-ED2E28E054AF}"/>
              </a:ext>
            </a:extLst>
          </p:cNvPr>
          <p:cNvSpPr/>
          <p:nvPr/>
        </p:nvSpPr>
        <p:spPr>
          <a:xfrm rot="5400000">
            <a:off x="1780809" y="5385027"/>
            <a:ext cx="457200" cy="274320"/>
          </a:xfrm>
          <a:prstGeom prst="triangle">
            <a:avLst/>
          </a:prstGeom>
          <a:solidFill>
            <a:srgbClr val="91B7BF"/>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72000" rIns="91440" bIns="72000" numCol="1" spcCol="0" rtlCol="0" fromWordArt="0" anchor="ctr" anchorCtr="0" forceAA="0" compatLnSpc="1">
            <a:prstTxWarp prst="textNoShape">
              <a:avLst/>
            </a:prstTxWarp>
            <a:noAutofit/>
          </a:bodyPr>
          <a:lstStyle/>
          <a:p>
            <a:pPr>
              <a:lnSpc>
                <a:spcPct val="125000"/>
              </a:lnSpc>
            </a:pPr>
            <a:endParaRPr lang="nl-NL" sz="1200">
              <a:solidFill>
                <a:schemeClr val="accent2"/>
              </a:solidFill>
              <a:latin typeface="+mj-lt"/>
              <a:ea typeface="+mj-ea"/>
              <a:cs typeface="Segoe UI Semilight" panose="020B0402040204020203" pitchFamily="34" charset="0"/>
            </a:endParaRPr>
          </a:p>
        </p:txBody>
      </p:sp>
      <p:sp>
        <p:nvSpPr>
          <p:cNvPr id="4" name="Driehoek 7">
            <a:extLst>
              <a:ext uri="{FF2B5EF4-FFF2-40B4-BE49-F238E27FC236}">
                <a16:creationId xmlns:a16="http://schemas.microsoft.com/office/drawing/2014/main" id="{93E80953-49B0-239C-8581-88B555995F4C}"/>
              </a:ext>
            </a:extLst>
          </p:cNvPr>
          <p:cNvSpPr/>
          <p:nvPr/>
        </p:nvSpPr>
        <p:spPr>
          <a:xfrm rot="5400000">
            <a:off x="1780809" y="6248929"/>
            <a:ext cx="457200" cy="274320"/>
          </a:xfrm>
          <a:prstGeom prst="triangle">
            <a:avLst/>
          </a:prstGeom>
          <a:solidFill>
            <a:srgbClr val="91B7BF"/>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72000" rIns="91440" bIns="72000" numCol="1" spcCol="0" rtlCol="0" fromWordArt="0" anchor="ctr" anchorCtr="0" forceAA="0" compatLnSpc="1">
            <a:prstTxWarp prst="textNoShape">
              <a:avLst/>
            </a:prstTxWarp>
            <a:noAutofit/>
          </a:bodyPr>
          <a:lstStyle/>
          <a:p>
            <a:pPr>
              <a:lnSpc>
                <a:spcPct val="125000"/>
              </a:lnSpc>
            </a:pPr>
            <a:endParaRPr lang="nl-NL" sz="1200">
              <a:solidFill>
                <a:schemeClr val="accent2"/>
              </a:solidFill>
              <a:latin typeface="+mj-lt"/>
              <a:ea typeface="+mj-ea"/>
              <a:cs typeface="Segoe UI Semilight" panose="020B0402040204020203" pitchFamily="34" charset="0"/>
            </a:endParaRPr>
          </a:p>
        </p:txBody>
      </p:sp>
      <p:pic>
        <p:nvPicPr>
          <p:cNvPr id="6" name="doLogoTeal">
            <a:extLst>
              <a:ext uri="{FF2B5EF4-FFF2-40B4-BE49-F238E27FC236}">
                <a16:creationId xmlns:a16="http://schemas.microsoft.com/office/drawing/2014/main" id="{9ED4F344-DC9B-DE84-B944-3169A52F900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559600" y="6364799"/>
            <a:ext cx="386197" cy="266610"/>
          </a:xfrm>
          <a:prstGeom prst="rect">
            <a:avLst/>
          </a:prstGeom>
        </p:spPr>
      </p:pic>
    </p:spTree>
    <p:extLst>
      <p:ext uri="{BB962C8B-B14F-4D97-AF65-F5344CB8AC3E}">
        <p14:creationId xmlns:p14="http://schemas.microsoft.com/office/powerpoint/2010/main" val="98348208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SKIM">
      <a:dk1>
        <a:srgbClr val="263133"/>
      </a:dk1>
      <a:lt1>
        <a:sysClr val="window" lastClr="FFFFFF"/>
      </a:lt1>
      <a:dk2>
        <a:srgbClr val="81AFB8"/>
      </a:dk2>
      <a:lt2>
        <a:srgbClr val="1C6D7D"/>
      </a:lt2>
      <a:accent1>
        <a:srgbClr val="1C6D7D"/>
      </a:accent1>
      <a:accent2>
        <a:srgbClr val="81AFB8"/>
      </a:accent2>
      <a:accent3>
        <a:srgbClr val="FFBC42"/>
      </a:accent3>
      <a:accent4>
        <a:srgbClr val="EF7B26"/>
      </a:accent4>
      <a:accent5>
        <a:srgbClr val="C21954"/>
      </a:accent5>
      <a:accent6>
        <a:srgbClr val="372D77"/>
      </a:accent6>
      <a:hlink>
        <a:srgbClr val="1C6D7D"/>
      </a:hlink>
      <a:folHlink>
        <a:srgbClr val="263133"/>
      </a:folHlink>
    </a:clrScheme>
    <a:fontScheme name="SKIM">
      <a:majorFont>
        <a:latin typeface="Rawline"/>
        <a:ea typeface=""/>
        <a:cs typeface=""/>
      </a:majorFont>
      <a:minorFont>
        <a:latin typeface="Rawline"/>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E6EFF1"/>
        </a:solidFill>
        <a:ln>
          <a:noFill/>
        </a:ln>
      </a:spPr>
      <a:bodyPr wrap="square" lIns="108000" tIns="72000" rIns="108000" bIns="108000" rtlCol="0" anchor="t" anchorCtr="0">
        <a:noAutofit/>
      </a:bodyPr>
      <a:lstStyle>
        <a:defPPr indent="0" algn="l">
          <a:lnSpc>
            <a:spcPct val="120000"/>
          </a:lnSpc>
          <a:defRPr sz="1400" dirty="0" err="1" smtClean="0">
            <a:solidFill>
              <a:schemeClr val="bg2"/>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bodyPr/>
      <a:lstStyle/>
      <a:style>
        <a:lnRef idx="1">
          <a:schemeClr val="accent1"/>
        </a:lnRef>
        <a:fillRef idx="0">
          <a:schemeClr val="accent1"/>
        </a:fillRef>
        <a:effectRef idx="0">
          <a:schemeClr val="accent1"/>
        </a:effectRef>
        <a:fontRef idx="minor">
          <a:schemeClr val="tx1"/>
        </a:fontRef>
      </a:style>
    </a:lnDef>
    <a:txDef>
      <a:spPr>
        <a:noFill/>
      </a:spPr>
      <a:bodyPr wrap="square" lIns="108000" tIns="72000" rIns="108000" bIns="108000" rtlCol="0">
        <a:spAutoFit/>
      </a:bodyPr>
      <a:lstStyle>
        <a:defPPr indent="0" algn="l">
          <a:lnSpc>
            <a:spcPct val="120000"/>
          </a:lnSpc>
          <a:spcAft>
            <a:spcPts val="1000"/>
          </a:spcAft>
          <a:defRPr dirty="0" smtClean="0">
            <a:solidFill>
              <a:schemeClr val="accent1"/>
            </a:solidFill>
          </a:defRPr>
        </a:defPPr>
      </a:lstStyle>
    </a:txDef>
  </a:objectDefaults>
  <a:extraClrSchemeLst/>
  <a:custClrLst>
    <a:custClr name="Black">
      <a:srgbClr val="263133"/>
    </a:custClr>
    <a:custClr name="Teal">
      <a:srgbClr val="1C6D7D"/>
    </a:custClr>
    <a:custClr name="Gold">
      <a:srgbClr val="FFBC42"/>
    </a:custClr>
    <a:custClr name="Orange">
      <a:srgbClr val="EF7B26"/>
    </a:custClr>
    <a:custClr name="Pink">
      <a:srgbClr val="C21954"/>
    </a:custClr>
    <a:custClr name="Indigo">
      <a:srgbClr val="372D77"/>
    </a:custClr>
    <a:custClr name="White">
      <a:srgbClr val="FFFFFF"/>
    </a:custClr>
    <a:custClr name="White">
      <a:srgbClr val="FFFFFF"/>
    </a:custClr>
    <a:custClr name="White">
      <a:srgbClr val="FFFFFF"/>
    </a:custClr>
    <a:custClr name="White">
      <a:srgbClr val="FFFFFF"/>
    </a:custClr>
    <a:custClr name="Gray middle">
      <a:srgbClr val="B1B4B4"/>
    </a:custClr>
    <a:custClr name="Teal middle">
      <a:srgbClr val="91B7BF"/>
    </a:custClr>
    <a:custClr name="Gold middle">
      <a:srgbClr val="FFDBA3"/>
    </a:custClr>
    <a:custClr name="Orange middle">
      <a:srgbClr val="FBB98D"/>
    </a:custClr>
    <a:custClr name="Pink middle">
      <a:srgbClr val="DD9AB5"/>
    </a:custClr>
    <a:custClr name="Indigo middle">
      <a:srgbClr val="A2A2B9"/>
    </a:custClr>
    <a:custClr name="White">
      <a:srgbClr val="FFFFFF"/>
    </a:custClr>
    <a:custClr name="White">
      <a:srgbClr val="FFFFFF"/>
    </a:custClr>
    <a:custClr name="White">
      <a:srgbClr val="FFFFFF"/>
    </a:custClr>
    <a:custClr name="White">
      <a:srgbClr val="FFFFFF"/>
    </a:custClr>
    <a:custClr name="Gray light">
      <a:srgbClr val="F2F2F2"/>
    </a:custClr>
    <a:custClr name="Teal light">
      <a:srgbClr val="E6EFF1"/>
    </a:custClr>
    <a:custClr name="Gold light">
      <a:srgbClr val="FFF9EE"/>
    </a:custClr>
    <a:custClr name="Orange light">
      <a:srgbClr val="FEF2E9"/>
    </a:custClr>
    <a:custClr name="Pink light">
      <a:srgbClr val="F7ECF0"/>
    </a:custClr>
    <a:custClr name="Indigo light">
      <a:srgbClr val="EBECF6"/>
    </a:custClr>
    <a:custClr name="White">
      <a:srgbClr val="FFFFFF"/>
    </a:custClr>
    <a:custClr name="White">
      <a:srgbClr val="FFFFFF"/>
    </a:custClr>
    <a:custClr name="White">
      <a:srgbClr val="FFFFFF"/>
    </a:custClr>
    <a:custClr name="White">
      <a:srgbClr val="FFFFFF"/>
    </a:custClr>
  </a:custClrLst>
  <a:extLst>
    <a:ext uri="{05A4C25C-085E-4340-85A3-A5531E510DB2}">
      <thm15:themeFamily xmlns:thm15="http://schemas.microsoft.com/office/thememl/2012/main" name="SKIM_ProposalTemplate_2AUG21" id="{34F8B56C-2B83-4C03-8B06-603CA3FAD9DB}" vid="{07795C5B-B3C8-4F8A-999A-9FE8548529A0}"/>
    </a:ext>
  </a:extLst>
</a:theme>
</file>

<file path=ppt/theme/theme2.xml><?xml version="1.0" encoding="utf-8"?>
<a:theme xmlns:a="http://schemas.openxmlformats.org/drawingml/2006/main" name="6_Office Theme">
  <a:themeElements>
    <a:clrScheme name="SKIM">
      <a:dk1>
        <a:sysClr val="windowText" lastClr="000000"/>
      </a:dk1>
      <a:lt1>
        <a:sysClr val="window" lastClr="FFFFFF"/>
      </a:lt1>
      <a:dk2>
        <a:srgbClr val="473A98"/>
      </a:dk2>
      <a:lt2>
        <a:srgbClr val="F6BC92"/>
      </a:lt2>
      <a:accent1>
        <a:srgbClr val="1C6D7D"/>
      </a:accent1>
      <a:accent2>
        <a:srgbClr val="8CBEA0"/>
      </a:accent2>
      <a:accent3>
        <a:srgbClr val="EF7B26"/>
      </a:accent3>
      <a:accent4>
        <a:srgbClr val="AFAFAF"/>
      </a:accent4>
      <a:accent5>
        <a:srgbClr val="0070C0"/>
      </a:accent5>
      <a:accent6>
        <a:srgbClr val="D40E38"/>
      </a:accent6>
      <a:hlink>
        <a:srgbClr val="F6BC92"/>
      </a:hlink>
      <a:folHlink>
        <a:srgbClr val="EF7B26"/>
      </a:folHlink>
    </a:clrScheme>
    <a:fontScheme name="SKIMGroup">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lumMod val="40000"/>
            <a:lumOff val="60000"/>
          </a:schemeClr>
        </a:solidFill>
        <a:ln w="19050">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sz="1200" b="1" dirty="0" smtClean="0">
            <a:solidFill>
              <a:schemeClr val="bg2">
                <a:lumMod val="75000"/>
              </a:schemeClr>
            </a:solidFill>
            <a:latin typeface="+mj-lt"/>
            <a:cs typeface="MV Boli" panose="02000500030200090000" pitchFamily="2"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w="19050">
          <a:solidFill>
            <a:schemeClr val="bg1"/>
          </a:solidFill>
          <a:tailEnd type="none" w="lg" len="med"/>
        </a:ln>
        <a:effectLst/>
      </a:spPr>
      <a:bodyPr/>
      <a:lstStyle/>
      <a:style>
        <a:lnRef idx="2">
          <a:schemeClr val="accent1"/>
        </a:lnRef>
        <a:fillRef idx="0">
          <a:schemeClr val="accent1"/>
        </a:fillRef>
        <a:effectRef idx="1">
          <a:schemeClr val="accent1"/>
        </a:effectRef>
        <a:fontRef idx="minor">
          <a:schemeClr val="tx1"/>
        </a:fontRef>
      </a:style>
    </a:lnDef>
    <a:txDef>
      <a:spPr>
        <a:solidFill>
          <a:schemeClr val="bg2"/>
        </a:solidFill>
        <a:ln>
          <a:noFill/>
        </a:ln>
      </a:spPr>
      <a:bodyPr wrap="square" lIns="45720" tIns="45720" rIns="45720" bIns="45720" rtlCol="0" anchor="ctr">
        <a:spAutoFit/>
      </a:bodyPr>
      <a:lstStyle>
        <a:defPPr algn="l">
          <a:defRPr sz="2400" dirty="0" smtClean="0">
            <a:latin typeface="+mn-lt"/>
            <a:cs typeface="MV Boli" panose="02000500030200090000" pitchFamily="2" charset="0"/>
          </a:defRPr>
        </a:defPPr>
      </a:lstStyle>
    </a:txDef>
  </a:objectDefaults>
  <a:extraClrSchemeLst/>
  <a:extLst>
    <a:ext uri="{05A4C25C-085E-4340-85A3-A5531E510DB2}">
      <thm15:themeFamily xmlns:thm15="http://schemas.microsoft.com/office/thememl/2012/main" name="SKIM.potx" id="{EB750A70-D1B5-4136-A661-0101CEDCA1BC}" vid="{4F72588E-2F8E-4057-8B97-3A172CB49B42}"/>
    </a:ext>
  </a:extLst>
</a:theme>
</file>

<file path=ppt/theme/theme3.xml><?xml version="1.0" encoding="utf-8"?>
<a:theme xmlns:a="http://schemas.openxmlformats.org/drawingml/2006/main" name="Office Theme">
  <a:themeElements>
    <a:clrScheme name="SKIM">
      <a:dk1>
        <a:srgbClr val="263133"/>
      </a:dk1>
      <a:lt1>
        <a:sysClr val="window" lastClr="FFFFFF"/>
      </a:lt1>
      <a:dk2>
        <a:srgbClr val="81AFB8"/>
      </a:dk2>
      <a:lt2>
        <a:srgbClr val="1C6D7D"/>
      </a:lt2>
      <a:accent1>
        <a:srgbClr val="1C6D7D"/>
      </a:accent1>
      <a:accent2>
        <a:srgbClr val="81AFB8"/>
      </a:accent2>
      <a:accent3>
        <a:srgbClr val="FFBC42"/>
      </a:accent3>
      <a:accent4>
        <a:srgbClr val="EF7B26"/>
      </a:accent4>
      <a:accent5>
        <a:srgbClr val="C21954"/>
      </a:accent5>
      <a:accent6>
        <a:srgbClr val="372D77"/>
      </a:accent6>
      <a:hlink>
        <a:srgbClr val="1C6D7D"/>
      </a:hlink>
      <a:folHlink>
        <a:srgbClr val="263133"/>
      </a:folHlink>
    </a:clrScheme>
    <a:fontScheme name="SKIM">
      <a:majorFont>
        <a:latin typeface="Rawline"/>
        <a:ea typeface=""/>
        <a:cs typeface=""/>
      </a:majorFont>
      <a:minorFont>
        <a:latin typeface="Rawline"/>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E6EFF1"/>
        </a:solidFill>
        <a:ln>
          <a:noFill/>
        </a:ln>
      </a:spPr>
      <a:bodyPr wrap="square" lIns="108000" tIns="72000" rIns="108000" bIns="108000" rtlCol="0" anchor="t" anchorCtr="0">
        <a:noAutofit/>
      </a:bodyPr>
      <a:lstStyle>
        <a:defPPr indent="0" algn="l">
          <a:lnSpc>
            <a:spcPct val="120000"/>
          </a:lnSpc>
          <a:defRPr sz="1400" dirty="0" err="1" smtClean="0">
            <a:solidFill>
              <a:schemeClr val="bg2"/>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bodyPr/>
      <a:lstStyle/>
      <a:style>
        <a:lnRef idx="1">
          <a:schemeClr val="accent1"/>
        </a:lnRef>
        <a:fillRef idx="0">
          <a:schemeClr val="accent1"/>
        </a:fillRef>
        <a:effectRef idx="0">
          <a:schemeClr val="accent1"/>
        </a:effectRef>
        <a:fontRef idx="minor">
          <a:schemeClr val="tx1"/>
        </a:fontRef>
      </a:style>
    </a:lnDef>
    <a:txDef>
      <a:spPr>
        <a:noFill/>
      </a:spPr>
      <a:bodyPr wrap="square" lIns="108000" tIns="72000" rIns="108000" bIns="108000" rtlCol="0">
        <a:spAutoFit/>
      </a:bodyPr>
      <a:lstStyle>
        <a:defPPr indent="0" algn="l">
          <a:lnSpc>
            <a:spcPct val="120000"/>
          </a:lnSpc>
          <a:spcAft>
            <a:spcPts val="1000"/>
          </a:spcAft>
          <a:defRPr dirty="0" smtClean="0">
            <a:solidFill>
              <a:schemeClr val="accent1"/>
            </a:solidFill>
          </a:defRPr>
        </a:defPPr>
      </a:lstStyle>
    </a:txDef>
  </a:objectDefaults>
  <a:extraClrSchemeLst/>
  <a:custClrLst>
    <a:custClr name="Black">
      <a:srgbClr val="263133"/>
    </a:custClr>
    <a:custClr name="Teal">
      <a:srgbClr val="1C6D7D"/>
    </a:custClr>
    <a:custClr name="Gold">
      <a:srgbClr val="FFBC42"/>
    </a:custClr>
    <a:custClr name="Orange">
      <a:srgbClr val="EF7B26"/>
    </a:custClr>
    <a:custClr name="Pink">
      <a:srgbClr val="C21954"/>
    </a:custClr>
    <a:custClr name="Indigo">
      <a:srgbClr val="372D77"/>
    </a:custClr>
    <a:custClr name="White">
      <a:srgbClr val="FFFFFF"/>
    </a:custClr>
    <a:custClr name="White">
      <a:srgbClr val="FFFFFF"/>
    </a:custClr>
    <a:custClr name="White">
      <a:srgbClr val="FFFFFF"/>
    </a:custClr>
    <a:custClr name="White">
      <a:srgbClr val="FFFFFF"/>
    </a:custClr>
    <a:custClr name="Gray middle">
      <a:srgbClr val="B1B4B4"/>
    </a:custClr>
    <a:custClr name="Teal middle">
      <a:srgbClr val="91B7BF"/>
    </a:custClr>
    <a:custClr name="Gold middle">
      <a:srgbClr val="FFDBA3"/>
    </a:custClr>
    <a:custClr name="Orange middle">
      <a:srgbClr val="FBB98D"/>
    </a:custClr>
    <a:custClr name="Pink middle">
      <a:srgbClr val="DD9AB5"/>
    </a:custClr>
    <a:custClr name="Indigo middle">
      <a:srgbClr val="A2A2B9"/>
    </a:custClr>
    <a:custClr name="White">
      <a:srgbClr val="FFFFFF"/>
    </a:custClr>
    <a:custClr name="White">
      <a:srgbClr val="FFFFFF"/>
    </a:custClr>
    <a:custClr name="White">
      <a:srgbClr val="FFFFFF"/>
    </a:custClr>
    <a:custClr name="White">
      <a:srgbClr val="FFFFFF"/>
    </a:custClr>
    <a:custClr name="Gray light">
      <a:srgbClr val="F2F2F2"/>
    </a:custClr>
    <a:custClr name="Teal light">
      <a:srgbClr val="E6EFF1"/>
    </a:custClr>
    <a:custClr name="Gold light">
      <a:srgbClr val="FFF9EE"/>
    </a:custClr>
    <a:custClr name="Orange light">
      <a:srgbClr val="FEF2E9"/>
    </a:custClr>
    <a:custClr name="Pink light">
      <a:srgbClr val="F7ECF0"/>
    </a:custClr>
    <a:custClr name="Indigo light">
      <a:srgbClr val="EBECF6"/>
    </a:custClr>
    <a:custClr name="White">
      <a:srgbClr val="FFFFFF"/>
    </a:custClr>
    <a:custClr name="White">
      <a:srgbClr val="FFFFFF"/>
    </a:custClr>
    <a:custClr name="White">
      <a:srgbClr val="FFFFFF"/>
    </a:custClr>
    <a:custClr name="White">
      <a:srgbClr val="FFFFFF"/>
    </a:custClr>
  </a:custClrLst>
  <a:extLst>
    <a:ext uri="{05A4C25C-085E-4340-85A3-A5531E510DB2}">
      <thm15:themeFamily xmlns:thm15="http://schemas.microsoft.com/office/thememl/2012/main" name="SKIM_GenericTemplate_2AUG21" id="{0FE52DC3-EFCF-43B9-A2D3-F4BF07DE4227}" vid="{1EB7C8C8-DEFD-4EDF-B97A-2289D77EF7D2}"/>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_rels/item7.xml.rels><?xml version="1.0" encoding="UTF-8" standalone="yes"?>
<Relationships xmlns="http://schemas.openxmlformats.org/package/2006/relationships"><Relationship Id="rId1" Type="http://schemas.openxmlformats.org/officeDocument/2006/relationships/customXmlProps" Target="itemProps7.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c6f9fa31-3386-4fc1-88da-3652b9cb4154">
      <Terms xmlns="http://schemas.microsoft.com/office/infopath/2007/PartnerControls"/>
    </lcf76f155ced4ddcb4097134ff3c332f>
    <TaxCatchAll xmlns="b7ed3ff3-4228-478a-ae94-5a88815d00c3" xsi:nil="true"/>
  </documentManagement>
</p:properties>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c6f9fa31-3386-4fc1-88da-3652b9cb4154">
      <Terms xmlns="http://schemas.microsoft.com/office/infopath/2007/PartnerControls"/>
    </lcf76f155ced4ddcb4097134ff3c332f>
    <TaxCatchAll xmlns="b7ed3ff3-4228-478a-ae94-5a88815d00c3" xsi:nil="true"/>
  </documentManagement>
</p:properties>
</file>

<file path=customXml/item4.xml><?xml version="1.0" encoding="utf-8"?>
<?mso-contentType ?>
<spe:Receivers xmlns:spe="http://schemas.microsoft.com/sharepoint/events"/>
</file>

<file path=customXml/item5.xml><?xml version="1.0" encoding="utf-8"?>
<?mso-contentType ?>
<FormTemplates xmlns="http://schemas.microsoft.com/sharepoint/v3/contenttype/forms">
  <Display>DocumentLibraryForm</Display>
  <Edit>DocumentLibraryForm</Edit>
  <New>DocumentLibraryForm</New>
</FormTemplates>
</file>

<file path=customXml/item6.xml><?xml version="1.0" encoding="utf-8"?>
<ct:contentTypeSchema xmlns:ct="http://schemas.microsoft.com/office/2006/metadata/contentType" xmlns:ma="http://schemas.microsoft.com/office/2006/metadata/properties/metaAttributes" ct:_="" ma:_="" ma:contentTypeName="Document" ma:contentTypeID="0x01010035F49970AD742B4A836470A982853E9E" ma:contentTypeVersion="12" ma:contentTypeDescription="Create a new document." ma:contentTypeScope="" ma:versionID="8b319b0a0dd6f7dd79ca845119c1a9e3">
  <xsd:schema xmlns:xsd="http://www.w3.org/2001/XMLSchema" xmlns:xs="http://www.w3.org/2001/XMLSchema" xmlns:p="http://schemas.microsoft.com/office/2006/metadata/properties" xmlns:ns2="b7ed3ff3-4228-478a-ae94-5a88815d00c3" xmlns:ns3="c6f9fa31-3386-4fc1-88da-3652b9cb4154" targetNamespace="http://schemas.microsoft.com/office/2006/metadata/properties" ma:root="true" ma:fieldsID="aa8107ccdd807c14d2d76c2db8118d23" ns2:_="" ns3:_="">
    <xsd:import namespace="b7ed3ff3-4228-478a-ae94-5a88815d00c3"/>
    <xsd:import namespace="c6f9fa31-3386-4fc1-88da-3652b9cb4154"/>
    <xsd:element name="properties">
      <xsd:complexType>
        <xsd:sequence>
          <xsd:element name="documentManagement">
            <xsd:complexType>
              <xsd:all>
                <xsd:element ref="ns2:_dlc_DocId" minOccurs="0"/>
                <xsd:element ref="ns2:_dlc_DocIdUrl" minOccurs="0"/>
                <xsd:element ref="ns2:_dlc_DocIdPersistId" minOccurs="0"/>
                <xsd:element ref="ns3:MediaServiceMetadata" minOccurs="0"/>
                <xsd:element ref="ns3:MediaServiceFastMetadata" minOccurs="0"/>
                <xsd:element ref="ns3:MediaServiceSearchProperties" minOccurs="0"/>
                <xsd:element ref="ns3:MediaServiceObjectDetectorVersions" minOccurs="0"/>
                <xsd:element ref="ns3:lcf76f155ced4ddcb4097134ff3c332f" minOccurs="0"/>
                <xsd:element ref="ns2:TaxCatchAll" minOccurs="0"/>
                <xsd:element ref="ns3:MediaServiceGenerationTime" minOccurs="0"/>
                <xsd:element ref="ns3:MediaServiceEventHashCode" minOccurs="0"/>
                <xsd:element ref="ns3:MediaServiceOCR" minOccurs="0"/>
                <xsd:element ref="ns3:MediaServiceDateTaken" minOccurs="0"/>
                <xsd:element ref="ns3: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b7ed3ff3-4228-478a-ae94-5a88815d00c3" elementFormDefault="qualified">
    <xsd:import namespace="http://schemas.microsoft.com/office/2006/documentManagement/types"/>
    <xsd:import namespace="http://schemas.microsoft.com/office/infopath/2007/PartnerControls"/>
    <xsd:element name="_dlc_DocId" ma:index="8" nillable="true" ma:displayName="Document ID Value" ma:description="The value of the document ID assigned to this item." ma:internalName="_dlc_DocId" ma:readOnly="true">
      <xsd:simpleType>
        <xsd:restriction base="dms:Text"/>
      </xsd:simpleType>
    </xsd:element>
    <xsd:element name="_dlc_DocIdUrl" ma:index="9"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10" nillable="true" ma:displayName="Persist ID" ma:description="Keep ID on add." ma:hidden="true" ma:internalName="_dlc_DocIdPersistId" ma:readOnly="true">
      <xsd:simpleType>
        <xsd:restriction base="dms:Boolean"/>
      </xsd:simpleType>
    </xsd:element>
    <xsd:element name="TaxCatchAll" ma:index="17" nillable="true" ma:displayName="Taxonomy Catch All Column" ma:hidden="true" ma:list="{d19eceab-d201-4408-bd76-06c0eded2017}" ma:internalName="TaxCatchAll" ma:showField="CatchAllData" ma:web="b7ed3ff3-4228-478a-ae94-5a88815d00c3">
      <xsd:complexType>
        <xsd:complexContent>
          <xsd:extension base="dms:MultiChoiceLookup">
            <xsd:sequence>
              <xsd:element name="Value" type="dms:Lookup" maxOccurs="unbounded" minOccurs="0" nillable="true"/>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c6f9fa31-3386-4fc1-88da-3652b9cb4154"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SearchProperties" ma:index="13" nillable="true" ma:displayName="MediaServiceSearchProperties" ma:hidden="true" ma:internalName="MediaServiceSearchProperties" ma:readOnly="true">
      <xsd:simpleType>
        <xsd:restriction base="dms:Note"/>
      </xsd:simpleType>
    </xsd:element>
    <xsd:element name="MediaServiceObjectDetectorVersions" ma:index="14" nillable="true" ma:displayName="MediaServiceObjectDetectorVersions" ma:hidden="true" ma:indexed="true" ma:internalName="MediaServiceObjectDetectorVersions" ma:readOnly="true">
      <xsd:simpleType>
        <xsd:restriction base="dms:Text"/>
      </xsd:simpleType>
    </xsd:element>
    <xsd:element name="lcf76f155ced4ddcb4097134ff3c332f" ma:index="16" nillable="true" ma:taxonomy="true" ma:internalName="lcf76f155ced4ddcb4097134ff3c332f" ma:taxonomyFieldName="MediaServiceImageTags" ma:displayName="Image Tags" ma:readOnly="false" ma:fieldId="{5cf76f15-5ced-4ddc-b409-7134ff3c332f}" ma:taxonomyMulti="true" ma:sspId="9f3a0fd8-47ec-4062-bcc9-83254fedea56" ma:termSetId="09814cd3-568e-fe90-9814-8d621ff8fb84" ma:anchorId="fba54fb3-c3e1-fe81-a776-ca4b69148c4d" ma:open="true" ma:isKeyword="false">
      <xsd:complexType>
        <xsd:sequence>
          <xsd:element ref="pc:Terms" minOccurs="0" maxOccurs="1"/>
        </xsd:sequence>
      </xsd:complexType>
    </xsd:element>
    <xsd:element name="MediaServiceGenerationTime" ma:index="18" nillable="true" ma:displayName="MediaServiceGenerationTime" ma:hidden="true" ma:internalName="MediaServiceGenerationTime" ma:readOnly="true">
      <xsd:simpleType>
        <xsd:restriction base="dms:Text"/>
      </xsd:simpleType>
    </xsd:element>
    <xsd:element name="MediaServiceEventHashCode" ma:index="19" nillable="true" ma:displayName="MediaServiceEventHashCode" ma:hidden="true" ma:internalName="MediaServiceEventHashCode" ma:readOnly="true">
      <xsd:simpleType>
        <xsd:restriction base="dms:Text"/>
      </xsd:simpleType>
    </xsd:element>
    <xsd:element name="MediaServiceOCR" ma:index="20" nillable="true" ma:displayName="Extracted Text" ma:internalName="MediaServiceOCR" ma:readOnly="true">
      <xsd:simpleType>
        <xsd:restriction base="dms:Note">
          <xsd:maxLength value="255"/>
        </xsd:restriction>
      </xsd:simpleType>
    </xsd:element>
    <xsd:element name="MediaServiceDateTaken" ma:index="21" nillable="true" ma:displayName="MediaServiceDateTaken" ma:hidden="true" ma:indexed="true" ma:internalName="MediaServiceDateTaken" ma:readOnly="true">
      <xsd:simpleType>
        <xsd:restriction base="dms:Text"/>
      </xsd:simpleType>
    </xsd:element>
    <xsd:element name="MediaServiceLocation" ma:index="22" nillable="true" ma:displayName="Location" ma:indexed="true" ma:internalName="MediaServiceLocation"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7.xml><?xml version="1.0" encoding="utf-8"?>
<?mso-contentType ?>
<spe:Receivers xmlns:spe="http://schemas.microsoft.com/sharepoint/events"/>
</file>

<file path=customXml/itemProps1.xml><?xml version="1.0" encoding="utf-8"?>
<ds:datastoreItem xmlns:ds="http://schemas.openxmlformats.org/officeDocument/2006/customXml" ds:itemID="{94F24F3D-BC07-49D5-B034-9B5D0D1699AF}">
  <ds:schemaRefs>
    <ds:schemaRef ds:uri="http://schemas.microsoft.com/sharepoint/v3/contenttype/forms"/>
  </ds:schemaRefs>
</ds:datastoreItem>
</file>

<file path=customXml/itemProps2.xml><?xml version="1.0" encoding="utf-8"?>
<ds:datastoreItem xmlns:ds="http://schemas.openxmlformats.org/officeDocument/2006/customXml" ds:itemID="{5923169C-91DE-4E90-BF89-492B5DE49DD4}">
  <ds:schemaRefs>
    <ds:schemaRef ds:uri="b7ed3ff3-4228-478a-ae94-5a88815d00c3"/>
    <ds:schemaRef ds:uri="c6f9fa31-3386-4fc1-88da-3652b9cb4154"/>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5BAA2D99-A7EB-4622-8890-EC8655C473AD}">
  <ds:schemaRefs>
    <ds:schemaRef ds:uri="b7ed3ff3-4228-478a-ae94-5a88815d00c3"/>
    <ds:schemaRef ds:uri="c6f9fa31-3386-4fc1-88da-3652b9cb4154"/>
    <ds:schemaRef ds:uri="http://schemas.microsoft.com/office/2006/metadata/properties"/>
    <ds:schemaRef ds:uri="http://schemas.microsoft.com/office/infopath/2007/PartnerControls"/>
  </ds:schemaRefs>
</ds:datastoreItem>
</file>

<file path=customXml/itemProps4.xml><?xml version="1.0" encoding="utf-8"?>
<ds:datastoreItem xmlns:ds="http://schemas.openxmlformats.org/officeDocument/2006/customXml" ds:itemID="{B0B6ABC7-E5E9-42A1-91C2-AA25A53240AE}">
  <ds:schemaRefs>
    <ds:schemaRef ds:uri="http://schemas.microsoft.com/sharepoint/events"/>
  </ds:schemaRefs>
</ds:datastoreItem>
</file>

<file path=customXml/itemProps5.xml><?xml version="1.0" encoding="utf-8"?>
<ds:datastoreItem xmlns:ds="http://schemas.openxmlformats.org/officeDocument/2006/customXml" ds:itemID="{9D45AD4B-174D-435E-A6A8-1DCC78A97497}">
  <ds:schemaRefs>
    <ds:schemaRef ds:uri="http://schemas.microsoft.com/sharepoint/v3/contenttype/forms"/>
  </ds:schemaRefs>
</ds:datastoreItem>
</file>

<file path=customXml/itemProps6.xml><?xml version="1.0" encoding="utf-8"?>
<ds:datastoreItem xmlns:ds="http://schemas.openxmlformats.org/officeDocument/2006/customXml" ds:itemID="{544A2CBB-40D1-4FBF-BDDF-9E6070C29D8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b7ed3ff3-4228-478a-ae94-5a88815d00c3"/>
    <ds:schemaRef ds:uri="c6f9fa31-3386-4fc1-88da-3652b9cb4154"/>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7.xml><?xml version="1.0" encoding="utf-8"?>
<ds:datastoreItem xmlns:ds="http://schemas.openxmlformats.org/officeDocument/2006/customXml" ds:itemID="{0C641DFD-3E2F-4BD1-AFC9-6719C127020A}">
  <ds:schemaRefs>
    <ds:schemaRef ds:uri="http://schemas.microsoft.com/sharepoint/events"/>
  </ds:schemaRefs>
</ds:datastoreItem>
</file>

<file path=docProps/app.xml><?xml version="1.0" encoding="utf-8"?>
<Properties xmlns="http://schemas.openxmlformats.org/officeDocument/2006/extended-properties" xmlns:vt="http://schemas.openxmlformats.org/officeDocument/2006/docPropsVTypes">
  <Template>SKIM_ProposalTemplate_2AUG21</Template>
  <TotalTime>17</TotalTime>
  <Words>5979</Words>
  <Application>Microsoft Office PowerPoint</Application>
  <PresentationFormat>Widescreen</PresentationFormat>
  <Paragraphs>783</Paragraphs>
  <Slides>48</Slides>
  <Notes>20</Notes>
  <HiddenSlides>0</HiddenSlides>
  <MMClips>0</MMClips>
  <ScaleCrop>false</ScaleCrop>
  <HeadingPairs>
    <vt:vector size="4" baseType="variant">
      <vt:variant>
        <vt:lpstr>Theme</vt:lpstr>
      </vt:variant>
      <vt:variant>
        <vt:i4>3</vt:i4>
      </vt:variant>
      <vt:variant>
        <vt:lpstr>Slide Titles</vt:lpstr>
      </vt:variant>
      <vt:variant>
        <vt:i4>48</vt:i4>
      </vt:variant>
    </vt:vector>
  </HeadingPairs>
  <TitlesOfParts>
    <vt:vector size="51" baseType="lpstr">
      <vt:lpstr>Office Theme</vt:lpstr>
      <vt:lpstr>6_Office Theme</vt:lpstr>
      <vt:lpstr>Office Theme</vt:lpstr>
      <vt:lpstr>Alpro Sustainability Claims</vt:lpstr>
      <vt:lpstr>Nice to be working together again!</vt:lpstr>
      <vt:lpstr>Proposal Summary</vt:lpstr>
      <vt:lpstr>What we can do for you</vt:lpstr>
      <vt:lpstr>The opportunity</vt:lpstr>
      <vt:lpstr>Objectives</vt:lpstr>
      <vt:lpstr>SKIM will provide answers to the following research objectives</vt:lpstr>
      <vt:lpstr>Considerations</vt:lpstr>
      <vt:lpstr>Factors shaping our recommended approach</vt:lpstr>
      <vt:lpstr>SKIM Claim Creation Guidelines  </vt:lpstr>
      <vt:lpstr>5 principles to consider for sustainability messages in particular</vt:lpstr>
      <vt:lpstr>Consumers relate sustainability most closely to health and price. But it can also ladder up further to quality and taste</vt:lpstr>
      <vt:lpstr>Our approach in detail</vt:lpstr>
      <vt:lpstr>At SKIM, we take a consultative approach with our clients</vt:lpstr>
      <vt:lpstr>For this business question, we propose an extended two-step approach:</vt:lpstr>
      <vt:lpstr>Phase 1: Optional Qual Bites</vt:lpstr>
      <vt:lpstr>PowerPoint Presentation</vt:lpstr>
      <vt:lpstr>Qual Bite thought starters </vt:lpstr>
      <vt:lpstr>output examples</vt:lpstr>
      <vt:lpstr>We recommend (initially) focusing on one market for QualBites</vt:lpstr>
      <vt:lpstr>Phase 1:  Claims Lab</vt:lpstr>
      <vt:lpstr>PowerPoint Presentation</vt:lpstr>
      <vt:lpstr>PowerPoint Presentation</vt:lpstr>
      <vt:lpstr>PowerPoint Presentation</vt:lpstr>
      <vt:lpstr>SKIM’s role in the workshop</vt:lpstr>
      <vt:lpstr>Input / output of the workshop</vt:lpstr>
      <vt:lpstr>Phase 2:  Consumer Screening</vt:lpstr>
      <vt:lpstr>PowerPoint Presentation</vt:lpstr>
      <vt:lpstr>The research design consists of 6 modules, including </vt:lpstr>
      <vt:lpstr>The swiping module</vt:lpstr>
      <vt:lpstr>The trade-off module</vt:lpstr>
      <vt:lpstr>Purchase Intent</vt:lpstr>
      <vt:lpstr>KPI rating</vt:lpstr>
      <vt:lpstr>Deep dive module – Qualitative Feedback</vt:lpstr>
      <vt:lpstr>Health / Taste perception</vt:lpstr>
      <vt:lpstr>Understanding perceptions – both explicitly and implicitly</vt:lpstr>
      <vt:lpstr>Shapley values regression</vt:lpstr>
      <vt:lpstr>Mapping perceptions into actionable quadrants</vt:lpstr>
      <vt:lpstr>We cover 5 global markets</vt:lpstr>
      <vt:lpstr>Deliverables &amp; Insights</vt:lpstr>
      <vt:lpstr>Key output: Impact Score</vt:lpstr>
      <vt:lpstr>Example Output: KPIs &amp; Purchase Intent</vt:lpstr>
      <vt:lpstr>Example Output: Open ends – Why are the claims motivating to buy?</vt:lpstr>
      <vt:lpstr>Timeline and investment</vt:lpstr>
      <vt:lpstr>Timeline for 5 countries</vt:lpstr>
      <vt:lpstr>Investment</vt:lpstr>
      <vt:lpstr>Terms of agreement</vt:lpstr>
      <vt:lpstr>Thank you</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KIM Proposal - F8763</dc:title>
  <dc:creator>SKIM;Matthijs Pons</dc:creator>
  <cp:lastModifiedBy>Charlotte Newman</cp:lastModifiedBy>
  <cp:revision>2</cp:revision>
  <dcterms:created xsi:type="dcterms:W3CDTF">2023-02-20T15:36:57Z</dcterms:created>
  <dcterms:modified xsi:type="dcterms:W3CDTF">2023-10-03T08:44:1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ediaServiceImageTags">
    <vt:lpwstr/>
  </property>
  <property fmtid="{D5CDD505-2E9C-101B-9397-08002B2CF9AE}" pid="3" name="ContentTypeId">
    <vt:lpwstr>0x01010035F49970AD742B4A836470A982853E9E</vt:lpwstr>
  </property>
</Properties>
</file>